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2.xml" ContentType="application/vnd.openxmlformats-officedocument.theme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3.xml" ContentType="application/vnd.openxmlformats-officedocument.theme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4.xml" ContentType="application/vnd.openxmlformats-officedocument.theme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3943" r:id="rId11"/>
    <p:sldMasterId id="2147483983" r:id="rId12"/>
    <p:sldMasterId id="2147483997" r:id="rId13"/>
    <p:sldMasterId id="2147484008" r:id="rId14"/>
    <p:sldMasterId id="2147484044" r:id="rId15"/>
    <p:sldMasterId id="2147484050" r:id="rId16"/>
  </p:sldMasterIdLst>
  <p:notesMasterIdLst>
    <p:notesMasterId r:id="rId18"/>
  </p:notesMasterIdLst>
  <p:handoutMasterIdLst>
    <p:handoutMasterId r:id="rId19"/>
  </p:handoutMasterIdLst>
  <p:sldIdLst>
    <p:sldId id="256" r:id="rId17"/>
  </p:sldIdLst>
  <p:sldSz cx="12188825" cy="6858000"/>
  <p:notesSz cx="6858000" cy="9144000"/>
  <p:embeddedFontLst>
    <p:embeddedFont>
      <p:font typeface="Microsoft GothicNeo" panose="020B0500000101010101" pitchFamily="50" charset="-127"/>
      <p:regular r:id="rId20"/>
      <p:bold r:id="rId21"/>
    </p:embeddedFont>
    <p:embeddedFont>
      <p:font typeface="Calibri" panose="020F0502020204030204" pitchFamily="34" charset="0"/>
      <p:regular r:id="rId22"/>
      <p:bold r:id="rId23"/>
      <p:italic r:id="rId24"/>
      <p:boldItalic r:id="rId25"/>
    </p:embeddedFont>
    <p:embeddedFont>
      <p:font typeface="Source Sans Pro" panose="020B0503030403020204" pitchFamily="34" charset="0"/>
      <p:regular r:id="rId26"/>
      <p:bold r:id="rId27"/>
      <p:italic r:id="rId28"/>
      <p:boldItalic r:id="rId29"/>
    </p:embeddedFont>
  </p:embeddedFontLst>
  <p:custDataLst>
    <p:custData r:id="rId2"/>
    <p:custData r:id="rId7"/>
    <p:custData r:id="rId10"/>
    <p:custData r:id="rId9"/>
    <p:custData r:id="rId6"/>
    <p:custData r:id="rId5"/>
    <p:custData r:id="rId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39" userDrawn="1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45F69E6-9CFF-60A1-4D00-C5F6E960600E}" name="Kate Mcdaniel" initials="KM" userId="S::kate.mcdaniel@uipath.com::ac2dcec2-adca-4a3a-8a42-4d2b5cf092f0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8595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726" autoAdjust="0"/>
    <p:restoredTop sz="70115" autoAdjust="0"/>
  </p:normalViewPr>
  <p:slideViewPr>
    <p:cSldViewPr snapToGrid="0">
      <p:cViewPr varScale="1">
        <p:scale>
          <a:sx n="90" d="100"/>
          <a:sy n="90" d="100"/>
        </p:scale>
        <p:origin x="260" y="56"/>
      </p:cViewPr>
      <p:guideLst>
        <p:guide pos="3839"/>
        <p:guide orient="horz" pos="2160"/>
      </p:guideLst>
    </p:cSldViewPr>
  </p:slid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" d="1"/>
        <a:sy n="1" d="1"/>
      </p:scale>
      <p:origin x="0" y="-9744"/>
    </p:cViewPr>
  </p:sorter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3.xml"/><Relationship Id="rId18" Type="http://schemas.openxmlformats.org/officeDocument/2006/relationships/notesMaster" Target="notesMasters/notesMaster1.xml"/><Relationship Id="rId26" Type="http://schemas.openxmlformats.org/officeDocument/2006/relationships/font" Target="fonts/font7.fntdata"/><Relationship Id="rId3" Type="http://schemas.openxmlformats.org/officeDocument/2006/relationships/customXml" Target="../customXml/item3.xml"/><Relationship Id="rId21" Type="http://schemas.openxmlformats.org/officeDocument/2006/relationships/font" Target="fonts/font2.fntdata"/><Relationship Id="rId34" Type="http://schemas.microsoft.com/office/2018/10/relationships/authors" Target="authors.xml"/><Relationship Id="rId7" Type="http://schemas.openxmlformats.org/officeDocument/2006/relationships/customXml" Target="../customXml/item7.xml"/><Relationship Id="rId12" Type="http://schemas.openxmlformats.org/officeDocument/2006/relationships/slideMaster" Target="slideMasters/slideMaster2.xml"/><Relationship Id="rId17" Type="http://schemas.openxmlformats.org/officeDocument/2006/relationships/slide" Target="slides/slide1.xml"/><Relationship Id="rId25" Type="http://schemas.openxmlformats.org/officeDocument/2006/relationships/font" Target="fonts/font6.fntdata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6.xml"/><Relationship Id="rId20" Type="http://schemas.openxmlformats.org/officeDocument/2006/relationships/font" Target="fonts/font1.fntdata"/><Relationship Id="rId29" Type="http://schemas.openxmlformats.org/officeDocument/2006/relationships/font" Target="fonts/font10.fntdata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Master" Target="slideMasters/slideMaster1.xml"/><Relationship Id="rId24" Type="http://schemas.openxmlformats.org/officeDocument/2006/relationships/font" Target="fonts/font5.fntdata"/><Relationship Id="rId32" Type="http://schemas.openxmlformats.org/officeDocument/2006/relationships/theme" Target="theme/theme1.xml"/><Relationship Id="rId5" Type="http://schemas.openxmlformats.org/officeDocument/2006/relationships/customXml" Target="../customXml/item5.xml"/><Relationship Id="rId15" Type="http://schemas.openxmlformats.org/officeDocument/2006/relationships/slideMaster" Target="slideMasters/slideMaster5.xml"/><Relationship Id="rId23" Type="http://schemas.openxmlformats.org/officeDocument/2006/relationships/font" Target="fonts/font4.fntdata"/><Relationship Id="rId28" Type="http://schemas.openxmlformats.org/officeDocument/2006/relationships/font" Target="fonts/font9.fntdata"/><Relationship Id="rId10" Type="http://schemas.openxmlformats.org/officeDocument/2006/relationships/customXml" Target="../customXml/item10.xml"/><Relationship Id="rId19" Type="http://schemas.openxmlformats.org/officeDocument/2006/relationships/handoutMaster" Target="handoutMasters/handoutMaster1.xml"/><Relationship Id="rId31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slideMaster" Target="slideMasters/slideMaster4.xml"/><Relationship Id="rId22" Type="http://schemas.openxmlformats.org/officeDocument/2006/relationships/font" Target="fonts/font3.fntdata"/><Relationship Id="rId27" Type="http://schemas.openxmlformats.org/officeDocument/2006/relationships/font" Target="fonts/font8.fntdata"/><Relationship Id="rId30" Type="http://schemas.openxmlformats.org/officeDocument/2006/relationships/presProps" Target="presProps.xml"/><Relationship Id="rId8" Type="http://schemas.openxmlformats.org/officeDocument/2006/relationships/customXml" Target="../customXml/item8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83C52AC-B35A-CA4E-8A36-41D4C19C8B66}" type="datetimeFigureOut">
              <a:rPr lang="en-US" smtClean="0"/>
              <a:pPr/>
              <a:t>6/12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49E16FA-277E-0C48-86CC-060AC9F2D5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5EF42A7-8624-5649-A655-6E2B4F25EC14}" type="datetimeFigureOut">
              <a:rPr lang="en-US" smtClean="0"/>
              <a:pPr/>
              <a:t>6/12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2588" y="685800"/>
            <a:ext cx="609282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18B97D-45A5-1E45-A1E0-6392C6E84CC6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6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0.svg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1.png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0.png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9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6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– Grid Ligh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49">
            <a:extLst>
              <a:ext uri="{FF2B5EF4-FFF2-40B4-BE49-F238E27FC236}">
                <a16:creationId xmlns:a16="http://schemas.microsoft.com/office/drawing/2014/main" id="{DAF349EE-15E0-4D63-402B-3D4B0E568C05}"/>
              </a:ext>
            </a:extLst>
          </p:cNvPr>
          <p:cNvSpPr txBox="1">
            <a:spLocks/>
          </p:cNvSpPr>
          <p:nvPr userDrawn="1"/>
        </p:nvSpPr>
        <p:spPr>
          <a:xfrm>
            <a:off x="3554947" y="3895115"/>
            <a:ext cx="2120055" cy="2120038"/>
          </a:xfrm>
          <a:custGeom>
            <a:avLst/>
            <a:gdLst>
              <a:gd name="connsiteX0" fmla="*/ 265718 w 531436"/>
              <a:gd name="connsiteY0" fmla="*/ 0 h 531432"/>
              <a:gd name="connsiteX1" fmla="*/ 531436 w 531436"/>
              <a:gd name="connsiteY1" fmla="*/ 265716 h 531432"/>
              <a:gd name="connsiteX2" fmla="*/ 265718 w 531436"/>
              <a:gd name="connsiteY2" fmla="*/ 531432 h 531432"/>
              <a:gd name="connsiteX3" fmla="*/ 0 w 531436"/>
              <a:gd name="connsiteY3" fmla="*/ 265716 h 531432"/>
              <a:gd name="connsiteX4" fmla="*/ 265718 w 531436"/>
              <a:gd name="connsiteY4" fmla="*/ 0 h 531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1436" h="531432">
                <a:moveTo>
                  <a:pt x="265718" y="0"/>
                </a:moveTo>
                <a:cubicBezTo>
                  <a:pt x="412470" y="0"/>
                  <a:pt x="531436" y="118965"/>
                  <a:pt x="531436" y="265716"/>
                </a:cubicBezTo>
                <a:cubicBezTo>
                  <a:pt x="531436" y="412467"/>
                  <a:pt x="412470" y="531432"/>
                  <a:pt x="265718" y="531432"/>
                </a:cubicBezTo>
                <a:cubicBezTo>
                  <a:pt x="118966" y="531432"/>
                  <a:pt x="0" y="412467"/>
                  <a:pt x="0" y="265716"/>
                </a:cubicBezTo>
                <a:cubicBezTo>
                  <a:pt x="0" y="118965"/>
                  <a:pt x="118966" y="0"/>
                  <a:pt x="265718" y="0"/>
                </a:cubicBezTo>
                <a:close/>
              </a:path>
            </a:pathLst>
          </a:custGeom>
          <a:solidFill>
            <a:srgbClr val="F7F8F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 algn="ctr">
              <a:defRPr sz="1400" b="0" i="0">
                <a:solidFill>
                  <a:schemeClr val="lt1"/>
                </a:solidFill>
                <a:latin typeface="Arial"/>
                <a:cs typeface="Arial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48E45662-DAF0-B5F7-2F10-FFA8038EF52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2972" y="2298411"/>
            <a:ext cx="5292030" cy="1231106"/>
          </a:xfrm>
        </p:spPr>
        <p:txBody>
          <a:bodyPr lIns="0" tIns="0" rIns="0" bIns="0" anchor="b" anchorCtr="0">
            <a:spAutoFit/>
          </a:bodyPr>
          <a:lstStyle>
            <a:lvl1pPr algn="l">
              <a:lnSpc>
                <a:spcPct val="80000"/>
              </a:lnSpc>
              <a:defRPr sz="5000" b="1" i="0" spc="-100">
                <a:solidFill>
                  <a:schemeClr val="tx2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C571FA59-CA6F-590D-00FF-C401CE55EC6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2972" y="3583491"/>
            <a:ext cx="5292030" cy="366254"/>
          </a:xfrm>
        </p:spPr>
        <p:txBody>
          <a:bodyPr lIns="0" tIns="0" rIns="0" bIns="0" anchor="t" anchorCtr="0">
            <a:spAutoFit/>
          </a:bodyPr>
          <a:lstStyle>
            <a:lvl1pPr marL="0" indent="0" algn="l">
              <a:lnSpc>
                <a:spcPct val="85000"/>
              </a:lnSpc>
              <a:spcBef>
                <a:spcPts val="800"/>
              </a:spcBef>
              <a:buNone/>
              <a:defRPr sz="2800" b="1" i="0" spc="-50">
                <a:solidFill>
                  <a:schemeClr val="tx2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subtitle style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5A064ED6-9387-324C-0004-695EF52C66D5}"/>
              </a:ext>
            </a:extLst>
          </p:cNvPr>
          <p:cNvSpPr/>
          <p:nvPr userDrawn="1"/>
        </p:nvSpPr>
        <p:spPr>
          <a:xfrm>
            <a:off x="8125180" y="2180403"/>
            <a:ext cx="4063645" cy="4677597"/>
          </a:xfrm>
          <a:custGeom>
            <a:avLst/>
            <a:gdLst>
              <a:gd name="connsiteX0" fmla="*/ 4063645 w 4063645"/>
              <a:gd name="connsiteY0" fmla="*/ 0 h 4677597"/>
              <a:gd name="connsiteX1" fmla="*/ 4063645 w 4063645"/>
              <a:gd name="connsiteY1" fmla="*/ 2137265 h 4677597"/>
              <a:gd name="connsiteX2" fmla="*/ 3862190 w 4063645"/>
              <a:gd name="connsiteY2" fmla="*/ 2166337 h 4677597"/>
              <a:gd name="connsiteX3" fmla="*/ 2758545 w 4063645"/>
              <a:gd name="connsiteY3" fmla="*/ 2753506 h 4677597"/>
              <a:gd name="connsiteX4" fmla="*/ 2171374 w 4063645"/>
              <a:gd name="connsiteY4" fmla="*/ 4673988 h 4677597"/>
              <a:gd name="connsiteX5" fmla="*/ 2172255 w 4063645"/>
              <a:gd name="connsiteY5" fmla="*/ 4677597 h 4677597"/>
              <a:gd name="connsiteX6" fmla="*/ 19867 w 4063645"/>
              <a:gd name="connsiteY6" fmla="*/ 4677596 h 4677597"/>
              <a:gd name="connsiteX7" fmla="*/ 19545 w 4063645"/>
              <a:gd name="connsiteY7" fmla="*/ 4674915 h 4677597"/>
              <a:gd name="connsiteX8" fmla="*/ 1250832 w 4063645"/>
              <a:gd name="connsiteY8" fmla="*/ 1245793 h 4677597"/>
              <a:gd name="connsiteX9" fmla="*/ 3861258 w 4063645"/>
              <a:gd name="connsiteY9" fmla="*/ 14507 h 4677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063645" h="4677597">
                <a:moveTo>
                  <a:pt x="4063645" y="0"/>
                </a:moveTo>
                <a:lnTo>
                  <a:pt x="4063645" y="2137265"/>
                </a:lnTo>
                <a:lnTo>
                  <a:pt x="3862190" y="2166337"/>
                </a:lnTo>
                <a:cubicBezTo>
                  <a:pt x="3457826" y="2244626"/>
                  <a:pt x="3071703" y="2440348"/>
                  <a:pt x="2758545" y="2753506"/>
                </a:cubicBezTo>
                <a:cubicBezTo>
                  <a:pt x="2236616" y="3275436"/>
                  <a:pt x="2040891" y="4000046"/>
                  <a:pt x="2171374" y="4673988"/>
                </a:cubicBezTo>
                <a:lnTo>
                  <a:pt x="2172255" y="4677597"/>
                </a:lnTo>
                <a:lnTo>
                  <a:pt x="19867" y="4677596"/>
                </a:lnTo>
                <a:lnTo>
                  <a:pt x="19545" y="4674915"/>
                </a:lnTo>
                <a:cubicBezTo>
                  <a:pt x="-97720" y="3449909"/>
                  <a:pt x="312708" y="2183917"/>
                  <a:pt x="1250832" y="1245793"/>
                </a:cubicBezTo>
                <a:cubicBezTo>
                  <a:pt x="1980483" y="516142"/>
                  <a:pt x="2908474" y="105714"/>
                  <a:pt x="3861258" y="14507"/>
                </a:cubicBezTo>
                <a:close/>
              </a:path>
            </a:pathLst>
          </a:custGeom>
          <a:solidFill>
            <a:srgbClr val="F7F8F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/>
            <a:endParaRPr lang="en-US" sz="1400" b="0" i="0" err="1">
              <a:latin typeface="Arial"/>
              <a:cs typeface="Arial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2C10D74-2933-36CD-BE03-67185742493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59978" y="6221029"/>
            <a:ext cx="6549436" cy="357052"/>
          </a:xfrm>
        </p:spPr>
        <p:txBody>
          <a:bodyPr anchor="b" anchorCtr="0"/>
          <a:lstStyle>
            <a:lvl1pPr algn="r">
              <a:defRPr sz="800">
                <a:solidFill>
                  <a:schemeClr val="tx2"/>
                </a:solidFill>
              </a:defRPr>
            </a:lvl1pPr>
            <a:lvl2pPr marL="0" indent="0">
              <a:buNone/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A907CC2B-8786-1E0C-9008-7A49526971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877" y="6084140"/>
            <a:ext cx="3034341" cy="557784"/>
          </a:xfrm>
          <a:prstGeom prst="rect">
            <a:avLst/>
          </a:prstGeom>
        </p:spPr>
      </p:pic>
      <p:pic>
        <p:nvPicPr>
          <p:cNvPr id="16" name="Picture 15" descr="A picture containing dark&#10;&#10;Description automatically generated">
            <a:extLst>
              <a:ext uri="{FF2B5EF4-FFF2-40B4-BE49-F238E27FC236}">
                <a16:creationId xmlns:a16="http://schemas.microsoft.com/office/drawing/2014/main" id="{C9B18B6F-DABA-200C-EADD-EA6C0999AC6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597381" y="3020682"/>
            <a:ext cx="3069907" cy="2345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649793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– Grid Light Custom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49">
            <a:extLst>
              <a:ext uri="{FF2B5EF4-FFF2-40B4-BE49-F238E27FC236}">
                <a16:creationId xmlns:a16="http://schemas.microsoft.com/office/drawing/2014/main" id="{0861A707-8FAA-785C-AF5A-B10408CFADD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54946" y="3895115"/>
            <a:ext cx="2120056" cy="2120040"/>
          </a:xfrm>
          <a:custGeom>
            <a:avLst/>
            <a:gdLst>
              <a:gd name="connsiteX0" fmla="*/ 265718 w 531436"/>
              <a:gd name="connsiteY0" fmla="*/ 0 h 531432"/>
              <a:gd name="connsiteX1" fmla="*/ 531436 w 531436"/>
              <a:gd name="connsiteY1" fmla="*/ 265716 h 531432"/>
              <a:gd name="connsiteX2" fmla="*/ 265718 w 531436"/>
              <a:gd name="connsiteY2" fmla="*/ 531432 h 531432"/>
              <a:gd name="connsiteX3" fmla="*/ 0 w 531436"/>
              <a:gd name="connsiteY3" fmla="*/ 265716 h 531432"/>
              <a:gd name="connsiteX4" fmla="*/ 265718 w 531436"/>
              <a:gd name="connsiteY4" fmla="*/ 0 h 531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1436" h="531432">
                <a:moveTo>
                  <a:pt x="265718" y="0"/>
                </a:moveTo>
                <a:cubicBezTo>
                  <a:pt x="412470" y="0"/>
                  <a:pt x="531436" y="118965"/>
                  <a:pt x="531436" y="265716"/>
                </a:cubicBezTo>
                <a:cubicBezTo>
                  <a:pt x="531436" y="412467"/>
                  <a:pt x="412470" y="531432"/>
                  <a:pt x="265718" y="531432"/>
                </a:cubicBezTo>
                <a:cubicBezTo>
                  <a:pt x="118966" y="531432"/>
                  <a:pt x="0" y="412467"/>
                  <a:pt x="0" y="265716"/>
                </a:cubicBezTo>
                <a:cubicBezTo>
                  <a:pt x="0" y="118965"/>
                  <a:pt x="118966" y="0"/>
                  <a:pt x="265718" y="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9A2CF16-F856-9E39-B817-6EFFB84D24B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2972" y="2743200"/>
            <a:ext cx="5292030" cy="786317"/>
          </a:xfrm>
          <a:solidFill>
            <a:schemeClr val="bg1">
              <a:alpha val="65000"/>
            </a:schemeClr>
          </a:solidFill>
        </p:spPr>
        <p:txBody>
          <a:bodyPr lIns="91440" tIns="91440" rIns="91440" bIns="0" anchor="t" anchorCtr="0">
            <a:noAutofit/>
          </a:bodyPr>
          <a:lstStyle>
            <a:lvl1pPr algn="l">
              <a:lnSpc>
                <a:spcPct val="80000"/>
              </a:lnSpc>
              <a:defRPr sz="5000" b="1" i="0" spc="-1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Master title styl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337F9D4E-FB24-2390-3DF7-EA465F01C00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2972" y="3796115"/>
            <a:ext cx="5292030" cy="560910"/>
          </a:xfrm>
          <a:solidFill>
            <a:schemeClr val="bg1">
              <a:alpha val="65000"/>
            </a:schemeClr>
          </a:solidFill>
        </p:spPr>
        <p:txBody>
          <a:bodyPr lIns="91440" tIns="91440" rIns="91440" bIns="91440" anchor="ctr" anchorCtr="0">
            <a:normAutofit/>
          </a:bodyPr>
          <a:lstStyle>
            <a:lvl1pPr marL="0" indent="0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None/>
              <a:defRPr sz="2800" b="1" i="0" spc="-50">
                <a:solidFill>
                  <a:schemeClr val="accent1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subtitle styl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98814365-5E6E-0C9E-EDFB-C1319C13FCD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82588" y="1169557"/>
            <a:ext cx="5292414" cy="786317"/>
          </a:xfrm>
          <a:solidFill>
            <a:schemeClr val="bg1">
              <a:alpha val="65000"/>
            </a:schemeClr>
          </a:solidFill>
        </p:spPr>
        <p:txBody>
          <a:bodyPr lIns="91440" tIns="0" rIns="91440" bIns="91440" anchor="ctr"/>
          <a:lstStyle>
            <a:lvl1pPr>
              <a:spcBef>
                <a:spcPts val="0"/>
              </a:spcBef>
              <a:defRPr sz="5000" b="1"/>
            </a:lvl1pPr>
          </a:lstStyle>
          <a:p>
            <a:pPr lvl="0"/>
            <a:r>
              <a:rPr lang="en-US"/>
              <a:t>(Third line)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AA8FCFCE-1BD2-D0D2-E859-B29857E19554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82588" y="1956883"/>
            <a:ext cx="5292414" cy="786317"/>
          </a:xfrm>
          <a:solidFill>
            <a:schemeClr val="bg1">
              <a:alpha val="65000"/>
            </a:schemeClr>
          </a:solidFill>
        </p:spPr>
        <p:txBody>
          <a:bodyPr lIns="91440" tIns="0" rIns="91440" bIns="91440" anchor="ctr"/>
          <a:lstStyle>
            <a:lvl1pPr>
              <a:spcBef>
                <a:spcPts val="0"/>
              </a:spcBef>
              <a:defRPr sz="5000" b="1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11" name="Text Placeholder 29">
            <a:extLst>
              <a:ext uri="{FF2B5EF4-FFF2-40B4-BE49-F238E27FC236}">
                <a16:creationId xmlns:a16="http://schemas.microsoft.com/office/drawing/2014/main" id="{7245ABF2-28DD-3436-1D35-EF0040C190C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 rot="18900000" flipV="1">
            <a:off x="7240529" y="3127407"/>
            <a:ext cx="6149993" cy="3076598"/>
          </a:xfrm>
          <a:custGeom>
            <a:avLst/>
            <a:gdLst>
              <a:gd name="connsiteX0" fmla="*/ 6149993 w 6149993"/>
              <a:gd name="connsiteY0" fmla="*/ 1964049 h 3076598"/>
              <a:gd name="connsiteX1" fmla="*/ 4650148 w 6149993"/>
              <a:gd name="connsiteY1" fmla="*/ 464204 h 3076598"/>
              <a:gd name="connsiteX2" fmla="*/ 4638007 w 6149993"/>
              <a:gd name="connsiteY2" fmla="*/ 475238 h 3076598"/>
              <a:gd name="connsiteX3" fmla="*/ 3287753 w 6149993"/>
              <a:gd name="connsiteY3" fmla="*/ 959968 h 3076598"/>
              <a:gd name="connsiteX4" fmla="*/ 1527548 w 6149993"/>
              <a:gd name="connsiteY4" fmla="*/ 24073 h 3076598"/>
              <a:gd name="connsiteX5" fmla="*/ 1512923 w 6149993"/>
              <a:gd name="connsiteY5" fmla="*/ 0 h 3076598"/>
              <a:gd name="connsiteX6" fmla="*/ 0 w 6149993"/>
              <a:gd name="connsiteY6" fmla="*/ 1512924 h 3076598"/>
              <a:gd name="connsiteX7" fmla="*/ 16454 w 6149993"/>
              <a:gd name="connsiteY7" fmla="*/ 1533863 h 3076598"/>
              <a:gd name="connsiteX8" fmla="*/ 3287753 w 6149993"/>
              <a:gd name="connsiteY8" fmla="*/ 3076598 h 3076598"/>
              <a:gd name="connsiteX9" fmla="*/ 6138204 w 6149993"/>
              <a:gd name="connsiteY9" fmla="*/ 1975288 h 3076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149993" h="3076598">
                <a:moveTo>
                  <a:pt x="6149993" y="1964049"/>
                </a:moveTo>
                <a:lnTo>
                  <a:pt x="4650148" y="464204"/>
                </a:lnTo>
                <a:lnTo>
                  <a:pt x="4638007" y="475238"/>
                </a:lnTo>
                <a:cubicBezTo>
                  <a:pt x="4271074" y="778058"/>
                  <a:pt x="3800657" y="959968"/>
                  <a:pt x="3287753" y="959968"/>
                </a:cubicBezTo>
                <a:cubicBezTo>
                  <a:pt x="2555033" y="959968"/>
                  <a:pt x="1909019" y="588724"/>
                  <a:pt x="1527548" y="24073"/>
                </a:cubicBezTo>
                <a:lnTo>
                  <a:pt x="1512923" y="0"/>
                </a:lnTo>
                <a:lnTo>
                  <a:pt x="0" y="1512924"/>
                </a:lnTo>
                <a:lnTo>
                  <a:pt x="16454" y="1533863"/>
                </a:lnTo>
                <a:cubicBezTo>
                  <a:pt x="794015" y="2476050"/>
                  <a:pt x="1970751" y="3076598"/>
                  <a:pt x="3287753" y="3076598"/>
                </a:cubicBezTo>
                <a:cubicBezTo>
                  <a:pt x="4385254" y="3076598"/>
                  <a:pt x="5385348" y="2659551"/>
                  <a:pt x="6138204" y="1975288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66407DA8-97BF-C5B8-C9B7-283F8DD1507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59978" y="6221029"/>
            <a:ext cx="6549436" cy="357052"/>
          </a:xfrm>
        </p:spPr>
        <p:txBody>
          <a:bodyPr anchor="b" anchorCtr="0"/>
          <a:lstStyle>
            <a:lvl1pPr algn="r">
              <a:defRPr sz="800">
                <a:solidFill>
                  <a:schemeClr val="tx2"/>
                </a:solidFill>
              </a:defRPr>
            </a:lvl1pPr>
            <a:lvl2pPr marL="0" indent="0">
              <a:buNone/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70671432-83C9-2265-B602-7B98C37C1F2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877" y="6084140"/>
            <a:ext cx="3034341" cy="557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2298320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 Ma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56">
            <a:extLst>
              <a:ext uri="{FF2B5EF4-FFF2-40B4-BE49-F238E27FC236}">
                <a16:creationId xmlns:a16="http://schemas.microsoft.com/office/drawing/2014/main" id="{1EC614DD-715F-4FED-8870-8126A5E30C3E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1478930" y="1386942"/>
            <a:ext cx="7785153" cy="5092700"/>
            <a:chOff x="1757363" y="1860550"/>
            <a:chExt cx="6414459" cy="3873500"/>
          </a:xfrm>
          <a:solidFill>
            <a:schemeClr val="bg2"/>
          </a:solidFill>
        </p:grpSpPr>
        <p:sp>
          <p:nvSpPr>
            <p:cNvPr id="6" name="Freeform 4">
              <a:extLst>
                <a:ext uri="{FF2B5EF4-FFF2-40B4-BE49-F238E27FC236}">
                  <a16:creationId xmlns:a16="http://schemas.microsoft.com/office/drawing/2014/main" id="{4D3AFE62-E176-4623-A52A-BE82F84C5C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697186" y="1860550"/>
              <a:ext cx="474636" cy="717550"/>
            </a:xfrm>
            <a:custGeom>
              <a:avLst/>
              <a:gdLst>
                <a:gd name="T0" fmla="*/ 74 w 230"/>
                <a:gd name="T1" fmla="*/ 12 h 377"/>
                <a:gd name="T2" fmla="*/ 28 w 230"/>
                <a:gd name="T3" fmla="*/ 81 h 377"/>
                <a:gd name="T4" fmla="*/ 49 w 230"/>
                <a:gd name="T5" fmla="*/ 107 h 377"/>
                <a:gd name="T6" fmla="*/ 28 w 230"/>
                <a:gd name="T7" fmla="*/ 139 h 377"/>
                <a:gd name="T8" fmla="*/ 41 w 230"/>
                <a:gd name="T9" fmla="*/ 149 h 377"/>
                <a:gd name="T10" fmla="*/ 31 w 230"/>
                <a:gd name="T11" fmla="*/ 171 h 377"/>
                <a:gd name="T12" fmla="*/ 31 w 230"/>
                <a:gd name="T13" fmla="*/ 206 h 377"/>
                <a:gd name="T14" fmla="*/ 0 w 230"/>
                <a:gd name="T15" fmla="*/ 219 h 377"/>
                <a:gd name="T16" fmla="*/ 13 w 230"/>
                <a:gd name="T17" fmla="*/ 229 h 377"/>
                <a:gd name="T18" fmla="*/ 79 w 230"/>
                <a:gd name="T19" fmla="*/ 361 h 377"/>
                <a:gd name="T20" fmla="*/ 131 w 230"/>
                <a:gd name="T21" fmla="*/ 377 h 377"/>
                <a:gd name="T22" fmla="*/ 128 w 230"/>
                <a:gd name="T23" fmla="*/ 350 h 377"/>
                <a:gd name="T24" fmla="*/ 154 w 230"/>
                <a:gd name="T25" fmla="*/ 329 h 377"/>
                <a:gd name="T26" fmla="*/ 144 w 230"/>
                <a:gd name="T27" fmla="*/ 307 h 377"/>
                <a:gd name="T28" fmla="*/ 210 w 230"/>
                <a:gd name="T29" fmla="*/ 280 h 377"/>
                <a:gd name="T30" fmla="*/ 212 w 230"/>
                <a:gd name="T31" fmla="*/ 243 h 377"/>
                <a:gd name="T32" fmla="*/ 250 w 230"/>
                <a:gd name="T33" fmla="*/ 241 h 377"/>
                <a:gd name="T34" fmla="*/ 280 w 230"/>
                <a:gd name="T35" fmla="*/ 213 h 377"/>
                <a:gd name="T36" fmla="*/ 316 w 230"/>
                <a:gd name="T37" fmla="*/ 194 h 377"/>
                <a:gd name="T38" fmla="*/ 316 w 230"/>
                <a:gd name="T39" fmla="*/ 171 h 377"/>
                <a:gd name="T40" fmla="*/ 266 w 230"/>
                <a:gd name="T41" fmla="*/ 163 h 377"/>
                <a:gd name="T42" fmla="*/ 257 w 230"/>
                <a:gd name="T43" fmla="*/ 138 h 377"/>
                <a:gd name="T44" fmla="*/ 207 w 230"/>
                <a:gd name="T45" fmla="*/ 134 h 377"/>
                <a:gd name="T46" fmla="*/ 168 w 230"/>
                <a:gd name="T47" fmla="*/ 22 h 377"/>
                <a:gd name="T48" fmla="*/ 148 w 230"/>
                <a:gd name="T49" fmla="*/ 0 h 377"/>
                <a:gd name="T50" fmla="*/ 99 w 230"/>
                <a:gd name="T51" fmla="*/ 9 h 377"/>
                <a:gd name="T52" fmla="*/ 90 w 230"/>
                <a:gd name="T53" fmla="*/ 20 h 377"/>
                <a:gd name="T54" fmla="*/ 74 w 230"/>
                <a:gd name="T55" fmla="*/ 12 h 377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230"/>
                <a:gd name="T85" fmla="*/ 0 h 377"/>
                <a:gd name="T86" fmla="*/ 230 w 230"/>
                <a:gd name="T87" fmla="*/ 377 h 377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230" h="377">
                  <a:moveTo>
                    <a:pt x="54" y="12"/>
                  </a:moveTo>
                  <a:lnTo>
                    <a:pt x="20" y="81"/>
                  </a:lnTo>
                  <a:lnTo>
                    <a:pt x="36" y="107"/>
                  </a:lnTo>
                  <a:lnTo>
                    <a:pt x="20" y="139"/>
                  </a:lnTo>
                  <a:lnTo>
                    <a:pt x="30" y="149"/>
                  </a:lnTo>
                  <a:lnTo>
                    <a:pt x="23" y="171"/>
                  </a:lnTo>
                  <a:lnTo>
                    <a:pt x="23" y="206"/>
                  </a:lnTo>
                  <a:lnTo>
                    <a:pt x="0" y="219"/>
                  </a:lnTo>
                  <a:lnTo>
                    <a:pt x="9" y="229"/>
                  </a:lnTo>
                  <a:lnTo>
                    <a:pt x="57" y="361"/>
                  </a:lnTo>
                  <a:lnTo>
                    <a:pt x="95" y="377"/>
                  </a:lnTo>
                  <a:lnTo>
                    <a:pt x="93" y="350"/>
                  </a:lnTo>
                  <a:lnTo>
                    <a:pt x="112" y="329"/>
                  </a:lnTo>
                  <a:lnTo>
                    <a:pt x="105" y="307"/>
                  </a:lnTo>
                  <a:lnTo>
                    <a:pt x="152" y="280"/>
                  </a:lnTo>
                  <a:lnTo>
                    <a:pt x="154" y="243"/>
                  </a:lnTo>
                  <a:lnTo>
                    <a:pt x="182" y="241"/>
                  </a:lnTo>
                  <a:lnTo>
                    <a:pt x="204" y="213"/>
                  </a:lnTo>
                  <a:lnTo>
                    <a:pt x="230" y="194"/>
                  </a:lnTo>
                  <a:lnTo>
                    <a:pt x="230" y="171"/>
                  </a:lnTo>
                  <a:lnTo>
                    <a:pt x="194" y="163"/>
                  </a:lnTo>
                  <a:lnTo>
                    <a:pt x="187" y="138"/>
                  </a:lnTo>
                  <a:lnTo>
                    <a:pt x="151" y="134"/>
                  </a:lnTo>
                  <a:lnTo>
                    <a:pt x="122" y="22"/>
                  </a:lnTo>
                  <a:lnTo>
                    <a:pt x="108" y="0"/>
                  </a:lnTo>
                  <a:lnTo>
                    <a:pt x="72" y="9"/>
                  </a:lnTo>
                  <a:lnTo>
                    <a:pt x="66" y="20"/>
                  </a:lnTo>
                  <a:lnTo>
                    <a:pt x="54" y="12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56D09F3E-B20F-432D-B2BA-3EB96BD63BEF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8691" y="4062413"/>
              <a:ext cx="607053" cy="561975"/>
            </a:xfrm>
            <a:custGeom>
              <a:avLst/>
              <a:gdLst>
                <a:gd name="T0" fmla="*/ 0 w 294"/>
                <a:gd name="T1" fmla="*/ 27 h 295"/>
                <a:gd name="T2" fmla="*/ 162 w 294"/>
                <a:gd name="T3" fmla="*/ 12 h 295"/>
                <a:gd name="T4" fmla="*/ 359 w 294"/>
                <a:gd name="T5" fmla="*/ 0 h 295"/>
                <a:gd name="T6" fmla="*/ 348 w 294"/>
                <a:gd name="T7" fmla="*/ 39 h 295"/>
                <a:gd name="T8" fmla="*/ 392 w 294"/>
                <a:gd name="T9" fmla="*/ 30 h 295"/>
                <a:gd name="T10" fmla="*/ 407 w 294"/>
                <a:gd name="T11" fmla="*/ 56 h 295"/>
                <a:gd name="T12" fmla="*/ 362 w 294"/>
                <a:gd name="T13" fmla="*/ 80 h 295"/>
                <a:gd name="T14" fmla="*/ 373 w 294"/>
                <a:gd name="T15" fmla="*/ 121 h 295"/>
                <a:gd name="T16" fmla="*/ 327 w 294"/>
                <a:gd name="T17" fmla="*/ 189 h 295"/>
                <a:gd name="T18" fmla="*/ 291 w 294"/>
                <a:gd name="T19" fmla="*/ 231 h 295"/>
                <a:gd name="T20" fmla="*/ 310 w 294"/>
                <a:gd name="T21" fmla="*/ 285 h 295"/>
                <a:gd name="T22" fmla="*/ 60 w 294"/>
                <a:gd name="T23" fmla="*/ 295 h 295"/>
                <a:gd name="T24" fmla="*/ 59 w 294"/>
                <a:gd name="T25" fmla="*/ 262 h 295"/>
                <a:gd name="T26" fmla="*/ 10 w 294"/>
                <a:gd name="T27" fmla="*/ 255 h 295"/>
                <a:gd name="T28" fmla="*/ 10 w 294"/>
                <a:gd name="T29" fmla="*/ 80 h 295"/>
                <a:gd name="T30" fmla="*/ 0 w 294"/>
                <a:gd name="T31" fmla="*/ 27 h 29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94"/>
                <a:gd name="T49" fmla="*/ 0 h 295"/>
                <a:gd name="T50" fmla="*/ 294 w 294"/>
                <a:gd name="T51" fmla="*/ 295 h 295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94" h="295">
                  <a:moveTo>
                    <a:pt x="0" y="27"/>
                  </a:moveTo>
                  <a:lnTo>
                    <a:pt x="116" y="12"/>
                  </a:lnTo>
                  <a:lnTo>
                    <a:pt x="259" y="0"/>
                  </a:lnTo>
                  <a:lnTo>
                    <a:pt x="252" y="39"/>
                  </a:lnTo>
                  <a:lnTo>
                    <a:pt x="283" y="30"/>
                  </a:lnTo>
                  <a:lnTo>
                    <a:pt x="294" y="56"/>
                  </a:lnTo>
                  <a:lnTo>
                    <a:pt x="262" y="80"/>
                  </a:lnTo>
                  <a:lnTo>
                    <a:pt x="269" y="121"/>
                  </a:lnTo>
                  <a:lnTo>
                    <a:pt x="235" y="189"/>
                  </a:lnTo>
                  <a:lnTo>
                    <a:pt x="210" y="231"/>
                  </a:lnTo>
                  <a:lnTo>
                    <a:pt x="224" y="285"/>
                  </a:lnTo>
                  <a:lnTo>
                    <a:pt x="43" y="295"/>
                  </a:lnTo>
                  <a:lnTo>
                    <a:pt x="42" y="262"/>
                  </a:lnTo>
                  <a:lnTo>
                    <a:pt x="6" y="255"/>
                  </a:lnTo>
                  <a:lnTo>
                    <a:pt x="6" y="80"/>
                  </a:lnTo>
                  <a:lnTo>
                    <a:pt x="0" y="27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F7B9766-CACB-4A5A-88EB-7FDF048205A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54963" y="4603750"/>
              <a:ext cx="741189" cy="588963"/>
            </a:xfrm>
            <a:custGeom>
              <a:avLst/>
              <a:gdLst>
                <a:gd name="T0" fmla="*/ 0 w 359"/>
                <a:gd name="T1" fmla="*/ 7 h 309"/>
                <a:gd name="T2" fmla="*/ 247 w 359"/>
                <a:gd name="T3" fmla="*/ 0 h 309"/>
                <a:gd name="T4" fmla="*/ 291 w 359"/>
                <a:gd name="T5" fmla="*/ 64 h 309"/>
                <a:gd name="T6" fmla="*/ 254 w 359"/>
                <a:gd name="T7" fmla="*/ 139 h 309"/>
                <a:gd name="T8" fmla="*/ 242 w 359"/>
                <a:gd name="T9" fmla="*/ 173 h 309"/>
                <a:gd name="T10" fmla="*/ 407 w 359"/>
                <a:gd name="T11" fmla="*/ 159 h 309"/>
                <a:gd name="T12" fmla="*/ 417 w 359"/>
                <a:gd name="T13" fmla="*/ 208 h 309"/>
                <a:gd name="T14" fmla="*/ 367 w 359"/>
                <a:gd name="T15" fmla="*/ 204 h 309"/>
                <a:gd name="T16" fmla="*/ 346 w 359"/>
                <a:gd name="T17" fmla="*/ 225 h 309"/>
                <a:gd name="T18" fmla="*/ 369 w 359"/>
                <a:gd name="T19" fmla="*/ 239 h 309"/>
                <a:gd name="T20" fmla="*/ 416 w 359"/>
                <a:gd name="T21" fmla="*/ 222 h 309"/>
                <a:gd name="T22" fmla="*/ 417 w 359"/>
                <a:gd name="T23" fmla="*/ 246 h 309"/>
                <a:gd name="T24" fmla="*/ 444 w 359"/>
                <a:gd name="T25" fmla="*/ 226 h 309"/>
                <a:gd name="T26" fmla="*/ 463 w 359"/>
                <a:gd name="T27" fmla="*/ 226 h 309"/>
                <a:gd name="T28" fmla="*/ 441 w 359"/>
                <a:gd name="T29" fmla="*/ 267 h 309"/>
                <a:gd name="T30" fmla="*/ 482 w 359"/>
                <a:gd name="T31" fmla="*/ 274 h 309"/>
                <a:gd name="T32" fmla="*/ 495 w 359"/>
                <a:gd name="T33" fmla="*/ 297 h 309"/>
                <a:gd name="T34" fmla="*/ 476 w 359"/>
                <a:gd name="T35" fmla="*/ 304 h 309"/>
                <a:gd name="T36" fmla="*/ 451 w 359"/>
                <a:gd name="T37" fmla="*/ 289 h 309"/>
                <a:gd name="T38" fmla="*/ 402 w 359"/>
                <a:gd name="T39" fmla="*/ 279 h 309"/>
                <a:gd name="T40" fmla="*/ 412 w 359"/>
                <a:gd name="T41" fmla="*/ 306 h 309"/>
                <a:gd name="T42" fmla="*/ 390 w 359"/>
                <a:gd name="T43" fmla="*/ 309 h 309"/>
                <a:gd name="T44" fmla="*/ 368 w 359"/>
                <a:gd name="T45" fmla="*/ 285 h 309"/>
                <a:gd name="T46" fmla="*/ 356 w 359"/>
                <a:gd name="T47" fmla="*/ 300 h 309"/>
                <a:gd name="T48" fmla="*/ 284 w 359"/>
                <a:gd name="T49" fmla="*/ 300 h 309"/>
                <a:gd name="T50" fmla="*/ 284 w 359"/>
                <a:gd name="T51" fmla="*/ 285 h 309"/>
                <a:gd name="T52" fmla="*/ 258 w 359"/>
                <a:gd name="T53" fmla="*/ 267 h 309"/>
                <a:gd name="T54" fmla="*/ 202 w 359"/>
                <a:gd name="T55" fmla="*/ 265 h 309"/>
                <a:gd name="T56" fmla="*/ 248 w 359"/>
                <a:gd name="T57" fmla="*/ 285 h 309"/>
                <a:gd name="T58" fmla="*/ 184 w 359"/>
                <a:gd name="T59" fmla="*/ 295 h 309"/>
                <a:gd name="T60" fmla="*/ 86 w 359"/>
                <a:gd name="T61" fmla="*/ 281 h 309"/>
                <a:gd name="T62" fmla="*/ 48 w 359"/>
                <a:gd name="T63" fmla="*/ 285 h 309"/>
                <a:gd name="T64" fmla="*/ 62 w 359"/>
                <a:gd name="T65" fmla="*/ 181 h 309"/>
                <a:gd name="T66" fmla="*/ 1 w 359"/>
                <a:gd name="T67" fmla="*/ 99 h 309"/>
                <a:gd name="T68" fmla="*/ 0 w 359"/>
                <a:gd name="T69" fmla="*/ 7 h 309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59"/>
                <a:gd name="T106" fmla="*/ 0 h 309"/>
                <a:gd name="T107" fmla="*/ 359 w 359"/>
                <a:gd name="T108" fmla="*/ 309 h 309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59" h="309">
                  <a:moveTo>
                    <a:pt x="0" y="7"/>
                  </a:moveTo>
                  <a:lnTo>
                    <a:pt x="179" y="0"/>
                  </a:lnTo>
                  <a:lnTo>
                    <a:pt x="211" y="64"/>
                  </a:lnTo>
                  <a:lnTo>
                    <a:pt x="184" y="139"/>
                  </a:lnTo>
                  <a:lnTo>
                    <a:pt x="175" y="173"/>
                  </a:lnTo>
                  <a:lnTo>
                    <a:pt x="295" y="159"/>
                  </a:lnTo>
                  <a:lnTo>
                    <a:pt x="303" y="208"/>
                  </a:lnTo>
                  <a:lnTo>
                    <a:pt x="267" y="204"/>
                  </a:lnTo>
                  <a:lnTo>
                    <a:pt x="250" y="225"/>
                  </a:lnTo>
                  <a:lnTo>
                    <a:pt x="269" y="239"/>
                  </a:lnTo>
                  <a:lnTo>
                    <a:pt x="302" y="222"/>
                  </a:lnTo>
                  <a:lnTo>
                    <a:pt x="303" y="246"/>
                  </a:lnTo>
                  <a:lnTo>
                    <a:pt x="322" y="226"/>
                  </a:lnTo>
                  <a:lnTo>
                    <a:pt x="336" y="226"/>
                  </a:lnTo>
                  <a:lnTo>
                    <a:pt x="320" y="267"/>
                  </a:lnTo>
                  <a:lnTo>
                    <a:pt x="350" y="274"/>
                  </a:lnTo>
                  <a:lnTo>
                    <a:pt x="359" y="297"/>
                  </a:lnTo>
                  <a:lnTo>
                    <a:pt x="345" y="304"/>
                  </a:lnTo>
                  <a:lnTo>
                    <a:pt x="327" y="289"/>
                  </a:lnTo>
                  <a:lnTo>
                    <a:pt x="292" y="279"/>
                  </a:lnTo>
                  <a:lnTo>
                    <a:pt x="299" y="306"/>
                  </a:lnTo>
                  <a:lnTo>
                    <a:pt x="282" y="309"/>
                  </a:lnTo>
                  <a:lnTo>
                    <a:pt x="268" y="285"/>
                  </a:lnTo>
                  <a:lnTo>
                    <a:pt x="259" y="300"/>
                  </a:lnTo>
                  <a:lnTo>
                    <a:pt x="206" y="300"/>
                  </a:lnTo>
                  <a:lnTo>
                    <a:pt x="206" y="285"/>
                  </a:lnTo>
                  <a:lnTo>
                    <a:pt x="187" y="267"/>
                  </a:lnTo>
                  <a:lnTo>
                    <a:pt x="147" y="265"/>
                  </a:lnTo>
                  <a:lnTo>
                    <a:pt x="180" y="285"/>
                  </a:lnTo>
                  <a:lnTo>
                    <a:pt x="134" y="295"/>
                  </a:lnTo>
                  <a:lnTo>
                    <a:pt x="62" y="281"/>
                  </a:lnTo>
                  <a:lnTo>
                    <a:pt x="35" y="285"/>
                  </a:lnTo>
                  <a:lnTo>
                    <a:pt x="45" y="181"/>
                  </a:lnTo>
                  <a:lnTo>
                    <a:pt x="1" y="99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AC3BEAE1-90DA-4F18-921F-21C047EBCCF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0151" y="2117725"/>
              <a:ext cx="825453" cy="923925"/>
            </a:xfrm>
            <a:custGeom>
              <a:avLst/>
              <a:gdLst>
                <a:gd name="T0" fmla="*/ 0 w 400"/>
                <a:gd name="T1" fmla="*/ 38 h 485"/>
                <a:gd name="T2" fmla="*/ 144 w 400"/>
                <a:gd name="T3" fmla="*/ 38 h 485"/>
                <a:gd name="T4" fmla="*/ 143 w 400"/>
                <a:gd name="T5" fmla="*/ 0 h 485"/>
                <a:gd name="T6" fmla="*/ 172 w 400"/>
                <a:gd name="T7" fmla="*/ 11 h 485"/>
                <a:gd name="T8" fmla="*/ 181 w 400"/>
                <a:gd name="T9" fmla="*/ 40 h 485"/>
                <a:gd name="T10" fmla="*/ 248 w 400"/>
                <a:gd name="T11" fmla="*/ 72 h 485"/>
                <a:gd name="T12" fmla="*/ 268 w 400"/>
                <a:gd name="T13" fmla="*/ 58 h 485"/>
                <a:gd name="T14" fmla="*/ 311 w 400"/>
                <a:gd name="T15" fmla="*/ 58 h 485"/>
                <a:gd name="T16" fmla="*/ 342 w 400"/>
                <a:gd name="T17" fmla="*/ 86 h 485"/>
                <a:gd name="T18" fmla="*/ 364 w 400"/>
                <a:gd name="T19" fmla="*/ 76 h 485"/>
                <a:gd name="T20" fmla="*/ 422 w 400"/>
                <a:gd name="T21" fmla="*/ 87 h 485"/>
                <a:gd name="T22" fmla="*/ 444 w 400"/>
                <a:gd name="T23" fmla="*/ 66 h 485"/>
                <a:gd name="T24" fmla="*/ 482 w 400"/>
                <a:gd name="T25" fmla="*/ 83 h 485"/>
                <a:gd name="T26" fmla="*/ 550 w 400"/>
                <a:gd name="T27" fmla="*/ 80 h 485"/>
                <a:gd name="T28" fmla="*/ 439 w 400"/>
                <a:gd name="T29" fmla="*/ 140 h 485"/>
                <a:gd name="T30" fmla="*/ 385 w 400"/>
                <a:gd name="T31" fmla="*/ 193 h 485"/>
                <a:gd name="T32" fmla="*/ 396 w 400"/>
                <a:gd name="T33" fmla="*/ 269 h 485"/>
                <a:gd name="T34" fmla="*/ 358 w 400"/>
                <a:gd name="T35" fmla="*/ 301 h 485"/>
                <a:gd name="T36" fmla="*/ 372 w 400"/>
                <a:gd name="T37" fmla="*/ 324 h 485"/>
                <a:gd name="T38" fmla="*/ 372 w 400"/>
                <a:gd name="T39" fmla="*/ 380 h 485"/>
                <a:gd name="T40" fmla="*/ 411 w 400"/>
                <a:gd name="T41" fmla="*/ 380 h 485"/>
                <a:gd name="T42" fmla="*/ 467 w 400"/>
                <a:gd name="T43" fmla="*/ 421 h 485"/>
                <a:gd name="T44" fmla="*/ 488 w 400"/>
                <a:gd name="T45" fmla="*/ 471 h 485"/>
                <a:gd name="T46" fmla="*/ 101 w 400"/>
                <a:gd name="T47" fmla="*/ 485 h 485"/>
                <a:gd name="T48" fmla="*/ 102 w 400"/>
                <a:gd name="T49" fmla="*/ 351 h 485"/>
                <a:gd name="T50" fmla="*/ 67 w 400"/>
                <a:gd name="T51" fmla="*/ 321 h 485"/>
                <a:gd name="T52" fmla="*/ 80 w 400"/>
                <a:gd name="T53" fmla="*/ 286 h 485"/>
                <a:gd name="T54" fmla="*/ 90 w 400"/>
                <a:gd name="T55" fmla="*/ 266 h 485"/>
                <a:gd name="T56" fmla="*/ 67 w 400"/>
                <a:gd name="T57" fmla="*/ 173 h 485"/>
                <a:gd name="T58" fmla="*/ 34 w 400"/>
                <a:gd name="T59" fmla="*/ 112 h 485"/>
                <a:gd name="T60" fmla="*/ 0 w 400"/>
                <a:gd name="T61" fmla="*/ 38 h 485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400"/>
                <a:gd name="T94" fmla="*/ 0 h 485"/>
                <a:gd name="T95" fmla="*/ 400 w 400"/>
                <a:gd name="T96" fmla="*/ 485 h 485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400" h="485">
                  <a:moveTo>
                    <a:pt x="0" y="38"/>
                  </a:moveTo>
                  <a:lnTo>
                    <a:pt x="105" y="38"/>
                  </a:lnTo>
                  <a:lnTo>
                    <a:pt x="104" y="0"/>
                  </a:lnTo>
                  <a:lnTo>
                    <a:pt x="126" y="11"/>
                  </a:lnTo>
                  <a:lnTo>
                    <a:pt x="131" y="40"/>
                  </a:lnTo>
                  <a:lnTo>
                    <a:pt x="181" y="72"/>
                  </a:lnTo>
                  <a:lnTo>
                    <a:pt x="196" y="58"/>
                  </a:lnTo>
                  <a:lnTo>
                    <a:pt x="226" y="58"/>
                  </a:lnTo>
                  <a:lnTo>
                    <a:pt x="249" y="86"/>
                  </a:lnTo>
                  <a:lnTo>
                    <a:pt x="264" y="76"/>
                  </a:lnTo>
                  <a:lnTo>
                    <a:pt x="308" y="87"/>
                  </a:lnTo>
                  <a:lnTo>
                    <a:pt x="323" y="66"/>
                  </a:lnTo>
                  <a:lnTo>
                    <a:pt x="351" y="83"/>
                  </a:lnTo>
                  <a:lnTo>
                    <a:pt x="400" y="80"/>
                  </a:lnTo>
                  <a:lnTo>
                    <a:pt x="320" y="140"/>
                  </a:lnTo>
                  <a:lnTo>
                    <a:pt x="281" y="193"/>
                  </a:lnTo>
                  <a:lnTo>
                    <a:pt x="288" y="269"/>
                  </a:lnTo>
                  <a:lnTo>
                    <a:pt x="261" y="301"/>
                  </a:lnTo>
                  <a:lnTo>
                    <a:pt x="272" y="324"/>
                  </a:lnTo>
                  <a:lnTo>
                    <a:pt x="272" y="380"/>
                  </a:lnTo>
                  <a:lnTo>
                    <a:pt x="299" y="380"/>
                  </a:lnTo>
                  <a:lnTo>
                    <a:pt x="340" y="421"/>
                  </a:lnTo>
                  <a:lnTo>
                    <a:pt x="356" y="471"/>
                  </a:lnTo>
                  <a:lnTo>
                    <a:pt x="73" y="485"/>
                  </a:lnTo>
                  <a:lnTo>
                    <a:pt x="74" y="351"/>
                  </a:lnTo>
                  <a:lnTo>
                    <a:pt x="49" y="321"/>
                  </a:lnTo>
                  <a:lnTo>
                    <a:pt x="58" y="286"/>
                  </a:lnTo>
                  <a:lnTo>
                    <a:pt x="66" y="266"/>
                  </a:lnTo>
                  <a:lnTo>
                    <a:pt x="49" y="173"/>
                  </a:lnTo>
                  <a:lnTo>
                    <a:pt x="25" y="112"/>
                  </a:lnTo>
                  <a:lnTo>
                    <a:pt x="0" y="3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9EB14C47-F99E-47A3-96B4-6BCCB6C596C4}"/>
                </a:ext>
              </a:extLst>
            </p:cNvPr>
            <p:cNvSpPr>
              <a:spLocks/>
            </p:cNvSpPr>
            <p:nvPr/>
          </p:nvSpPr>
          <p:spPr bwMode="auto">
            <a:xfrm>
              <a:off x="5380937" y="2435225"/>
              <a:ext cx="627688" cy="728663"/>
            </a:xfrm>
            <a:custGeom>
              <a:avLst/>
              <a:gdLst>
                <a:gd name="T0" fmla="*/ 30 w 304"/>
                <a:gd name="T1" fmla="*/ 26 h 382"/>
                <a:gd name="T2" fmla="*/ 62 w 304"/>
                <a:gd name="T3" fmla="*/ 23 h 382"/>
                <a:gd name="T4" fmla="*/ 89 w 304"/>
                <a:gd name="T5" fmla="*/ 23 h 382"/>
                <a:gd name="T6" fmla="*/ 108 w 304"/>
                <a:gd name="T7" fmla="*/ 0 h 382"/>
                <a:gd name="T8" fmla="*/ 120 w 304"/>
                <a:gd name="T9" fmla="*/ 28 h 382"/>
                <a:gd name="T10" fmla="*/ 167 w 304"/>
                <a:gd name="T11" fmla="*/ 28 h 382"/>
                <a:gd name="T12" fmla="*/ 189 w 304"/>
                <a:gd name="T13" fmla="*/ 54 h 382"/>
                <a:gd name="T14" fmla="*/ 237 w 304"/>
                <a:gd name="T15" fmla="*/ 47 h 382"/>
                <a:gd name="T16" fmla="*/ 268 w 304"/>
                <a:gd name="T17" fmla="*/ 64 h 382"/>
                <a:gd name="T18" fmla="*/ 327 w 304"/>
                <a:gd name="T19" fmla="*/ 75 h 382"/>
                <a:gd name="T20" fmla="*/ 338 w 304"/>
                <a:gd name="T21" fmla="*/ 95 h 382"/>
                <a:gd name="T22" fmla="*/ 368 w 304"/>
                <a:gd name="T23" fmla="*/ 97 h 382"/>
                <a:gd name="T24" fmla="*/ 357 w 304"/>
                <a:gd name="T25" fmla="*/ 117 h 382"/>
                <a:gd name="T26" fmla="*/ 369 w 304"/>
                <a:gd name="T27" fmla="*/ 139 h 382"/>
                <a:gd name="T28" fmla="*/ 351 w 304"/>
                <a:gd name="T29" fmla="*/ 167 h 382"/>
                <a:gd name="T30" fmla="*/ 365 w 304"/>
                <a:gd name="T31" fmla="*/ 173 h 382"/>
                <a:gd name="T32" fmla="*/ 397 w 304"/>
                <a:gd name="T33" fmla="*/ 142 h 382"/>
                <a:gd name="T34" fmla="*/ 396 w 304"/>
                <a:gd name="T35" fmla="*/ 132 h 382"/>
                <a:gd name="T36" fmla="*/ 407 w 304"/>
                <a:gd name="T37" fmla="*/ 127 h 382"/>
                <a:gd name="T38" fmla="*/ 417 w 304"/>
                <a:gd name="T39" fmla="*/ 142 h 382"/>
                <a:gd name="T40" fmla="*/ 390 w 304"/>
                <a:gd name="T41" fmla="*/ 164 h 382"/>
                <a:gd name="T42" fmla="*/ 382 w 304"/>
                <a:gd name="T43" fmla="*/ 212 h 382"/>
                <a:gd name="T44" fmla="*/ 382 w 304"/>
                <a:gd name="T45" fmla="*/ 293 h 382"/>
                <a:gd name="T46" fmla="*/ 397 w 304"/>
                <a:gd name="T47" fmla="*/ 307 h 382"/>
                <a:gd name="T48" fmla="*/ 389 w 304"/>
                <a:gd name="T49" fmla="*/ 358 h 382"/>
                <a:gd name="T50" fmla="*/ 194 w 304"/>
                <a:gd name="T51" fmla="*/ 382 h 382"/>
                <a:gd name="T52" fmla="*/ 143 w 304"/>
                <a:gd name="T53" fmla="*/ 359 h 382"/>
                <a:gd name="T54" fmla="*/ 153 w 304"/>
                <a:gd name="T55" fmla="*/ 328 h 382"/>
                <a:gd name="T56" fmla="*/ 129 w 304"/>
                <a:gd name="T57" fmla="*/ 295 h 382"/>
                <a:gd name="T58" fmla="*/ 108 w 304"/>
                <a:gd name="T59" fmla="*/ 254 h 382"/>
                <a:gd name="T60" fmla="*/ 52 w 304"/>
                <a:gd name="T61" fmla="*/ 213 h 382"/>
                <a:gd name="T62" fmla="*/ 17 w 304"/>
                <a:gd name="T63" fmla="*/ 213 h 382"/>
                <a:gd name="T64" fmla="*/ 17 w 304"/>
                <a:gd name="T65" fmla="*/ 157 h 382"/>
                <a:gd name="T66" fmla="*/ 0 w 304"/>
                <a:gd name="T67" fmla="*/ 135 h 382"/>
                <a:gd name="T68" fmla="*/ 38 w 304"/>
                <a:gd name="T69" fmla="*/ 102 h 382"/>
                <a:gd name="T70" fmla="*/ 30 w 304"/>
                <a:gd name="T71" fmla="*/ 26 h 38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04"/>
                <a:gd name="T109" fmla="*/ 0 h 382"/>
                <a:gd name="T110" fmla="*/ 304 w 304"/>
                <a:gd name="T111" fmla="*/ 382 h 38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04" h="382">
                  <a:moveTo>
                    <a:pt x="22" y="26"/>
                  </a:moveTo>
                  <a:lnTo>
                    <a:pt x="45" y="23"/>
                  </a:lnTo>
                  <a:lnTo>
                    <a:pt x="65" y="23"/>
                  </a:lnTo>
                  <a:lnTo>
                    <a:pt x="79" y="0"/>
                  </a:lnTo>
                  <a:lnTo>
                    <a:pt x="88" y="28"/>
                  </a:lnTo>
                  <a:lnTo>
                    <a:pt x="121" y="28"/>
                  </a:lnTo>
                  <a:lnTo>
                    <a:pt x="139" y="54"/>
                  </a:lnTo>
                  <a:lnTo>
                    <a:pt x="173" y="47"/>
                  </a:lnTo>
                  <a:lnTo>
                    <a:pt x="196" y="64"/>
                  </a:lnTo>
                  <a:lnTo>
                    <a:pt x="238" y="75"/>
                  </a:lnTo>
                  <a:lnTo>
                    <a:pt x="246" y="95"/>
                  </a:lnTo>
                  <a:lnTo>
                    <a:pt x="268" y="97"/>
                  </a:lnTo>
                  <a:lnTo>
                    <a:pt x="261" y="117"/>
                  </a:lnTo>
                  <a:lnTo>
                    <a:pt x="269" y="139"/>
                  </a:lnTo>
                  <a:lnTo>
                    <a:pt x="255" y="167"/>
                  </a:lnTo>
                  <a:lnTo>
                    <a:pt x="265" y="173"/>
                  </a:lnTo>
                  <a:lnTo>
                    <a:pt x="289" y="142"/>
                  </a:lnTo>
                  <a:lnTo>
                    <a:pt x="288" y="132"/>
                  </a:lnTo>
                  <a:lnTo>
                    <a:pt x="297" y="127"/>
                  </a:lnTo>
                  <a:lnTo>
                    <a:pt x="304" y="142"/>
                  </a:lnTo>
                  <a:lnTo>
                    <a:pt x="285" y="164"/>
                  </a:lnTo>
                  <a:lnTo>
                    <a:pt x="278" y="212"/>
                  </a:lnTo>
                  <a:lnTo>
                    <a:pt x="278" y="293"/>
                  </a:lnTo>
                  <a:lnTo>
                    <a:pt x="289" y="307"/>
                  </a:lnTo>
                  <a:lnTo>
                    <a:pt x="284" y="358"/>
                  </a:lnTo>
                  <a:lnTo>
                    <a:pt x="140" y="382"/>
                  </a:lnTo>
                  <a:lnTo>
                    <a:pt x="104" y="359"/>
                  </a:lnTo>
                  <a:lnTo>
                    <a:pt x="111" y="328"/>
                  </a:lnTo>
                  <a:lnTo>
                    <a:pt x="94" y="295"/>
                  </a:lnTo>
                  <a:lnTo>
                    <a:pt x="79" y="254"/>
                  </a:lnTo>
                  <a:lnTo>
                    <a:pt x="38" y="213"/>
                  </a:lnTo>
                  <a:lnTo>
                    <a:pt x="13" y="213"/>
                  </a:lnTo>
                  <a:lnTo>
                    <a:pt x="13" y="157"/>
                  </a:lnTo>
                  <a:lnTo>
                    <a:pt x="0" y="135"/>
                  </a:lnTo>
                  <a:lnTo>
                    <a:pt x="28" y="102"/>
                  </a:lnTo>
                  <a:lnTo>
                    <a:pt x="22" y="2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FEBA65BB-55DD-4ED4-8C9F-2A0782DC976B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7771" y="2331821"/>
              <a:ext cx="677559" cy="288925"/>
            </a:xfrm>
            <a:custGeom>
              <a:avLst/>
              <a:gdLst>
                <a:gd name="T0" fmla="*/ 0 w 327"/>
                <a:gd name="T1" fmla="*/ 84 h 152"/>
                <a:gd name="T2" fmla="*/ 101 w 327"/>
                <a:gd name="T3" fmla="*/ 0 h 152"/>
                <a:gd name="T4" fmla="*/ 84 w 327"/>
                <a:gd name="T5" fmla="*/ 34 h 152"/>
                <a:gd name="T6" fmla="*/ 98 w 327"/>
                <a:gd name="T7" fmla="*/ 45 h 152"/>
                <a:gd name="T8" fmla="*/ 129 w 327"/>
                <a:gd name="T9" fmla="*/ 31 h 152"/>
                <a:gd name="T10" fmla="*/ 198 w 327"/>
                <a:gd name="T11" fmla="*/ 52 h 152"/>
                <a:gd name="T12" fmla="*/ 229 w 327"/>
                <a:gd name="T13" fmla="*/ 34 h 152"/>
                <a:gd name="T14" fmla="*/ 325 w 327"/>
                <a:gd name="T15" fmla="*/ 25 h 152"/>
                <a:gd name="T16" fmla="*/ 342 w 327"/>
                <a:gd name="T17" fmla="*/ 46 h 152"/>
                <a:gd name="T18" fmla="*/ 377 w 327"/>
                <a:gd name="T19" fmla="*/ 41 h 152"/>
                <a:gd name="T20" fmla="*/ 451 w 327"/>
                <a:gd name="T21" fmla="*/ 64 h 152"/>
                <a:gd name="T22" fmla="*/ 454 w 327"/>
                <a:gd name="T23" fmla="*/ 80 h 152"/>
                <a:gd name="T24" fmla="*/ 376 w 327"/>
                <a:gd name="T25" fmla="*/ 94 h 152"/>
                <a:gd name="T26" fmla="*/ 355 w 327"/>
                <a:gd name="T27" fmla="*/ 84 h 152"/>
                <a:gd name="T28" fmla="*/ 315 w 327"/>
                <a:gd name="T29" fmla="*/ 87 h 152"/>
                <a:gd name="T30" fmla="*/ 270 w 327"/>
                <a:gd name="T31" fmla="*/ 108 h 152"/>
                <a:gd name="T32" fmla="*/ 248 w 327"/>
                <a:gd name="T33" fmla="*/ 109 h 152"/>
                <a:gd name="T34" fmla="*/ 230 w 327"/>
                <a:gd name="T35" fmla="*/ 94 h 152"/>
                <a:gd name="T36" fmla="*/ 206 w 327"/>
                <a:gd name="T37" fmla="*/ 151 h 152"/>
                <a:gd name="T38" fmla="*/ 177 w 327"/>
                <a:gd name="T39" fmla="*/ 152 h 152"/>
                <a:gd name="T40" fmla="*/ 164 w 327"/>
                <a:gd name="T41" fmla="*/ 129 h 152"/>
                <a:gd name="T42" fmla="*/ 102 w 327"/>
                <a:gd name="T43" fmla="*/ 119 h 152"/>
                <a:gd name="T44" fmla="*/ 75 w 327"/>
                <a:gd name="T45" fmla="*/ 102 h 152"/>
                <a:gd name="T46" fmla="*/ 26 w 327"/>
                <a:gd name="T47" fmla="*/ 108 h 152"/>
                <a:gd name="T48" fmla="*/ 0 w 327"/>
                <a:gd name="T49" fmla="*/ 84 h 15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327"/>
                <a:gd name="T76" fmla="*/ 0 h 152"/>
                <a:gd name="T77" fmla="*/ 327 w 327"/>
                <a:gd name="T78" fmla="*/ 152 h 15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327" h="152">
                  <a:moveTo>
                    <a:pt x="0" y="84"/>
                  </a:moveTo>
                  <a:lnTo>
                    <a:pt x="73" y="0"/>
                  </a:lnTo>
                  <a:lnTo>
                    <a:pt x="60" y="34"/>
                  </a:lnTo>
                  <a:lnTo>
                    <a:pt x="70" y="45"/>
                  </a:lnTo>
                  <a:lnTo>
                    <a:pt x="93" y="31"/>
                  </a:lnTo>
                  <a:lnTo>
                    <a:pt x="143" y="52"/>
                  </a:lnTo>
                  <a:lnTo>
                    <a:pt x="165" y="34"/>
                  </a:lnTo>
                  <a:lnTo>
                    <a:pt x="233" y="25"/>
                  </a:lnTo>
                  <a:lnTo>
                    <a:pt x="246" y="46"/>
                  </a:lnTo>
                  <a:lnTo>
                    <a:pt x="272" y="41"/>
                  </a:lnTo>
                  <a:lnTo>
                    <a:pt x="324" y="64"/>
                  </a:lnTo>
                  <a:lnTo>
                    <a:pt x="327" y="80"/>
                  </a:lnTo>
                  <a:lnTo>
                    <a:pt x="271" y="94"/>
                  </a:lnTo>
                  <a:lnTo>
                    <a:pt x="255" y="84"/>
                  </a:lnTo>
                  <a:lnTo>
                    <a:pt x="227" y="87"/>
                  </a:lnTo>
                  <a:lnTo>
                    <a:pt x="194" y="108"/>
                  </a:lnTo>
                  <a:lnTo>
                    <a:pt x="178" y="109"/>
                  </a:lnTo>
                  <a:lnTo>
                    <a:pt x="166" y="94"/>
                  </a:lnTo>
                  <a:lnTo>
                    <a:pt x="148" y="151"/>
                  </a:lnTo>
                  <a:lnTo>
                    <a:pt x="127" y="152"/>
                  </a:lnTo>
                  <a:lnTo>
                    <a:pt x="118" y="129"/>
                  </a:lnTo>
                  <a:lnTo>
                    <a:pt x="74" y="119"/>
                  </a:lnTo>
                  <a:lnTo>
                    <a:pt x="54" y="102"/>
                  </a:lnTo>
                  <a:lnTo>
                    <a:pt x="18" y="108"/>
                  </a:lnTo>
                  <a:lnTo>
                    <a:pt x="0" y="84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EEC6AF57-10DE-45E2-93F6-96E58BEBC118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6152" y="2536825"/>
              <a:ext cx="481514" cy="649288"/>
            </a:xfrm>
            <a:custGeom>
              <a:avLst/>
              <a:gdLst>
                <a:gd name="T0" fmla="*/ 81 w 234"/>
                <a:gd name="T1" fmla="*/ 14 h 341"/>
                <a:gd name="T2" fmla="*/ 91 w 234"/>
                <a:gd name="T3" fmla="*/ 35 h 341"/>
                <a:gd name="T4" fmla="*/ 69 w 234"/>
                <a:gd name="T5" fmla="*/ 48 h 341"/>
                <a:gd name="T6" fmla="*/ 68 w 234"/>
                <a:gd name="T7" fmla="*/ 102 h 341"/>
                <a:gd name="T8" fmla="*/ 56 w 234"/>
                <a:gd name="T9" fmla="*/ 67 h 341"/>
                <a:gd name="T10" fmla="*/ 11 w 234"/>
                <a:gd name="T11" fmla="*/ 101 h 341"/>
                <a:gd name="T12" fmla="*/ 0 w 234"/>
                <a:gd name="T13" fmla="*/ 199 h 341"/>
                <a:gd name="T14" fmla="*/ 29 w 234"/>
                <a:gd name="T15" fmla="*/ 247 h 341"/>
                <a:gd name="T16" fmla="*/ 32 w 234"/>
                <a:gd name="T17" fmla="*/ 272 h 341"/>
                <a:gd name="T18" fmla="*/ 34 w 234"/>
                <a:gd name="T19" fmla="*/ 292 h 341"/>
                <a:gd name="T20" fmla="*/ 32 w 234"/>
                <a:gd name="T21" fmla="*/ 309 h 341"/>
                <a:gd name="T22" fmla="*/ 27 w 234"/>
                <a:gd name="T23" fmla="*/ 341 h 341"/>
                <a:gd name="T24" fmla="*/ 152 w 234"/>
                <a:gd name="T25" fmla="*/ 335 h 341"/>
                <a:gd name="T26" fmla="*/ 318 w 234"/>
                <a:gd name="T27" fmla="*/ 323 h 341"/>
                <a:gd name="T28" fmla="*/ 289 w 234"/>
                <a:gd name="T29" fmla="*/ 316 h 341"/>
                <a:gd name="T30" fmla="*/ 271 w 234"/>
                <a:gd name="T31" fmla="*/ 299 h 341"/>
                <a:gd name="T32" fmla="*/ 297 w 234"/>
                <a:gd name="T33" fmla="*/ 283 h 341"/>
                <a:gd name="T34" fmla="*/ 297 w 234"/>
                <a:gd name="T35" fmla="*/ 265 h 341"/>
                <a:gd name="T36" fmla="*/ 284 w 234"/>
                <a:gd name="T37" fmla="*/ 248 h 341"/>
                <a:gd name="T38" fmla="*/ 297 w 234"/>
                <a:gd name="T39" fmla="*/ 236 h 341"/>
                <a:gd name="T40" fmla="*/ 320 w 234"/>
                <a:gd name="T41" fmla="*/ 238 h 341"/>
                <a:gd name="T42" fmla="*/ 315 w 234"/>
                <a:gd name="T43" fmla="*/ 191 h 341"/>
                <a:gd name="T44" fmla="*/ 308 w 234"/>
                <a:gd name="T45" fmla="*/ 162 h 341"/>
                <a:gd name="T46" fmla="*/ 296 w 234"/>
                <a:gd name="T47" fmla="*/ 145 h 341"/>
                <a:gd name="T48" fmla="*/ 282 w 234"/>
                <a:gd name="T49" fmla="*/ 134 h 341"/>
                <a:gd name="T50" fmla="*/ 262 w 234"/>
                <a:gd name="T51" fmla="*/ 131 h 341"/>
                <a:gd name="T52" fmla="*/ 242 w 234"/>
                <a:gd name="T53" fmla="*/ 131 h 341"/>
                <a:gd name="T54" fmla="*/ 219 w 234"/>
                <a:gd name="T55" fmla="*/ 153 h 341"/>
                <a:gd name="T56" fmla="*/ 207 w 234"/>
                <a:gd name="T57" fmla="*/ 160 h 341"/>
                <a:gd name="T58" fmla="*/ 199 w 234"/>
                <a:gd name="T59" fmla="*/ 162 h 341"/>
                <a:gd name="T60" fmla="*/ 187 w 234"/>
                <a:gd name="T61" fmla="*/ 159 h 341"/>
                <a:gd name="T62" fmla="*/ 185 w 234"/>
                <a:gd name="T63" fmla="*/ 148 h 341"/>
                <a:gd name="T64" fmla="*/ 187 w 234"/>
                <a:gd name="T65" fmla="*/ 141 h 341"/>
                <a:gd name="T66" fmla="*/ 198 w 234"/>
                <a:gd name="T67" fmla="*/ 134 h 341"/>
                <a:gd name="T68" fmla="*/ 205 w 234"/>
                <a:gd name="T69" fmla="*/ 131 h 341"/>
                <a:gd name="T70" fmla="*/ 215 w 234"/>
                <a:gd name="T71" fmla="*/ 129 h 341"/>
                <a:gd name="T72" fmla="*/ 215 w 234"/>
                <a:gd name="T73" fmla="*/ 117 h 341"/>
                <a:gd name="T74" fmla="*/ 239 w 234"/>
                <a:gd name="T75" fmla="*/ 102 h 341"/>
                <a:gd name="T76" fmla="*/ 215 w 234"/>
                <a:gd name="T77" fmla="*/ 58 h 341"/>
                <a:gd name="T78" fmla="*/ 215 w 234"/>
                <a:gd name="T79" fmla="*/ 37 h 341"/>
                <a:gd name="T80" fmla="*/ 174 w 234"/>
                <a:gd name="T81" fmla="*/ 28 h 341"/>
                <a:gd name="T82" fmla="*/ 116 w 234"/>
                <a:gd name="T83" fmla="*/ 0 h 341"/>
                <a:gd name="T84" fmla="*/ 81 w 234"/>
                <a:gd name="T85" fmla="*/ 14 h 34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234"/>
                <a:gd name="T130" fmla="*/ 0 h 341"/>
                <a:gd name="T131" fmla="*/ 234 w 234"/>
                <a:gd name="T132" fmla="*/ 341 h 341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234" h="341">
                  <a:moveTo>
                    <a:pt x="59" y="14"/>
                  </a:moveTo>
                  <a:lnTo>
                    <a:pt x="67" y="35"/>
                  </a:lnTo>
                  <a:lnTo>
                    <a:pt x="51" y="48"/>
                  </a:lnTo>
                  <a:lnTo>
                    <a:pt x="50" y="102"/>
                  </a:lnTo>
                  <a:lnTo>
                    <a:pt x="41" y="67"/>
                  </a:lnTo>
                  <a:lnTo>
                    <a:pt x="7" y="101"/>
                  </a:lnTo>
                  <a:lnTo>
                    <a:pt x="0" y="199"/>
                  </a:lnTo>
                  <a:lnTo>
                    <a:pt x="21" y="247"/>
                  </a:lnTo>
                  <a:lnTo>
                    <a:pt x="24" y="272"/>
                  </a:lnTo>
                  <a:lnTo>
                    <a:pt x="25" y="292"/>
                  </a:lnTo>
                  <a:lnTo>
                    <a:pt x="24" y="309"/>
                  </a:lnTo>
                  <a:lnTo>
                    <a:pt x="19" y="341"/>
                  </a:lnTo>
                  <a:lnTo>
                    <a:pt x="111" y="335"/>
                  </a:lnTo>
                  <a:lnTo>
                    <a:pt x="233" y="323"/>
                  </a:lnTo>
                  <a:lnTo>
                    <a:pt x="211" y="316"/>
                  </a:lnTo>
                  <a:lnTo>
                    <a:pt x="199" y="299"/>
                  </a:lnTo>
                  <a:lnTo>
                    <a:pt x="217" y="283"/>
                  </a:lnTo>
                  <a:lnTo>
                    <a:pt x="217" y="265"/>
                  </a:lnTo>
                  <a:lnTo>
                    <a:pt x="208" y="248"/>
                  </a:lnTo>
                  <a:lnTo>
                    <a:pt x="217" y="236"/>
                  </a:lnTo>
                  <a:lnTo>
                    <a:pt x="234" y="238"/>
                  </a:lnTo>
                  <a:lnTo>
                    <a:pt x="230" y="191"/>
                  </a:lnTo>
                  <a:lnTo>
                    <a:pt x="226" y="162"/>
                  </a:lnTo>
                  <a:lnTo>
                    <a:pt x="216" y="145"/>
                  </a:lnTo>
                  <a:lnTo>
                    <a:pt x="206" y="134"/>
                  </a:lnTo>
                  <a:lnTo>
                    <a:pt x="191" y="131"/>
                  </a:lnTo>
                  <a:lnTo>
                    <a:pt x="177" y="131"/>
                  </a:lnTo>
                  <a:lnTo>
                    <a:pt x="161" y="153"/>
                  </a:lnTo>
                  <a:lnTo>
                    <a:pt x="152" y="160"/>
                  </a:lnTo>
                  <a:lnTo>
                    <a:pt x="145" y="162"/>
                  </a:lnTo>
                  <a:lnTo>
                    <a:pt x="137" y="159"/>
                  </a:lnTo>
                  <a:lnTo>
                    <a:pt x="135" y="148"/>
                  </a:lnTo>
                  <a:lnTo>
                    <a:pt x="137" y="141"/>
                  </a:lnTo>
                  <a:lnTo>
                    <a:pt x="144" y="134"/>
                  </a:lnTo>
                  <a:lnTo>
                    <a:pt x="151" y="131"/>
                  </a:lnTo>
                  <a:lnTo>
                    <a:pt x="157" y="129"/>
                  </a:lnTo>
                  <a:lnTo>
                    <a:pt x="157" y="117"/>
                  </a:lnTo>
                  <a:lnTo>
                    <a:pt x="175" y="102"/>
                  </a:lnTo>
                  <a:lnTo>
                    <a:pt x="157" y="58"/>
                  </a:lnTo>
                  <a:lnTo>
                    <a:pt x="157" y="37"/>
                  </a:lnTo>
                  <a:lnTo>
                    <a:pt x="128" y="28"/>
                  </a:lnTo>
                  <a:lnTo>
                    <a:pt x="85" y="0"/>
                  </a:lnTo>
                  <a:lnTo>
                    <a:pt x="59" y="14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6D1C84AE-24BC-40D8-943C-247D8B7BC727}"/>
                </a:ext>
              </a:extLst>
            </p:cNvPr>
            <p:cNvSpPr>
              <a:spLocks/>
            </p:cNvSpPr>
            <p:nvPr/>
          </p:nvSpPr>
          <p:spPr bwMode="auto">
            <a:xfrm>
              <a:off x="6710082" y="4090988"/>
              <a:ext cx="619090" cy="485775"/>
            </a:xfrm>
            <a:custGeom>
              <a:avLst/>
              <a:gdLst>
                <a:gd name="T0" fmla="*/ 15 w 300"/>
                <a:gd name="T1" fmla="*/ 46 h 255"/>
                <a:gd name="T2" fmla="*/ 48 w 300"/>
                <a:gd name="T3" fmla="*/ 21 h 255"/>
                <a:gd name="T4" fmla="*/ 171 w 300"/>
                <a:gd name="T5" fmla="*/ 0 h 255"/>
                <a:gd name="T6" fmla="*/ 210 w 300"/>
                <a:gd name="T7" fmla="*/ 14 h 255"/>
                <a:gd name="T8" fmla="*/ 288 w 300"/>
                <a:gd name="T9" fmla="*/ 4 h 255"/>
                <a:gd name="T10" fmla="*/ 353 w 300"/>
                <a:gd name="T11" fmla="*/ 40 h 255"/>
                <a:gd name="T12" fmla="*/ 413 w 300"/>
                <a:gd name="T13" fmla="*/ 68 h 255"/>
                <a:gd name="T14" fmla="*/ 380 w 300"/>
                <a:gd name="T15" fmla="*/ 145 h 255"/>
                <a:gd name="T16" fmla="*/ 331 w 300"/>
                <a:gd name="T17" fmla="*/ 183 h 255"/>
                <a:gd name="T18" fmla="*/ 276 w 300"/>
                <a:gd name="T19" fmla="*/ 195 h 255"/>
                <a:gd name="T20" fmla="*/ 286 w 300"/>
                <a:gd name="T21" fmla="*/ 226 h 255"/>
                <a:gd name="T22" fmla="*/ 253 w 300"/>
                <a:gd name="T23" fmla="*/ 255 h 255"/>
                <a:gd name="T24" fmla="*/ 192 w 300"/>
                <a:gd name="T25" fmla="*/ 183 h 255"/>
                <a:gd name="T26" fmla="*/ 28 w 300"/>
                <a:gd name="T27" fmla="*/ 68 h 255"/>
                <a:gd name="T28" fmla="*/ 0 w 300"/>
                <a:gd name="T29" fmla="*/ 68 h 255"/>
                <a:gd name="T30" fmla="*/ 15 w 300"/>
                <a:gd name="T31" fmla="*/ 46 h 25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300"/>
                <a:gd name="T49" fmla="*/ 0 h 255"/>
                <a:gd name="T50" fmla="*/ 300 w 300"/>
                <a:gd name="T51" fmla="*/ 255 h 255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300" h="255">
                  <a:moveTo>
                    <a:pt x="11" y="46"/>
                  </a:moveTo>
                  <a:lnTo>
                    <a:pt x="35" y="21"/>
                  </a:lnTo>
                  <a:lnTo>
                    <a:pt x="125" y="0"/>
                  </a:lnTo>
                  <a:lnTo>
                    <a:pt x="152" y="14"/>
                  </a:lnTo>
                  <a:lnTo>
                    <a:pt x="210" y="4"/>
                  </a:lnTo>
                  <a:lnTo>
                    <a:pt x="257" y="40"/>
                  </a:lnTo>
                  <a:lnTo>
                    <a:pt x="300" y="68"/>
                  </a:lnTo>
                  <a:lnTo>
                    <a:pt x="276" y="145"/>
                  </a:lnTo>
                  <a:lnTo>
                    <a:pt x="240" y="183"/>
                  </a:lnTo>
                  <a:lnTo>
                    <a:pt x="200" y="195"/>
                  </a:lnTo>
                  <a:lnTo>
                    <a:pt x="208" y="226"/>
                  </a:lnTo>
                  <a:lnTo>
                    <a:pt x="184" y="255"/>
                  </a:lnTo>
                  <a:lnTo>
                    <a:pt x="138" y="183"/>
                  </a:lnTo>
                  <a:lnTo>
                    <a:pt x="20" y="68"/>
                  </a:lnTo>
                  <a:lnTo>
                    <a:pt x="0" y="68"/>
                  </a:lnTo>
                  <a:lnTo>
                    <a:pt x="11" y="4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16" name="Freeform 13">
              <a:extLst>
                <a:ext uri="{FF2B5EF4-FFF2-40B4-BE49-F238E27FC236}">
                  <a16:creationId xmlns:a16="http://schemas.microsoft.com/office/drawing/2014/main" id="{96F28FED-D84E-4D4D-AB3C-7056FFD95662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0976" y="3375025"/>
              <a:ext cx="932074" cy="576263"/>
            </a:xfrm>
            <a:custGeom>
              <a:avLst/>
              <a:gdLst>
                <a:gd name="T0" fmla="*/ 102 w 452"/>
                <a:gd name="T1" fmla="*/ 211 h 302"/>
                <a:gd name="T2" fmla="*/ 83 w 452"/>
                <a:gd name="T3" fmla="*/ 242 h 302"/>
                <a:gd name="T4" fmla="*/ 57 w 452"/>
                <a:gd name="T5" fmla="*/ 250 h 302"/>
                <a:gd name="T6" fmla="*/ 56 w 452"/>
                <a:gd name="T7" fmla="*/ 270 h 302"/>
                <a:gd name="T8" fmla="*/ 2 w 452"/>
                <a:gd name="T9" fmla="*/ 286 h 302"/>
                <a:gd name="T10" fmla="*/ 0 w 452"/>
                <a:gd name="T11" fmla="*/ 302 h 302"/>
                <a:gd name="T12" fmla="*/ 146 w 452"/>
                <a:gd name="T13" fmla="*/ 282 h 302"/>
                <a:gd name="T14" fmla="*/ 414 w 452"/>
                <a:gd name="T15" fmla="*/ 238 h 302"/>
                <a:gd name="T16" fmla="*/ 619 w 452"/>
                <a:gd name="T17" fmla="*/ 200 h 302"/>
                <a:gd name="T18" fmla="*/ 619 w 452"/>
                <a:gd name="T19" fmla="*/ 169 h 302"/>
                <a:gd name="T20" fmla="*/ 597 w 452"/>
                <a:gd name="T21" fmla="*/ 160 h 302"/>
                <a:gd name="T22" fmla="*/ 578 w 452"/>
                <a:gd name="T23" fmla="*/ 175 h 302"/>
                <a:gd name="T24" fmla="*/ 568 w 452"/>
                <a:gd name="T25" fmla="*/ 134 h 302"/>
                <a:gd name="T26" fmla="*/ 578 w 452"/>
                <a:gd name="T27" fmla="*/ 97 h 302"/>
                <a:gd name="T28" fmla="*/ 501 w 452"/>
                <a:gd name="T29" fmla="*/ 70 h 302"/>
                <a:gd name="T30" fmla="*/ 449 w 452"/>
                <a:gd name="T31" fmla="*/ 77 h 302"/>
                <a:gd name="T32" fmla="*/ 448 w 452"/>
                <a:gd name="T33" fmla="*/ 21 h 302"/>
                <a:gd name="T34" fmla="*/ 396 w 452"/>
                <a:gd name="T35" fmla="*/ 0 h 302"/>
                <a:gd name="T36" fmla="*/ 354 w 452"/>
                <a:gd name="T37" fmla="*/ 13 h 302"/>
                <a:gd name="T38" fmla="*/ 326 w 452"/>
                <a:gd name="T39" fmla="*/ 66 h 302"/>
                <a:gd name="T40" fmla="*/ 278 w 452"/>
                <a:gd name="T41" fmla="*/ 87 h 302"/>
                <a:gd name="T42" fmla="*/ 259 w 452"/>
                <a:gd name="T43" fmla="*/ 170 h 302"/>
                <a:gd name="T44" fmla="*/ 182 w 452"/>
                <a:gd name="T45" fmla="*/ 211 h 302"/>
                <a:gd name="T46" fmla="*/ 118 w 452"/>
                <a:gd name="T47" fmla="*/ 228 h 302"/>
                <a:gd name="T48" fmla="*/ 102 w 452"/>
                <a:gd name="T49" fmla="*/ 211 h 30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452"/>
                <a:gd name="T76" fmla="*/ 0 h 302"/>
                <a:gd name="T77" fmla="*/ 452 w 452"/>
                <a:gd name="T78" fmla="*/ 302 h 30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452" h="302">
                  <a:moveTo>
                    <a:pt x="74" y="211"/>
                  </a:moveTo>
                  <a:lnTo>
                    <a:pt x="61" y="242"/>
                  </a:lnTo>
                  <a:lnTo>
                    <a:pt x="42" y="250"/>
                  </a:lnTo>
                  <a:lnTo>
                    <a:pt x="41" y="270"/>
                  </a:lnTo>
                  <a:lnTo>
                    <a:pt x="2" y="286"/>
                  </a:lnTo>
                  <a:lnTo>
                    <a:pt x="0" y="302"/>
                  </a:lnTo>
                  <a:lnTo>
                    <a:pt x="107" y="282"/>
                  </a:lnTo>
                  <a:lnTo>
                    <a:pt x="302" y="238"/>
                  </a:lnTo>
                  <a:lnTo>
                    <a:pt x="452" y="200"/>
                  </a:lnTo>
                  <a:lnTo>
                    <a:pt x="452" y="169"/>
                  </a:lnTo>
                  <a:lnTo>
                    <a:pt x="435" y="160"/>
                  </a:lnTo>
                  <a:lnTo>
                    <a:pt x="422" y="175"/>
                  </a:lnTo>
                  <a:lnTo>
                    <a:pt x="414" y="134"/>
                  </a:lnTo>
                  <a:lnTo>
                    <a:pt x="422" y="97"/>
                  </a:lnTo>
                  <a:lnTo>
                    <a:pt x="366" y="70"/>
                  </a:lnTo>
                  <a:lnTo>
                    <a:pt x="328" y="77"/>
                  </a:lnTo>
                  <a:lnTo>
                    <a:pt x="327" y="21"/>
                  </a:lnTo>
                  <a:lnTo>
                    <a:pt x="288" y="0"/>
                  </a:lnTo>
                  <a:lnTo>
                    <a:pt x="258" y="13"/>
                  </a:lnTo>
                  <a:lnTo>
                    <a:pt x="238" y="66"/>
                  </a:lnTo>
                  <a:lnTo>
                    <a:pt x="203" y="87"/>
                  </a:lnTo>
                  <a:lnTo>
                    <a:pt x="189" y="170"/>
                  </a:lnTo>
                  <a:lnTo>
                    <a:pt x="132" y="211"/>
                  </a:lnTo>
                  <a:lnTo>
                    <a:pt x="86" y="228"/>
                  </a:lnTo>
                  <a:lnTo>
                    <a:pt x="74" y="211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17" name="Freeform 14">
              <a:extLst>
                <a:ext uri="{FF2B5EF4-FFF2-40B4-BE49-F238E27FC236}">
                  <a16:creationId xmlns:a16="http://schemas.microsoft.com/office/drawing/2014/main" id="{B8C44A6C-1F62-4550-9028-E5B9F11F074D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3264" y="2908300"/>
              <a:ext cx="715393" cy="466725"/>
            </a:xfrm>
            <a:custGeom>
              <a:avLst/>
              <a:gdLst>
                <a:gd name="T0" fmla="*/ 44 w 347"/>
                <a:gd name="T1" fmla="*/ 36 h 245"/>
                <a:gd name="T2" fmla="*/ 0 w 347"/>
                <a:gd name="T3" fmla="*/ 68 h 245"/>
                <a:gd name="T4" fmla="*/ 26 w 347"/>
                <a:gd name="T5" fmla="*/ 187 h 245"/>
                <a:gd name="T6" fmla="*/ 44 w 347"/>
                <a:gd name="T7" fmla="*/ 245 h 245"/>
                <a:gd name="T8" fmla="*/ 126 w 347"/>
                <a:gd name="T9" fmla="*/ 240 h 245"/>
                <a:gd name="T10" fmla="*/ 427 w 347"/>
                <a:gd name="T11" fmla="*/ 195 h 245"/>
                <a:gd name="T12" fmla="*/ 448 w 347"/>
                <a:gd name="T13" fmla="*/ 188 h 245"/>
                <a:gd name="T14" fmla="*/ 478 w 347"/>
                <a:gd name="T15" fmla="*/ 133 h 245"/>
                <a:gd name="T16" fmla="*/ 432 w 347"/>
                <a:gd name="T17" fmla="*/ 103 h 245"/>
                <a:gd name="T18" fmla="*/ 458 w 347"/>
                <a:gd name="T19" fmla="*/ 32 h 245"/>
                <a:gd name="T20" fmla="*/ 424 w 347"/>
                <a:gd name="T21" fmla="*/ 25 h 245"/>
                <a:gd name="T22" fmla="*/ 424 w 347"/>
                <a:gd name="T23" fmla="*/ 7 h 245"/>
                <a:gd name="T24" fmla="*/ 409 w 347"/>
                <a:gd name="T25" fmla="*/ 0 h 245"/>
                <a:gd name="T26" fmla="*/ 59 w 347"/>
                <a:gd name="T27" fmla="*/ 51 h 245"/>
                <a:gd name="T28" fmla="*/ 44 w 347"/>
                <a:gd name="T29" fmla="*/ 36 h 24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47"/>
                <a:gd name="T46" fmla="*/ 0 h 245"/>
                <a:gd name="T47" fmla="*/ 347 w 347"/>
                <a:gd name="T48" fmla="*/ 245 h 245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47" h="245">
                  <a:moveTo>
                    <a:pt x="32" y="36"/>
                  </a:moveTo>
                  <a:lnTo>
                    <a:pt x="0" y="68"/>
                  </a:lnTo>
                  <a:lnTo>
                    <a:pt x="18" y="187"/>
                  </a:lnTo>
                  <a:lnTo>
                    <a:pt x="32" y="245"/>
                  </a:lnTo>
                  <a:lnTo>
                    <a:pt x="91" y="240"/>
                  </a:lnTo>
                  <a:lnTo>
                    <a:pt x="310" y="195"/>
                  </a:lnTo>
                  <a:lnTo>
                    <a:pt x="325" y="188"/>
                  </a:lnTo>
                  <a:lnTo>
                    <a:pt x="347" y="133"/>
                  </a:lnTo>
                  <a:lnTo>
                    <a:pt x="314" y="103"/>
                  </a:lnTo>
                  <a:lnTo>
                    <a:pt x="332" y="32"/>
                  </a:lnTo>
                  <a:lnTo>
                    <a:pt x="307" y="25"/>
                  </a:lnTo>
                  <a:lnTo>
                    <a:pt x="307" y="7"/>
                  </a:lnTo>
                  <a:lnTo>
                    <a:pt x="296" y="0"/>
                  </a:lnTo>
                  <a:lnTo>
                    <a:pt x="42" y="51"/>
                  </a:lnTo>
                  <a:lnTo>
                    <a:pt x="32" y="3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18" name="Freeform 15">
              <a:extLst>
                <a:ext uri="{FF2B5EF4-FFF2-40B4-BE49-F238E27FC236}">
                  <a16:creationId xmlns:a16="http://schemas.microsoft.com/office/drawing/2014/main" id="{E3FC2059-5256-44A0-880D-9ADE3285117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90393" y="3279775"/>
              <a:ext cx="608772" cy="249238"/>
            </a:xfrm>
            <a:custGeom>
              <a:avLst/>
              <a:gdLst>
                <a:gd name="T0" fmla="*/ 0 w 295"/>
                <a:gd name="T1" fmla="*/ 45 h 131"/>
                <a:gd name="T2" fmla="*/ 305 w 295"/>
                <a:gd name="T3" fmla="*/ 0 h 131"/>
                <a:gd name="T4" fmla="*/ 356 w 295"/>
                <a:gd name="T5" fmla="*/ 90 h 131"/>
                <a:gd name="T6" fmla="*/ 407 w 295"/>
                <a:gd name="T7" fmla="*/ 80 h 131"/>
                <a:gd name="T8" fmla="*/ 408 w 295"/>
                <a:gd name="T9" fmla="*/ 125 h 131"/>
                <a:gd name="T10" fmla="*/ 364 w 295"/>
                <a:gd name="T11" fmla="*/ 131 h 131"/>
                <a:gd name="T12" fmla="*/ 329 w 295"/>
                <a:gd name="T13" fmla="*/ 102 h 131"/>
                <a:gd name="T14" fmla="*/ 305 w 295"/>
                <a:gd name="T15" fmla="*/ 66 h 131"/>
                <a:gd name="T16" fmla="*/ 299 w 295"/>
                <a:gd name="T17" fmla="*/ 17 h 131"/>
                <a:gd name="T18" fmla="*/ 281 w 295"/>
                <a:gd name="T19" fmla="*/ 42 h 131"/>
                <a:gd name="T20" fmla="*/ 304 w 295"/>
                <a:gd name="T21" fmla="*/ 116 h 131"/>
                <a:gd name="T22" fmla="*/ 213 w 295"/>
                <a:gd name="T23" fmla="*/ 126 h 131"/>
                <a:gd name="T24" fmla="*/ 210 w 295"/>
                <a:gd name="T25" fmla="*/ 72 h 131"/>
                <a:gd name="T26" fmla="*/ 154 w 295"/>
                <a:gd name="T27" fmla="*/ 49 h 131"/>
                <a:gd name="T28" fmla="*/ 110 w 295"/>
                <a:gd name="T29" fmla="*/ 43 h 131"/>
                <a:gd name="T30" fmla="*/ 12 w 295"/>
                <a:gd name="T31" fmla="*/ 80 h 131"/>
                <a:gd name="T32" fmla="*/ 0 w 295"/>
                <a:gd name="T33" fmla="*/ 45 h 131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95"/>
                <a:gd name="T52" fmla="*/ 0 h 131"/>
                <a:gd name="T53" fmla="*/ 295 w 295"/>
                <a:gd name="T54" fmla="*/ 131 h 131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95" h="131">
                  <a:moveTo>
                    <a:pt x="0" y="45"/>
                  </a:moveTo>
                  <a:lnTo>
                    <a:pt x="220" y="0"/>
                  </a:lnTo>
                  <a:lnTo>
                    <a:pt x="256" y="90"/>
                  </a:lnTo>
                  <a:lnTo>
                    <a:pt x="294" y="80"/>
                  </a:lnTo>
                  <a:lnTo>
                    <a:pt x="295" y="125"/>
                  </a:lnTo>
                  <a:lnTo>
                    <a:pt x="264" y="131"/>
                  </a:lnTo>
                  <a:lnTo>
                    <a:pt x="237" y="102"/>
                  </a:lnTo>
                  <a:lnTo>
                    <a:pt x="220" y="66"/>
                  </a:lnTo>
                  <a:lnTo>
                    <a:pt x="216" y="17"/>
                  </a:lnTo>
                  <a:lnTo>
                    <a:pt x="203" y="42"/>
                  </a:lnTo>
                  <a:lnTo>
                    <a:pt x="219" y="116"/>
                  </a:lnTo>
                  <a:lnTo>
                    <a:pt x="154" y="126"/>
                  </a:lnTo>
                  <a:lnTo>
                    <a:pt x="152" y="72"/>
                  </a:lnTo>
                  <a:lnTo>
                    <a:pt x="112" y="49"/>
                  </a:lnTo>
                  <a:lnTo>
                    <a:pt x="79" y="43"/>
                  </a:lnTo>
                  <a:lnTo>
                    <a:pt x="8" y="80"/>
                  </a:lnTo>
                  <a:lnTo>
                    <a:pt x="0" y="45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19" name="Freeform 16">
              <a:extLst>
                <a:ext uri="{FF2B5EF4-FFF2-40B4-BE49-F238E27FC236}">
                  <a16:creationId xmlns:a16="http://schemas.microsoft.com/office/drawing/2014/main" id="{D9AC98BC-DB17-448E-824D-D0C685C50F03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2997" y="2052638"/>
              <a:ext cx="1251937" cy="776287"/>
            </a:xfrm>
            <a:custGeom>
              <a:avLst/>
              <a:gdLst>
                <a:gd name="T0" fmla="*/ 14 w 607"/>
                <a:gd name="T1" fmla="*/ 0 h 407"/>
                <a:gd name="T2" fmla="*/ 179 w 607"/>
                <a:gd name="T3" fmla="*/ 17 h 407"/>
                <a:gd name="T4" fmla="*/ 278 w 607"/>
                <a:gd name="T5" fmla="*/ 27 h 407"/>
                <a:gd name="T6" fmla="*/ 407 w 607"/>
                <a:gd name="T7" fmla="*/ 38 h 407"/>
                <a:gd name="T8" fmla="*/ 527 w 607"/>
                <a:gd name="T9" fmla="*/ 47 h 407"/>
                <a:gd name="T10" fmla="*/ 736 w 607"/>
                <a:gd name="T11" fmla="*/ 59 h 407"/>
                <a:gd name="T12" fmla="*/ 833 w 607"/>
                <a:gd name="T13" fmla="*/ 65 h 407"/>
                <a:gd name="T14" fmla="*/ 830 w 607"/>
                <a:gd name="T15" fmla="*/ 396 h 407"/>
                <a:gd name="T16" fmla="*/ 319 w 607"/>
                <a:gd name="T17" fmla="*/ 362 h 407"/>
                <a:gd name="T18" fmla="*/ 311 w 607"/>
                <a:gd name="T19" fmla="*/ 407 h 407"/>
                <a:gd name="T20" fmla="*/ 289 w 607"/>
                <a:gd name="T21" fmla="*/ 386 h 407"/>
                <a:gd name="T22" fmla="*/ 245 w 607"/>
                <a:gd name="T23" fmla="*/ 389 h 407"/>
                <a:gd name="T24" fmla="*/ 175 w 607"/>
                <a:gd name="T25" fmla="*/ 398 h 407"/>
                <a:gd name="T26" fmla="*/ 166 w 607"/>
                <a:gd name="T27" fmla="*/ 340 h 407"/>
                <a:gd name="T28" fmla="*/ 86 w 607"/>
                <a:gd name="T29" fmla="*/ 294 h 407"/>
                <a:gd name="T30" fmla="*/ 96 w 607"/>
                <a:gd name="T31" fmla="*/ 251 h 407"/>
                <a:gd name="T32" fmla="*/ 104 w 607"/>
                <a:gd name="T33" fmla="*/ 215 h 407"/>
                <a:gd name="T34" fmla="*/ 0 w 607"/>
                <a:gd name="T35" fmla="*/ 101 h 407"/>
                <a:gd name="T36" fmla="*/ 14 w 607"/>
                <a:gd name="T37" fmla="*/ 0 h 40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607"/>
                <a:gd name="T58" fmla="*/ 0 h 407"/>
                <a:gd name="T59" fmla="*/ 607 w 607"/>
                <a:gd name="T60" fmla="*/ 407 h 407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607" h="407">
                  <a:moveTo>
                    <a:pt x="10" y="0"/>
                  </a:moveTo>
                  <a:lnTo>
                    <a:pt x="129" y="17"/>
                  </a:lnTo>
                  <a:lnTo>
                    <a:pt x="202" y="27"/>
                  </a:lnTo>
                  <a:lnTo>
                    <a:pt x="297" y="38"/>
                  </a:lnTo>
                  <a:lnTo>
                    <a:pt x="384" y="47"/>
                  </a:lnTo>
                  <a:lnTo>
                    <a:pt x="536" y="59"/>
                  </a:lnTo>
                  <a:lnTo>
                    <a:pt x="607" y="65"/>
                  </a:lnTo>
                  <a:lnTo>
                    <a:pt x="605" y="396"/>
                  </a:lnTo>
                  <a:lnTo>
                    <a:pt x="233" y="362"/>
                  </a:lnTo>
                  <a:lnTo>
                    <a:pt x="226" y="407"/>
                  </a:lnTo>
                  <a:lnTo>
                    <a:pt x="211" y="386"/>
                  </a:lnTo>
                  <a:lnTo>
                    <a:pt x="178" y="389"/>
                  </a:lnTo>
                  <a:lnTo>
                    <a:pt x="128" y="398"/>
                  </a:lnTo>
                  <a:lnTo>
                    <a:pt x="120" y="340"/>
                  </a:lnTo>
                  <a:lnTo>
                    <a:pt x="62" y="294"/>
                  </a:lnTo>
                  <a:lnTo>
                    <a:pt x="70" y="251"/>
                  </a:lnTo>
                  <a:lnTo>
                    <a:pt x="76" y="215"/>
                  </a:lnTo>
                  <a:lnTo>
                    <a:pt x="0" y="101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20" name="Freeform 17">
              <a:extLst>
                <a:ext uri="{FF2B5EF4-FFF2-40B4-BE49-F238E27FC236}">
                  <a16:creationId xmlns:a16="http://schemas.microsoft.com/office/drawing/2014/main" id="{C26F7E2F-8201-485E-AF54-CA8250984850}"/>
                </a:ext>
              </a:extLst>
            </p:cNvPr>
            <p:cNvSpPr>
              <a:spLocks/>
            </p:cNvSpPr>
            <p:nvPr/>
          </p:nvSpPr>
          <p:spPr bwMode="auto">
            <a:xfrm>
              <a:off x="5102169" y="3459163"/>
              <a:ext cx="832332" cy="679450"/>
            </a:xfrm>
            <a:custGeom>
              <a:avLst/>
              <a:gdLst>
                <a:gd name="T0" fmla="*/ 0 w 403"/>
                <a:gd name="T1" fmla="*/ 12 h 357"/>
                <a:gd name="T2" fmla="*/ 241 w 403"/>
                <a:gd name="T3" fmla="*/ 0 h 357"/>
                <a:gd name="T4" fmla="*/ 294 w 403"/>
                <a:gd name="T5" fmla="*/ 0 h 357"/>
                <a:gd name="T6" fmla="*/ 331 w 403"/>
                <a:gd name="T7" fmla="*/ 11 h 357"/>
                <a:gd name="T8" fmla="*/ 312 w 403"/>
                <a:gd name="T9" fmla="*/ 42 h 357"/>
                <a:gd name="T10" fmla="*/ 382 w 403"/>
                <a:gd name="T11" fmla="*/ 92 h 357"/>
                <a:gd name="T12" fmla="*/ 404 w 403"/>
                <a:gd name="T13" fmla="*/ 135 h 357"/>
                <a:gd name="T14" fmla="*/ 446 w 403"/>
                <a:gd name="T15" fmla="*/ 124 h 357"/>
                <a:gd name="T16" fmla="*/ 445 w 403"/>
                <a:gd name="T17" fmla="*/ 184 h 357"/>
                <a:gd name="T18" fmla="*/ 486 w 403"/>
                <a:gd name="T19" fmla="*/ 202 h 357"/>
                <a:gd name="T20" fmla="*/ 505 w 403"/>
                <a:gd name="T21" fmla="*/ 254 h 357"/>
                <a:gd name="T22" fmla="*/ 537 w 403"/>
                <a:gd name="T23" fmla="*/ 259 h 357"/>
                <a:gd name="T24" fmla="*/ 553 w 403"/>
                <a:gd name="T25" fmla="*/ 281 h 357"/>
                <a:gd name="T26" fmla="*/ 515 w 403"/>
                <a:gd name="T27" fmla="*/ 312 h 357"/>
                <a:gd name="T28" fmla="*/ 503 w 403"/>
                <a:gd name="T29" fmla="*/ 347 h 357"/>
                <a:gd name="T30" fmla="*/ 449 w 403"/>
                <a:gd name="T31" fmla="*/ 357 h 357"/>
                <a:gd name="T32" fmla="*/ 463 w 403"/>
                <a:gd name="T33" fmla="*/ 318 h 357"/>
                <a:gd name="T34" fmla="*/ 256 w 403"/>
                <a:gd name="T35" fmla="*/ 332 h 357"/>
                <a:gd name="T36" fmla="*/ 108 w 403"/>
                <a:gd name="T37" fmla="*/ 346 h 357"/>
                <a:gd name="T38" fmla="*/ 98 w 403"/>
                <a:gd name="T39" fmla="*/ 309 h 357"/>
                <a:gd name="T40" fmla="*/ 89 w 403"/>
                <a:gd name="T41" fmla="*/ 194 h 357"/>
                <a:gd name="T42" fmla="*/ 88 w 403"/>
                <a:gd name="T43" fmla="*/ 132 h 357"/>
                <a:gd name="T44" fmla="*/ 38 w 403"/>
                <a:gd name="T45" fmla="*/ 104 h 357"/>
                <a:gd name="T46" fmla="*/ 56 w 403"/>
                <a:gd name="T47" fmla="*/ 78 h 357"/>
                <a:gd name="T48" fmla="*/ 31 w 403"/>
                <a:gd name="T49" fmla="*/ 64 h 357"/>
                <a:gd name="T50" fmla="*/ 0 w 403"/>
                <a:gd name="T51" fmla="*/ 12 h 357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403"/>
                <a:gd name="T79" fmla="*/ 0 h 357"/>
                <a:gd name="T80" fmla="*/ 403 w 403"/>
                <a:gd name="T81" fmla="*/ 357 h 357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403" h="357">
                  <a:moveTo>
                    <a:pt x="0" y="12"/>
                  </a:moveTo>
                  <a:lnTo>
                    <a:pt x="176" y="0"/>
                  </a:lnTo>
                  <a:lnTo>
                    <a:pt x="214" y="0"/>
                  </a:lnTo>
                  <a:lnTo>
                    <a:pt x="242" y="11"/>
                  </a:lnTo>
                  <a:lnTo>
                    <a:pt x="227" y="42"/>
                  </a:lnTo>
                  <a:lnTo>
                    <a:pt x="278" y="92"/>
                  </a:lnTo>
                  <a:lnTo>
                    <a:pt x="295" y="135"/>
                  </a:lnTo>
                  <a:lnTo>
                    <a:pt x="325" y="124"/>
                  </a:lnTo>
                  <a:lnTo>
                    <a:pt x="324" y="184"/>
                  </a:lnTo>
                  <a:lnTo>
                    <a:pt x="355" y="202"/>
                  </a:lnTo>
                  <a:lnTo>
                    <a:pt x="369" y="254"/>
                  </a:lnTo>
                  <a:lnTo>
                    <a:pt x="391" y="259"/>
                  </a:lnTo>
                  <a:lnTo>
                    <a:pt x="403" y="281"/>
                  </a:lnTo>
                  <a:lnTo>
                    <a:pt x="376" y="312"/>
                  </a:lnTo>
                  <a:lnTo>
                    <a:pt x="367" y="347"/>
                  </a:lnTo>
                  <a:lnTo>
                    <a:pt x="328" y="357"/>
                  </a:lnTo>
                  <a:lnTo>
                    <a:pt x="338" y="318"/>
                  </a:lnTo>
                  <a:lnTo>
                    <a:pt x="187" y="332"/>
                  </a:lnTo>
                  <a:lnTo>
                    <a:pt x="79" y="346"/>
                  </a:lnTo>
                  <a:lnTo>
                    <a:pt x="72" y="309"/>
                  </a:lnTo>
                  <a:lnTo>
                    <a:pt x="65" y="194"/>
                  </a:lnTo>
                  <a:lnTo>
                    <a:pt x="64" y="132"/>
                  </a:lnTo>
                  <a:lnTo>
                    <a:pt x="28" y="104"/>
                  </a:lnTo>
                  <a:lnTo>
                    <a:pt x="41" y="78"/>
                  </a:lnTo>
                  <a:lnTo>
                    <a:pt x="23" y="64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21" name="Freeform 18">
              <a:extLst>
                <a:ext uri="{FF2B5EF4-FFF2-40B4-BE49-F238E27FC236}">
                  <a16:creationId xmlns:a16="http://schemas.microsoft.com/office/drawing/2014/main" id="{2592AE8A-2EAB-47A4-831E-C5585002B6B3}"/>
                </a:ext>
              </a:extLst>
            </p:cNvPr>
            <p:cNvSpPr>
              <a:spLocks/>
            </p:cNvSpPr>
            <p:nvPr/>
          </p:nvSpPr>
          <p:spPr bwMode="auto">
            <a:xfrm>
              <a:off x="6013606" y="3173413"/>
              <a:ext cx="405848" cy="663575"/>
            </a:xfrm>
            <a:custGeom>
              <a:avLst/>
              <a:gdLst>
                <a:gd name="T0" fmla="*/ 0 w 197"/>
                <a:gd name="T1" fmla="*/ 25 h 348"/>
                <a:gd name="T2" fmla="*/ 31 w 197"/>
                <a:gd name="T3" fmla="*/ 38 h 348"/>
                <a:gd name="T4" fmla="*/ 62 w 197"/>
                <a:gd name="T5" fmla="*/ 35 h 348"/>
                <a:gd name="T6" fmla="*/ 72 w 197"/>
                <a:gd name="T7" fmla="*/ 28 h 348"/>
                <a:gd name="T8" fmla="*/ 80 w 197"/>
                <a:gd name="T9" fmla="*/ 7 h 348"/>
                <a:gd name="T10" fmla="*/ 208 w 197"/>
                <a:gd name="T11" fmla="*/ 0 h 348"/>
                <a:gd name="T12" fmla="*/ 269 w 197"/>
                <a:gd name="T13" fmla="*/ 246 h 348"/>
                <a:gd name="T14" fmla="*/ 265 w 197"/>
                <a:gd name="T15" fmla="*/ 243 h 348"/>
                <a:gd name="T16" fmla="*/ 219 w 197"/>
                <a:gd name="T17" fmla="*/ 257 h 348"/>
                <a:gd name="T18" fmla="*/ 188 w 197"/>
                <a:gd name="T19" fmla="*/ 323 h 348"/>
                <a:gd name="T20" fmla="*/ 142 w 197"/>
                <a:gd name="T21" fmla="*/ 314 h 348"/>
                <a:gd name="T22" fmla="*/ 89 w 197"/>
                <a:gd name="T23" fmla="*/ 339 h 348"/>
                <a:gd name="T24" fmla="*/ 17 w 197"/>
                <a:gd name="T25" fmla="*/ 348 h 348"/>
                <a:gd name="T26" fmla="*/ 49 w 197"/>
                <a:gd name="T27" fmla="*/ 283 h 348"/>
                <a:gd name="T28" fmla="*/ 35 w 197"/>
                <a:gd name="T29" fmla="*/ 247 h 348"/>
                <a:gd name="T30" fmla="*/ 0 w 197"/>
                <a:gd name="T31" fmla="*/ 25 h 348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97"/>
                <a:gd name="T49" fmla="*/ 0 h 348"/>
                <a:gd name="T50" fmla="*/ 197 w 197"/>
                <a:gd name="T51" fmla="*/ 348 h 348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97" h="348">
                  <a:moveTo>
                    <a:pt x="0" y="25"/>
                  </a:moveTo>
                  <a:lnTo>
                    <a:pt x="23" y="38"/>
                  </a:lnTo>
                  <a:lnTo>
                    <a:pt x="45" y="35"/>
                  </a:lnTo>
                  <a:lnTo>
                    <a:pt x="53" y="28"/>
                  </a:lnTo>
                  <a:lnTo>
                    <a:pt x="58" y="7"/>
                  </a:lnTo>
                  <a:lnTo>
                    <a:pt x="153" y="0"/>
                  </a:lnTo>
                  <a:lnTo>
                    <a:pt x="197" y="246"/>
                  </a:lnTo>
                  <a:lnTo>
                    <a:pt x="194" y="243"/>
                  </a:lnTo>
                  <a:lnTo>
                    <a:pt x="161" y="257"/>
                  </a:lnTo>
                  <a:lnTo>
                    <a:pt x="138" y="323"/>
                  </a:lnTo>
                  <a:lnTo>
                    <a:pt x="104" y="314"/>
                  </a:lnTo>
                  <a:lnTo>
                    <a:pt x="65" y="339"/>
                  </a:lnTo>
                  <a:lnTo>
                    <a:pt x="13" y="348"/>
                  </a:lnTo>
                  <a:lnTo>
                    <a:pt x="36" y="283"/>
                  </a:lnTo>
                  <a:lnTo>
                    <a:pt x="26" y="247"/>
                  </a:lnTo>
                  <a:lnTo>
                    <a:pt x="0" y="25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22" name="Freeform 19">
              <a:extLst>
                <a:ext uri="{FF2B5EF4-FFF2-40B4-BE49-F238E27FC236}">
                  <a16:creationId xmlns:a16="http://schemas.microsoft.com/office/drawing/2014/main" id="{31FE521B-E629-4AFE-A9F1-4F78699CB36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8310" y="3038475"/>
              <a:ext cx="522787" cy="598488"/>
            </a:xfrm>
            <a:custGeom>
              <a:avLst/>
              <a:gdLst>
                <a:gd name="T0" fmla="*/ 0 w 253"/>
                <a:gd name="T1" fmla="*/ 71 h 314"/>
                <a:gd name="T2" fmla="*/ 156 w 253"/>
                <a:gd name="T3" fmla="*/ 59 h 314"/>
                <a:gd name="T4" fmla="*/ 188 w 253"/>
                <a:gd name="T5" fmla="*/ 64 h 314"/>
                <a:gd name="T6" fmla="*/ 264 w 253"/>
                <a:gd name="T7" fmla="*/ 37 h 314"/>
                <a:gd name="T8" fmla="*/ 280 w 253"/>
                <a:gd name="T9" fmla="*/ 12 h 314"/>
                <a:gd name="T10" fmla="*/ 325 w 253"/>
                <a:gd name="T11" fmla="*/ 0 h 314"/>
                <a:gd name="T12" fmla="*/ 349 w 253"/>
                <a:gd name="T13" fmla="*/ 119 h 314"/>
                <a:gd name="T14" fmla="*/ 330 w 253"/>
                <a:gd name="T15" fmla="*/ 132 h 314"/>
                <a:gd name="T16" fmla="*/ 335 w 253"/>
                <a:gd name="T17" fmla="*/ 214 h 314"/>
                <a:gd name="T18" fmla="*/ 300 w 253"/>
                <a:gd name="T19" fmla="*/ 221 h 314"/>
                <a:gd name="T20" fmla="*/ 280 w 253"/>
                <a:gd name="T21" fmla="*/ 267 h 314"/>
                <a:gd name="T22" fmla="*/ 253 w 253"/>
                <a:gd name="T23" fmla="*/ 261 h 314"/>
                <a:gd name="T24" fmla="*/ 245 w 253"/>
                <a:gd name="T25" fmla="*/ 314 h 314"/>
                <a:gd name="T26" fmla="*/ 204 w 253"/>
                <a:gd name="T27" fmla="*/ 292 h 314"/>
                <a:gd name="T28" fmla="*/ 128 w 253"/>
                <a:gd name="T29" fmla="*/ 306 h 314"/>
                <a:gd name="T30" fmla="*/ 95 w 253"/>
                <a:gd name="T31" fmla="*/ 286 h 314"/>
                <a:gd name="T32" fmla="*/ 52 w 253"/>
                <a:gd name="T33" fmla="*/ 285 h 314"/>
                <a:gd name="T34" fmla="*/ 29 w 253"/>
                <a:gd name="T35" fmla="*/ 197 h 314"/>
                <a:gd name="T36" fmla="*/ 0 w 253"/>
                <a:gd name="T37" fmla="*/ 71 h 31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253"/>
                <a:gd name="T58" fmla="*/ 0 h 314"/>
                <a:gd name="T59" fmla="*/ 253 w 253"/>
                <a:gd name="T60" fmla="*/ 314 h 31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253" h="314">
                  <a:moveTo>
                    <a:pt x="0" y="71"/>
                  </a:moveTo>
                  <a:lnTo>
                    <a:pt x="114" y="59"/>
                  </a:lnTo>
                  <a:lnTo>
                    <a:pt x="138" y="64"/>
                  </a:lnTo>
                  <a:lnTo>
                    <a:pt x="192" y="37"/>
                  </a:lnTo>
                  <a:lnTo>
                    <a:pt x="204" y="12"/>
                  </a:lnTo>
                  <a:lnTo>
                    <a:pt x="236" y="0"/>
                  </a:lnTo>
                  <a:lnTo>
                    <a:pt x="253" y="119"/>
                  </a:lnTo>
                  <a:lnTo>
                    <a:pt x="240" y="132"/>
                  </a:lnTo>
                  <a:lnTo>
                    <a:pt x="243" y="214"/>
                  </a:lnTo>
                  <a:lnTo>
                    <a:pt x="218" y="221"/>
                  </a:lnTo>
                  <a:lnTo>
                    <a:pt x="204" y="267"/>
                  </a:lnTo>
                  <a:lnTo>
                    <a:pt x="184" y="261"/>
                  </a:lnTo>
                  <a:lnTo>
                    <a:pt x="178" y="314"/>
                  </a:lnTo>
                  <a:lnTo>
                    <a:pt x="149" y="292"/>
                  </a:lnTo>
                  <a:lnTo>
                    <a:pt x="93" y="306"/>
                  </a:lnTo>
                  <a:lnTo>
                    <a:pt x="69" y="286"/>
                  </a:lnTo>
                  <a:lnTo>
                    <a:pt x="38" y="285"/>
                  </a:lnTo>
                  <a:lnTo>
                    <a:pt x="21" y="197"/>
                  </a:lnTo>
                  <a:lnTo>
                    <a:pt x="0" y="71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23" name="Freeform 20">
              <a:extLst>
                <a:ext uri="{FF2B5EF4-FFF2-40B4-BE49-F238E27FC236}">
                  <a16:creationId xmlns:a16="http://schemas.microsoft.com/office/drawing/2014/main" id="{F8E20DED-C11D-4041-A3D4-11C887021566}"/>
                </a:ext>
              </a:extLst>
            </p:cNvPr>
            <p:cNvSpPr>
              <a:spLocks/>
            </p:cNvSpPr>
            <p:nvPr/>
          </p:nvSpPr>
          <p:spPr bwMode="auto">
            <a:xfrm>
              <a:off x="5865713" y="3579813"/>
              <a:ext cx="918317" cy="506412"/>
            </a:xfrm>
            <a:custGeom>
              <a:avLst/>
              <a:gdLst>
                <a:gd name="T0" fmla="*/ 0 w 445"/>
                <a:gd name="T1" fmla="*/ 266 h 266"/>
                <a:gd name="T2" fmla="*/ 149 w 445"/>
                <a:gd name="T3" fmla="*/ 249 h 266"/>
                <a:gd name="T4" fmla="*/ 149 w 445"/>
                <a:gd name="T5" fmla="*/ 237 h 266"/>
                <a:gd name="T6" fmla="*/ 509 w 445"/>
                <a:gd name="T7" fmla="*/ 199 h 266"/>
                <a:gd name="T8" fmla="*/ 516 w 445"/>
                <a:gd name="T9" fmla="*/ 179 h 266"/>
                <a:gd name="T10" fmla="*/ 566 w 445"/>
                <a:gd name="T11" fmla="*/ 163 h 266"/>
                <a:gd name="T12" fmla="*/ 575 w 445"/>
                <a:gd name="T13" fmla="*/ 142 h 266"/>
                <a:gd name="T14" fmla="*/ 596 w 445"/>
                <a:gd name="T15" fmla="*/ 135 h 266"/>
                <a:gd name="T16" fmla="*/ 612 w 445"/>
                <a:gd name="T17" fmla="*/ 103 h 266"/>
                <a:gd name="T18" fmla="*/ 563 w 445"/>
                <a:gd name="T19" fmla="*/ 72 h 266"/>
                <a:gd name="T20" fmla="*/ 555 w 445"/>
                <a:gd name="T21" fmla="*/ 29 h 266"/>
                <a:gd name="T22" fmla="*/ 516 w 445"/>
                <a:gd name="T23" fmla="*/ 8 h 266"/>
                <a:gd name="T24" fmla="*/ 434 w 445"/>
                <a:gd name="T25" fmla="*/ 20 h 266"/>
                <a:gd name="T26" fmla="*/ 398 w 445"/>
                <a:gd name="T27" fmla="*/ 1 h 266"/>
                <a:gd name="T28" fmla="*/ 363 w 445"/>
                <a:gd name="T29" fmla="*/ 0 h 266"/>
                <a:gd name="T30" fmla="*/ 368 w 445"/>
                <a:gd name="T31" fmla="*/ 29 h 266"/>
                <a:gd name="T32" fmla="*/ 320 w 445"/>
                <a:gd name="T33" fmla="*/ 44 h 266"/>
                <a:gd name="T34" fmla="*/ 286 w 445"/>
                <a:gd name="T35" fmla="*/ 110 h 266"/>
                <a:gd name="T36" fmla="*/ 242 w 445"/>
                <a:gd name="T37" fmla="*/ 100 h 266"/>
                <a:gd name="T38" fmla="*/ 186 w 445"/>
                <a:gd name="T39" fmla="*/ 124 h 266"/>
                <a:gd name="T40" fmla="*/ 117 w 445"/>
                <a:gd name="T41" fmla="*/ 134 h 266"/>
                <a:gd name="T42" fmla="*/ 117 w 445"/>
                <a:gd name="T43" fmla="*/ 171 h 266"/>
                <a:gd name="T44" fmla="*/ 82 w 445"/>
                <a:gd name="T45" fmla="*/ 170 h 266"/>
                <a:gd name="T46" fmla="*/ 83 w 445"/>
                <a:gd name="T47" fmla="*/ 203 h 266"/>
                <a:gd name="T48" fmla="*/ 48 w 445"/>
                <a:gd name="T49" fmla="*/ 190 h 266"/>
                <a:gd name="T50" fmla="*/ 28 w 445"/>
                <a:gd name="T51" fmla="*/ 196 h 266"/>
                <a:gd name="T52" fmla="*/ 45 w 445"/>
                <a:gd name="T53" fmla="*/ 218 h 266"/>
                <a:gd name="T54" fmla="*/ 5 w 445"/>
                <a:gd name="T55" fmla="*/ 248 h 266"/>
                <a:gd name="T56" fmla="*/ 0 w 445"/>
                <a:gd name="T57" fmla="*/ 266 h 26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445"/>
                <a:gd name="T88" fmla="*/ 0 h 266"/>
                <a:gd name="T89" fmla="*/ 445 w 445"/>
                <a:gd name="T90" fmla="*/ 266 h 26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445" h="266">
                  <a:moveTo>
                    <a:pt x="0" y="266"/>
                  </a:moveTo>
                  <a:lnTo>
                    <a:pt x="108" y="249"/>
                  </a:lnTo>
                  <a:lnTo>
                    <a:pt x="108" y="237"/>
                  </a:lnTo>
                  <a:lnTo>
                    <a:pt x="370" y="199"/>
                  </a:lnTo>
                  <a:lnTo>
                    <a:pt x="374" y="179"/>
                  </a:lnTo>
                  <a:lnTo>
                    <a:pt x="412" y="163"/>
                  </a:lnTo>
                  <a:lnTo>
                    <a:pt x="417" y="142"/>
                  </a:lnTo>
                  <a:lnTo>
                    <a:pt x="433" y="135"/>
                  </a:lnTo>
                  <a:lnTo>
                    <a:pt x="445" y="103"/>
                  </a:lnTo>
                  <a:lnTo>
                    <a:pt x="409" y="72"/>
                  </a:lnTo>
                  <a:lnTo>
                    <a:pt x="403" y="29"/>
                  </a:lnTo>
                  <a:lnTo>
                    <a:pt x="374" y="8"/>
                  </a:lnTo>
                  <a:lnTo>
                    <a:pt x="316" y="20"/>
                  </a:lnTo>
                  <a:lnTo>
                    <a:pt x="289" y="1"/>
                  </a:lnTo>
                  <a:lnTo>
                    <a:pt x="263" y="0"/>
                  </a:lnTo>
                  <a:lnTo>
                    <a:pt x="268" y="29"/>
                  </a:lnTo>
                  <a:lnTo>
                    <a:pt x="232" y="44"/>
                  </a:lnTo>
                  <a:lnTo>
                    <a:pt x="208" y="110"/>
                  </a:lnTo>
                  <a:lnTo>
                    <a:pt x="175" y="100"/>
                  </a:lnTo>
                  <a:lnTo>
                    <a:pt x="136" y="124"/>
                  </a:lnTo>
                  <a:lnTo>
                    <a:pt x="85" y="134"/>
                  </a:lnTo>
                  <a:lnTo>
                    <a:pt x="85" y="171"/>
                  </a:lnTo>
                  <a:lnTo>
                    <a:pt x="60" y="170"/>
                  </a:lnTo>
                  <a:lnTo>
                    <a:pt x="61" y="203"/>
                  </a:lnTo>
                  <a:lnTo>
                    <a:pt x="35" y="190"/>
                  </a:lnTo>
                  <a:lnTo>
                    <a:pt x="20" y="196"/>
                  </a:lnTo>
                  <a:lnTo>
                    <a:pt x="33" y="218"/>
                  </a:lnTo>
                  <a:lnTo>
                    <a:pt x="5" y="248"/>
                  </a:lnTo>
                  <a:lnTo>
                    <a:pt x="0" y="26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24" name="Freeform 21">
              <a:extLst>
                <a:ext uri="{FF2B5EF4-FFF2-40B4-BE49-F238E27FC236}">
                  <a16:creationId xmlns:a16="http://schemas.microsoft.com/office/drawing/2014/main" id="{B1D0E33C-E08E-430D-923C-D48AEBEC6FCC}"/>
                </a:ext>
              </a:extLst>
            </p:cNvPr>
            <p:cNvSpPr>
              <a:spLocks/>
            </p:cNvSpPr>
            <p:nvPr/>
          </p:nvSpPr>
          <p:spPr bwMode="auto">
            <a:xfrm>
              <a:off x="5802084" y="3905250"/>
              <a:ext cx="1059332" cy="384175"/>
            </a:xfrm>
            <a:custGeom>
              <a:avLst/>
              <a:gdLst>
                <a:gd name="T0" fmla="*/ 43 w 513"/>
                <a:gd name="T1" fmla="*/ 92 h 202"/>
                <a:gd name="T2" fmla="*/ 43 w 513"/>
                <a:gd name="T3" fmla="*/ 96 h 202"/>
                <a:gd name="T4" fmla="*/ 30 w 513"/>
                <a:gd name="T5" fmla="*/ 115 h 202"/>
                <a:gd name="T6" fmla="*/ 44 w 513"/>
                <a:gd name="T7" fmla="*/ 140 h 202"/>
                <a:gd name="T8" fmla="*/ 0 w 513"/>
                <a:gd name="T9" fmla="*/ 163 h 202"/>
                <a:gd name="T10" fmla="*/ 11 w 513"/>
                <a:gd name="T11" fmla="*/ 202 h 202"/>
                <a:gd name="T12" fmla="*/ 196 w 513"/>
                <a:gd name="T13" fmla="*/ 190 h 202"/>
                <a:gd name="T14" fmla="*/ 415 w 513"/>
                <a:gd name="T15" fmla="*/ 170 h 202"/>
                <a:gd name="T16" fmla="*/ 527 w 513"/>
                <a:gd name="T17" fmla="*/ 154 h 202"/>
                <a:gd name="T18" fmla="*/ 548 w 513"/>
                <a:gd name="T19" fmla="*/ 103 h 202"/>
                <a:gd name="T20" fmla="*/ 589 w 513"/>
                <a:gd name="T21" fmla="*/ 100 h 202"/>
                <a:gd name="T22" fmla="*/ 709 w 513"/>
                <a:gd name="T23" fmla="*/ 0 h 202"/>
                <a:gd name="T24" fmla="*/ 552 w 513"/>
                <a:gd name="T25" fmla="*/ 25 h 202"/>
                <a:gd name="T26" fmla="*/ 185 w 513"/>
                <a:gd name="T27" fmla="*/ 66 h 202"/>
                <a:gd name="T28" fmla="*/ 188 w 513"/>
                <a:gd name="T29" fmla="*/ 78 h 202"/>
                <a:gd name="T30" fmla="*/ 43 w 513"/>
                <a:gd name="T31" fmla="*/ 92 h 20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13"/>
                <a:gd name="T49" fmla="*/ 0 h 202"/>
                <a:gd name="T50" fmla="*/ 513 w 513"/>
                <a:gd name="T51" fmla="*/ 202 h 20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13" h="202">
                  <a:moveTo>
                    <a:pt x="31" y="92"/>
                  </a:moveTo>
                  <a:lnTo>
                    <a:pt x="31" y="96"/>
                  </a:lnTo>
                  <a:lnTo>
                    <a:pt x="22" y="115"/>
                  </a:lnTo>
                  <a:lnTo>
                    <a:pt x="32" y="140"/>
                  </a:lnTo>
                  <a:lnTo>
                    <a:pt x="0" y="163"/>
                  </a:lnTo>
                  <a:lnTo>
                    <a:pt x="7" y="202"/>
                  </a:lnTo>
                  <a:lnTo>
                    <a:pt x="142" y="190"/>
                  </a:lnTo>
                  <a:lnTo>
                    <a:pt x="301" y="170"/>
                  </a:lnTo>
                  <a:lnTo>
                    <a:pt x="381" y="154"/>
                  </a:lnTo>
                  <a:lnTo>
                    <a:pt x="398" y="103"/>
                  </a:lnTo>
                  <a:lnTo>
                    <a:pt x="426" y="100"/>
                  </a:lnTo>
                  <a:lnTo>
                    <a:pt x="513" y="0"/>
                  </a:lnTo>
                  <a:lnTo>
                    <a:pt x="400" y="25"/>
                  </a:lnTo>
                  <a:lnTo>
                    <a:pt x="135" y="66"/>
                  </a:lnTo>
                  <a:lnTo>
                    <a:pt x="137" y="78"/>
                  </a:lnTo>
                  <a:lnTo>
                    <a:pt x="31" y="92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25" name="Freeform 22">
              <a:extLst>
                <a:ext uri="{FF2B5EF4-FFF2-40B4-BE49-F238E27FC236}">
                  <a16:creationId xmlns:a16="http://schemas.microsoft.com/office/drawing/2014/main" id="{0598434B-8DC1-4049-8FAA-E6DCA9C23549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9840" y="4787900"/>
              <a:ext cx="1159074" cy="777875"/>
            </a:xfrm>
            <a:custGeom>
              <a:avLst/>
              <a:gdLst>
                <a:gd name="T0" fmla="*/ 0 w 561"/>
                <a:gd name="T1" fmla="*/ 39 h 409"/>
                <a:gd name="T2" fmla="*/ 212 w 561"/>
                <a:gd name="T3" fmla="*/ 23 h 409"/>
                <a:gd name="T4" fmla="*/ 234 w 561"/>
                <a:gd name="T5" fmla="*/ 50 h 409"/>
                <a:gd name="T6" fmla="*/ 463 w 561"/>
                <a:gd name="T7" fmla="*/ 23 h 409"/>
                <a:gd name="T8" fmla="*/ 502 w 561"/>
                <a:gd name="T9" fmla="*/ 45 h 409"/>
                <a:gd name="T10" fmla="*/ 502 w 561"/>
                <a:gd name="T11" fmla="*/ 3 h 409"/>
                <a:gd name="T12" fmla="*/ 500 w 561"/>
                <a:gd name="T13" fmla="*/ 0 h 409"/>
                <a:gd name="T14" fmla="*/ 545 w 561"/>
                <a:gd name="T15" fmla="*/ 2 h 409"/>
                <a:gd name="T16" fmla="*/ 593 w 561"/>
                <a:gd name="T17" fmla="*/ 65 h 409"/>
                <a:gd name="T18" fmla="*/ 670 w 561"/>
                <a:gd name="T19" fmla="*/ 151 h 409"/>
                <a:gd name="T20" fmla="*/ 709 w 561"/>
                <a:gd name="T21" fmla="*/ 225 h 409"/>
                <a:gd name="T22" fmla="*/ 763 w 561"/>
                <a:gd name="T23" fmla="*/ 277 h 409"/>
                <a:gd name="T24" fmla="*/ 774 w 561"/>
                <a:gd name="T25" fmla="*/ 352 h 409"/>
                <a:gd name="T26" fmla="*/ 756 w 561"/>
                <a:gd name="T27" fmla="*/ 397 h 409"/>
                <a:gd name="T28" fmla="*/ 674 w 561"/>
                <a:gd name="T29" fmla="*/ 409 h 409"/>
                <a:gd name="T30" fmla="*/ 660 w 561"/>
                <a:gd name="T31" fmla="*/ 390 h 409"/>
                <a:gd name="T32" fmla="*/ 604 w 561"/>
                <a:gd name="T33" fmla="*/ 363 h 409"/>
                <a:gd name="T34" fmla="*/ 586 w 561"/>
                <a:gd name="T35" fmla="*/ 335 h 409"/>
                <a:gd name="T36" fmla="*/ 571 w 561"/>
                <a:gd name="T37" fmla="*/ 324 h 409"/>
                <a:gd name="T38" fmla="*/ 561 w 561"/>
                <a:gd name="T39" fmla="*/ 298 h 409"/>
                <a:gd name="T40" fmla="*/ 547 w 561"/>
                <a:gd name="T41" fmla="*/ 305 h 409"/>
                <a:gd name="T42" fmla="*/ 502 w 561"/>
                <a:gd name="T43" fmla="*/ 271 h 409"/>
                <a:gd name="T44" fmla="*/ 514 w 561"/>
                <a:gd name="T45" fmla="*/ 239 h 409"/>
                <a:gd name="T46" fmla="*/ 502 w 561"/>
                <a:gd name="T47" fmla="*/ 222 h 409"/>
                <a:gd name="T48" fmla="*/ 489 w 561"/>
                <a:gd name="T49" fmla="*/ 228 h 409"/>
                <a:gd name="T50" fmla="*/ 490 w 561"/>
                <a:gd name="T51" fmla="*/ 246 h 409"/>
                <a:gd name="T52" fmla="*/ 475 w 561"/>
                <a:gd name="T53" fmla="*/ 222 h 409"/>
                <a:gd name="T54" fmla="*/ 476 w 561"/>
                <a:gd name="T55" fmla="*/ 164 h 409"/>
                <a:gd name="T56" fmla="*/ 448 w 561"/>
                <a:gd name="T57" fmla="*/ 130 h 409"/>
                <a:gd name="T58" fmla="*/ 376 w 561"/>
                <a:gd name="T59" fmla="*/ 102 h 409"/>
                <a:gd name="T60" fmla="*/ 339 w 561"/>
                <a:gd name="T61" fmla="*/ 70 h 409"/>
                <a:gd name="T62" fmla="*/ 298 w 561"/>
                <a:gd name="T63" fmla="*/ 67 h 409"/>
                <a:gd name="T64" fmla="*/ 282 w 561"/>
                <a:gd name="T65" fmla="*/ 87 h 409"/>
                <a:gd name="T66" fmla="*/ 222 w 561"/>
                <a:gd name="T67" fmla="*/ 101 h 409"/>
                <a:gd name="T68" fmla="*/ 185 w 561"/>
                <a:gd name="T69" fmla="*/ 87 h 409"/>
                <a:gd name="T70" fmla="*/ 168 w 561"/>
                <a:gd name="T71" fmla="*/ 65 h 409"/>
                <a:gd name="T72" fmla="*/ 55 w 561"/>
                <a:gd name="T73" fmla="*/ 84 h 409"/>
                <a:gd name="T74" fmla="*/ 31 w 561"/>
                <a:gd name="T75" fmla="*/ 69 h 409"/>
                <a:gd name="T76" fmla="*/ 4 w 561"/>
                <a:gd name="T77" fmla="*/ 85 h 409"/>
                <a:gd name="T78" fmla="*/ 0 w 561"/>
                <a:gd name="T79" fmla="*/ 39 h 409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561"/>
                <a:gd name="T121" fmla="*/ 0 h 409"/>
                <a:gd name="T122" fmla="*/ 561 w 561"/>
                <a:gd name="T123" fmla="*/ 409 h 409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561" h="409">
                  <a:moveTo>
                    <a:pt x="0" y="39"/>
                  </a:moveTo>
                  <a:lnTo>
                    <a:pt x="154" y="23"/>
                  </a:lnTo>
                  <a:lnTo>
                    <a:pt x="170" y="50"/>
                  </a:lnTo>
                  <a:lnTo>
                    <a:pt x="336" y="23"/>
                  </a:lnTo>
                  <a:lnTo>
                    <a:pt x="364" y="45"/>
                  </a:lnTo>
                  <a:lnTo>
                    <a:pt x="364" y="3"/>
                  </a:lnTo>
                  <a:lnTo>
                    <a:pt x="362" y="0"/>
                  </a:lnTo>
                  <a:lnTo>
                    <a:pt x="395" y="2"/>
                  </a:lnTo>
                  <a:lnTo>
                    <a:pt x="430" y="65"/>
                  </a:lnTo>
                  <a:lnTo>
                    <a:pt x="485" y="151"/>
                  </a:lnTo>
                  <a:lnTo>
                    <a:pt x="513" y="225"/>
                  </a:lnTo>
                  <a:lnTo>
                    <a:pt x="554" y="277"/>
                  </a:lnTo>
                  <a:lnTo>
                    <a:pt x="561" y="352"/>
                  </a:lnTo>
                  <a:lnTo>
                    <a:pt x="548" y="397"/>
                  </a:lnTo>
                  <a:lnTo>
                    <a:pt x="489" y="409"/>
                  </a:lnTo>
                  <a:lnTo>
                    <a:pt x="479" y="390"/>
                  </a:lnTo>
                  <a:lnTo>
                    <a:pt x="437" y="363"/>
                  </a:lnTo>
                  <a:lnTo>
                    <a:pt x="424" y="335"/>
                  </a:lnTo>
                  <a:lnTo>
                    <a:pt x="413" y="324"/>
                  </a:lnTo>
                  <a:lnTo>
                    <a:pt x="407" y="298"/>
                  </a:lnTo>
                  <a:lnTo>
                    <a:pt x="397" y="305"/>
                  </a:lnTo>
                  <a:lnTo>
                    <a:pt x="364" y="271"/>
                  </a:lnTo>
                  <a:lnTo>
                    <a:pt x="372" y="239"/>
                  </a:lnTo>
                  <a:lnTo>
                    <a:pt x="364" y="222"/>
                  </a:lnTo>
                  <a:lnTo>
                    <a:pt x="354" y="228"/>
                  </a:lnTo>
                  <a:lnTo>
                    <a:pt x="355" y="246"/>
                  </a:lnTo>
                  <a:lnTo>
                    <a:pt x="344" y="222"/>
                  </a:lnTo>
                  <a:lnTo>
                    <a:pt x="345" y="164"/>
                  </a:lnTo>
                  <a:lnTo>
                    <a:pt x="325" y="130"/>
                  </a:lnTo>
                  <a:lnTo>
                    <a:pt x="272" y="102"/>
                  </a:lnTo>
                  <a:lnTo>
                    <a:pt x="246" y="70"/>
                  </a:lnTo>
                  <a:lnTo>
                    <a:pt x="216" y="67"/>
                  </a:lnTo>
                  <a:lnTo>
                    <a:pt x="204" y="87"/>
                  </a:lnTo>
                  <a:lnTo>
                    <a:pt x="161" y="101"/>
                  </a:lnTo>
                  <a:lnTo>
                    <a:pt x="135" y="87"/>
                  </a:lnTo>
                  <a:lnTo>
                    <a:pt x="122" y="65"/>
                  </a:lnTo>
                  <a:lnTo>
                    <a:pt x="40" y="84"/>
                  </a:lnTo>
                  <a:lnTo>
                    <a:pt x="23" y="69"/>
                  </a:lnTo>
                  <a:lnTo>
                    <a:pt x="4" y="85"/>
                  </a:lnTo>
                  <a:lnTo>
                    <a:pt x="0" y="39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26" name="Freeform 23">
              <a:extLst>
                <a:ext uri="{FF2B5EF4-FFF2-40B4-BE49-F238E27FC236}">
                  <a16:creationId xmlns:a16="http://schemas.microsoft.com/office/drawing/2014/main" id="{72F953FE-3F68-4F3A-B005-4D0BBC04CB84}"/>
                </a:ext>
              </a:extLst>
            </p:cNvPr>
            <p:cNvSpPr>
              <a:spLocks/>
            </p:cNvSpPr>
            <p:nvPr/>
          </p:nvSpPr>
          <p:spPr bwMode="auto">
            <a:xfrm>
              <a:off x="6696324" y="3260725"/>
              <a:ext cx="529666" cy="549275"/>
            </a:xfrm>
            <a:custGeom>
              <a:avLst/>
              <a:gdLst>
                <a:gd name="T0" fmla="*/ 36 w 256"/>
                <a:gd name="T1" fmla="*/ 150 h 288"/>
                <a:gd name="T2" fmla="*/ 10 w 256"/>
                <a:gd name="T3" fmla="*/ 144 h 288"/>
                <a:gd name="T4" fmla="*/ 0 w 256"/>
                <a:gd name="T5" fmla="*/ 190 h 288"/>
                <a:gd name="T6" fmla="*/ 10 w 256"/>
                <a:gd name="T7" fmla="*/ 239 h 288"/>
                <a:gd name="T8" fmla="*/ 60 w 256"/>
                <a:gd name="T9" fmla="*/ 271 h 288"/>
                <a:gd name="T10" fmla="*/ 72 w 256"/>
                <a:gd name="T11" fmla="*/ 288 h 288"/>
                <a:gd name="T12" fmla="*/ 138 w 256"/>
                <a:gd name="T13" fmla="*/ 271 h 288"/>
                <a:gd name="T14" fmla="*/ 215 w 256"/>
                <a:gd name="T15" fmla="*/ 233 h 288"/>
                <a:gd name="T16" fmla="*/ 238 w 256"/>
                <a:gd name="T17" fmla="*/ 148 h 288"/>
                <a:gd name="T18" fmla="*/ 288 w 256"/>
                <a:gd name="T19" fmla="*/ 126 h 288"/>
                <a:gd name="T20" fmla="*/ 316 w 256"/>
                <a:gd name="T21" fmla="*/ 74 h 288"/>
                <a:gd name="T22" fmla="*/ 356 w 256"/>
                <a:gd name="T23" fmla="*/ 60 h 288"/>
                <a:gd name="T24" fmla="*/ 303 w 256"/>
                <a:gd name="T25" fmla="*/ 53 h 288"/>
                <a:gd name="T26" fmla="*/ 214 w 256"/>
                <a:gd name="T27" fmla="*/ 90 h 288"/>
                <a:gd name="T28" fmla="*/ 200 w 256"/>
                <a:gd name="T29" fmla="*/ 54 h 288"/>
                <a:gd name="T30" fmla="*/ 123 w 256"/>
                <a:gd name="T31" fmla="*/ 57 h 288"/>
                <a:gd name="T32" fmla="*/ 104 w 256"/>
                <a:gd name="T33" fmla="*/ 0 h 288"/>
                <a:gd name="T34" fmla="*/ 85 w 256"/>
                <a:gd name="T35" fmla="*/ 15 h 288"/>
                <a:gd name="T36" fmla="*/ 91 w 256"/>
                <a:gd name="T37" fmla="*/ 97 h 288"/>
                <a:gd name="T38" fmla="*/ 55 w 256"/>
                <a:gd name="T39" fmla="*/ 104 h 288"/>
                <a:gd name="T40" fmla="*/ 36 w 256"/>
                <a:gd name="T41" fmla="*/ 150 h 288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256"/>
                <a:gd name="T64" fmla="*/ 0 h 288"/>
                <a:gd name="T65" fmla="*/ 256 w 256"/>
                <a:gd name="T66" fmla="*/ 288 h 288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256" h="288">
                  <a:moveTo>
                    <a:pt x="26" y="150"/>
                  </a:moveTo>
                  <a:lnTo>
                    <a:pt x="6" y="144"/>
                  </a:lnTo>
                  <a:lnTo>
                    <a:pt x="0" y="190"/>
                  </a:lnTo>
                  <a:lnTo>
                    <a:pt x="6" y="239"/>
                  </a:lnTo>
                  <a:lnTo>
                    <a:pt x="43" y="271"/>
                  </a:lnTo>
                  <a:lnTo>
                    <a:pt x="52" y="288"/>
                  </a:lnTo>
                  <a:lnTo>
                    <a:pt x="99" y="271"/>
                  </a:lnTo>
                  <a:lnTo>
                    <a:pt x="155" y="233"/>
                  </a:lnTo>
                  <a:lnTo>
                    <a:pt x="171" y="148"/>
                  </a:lnTo>
                  <a:lnTo>
                    <a:pt x="207" y="126"/>
                  </a:lnTo>
                  <a:lnTo>
                    <a:pt x="227" y="74"/>
                  </a:lnTo>
                  <a:lnTo>
                    <a:pt x="256" y="60"/>
                  </a:lnTo>
                  <a:lnTo>
                    <a:pt x="218" y="53"/>
                  </a:lnTo>
                  <a:lnTo>
                    <a:pt x="154" y="90"/>
                  </a:lnTo>
                  <a:lnTo>
                    <a:pt x="144" y="54"/>
                  </a:lnTo>
                  <a:lnTo>
                    <a:pt x="88" y="57"/>
                  </a:lnTo>
                  <a:lnTo>
                    <a:pt x="75" y="0"/>
                  </a:lnTo>
                  <a:lnTo>
                    <a:pt x="61" y="15"/>
                  </a:lnTo>
                  <a:lnTo>
                    <a:pt x="65" y="97"/>
                  </a:lnTo>
                  <a:lnTo>
                    <a:pt x="40" y="104"/>
                  </a:lnTo>
                  <a:lnTo>
                    <a:pt x="26" y="15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27" name="Freeform 24">
              <a:extLst>
                <a:ext uri="{FF2B5EF4-FFF2-40B4-BE49-F238E27FC236}">
                  <a16:creationId xmlns:a16="http://schemas.microsoft.com/office/drawing/2014/main" id="{6EF5E097-F6CA-4844-BDD5-32B172EB9610}"/>
                </a:ext>
              </a:extLst>
            </p:cNvPr>
            <p:cNvSpPr>
              <a:spLocks/>
            </p:cNvSpPr>
            <p:nvPr/>
          </p:nvSpPr>
          <p:spPr bwMode="auto">
            <a:xfrm>
              <a:off x="7492543" y="2346325"/>
              <a:ext cx="208082" cy="384175"/>
            </a:xfrm>
            <a:custGeom>
              <a:avLst/>
              <a:gdLst>
                <a:gd name="T0" fmla="*/ 0 w 101"/>
                <a:gd name="T1" fmla="*/ 21 h 202"/>
                <a:gd name="T2" fmla="*/ 100 w 101"/>
                <a:gd name="T3" fmla="*/ 0 h 202"/>
                <a:gd name="T4" fmla="*/ 137 w 101"/>
                <a:gd name="T5" fmla="*/ 55 h 202"/>
                <a:gd name="T6" fmla="*/ 118 w 101"/>
                <a:gd name="T7" fmla="*/ 70 h 202"/>
                <a:gd name="T8" fmla="*/ 126 w 101"/>
                <a:gd name="T9" fmla="*/ 192 h 202"/>
                <a:gd name="T10" fmla="*/ 68 w 101"/>
                <a:gd name="T11" fmla="*/ 202 h 202"/>
                <a:gd name="T12" fmla="*/ 39 w 101"/>
                <a:gd name="T13" fmla="*/ 152 h 202"/>
                <a:gd name="T14" fmla="*/ 38 w 101"/>
                <a:gd name="T15" fmla="*/ 92 h 202"/>
                <a:gd name="T16" fmla="*/ 13 w 101"/>
                <a:gd name="T17" fmla="*/ 74 h 202"/>
                <a:gd name="T18" fmla="*/ 0 w 101"/>
                <a:gd name="T19" fmla="*/ 21 h 20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01"/>
                <a:gd name="T31" fmla="*/ 0 h 202"/>
                <a:gd name="T32" fmla="*/ 101 w 101"/>
                <a:gd name="T33" fmla="*/ 202 h 20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01" h="202">
                  <a:moveTo>
                    <a:pt x="0" y="21"/>
                  </a:moveTo>
                  <a:lnTo>
                    <a:pt x="74" y="0"/>
                  </a:lnTo>
                  <a:lnTo>
                    <a:pt x="101" y="55"/>
                  </a:lnTo>
                  <a:lnTo>
                    <a:pt x="87" y="70"/>
                  </a:lnTo>
                  <a:lnTo>
                    <a:pt x="93" y="192"/>
                  </a:lnTo>
                  <a:lnTo>
                    <a:pt x="50" y="202"/>
                  </a:lnTo>
                  <a:lnTo>
                    <a:pt x="29" y="152"/>
                  </a:lnTo>
                  <a:lnTo>
                    <a:pt x="28" y="92"/>
                  </a:lnTo>
                  <a:lnTo>
                    <a:pt x="9" y="74"/>
                  </a:lnTo>
                  <a:lnTo>
                    <a:pt x="0" y="21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28" name="Freeform 25">
              <a:extLst>
                <a:ext uri="{FF2B5EF4-FFF2-40B4-BE49-F238E27FC236}">
                  <a16:creationId xmlns:a16="http://schemas.microsoft.com/office/drawing/2014/main" id="{D2A0A74E-91D7-4D20-86F1-DD0D42739559}"/>
                </a:ext>
              </a:extLst>
            </p:cNvPr>
            <p:cNvSpPr>
              <a:spLocks/>
            </p:cNvSpPr>
            <p:nvPr/>
          </p:nvSpPr>
          <p:spPr bwMode="auto">
            <a:xfrm>
              <a:off x="7592286" y="2647950"/>
              <a:ext cx="445400" cy="201613"/>
            </a:xfrm>
            <a:custGeom>
              <a:avLst/>
              <a:gdLst>
                <a:gd name="T0" fmla="*/ 0 w 216"/>
                <a:gd name="T1" fmla="*/ 42 h 106"/>
                <a:gd name="T2" fmla="*/ 152 w 216"/>
                <a:gd name="T3" fmla="*/ 13 h 106"/>
                <a:gd name="T4" fmla="*/ 169 w 216"/>
                <a:gd name="T5" fmla="*/ 14 h 106"/>
                <a:gd name="T6" fmla="*/ 187 w 216"/>
                <a:gd name="T7" fmla="*/ 0 h 106"/>
                <a:gd name="T8" fmla="*/ 203 w 216"/>
                <a:gd name="T9" fmla="*/ 7 h 106"/>
                <a:gd name="T10" fmla="*/ 184 w 216"/>
                <a:gd name="T11" fmla="*/ 37 h 106"/>
                <a:gd name="T12" fmla="*/ 216 w 216"/>
                <a:gd name="T13" fmla="*/ 35 h 106"/>
                <a:gd name="T14" fmla="*/ 234 w 216"/>
                <a:gd name="T15" fmla="*/ 59 h 106"/>
                <a:gd name="T16" fmla="*/ 257 w 216"/>
                <a:gd name="T17" fmla="*/ 61 h 106"/>
                <a:gd name="T18" fmla="*/ 271 w 216"/>
                <a:gd name="T19" fmla="*/ 57 h 106"/>
                <a:gd name="T20" fmla="*/ 271 w 216"/>
                <a:gd name="T21" fmla="*/ 44 h 106"/>
                <a:gd name="T22" fmla="*/ 245 w 216"/>
                <a:gd name="T23" fmla="*/ 28 h 106"/>
                <a:gd name="T24" fmla="*/ 264 w 216"/>
                <a:gd name="T25" fmla="*/ 27 h 106"/>
                <a:gd name="T26" fmla="*/ 297 w 216"/>
                <a:gd name="T27" fmla="*/ 62 h 106"/>
                <a:gd name="T28" fmla="*/ 265 w 216"/>
                <a:gd name="T29" fmla="*/ 83 h 106"/>
                <a:gd name="T30" fmla="*/ 230 w 216"/>
                <a:gd name="T31" fmla="*/ 73 h 106"/>
                <a:gd name="T32" fmla="*/ 209 w 216"/>
                <a:gd name="T33" fmla="*/ 98 h 106"/>
                <a:gd name="T34" fmla="*/ 164 w 216"/>
                <a:gd name="T35" fmla="*/ 73 h 106"/>
                <a:gd name="T36" fmla="*/ 13 w 216"/>
                <a:gd name="T37" fmla="*/ 106 h 106"/>
                <a:gd name="T38" fmla="*/ 0 w 216"/>
                <a:gd name="T39" fmla="*/ 42 h 10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16"/>
                <a:gd name="T61" fmla="*/ 0 h 106"/>
                <a:gd name="T62" fmla="*/ 216 w 216"/>
                <a:gd name="T63" fmla="*/ 106 h 10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16" h="106">
                  <a:moveTo>
                    <a:pt x="0" y="42"/>
                  </a:moveTo>
                  <a:lnTo>
                    <a:pt x="110" y="13"/>
                  </a:lnTo>
                  <a:lnTo>
                    <a:pt x="123" y="14"/>
                  </a:lnTo>
                  <a:lnTo>
                    <a:pt x="137" y="0"/>
                  </a:lnTo>
                  <a:lnTo>
                    <a:pt x="148" y="7"/>
                  </a:lnTo>
                  <a:lnTo>
                    <a:pt x="134" y="37"/>
                  </a:lnTo>
                  <a:lnTo>
                    <a:pt x="157" y="35"/>
                  </a:lnTo>
                  <a:lnTo>
                    <a:pt x="170" y="59"/>
                  </a:lnTo>
                  <a:lnTo>
                    <a:pt x="186" y="61"/>
                  </a:lnTo>
                  <a:lnTo>
                    <a:pt x="197" y="57"/>
                  </a:lnTo>
                  <a:lnTo>
                    <a:pt x="197" y="44"/>
                  </a:lnTo>
                  <a:lnTo>
                    <a:pt x="178" y="28"/>
                  </a:lnTo>
                  <a:lnTo>
                    <a:pt x="192" y="27"/>
                  </a:lnTo>
                  <a:lnTo>
                    <a:pt x="216" y="62"/>
                  </a:lnTo>
                  <a:lnTo>
                    <a:pt x="193" y="83"/>
                  </a:lnTo>
                  <a:lnTo>
                    <a:pt x="167" y="73"/>
                  </a:lnTo>
                  <a:lnTo>
                    <a:pt x="151" y="98"/>
                  </a:lnTo>
                  <a:lnTo>
                    <a:pt x="118" y="73"/>
                  </a:lnTo>
                  <a:lnTo>
                    <a:pt x="9" y="106"/>
                  </a:lnTo>
                  <a:lnTo>
                    <a:pt x="0" y="42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29" name="Freeform 26">
              <a:extLst>
                <a:ext uri="{FF2B5EF4-FFF2-40B4-BE49-F238E27FC236}">
                  <a16:creationId xmlns:a16="http://schemas.microsoft.com/office/drawing/2014/main" id="{9E18E62C-FFEE-40EB-ACBE-CD85B312D72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43876" y="2271713"/>
              <a:ext cx="245916" cy="434975"/>
            </a:xfrm>
            <a:custGeom>
              <a:avLst/>
              <a:gdLst>
                <a:gd name="T0" fmla="*/ 34 w 119"/>
                <a:gd name="T1" fmla="*/ 0 h 228"/>
                <a:gd name="T2" fmla="*/ 0 w 119"/>
                <a:gd name="T3" fmla="*/ 40 h 228"/>
                <a:gd name="T4" fmla="*/ 37 w 119"/>
                <a:gd name="T5" fmla="*/ 93 h 228"/>
                <a:gd name="T6" fmla="*/ 15 w 119"/>
                <a:gd name="T7" fmla="*/ 107 h 228"/>
                <a:gd name="T8" fmla="*/ 24 w 119"/>
                <a:gd name="T9" fmla="*/ 228 h 228"/>
                <a:gd name="T10" fmla="*/ 116 w 119"/>
                <a:gd name="T11" fmla="*/ 211 h 228"/>
                <a:gd name="T12" fmla="*/ 141 w 119"/>
                <a:gd name="T13" fmla="*/ 211 h 228"/>
                <a:gd name="T14" fmla="*/ 154 w 119"/>
                <a:gd name="T15" fmla="*/ 198 h 228"/>
                <a:gd name="T16" fmla="*/ 154 w 119"/>
                <a:gd name="T17" fmla="*/ 176 h 228"/>
                <a:gd name="T18" fmla="*/ 165 w 119"/>
                <a:gd name="T19" fmla="*/ 161 h 228"/>
                <a:gd name="T20" fmla="*/ 113 w 119"/>
                <a:gd name="T21" fmla="*/ 144 h 228"/>
                <a:gd name="T22" fmla="*/ 47 w 119"/>
                <a:gd name="T23" fmla="*/ 11 h 228"/>
                <a:gd name="T24" fmla="*/ 34 w 119"/>
                <a:gd name="T25" fmla="*/ 0 h 22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19"/>
                <a:gd name="T40" fmla="*/ 0 h 228"/>
                <a:gd name="T41" fmla="*/ 119 w 119"/>
                <a:gd name="T42" fmla="*/ 228 h 228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19" h="228">
                  <a:moveTo>
                    <a:pt x="25" y="0"/>
                  </a:moveTo>
                  <a:lnTo>
                    <a:pt x="0" y="40"/>
                  </a:lnTo>
                  <a:lnTo>
                    <a:pt x="27" y="93"/>
                  </a:lnTo>
                  <a:lnTo>
                    <a:pt x="11" y="107"/>
                  </a:lnTo>
                  <a:lnTo>
                    <a:pt x="17" y="228"/>
                  </a:lnTo>
                  <a:lnTo>
                    <a:pt x="84" y="211"/>
                  </a:lnTo>
                  <a:lnTo>
                    <a:pt x="102" y="211"/>
                  </a:lnTo>
                  <a:lnTo>
                    <a:pt x="112" y="198"/>
                  </a:lnTo>
                  <a:lnTo>
                    <a:pt x="112" y="176"/>
                  </a:lnTo>
                  <a:lnTo>
                    <a:pt x="119" y="161"/>
                  </a:lnTo>
                  <a:lnTo>
                    <a:pt x="82" y="144"/>
                  </a:lnTo>
                  <a:lnTo>
                    <a:pt x="34" y="11"/>
                  </a:lnTo>
                  <a:lnTo>
                    <a:pt x="25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1366E7EF-7CDE-4DE0-9260-74B249B9B079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199628" y="2176832"/>
              <a:ext cx="5701793" cy="2675059"/>
              <a:chOff x="1657" y="1277"/>
              <a:chExt cx="2764" cy="1404"/>
            </a:xfrm>
            <a:grpFill/>
          </p:grpSpPr>
          <p:sp>
            <p:nvSpPr>
              <p:cNvPr id="44" name="Freeform 28">
                <a:extLst>
                  <a:ext uri="{FF2B5EF4-FFF2-40B4-BE49-F238E27FC236}">
                    <a16:creationId xmlns:a16="http://schemas.microsoft.com/office/drawing/2014/main" id="{9D75BDA7-5A83-4C19-93E2-4E7BD2AF10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57" y="1722"/>
                <a:ext cx="388" cy="629"/>
              </a:xfrm>
              <a:custGeom>
                <a:avLst/>
                <a:gdLst>
                  <a:gd name="T0" fmla="*/ 50 w 388"/>
                  <a:gd name="T1" fmla="*/ 0 h 629"/>
                  <a:gd name="T2" fmla="*/ 0 w 388"/>
                  <a:gd name="T3" fmla="*/ 250 h 629"/>
                  <a:gd name="T4" fmla="*/ 264 w 388"/>
                  <a:gd name="T5" fmla="*/ 629 h 629"/>
                  <a:gd name="T6" fmla="*/ 281 w 388"/>
                  <a:gd name="T7" fmla="*/ 613 h 629"/>
                  <a:gd name="T8" fmla="*/ 279 w 388"/>
                  <a:gd name="T9" fmla="*/ 538 h 629"/>
                  <a:gd name="T10" fmla="*/ 312 w 388"/>
                  <a:gd name="T11" fmla="*/ 544 h 629"/>
                  <a:gd name="T12" fmla="*/ 346 w 388"/>
                  <a:gd name="T13" fmla="*/ 313 h 629"/>
                  <a:gd name="T14" fmla="*/ 369 w 388"/>
                  <a:gd name="T15" fmla="*/ 157 h 629"/>
                  <a:gd name="T16" fmla="*/ 376 w 388"/>
                  <a:gd name="T17" fmla="*/ 110 h 629"/>
                  <a:gd name="T18" fmla="*/ 388 w 388"/>
                  <a:gd name="T19" fmla="*/ 67 h 629"/>
                  <a:gd name="T20" fmla="*/ 214 w 388"/>
                  <a:gd name="T21" fmla="*/ 38 h 629"/>
                  <a:gd name="T22" fmla="*/ 50 w 388"/>
                  <a:gd name="T23" fmla="*/ 0 h 629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388"/>
                  <a:gd name="T37" fmla="*/ 0 h 629"/>
                  <a:gd name="T38" fmla="*/ 388 w 388"/>
                  <a:gd name="T39" fmla="*/ 629 h 629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388" h="629">
                    <a:moveTo>
                      <a:pt x="50" y="0"/>
                    </a:moveTo>
                    <a:lnTo>
                      <a:pt x="0" y="250"/>
                    </a:lnTo>
                    <a:lnTo>
                      <a:pt x="264" y="629"/>
                    </a:lnTo>
                    <a:lnTo>
                      <a:pt x="281" y="613"/>
                    </a:lnTo>
                    <a:lnTo>
                      <a:pt x="279" y="538"/>
                    </a:lnTo>
                    <a:lnTo>
                      <a:pt x="312" y="544"/>
                    </a:lnTo>
                    <a:lnTo>
                      <a:pt x="346" y="313"/>
                    </a:lnTo>
                    <a:lnTo>
                      <a:pt x="369" y="157"/>
                    </a:lnTo>
                    <a:lnTo>
                      <a:pt x="376" y="110"/>
                    </a:lnTo>
                    <a:lnTo>
                      <a:pt x="388" y="67"/>
                    </a:lnTo>
                    <a:lnTo>
                      <a:pt x="214" y="38"/>
                    </a:lnTo>
                    <a:lnTo>
                      <a:pt x="50" y="0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  <p:sp>
            <p:nvSpPr>
              <p:cNvPr id="45" name="Freeform 29">
                <a:extLst>
                  <a:ext uri="{FF2B5EF4-FFF2-40B4-BE49-F238E27FC236}">
                    <a16:creationId xmlns:a16="http://schemas.microsoft.com/office/drawing/2014/main" id="{053F844D-2F18-408E-8245-95FB5369AB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78" y="1791"/>
                <a:ext cx="324" cy="449"/>
              </a:xfrm>
              <a:custGeom>
                <a:avLst/>
                <a:gdLst>
                  <a:gd name="T0" fmla="*/ 60 w 324"/>
                  <a:gd name="T1" fmla="*/ 0 h 449"/>
                  <a:gd name="T2" fmla="*/ 219 w 324"/>
                  <a:gd name="T3" fmla="*/ 23 h 449"/>
                  <a:gd name="T4" fmla="*/ 208 w 324"/>
                  <a:gd name="T5" fmla="*/ 109 h 449"/>
                  <a:gd name="T6" fmla="*/ 324 w 324"/>
                  <a:gd name="T7" fmla="*/ 121 h 449"/>
                  <a:gd name="T8" fmla="*/ 292 w 324"/>
                  <a:gd name="T9" fmla="*/ 449 h 449"/>
                  <a:gd name="T10" fmla="*/ 0 w 324"/>
                  <a:gd name="T11" fmla="*/ 415 h 449"/>
                  <a:gd name="T12" fmla="*/ 30 w 324"/>
                  <a:gd name="T13" fmla="*/ 205 h 449"/>
                  <a:gd name="T14" fmla="*/ 60 w 324"/>
                  <a:gd name="T15" fmla="*/ 0 h 44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24"/>
                  <a:gd name="T25" fmla="*/ 0 h 449"/>
                  <a:gd name="T26" fmla="*/ 324 w 324"/>
                  <a:gd name="T27" fmla="*/ 449 h 449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24" h="449">
                    <a:moveTo>
                      <a:pt x="60" y="0"/>
                    </a:moveTo>
                    <a:lnTo>
                      <a:pt x="219" y="23"/>
                    </a:lnTo>
                    <a:lnTo>
                      <a:pt x="208" y="109"/>
                    </a:lnTo>
                    <a:lnTo>
                      <a:pt x="324" y="121"/>
                    </a:lnTo>
                    <a:lnTo>
                      <a:pt x="292" y="449"/>
                    </a:lnTo>
                    <a:lnTo>
                      <a:pt x="0" y="415"/>
                    </a:lnTo>
                    <a:lnTo>
                      <a:pt x="30" y="205"/>
                    </a:lnTo>
                    <a:lnTo>
                      <a:pt x="60" y="0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  <p:sp>
            <p:nvSpPr>
              <p:cNvPr id="46" name="Freeform 30">
                <a:extLst>
                  <a:ext uri="{FF2B5EF4-FFF2-40B4-BE49-F238E27FC236}">
                    <a16:creationId xmlns:a16="http://schemas.microsoft.com/office/drawing/2014/main" id="{52FC6EAD-0A95-4201-B288-8BB0433192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83" y="1571"/>
                <a:ext cx="415" cy="365"/>
              </a:xfrm>
              <a:custGeom>
                <a:avLst/>
                <a:gdLst>
                  <a:gd name="T0" fmla="*/ 40 w 415"/>
                  <a:gd name="T1" fmla="*/ 0 h 365"/>
                  <a:gd name="T2" fmla="*/ 25 w 415"/>
                  <a:gd name="T3" fmla="*/ 136 h 365"/>
                  <a:gd name="T4" fmla="*/ 0 w 415"/>
                  <a:gd name="T5" fmla="*/ 331 h 365"/>
                  <a:gd name="T6" fmla="*/ 120 w 415"/>
                  <a:gd name="T7" fmla="*/ 342 h 365"/>
                  <a:gd name="T8" fmla="*/ 401 w 415"/>
                  <a:gd name="T9" fmla="*/ 365 h 365"/>
                  <a:gd name="T10" fmla="*/ 415 w 415"/>
                  <a:gd name="T11" fmla="*/ 37 h 365"/>
                  <a:gd name="T12" fmla="*/ 40 w 415"/>
                  <a:gd name="T13" fmla="*/ 0 h 36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415"/>
                  <a:gd name="T22" fmla="*/ 0 h 365"/>
                  <a:gd name="T23" fmla="*/ 415 w 415"/>
                  <a:gd name="T24" fmla="*/ 365 h 365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415" h="365">
                    <a:moveTo>
                      <a:pt x="40" y="0"/>
                    </a:moveTo>
                    <a:lnTo>
                      <a:pt x="25" y="136"/>
                    </a:lnTo>
                    <a:lnTo>
                      <a:pt x="0" y="331"/>
                    </a:lnTo>
                    <a:lnTo>
                      <a:pt x="120" y="342"/>
                    </a:lnTo>
                    <a:lnTo>
                      <a:pt x="401" y="365"/>
                    </a:lnTo>
                    <a:lnTo>
                      <a:pt x="415" y="37"/>
                    </a:lnTo>
                    <a:lnTo>
                      <a:pt x="40" y="0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  <p:sp>
            <p:nvSpPr>
              <p:cNvPr id="47" name="Freeform 31">
                <a:extLst>
                  <a:ext uri="{FF2B5EF4-FFF2-40B4-BE49-F238E27FC236}">
                    <a16:creationId xmlns:a16="http://schemas.microsoft.com/office/drawing/2014/main" id="{2C11F221-F283-4865-9170-ACEA1505BC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67" y="1912"/>
                <a:ext cx="433" cy="347"/>
              </a:xfrm>
              <a:custGeom>
                <a:avLst/>
                <a:gdLst>
                  <a:gd name="T0" fmla="*/ 36 w 433"/>
                  <a:gd name="T1" fmla="*/ 0 h 347"/>
                  <a:gd name="T2" fmla="*/ 14 w 433"/>
                  <a:gd name="T3" fmla="*/ 208 h 347"/>
                  <a:gd name="T4" fmla="*/ 0 w 433"/>
                  <a:gd name="T5" fmla="*/ 328 h 347"/>
                  <a:gd name="T6" fmla="*/ 216 w 433"/>
                  <a:gd name="T7" fmla="*/ 339 h 347"/>
                  <a:gd name="T8" fmla="*/ 423 w 433"/>
                  <a:gd name="T9" fmla="*/ 347 h 347"/>
                  <a:gd name="T10" fmla="*/ 430 w 433"/>
                  <a:gd name="T11" fmla="*/ 184 h 347"/>
                  <a:gd name="T12" fmla="*/ 433 w 433"/>
                  <a:gd name="T13" fmla="*/ 26 h 347"/>
                  <a:gd name="T14" fmla="*/ 315 w 433"/>
                  <a:gd name="T15" fmla="*/ 23 h 347"/>
                  <a:gd name="T16" fmla="*/ 36 w 433"/>
                  <a:gd name="T17" fmla="*/ 0 h 34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433"/>
                  <a:gd name="T28" fmla="*/ 0 h 347"/>
                  <a:gd name="T29" fmla="*/ 433 w 433"/>
                  <a:gd name="T30" fmla="*/ 347 h 347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433" h="347">
                    <a:moveTo>
                      <a:pt x="36" y="0"/>
                    </a:moveTo>
                    <a:lnTo>
                      <a:pt x="14" y="208"/>
                    </a:lnTo>
                    <a:lnTo>
                      <a:pt x="0" y="328"/>
                    </a:lnTo>
                    <a:lnTo>
                      <a:pt x="216" y="339"/>
                    </a:lnTo>
                    <a:lnTo>
                      <a:pt x="423" y="347"/>
                    </a:lnTo>
                    <a:lnTo>
                      <a:pt x="430" y="184"/>
                    </a:lnTo>
                    <a:lnTo>
                      <a:pt x="433" y="26"/>
                    </a:lnTo>
                    <a:lnTo>
                      <a:pt x="315" y="23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  <p:sp>
            <p:nvSpPr>
              <p:cNvPr id="48" name="Freeform 32">
                <a:extLst>
                  <a:ext uri="{FF2B5EF4-FFF2-40B4-BE49-F238E27FC236}">
                    <a16:creationId xmlns:a16="http://schemas.microsoft.com/office/drawing/2014/main" id="{42B27A1A-562B-46BC-8772-A95246863C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77" y="2203"/>
                <a:ext cx="393" cy="469"/>
              </a:xfrm>
              <a:custGeom>
                <a:avLst/>
                <a:gdLst>
                  <a:gd name="T0" fmla="*/ 100 w 393"/>
                  <a:gd name="T1" fmla="*/ 0 h 469"/>
                  <a:gd name="T2" fmla="*/ 92 w 393"/>
                  <a:gd name="T3" fmla="*/ 61 h 469"/>
                  <a:gd name="T4" fmla="*/ 58 w 393"/>
                  <a:gd name="T5" fmla="*/ 54 h 469"/>
                  <a:gd name="T6" fmla="*/ 61 w 393"/>
                  <a:gd name="T7" fmla="*/ 133 h 469"/>
                  <a:gd name="T8" fmla="*/ 44 w 393"/>
                  <a:gd name="T9" fmla="*/ 148 h 469"/>
                  <a:gd name="T10" fmla="*/ 68 w 393"/>
                  <a:gd name="T11" fmla="*/ 197 h 469"/>
                  <a:gd name="T12" fmla="*/ 44 w 393"/>
                  <a:gd name="T13" fmla="*/ 218 h 469"/>
                  <a:gd name="T14" fmla="*/ 31 w 393"/>
                  <a:gd name="T15" fmla="*/ 253 h 469"/>
                  <a:gd name="T16" fmla="*/ 12 w 393"/>
                  <a:gd name="T17" fmla="*/ 287 h 469"/>
                  <a:gd name="T18" fmla="*/ 26 w 393"/>
                  <a:gd name="T19" fmla="*/ 307 h 469"/>
                  <a:gd name="T20" fmla="*/ 3 w 393"/>
                  <a:gd name="T21" fmla="*/ 315 h 469"/>
                  <a:gd name="T22" fmla="*/ 0 w 393"/>
                  <a:gd name="T23" fmla="*/ 347 h 469"/>
                  <a:gd name="T24" fmla="*/ 221 w 393"/>
                  <a:gd name="T25" fmla="*/ 467 h 469"/>
                  <a:gd name="T26" fmla="*/ 346 w 393"/>
                  <a:gd name="T27" fmla="*/ 469 h 469"/>
                  <a:gd name="T28" fmla="*/ 393 w 393"/>
                  <a:gd name="T29" fmla="*/ 37 h 469"/>
                  <a:gd name="T30" fmla="*/ 100 w 393"/>
                  <a:gd name="T31" fmla="*/ 0 h 469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393"/>
                  <a:gd name="T49" fmla="*/ 0 h 469"/>
                  <a:gd name="T50" fmla="*/ 393 w 393"/>
                  <a:gd name="T51" fmla="*/ 469 h 469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393" h="469">
                    <a:moveTo>
                      <a:pt x="100" y="0"/>
                    </a:moveTo>
                    <a:lnTo>
                      <a:pt x="92" y="61"/>
                    </a:lnTo>
                    <a:lnTo>
                      <a:pt x="58" y="54"/>
                    </a:lnTo>
                    <a:lnTo>
                      <a:pt x="61" y="133"/>
                    </a:lnTo>
                    <a:lnTo>
                      <a:pt x="44" y="148"/>
                    </a:lnTo>
                    <a:lnTo>
                      <a:pt x="68" y="197"/>
                    </a:lnTo>
                    <a:lnTo>
                      <a:pt x="44" y="218"/>
                    </a:lnTo>
                    <a:lnTo>
                      <a:pt x="31" y="253"/>
                    </a:lnTo>
                    <a:lnTo>
                      <a:pt x="12" y="287"/>
                    </a:lnTo>
                    <a:lnTo>
                      <a:pt x="26" y="307"/>
                    </a:lnTo>
                    <a:lnTo>
                      <a:pt x="3" y="315"/>
                    </a:lnTo>
                    <a:lnTo>
                      <a:pt x="0" y="347"/>
                    </a:lnTo>
                    <a:lnTo>
                      <a:pt x="221" y="467"/>
                    </a:lnTo>
                    <a:lnTo>
                      <a:pt x="346" y="469"/>
                    </a:lnTo>
                    <a:lnTo>
                      <a:pt x="393" y="37"/>
                    </a:lnTo>
                    <a:lnTo>
                      <a:pt x="100" y="0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  <p:sp>
            <p:nvSpPr>
              <p:cNvPr id="49" name="Freeform 33">
                <a:extLst>
                  <a:ext uri="{FF2B5EF4-FFF2-40B4-BE49-F238E27FC236}">
                    <a16:creationId xmlns:a16="http://schemas.microsoft.com/office/drawing/2014/main" id="{EDDA9195-68DF-4649-8B41-661F3C03A6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20" y="2236"/>
                <a:ext cx="417" cy="445"/>
              </a:xfrm>
              <a:custGeom>
                <a:avLst/>
                <a:gdLst>
                  <a:gd name="T0" fmla="*/ 50 w 417"/>
                  <a:gd name="T1" fmla="*/ 0 h 445"/>
                  <a:gd name="T2" fmla="*/ 417 w 417"/>
                  <a:gd name="T3" fmla="*/ 18 h 445"/>
                  <a:gd name="T4" fmla="*/ 399 w 417"/>
                  <a:gd name="T5" fmla="*/ 411 h 445"/>
                  <a:gd name="T6" fmla="*/ 280 w 417"/>
                  <a:gd name="T7" fmla="*/ 403 h 445"/>
                  <a:gd name="T8" fmla="*/ 168 w 417"/>
                  <a:gd name="T9" fmla="*/ 400 h 445"/>
                  <a:gd name="T10" fmla="*/ 168 w 417"/>
                  <a:gd name="T11" fmla="*/ 415 h 445"/>
                  <a:gd name="T12" fmla="*/ 75 w 417"/>
                  <a:gd name="T13" fmla="*/ 415 h 445"/>
                  <a:gd name="T14" fmla="*/ 70 w 417"/>
                  <a:gd name="T15" fmla="*/ 445 h 445"/>
                  <a:gd name="T16" fmla="*/ 0 w 417"/>
                  <a:gd name="T17" fmla="*/ 435 h 445"/>
                  <a:gd name="T18" fmla="*/ 39 w 417"/>
                  <a:gd name="T19" fmla="*/ 102 h 445"/>
                  <a:gd name="T20" fmla="*/ 50 w 417"/>
                  <a:gd name="T21" fmla="*/ 0 h 445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417"/>
                  <a:gd name="T34" fmla="*/ 0 h 445"/>
                  <a:gd name="T35" fmla="*/ 417 w 417"/>
                  <a:gd name="T36" fmla="*/ 445 h 445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417" h="445">
                    <a:moveTo>
                      <a:pt x="50" y="0"/>
                    </a:moveTo>
                    <a:lnTo>
                      <a:pt x="417" y="18"/>
                    </a:lnTo>
                    <a:lnTo>
                      <a:pt x="399" y="411"/>
                    </a:lnTo>
                    <a:lnTo>
                      <a:pt x="280" y="403"/>
                    </a:lnTo>
                    <a:lnTo>
                      <a:pt x="168" y="400"/>
                    </a:lnTo>
                    <a:lnTo>
                      <a:pt x="168" y="415"/>
                    </a:lnTo>
                    <a:lnTo>
                      <a:pt x="75" y="415"/>
                    </a:lnTo>
                    <a:lnTo>
                      <a:pt x="70" y="445"/>
                    </a:lnTo>
                    <a:lnTo>
                      <a:pt x="0" y="435"/>
                    </a:lnTo>
                    <a:lnTo>
                      <a:pt x="39" y="102"/>
                    </a:lnTo>
                    <a:lnTo>
                      <a:pt x="50" y="0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  <p:sp>
            <p:nvSpPr>
              <p:cNvPr id="50" name="Freeform 34">
                <a:extLst>
                  <a:ext uri="{FF2B5EF4-FFF2-40B4-BE49-F238E27FC236}">
                    <a16:creationId xmlns:a16="http://schemas.microsoft.com/office/drawing/2014/main" id="{EE701A10-269A-4EE5-B5FB-51BCE44CF5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99" y="1277"/>
                <a:ext cx="407" cy="256"/>
              </a:xfrm>
              <a:custGeom>
                <a:avLst/>
                <a:gdLst>
                  <a:gd name="T0" fmla="*/ 1 w 407"/>
                  <a:gd name="T1" fmla="*/ 0 h 256"/>
                  <a:gd name="T2" fmla="*/ 342 w 407"/>
                  <a:gd name="T3" fmla="*/ 8 h 256"/>
                  <a:gd name="T4" fmla="*/ 367 w 407"/>
                  <a:gd name="T5" fmla="*/ 83 h 256"/>
                  <a:gd name="T6" fmla="*/ 391 w 407"/>
                  <a:gd name="T7" fmla="*/ 141 h 256"/>
                  <a:gd name="T8" fmla="*/ 407 w 407"/>
                  <a:gd name="T9" fmla="*/ 235 h 256"/>
                  <a:gd name="T10" fmla="*/ 397 w 407"/>
                  <a:gd name="T11" fmla="*/ 256 h 256"/>
                  <a:gd name="T12" fmla="*/ 272 w 407"/>
                  <a:gd name="T13" fmla="*/ 253 h 256"/>
                  <a:gd name="T14" fmla="*/ 0 w 407"/>
                  <a:gd name="T15" fmla="*/ 248 h 256"/>
                  <a:gd name="T16" fmla="*/ 1 w 407"/>
                  <a:gd name="T17" fmla="*/ 0 h 25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407"/>
                  <a:gd name="T28" fmla="*/ 0 h 256"/>
                  <a:gd name="T29" fmla="*/ 407 w 407"/>
                  <a:gd name="T30" fmla="*/ 256 h 25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407" h="256">
                    <a:moveTo>
                      <a:pt x="1" y="0"/>
                    </a:moveTo>
                    <a:lnTo>
                      <a:pt x="342" y="8"/>
                    </a:lnTo>
                    <a:lnTo>
                      <a:pt x="367" y="83"/>
                    </a:lnTo>
                    <a:lnTo>
                      <a:pt x="391" y="141"/>
                    </a:lnTo>
                    <a:lnTo>
                      <a:pt x="407" y="235"/>
                    </a:lnTo>
                    <a:lnTo>
                      <a:pt x="397" y="256"/>
                    </a:lnTo>
                    <a:lnTo>
                      <a:pt x="272" y="253"/>
                    </a:lnTo>
                    <a:lnTo>
                      <a:pt x="0" y="248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  <p:sp>
            <p:nvSpPr>
              <p:cNvPr id="51" name="Freeform 35">
                <a:extLst>
                  <a:ext uri="{FF2B5EF4-FFF2-40B4-BE49-F238E27FC236}">
                    <a16:creationId xmlns:a16="http://schemas.microsoft.com/office/drawing/2014/main" id="{9D4FDF83-505A-49E9-A3FD-5A71ED8571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88" y="1524"/>
                <a:ext cx="428" cy="300"/>
              </a:xfrm>
              <a:custGeom>
                <a:avLst/>
                <a:gdLst>
                  <a:gd name="T0" fmla="*/ 8 w 428"/>
                  <a:gd name="T1" fmla="*/ 0 h 300"/>
                  <a:gd name="T2" fmla="*/ 7 w 428"/>
                  <a:gd name="T3" fmla="*/ 116 h 300"/>
                  <a:gd name="T4" fmla="*/ 0 w 428"/>
                  <a:gd name="T5" fmla="*/ 252 h 300"/>
                  <a:gd name="T6" fmla="*/ 311 w 428"/>
                  <a:gd name="T7" fmla="*/ 257 h 300"/>
                  <a:gd name="T8" fmla="*/ 344 w 428"/>
                  <a:gd name="T9" fmla="*/ 276 h 300"/>
                  <a:gd name="T10" fmla="*/ 367 w 428"/>
                  <a:gd name="T11" fmla="*/ 250 h 300"/>
                  <a:gd name="T12" fmla="*/ 428 w 428"/>
                  <a:gd name="T13" fmla="*/ 300 h 300"/>
                  <a:gd name="T14" fmla="*/ 419 w 428"/>
                  <a:gd name="T15" fmla="*/ 248 h 300"/>
                  <a:gd name="T16" fmla="*/ 425 w 428"/>
                  <a:gd name="T17" fmla="*/ 208 h 300"/>
                  <a:gd name="T18" fmla="*/ 428 w 428"/>
                  <a:gd name="T19" fmla="*/ 71 h 300"/>
                  <a:gd name="T20" fmla="*/ 401 w 428"/>
                  <a:gd name="T21" fmla="*/ 42 h 300"/>
                  <a:gd name="T22" fmla="*/ 412 w 428"/>
                  <a:gd name="T23" fmla="*/ 4 h 300"/>
                  <a:gd name="T24" fmla="*/ 208 w 428"/>
                  <a:gd name="T25" fmla="*/ 3 h 300"/>
                  <a:gd name="T26" fmla="*/ 8 w 428"/>
                  <a:gd name="T27" fmla="*/ 0 h 300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428"/>
                  <a:gd name="T43" fmla="*/ 0 h 300"/>
                  <a:gd name="T44" fmla="*/ 428 w 428"/>
                  <a:gd name="T45" fmla="*/ 300 h 300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428" h="300">
                    <a:moveTo>
                      <a:pt x="8" y="0"/>
                    </a:moveTo>
                    <a:lnTo>
                      <a:pt x="7" y="116"/>
                    </a:lnTo>
                    <a:lnTo>
                      <a:pt x="0" y="252"/>
                    </a:lnTo>
                    <a:lnTo>
                      <a:pt x="311" y="257"/>
                    </a:lnTo>
                    <a:lnTo>
                      <a:pt x="344" y="276"/>
                    </a:lnTo>
                    <a:lnTo>
                      <a:pt x="367" y="250"/>
                    </a:lnTo>
                    <a:lnTo>
                      <a:pt x="428" y="300"/>
                    </a:lnTo>
                    <a:lnTo>
                      <a:pt x="419" y="248"/>
                    </a:lnTo>
                    <a:lnTo>
                      <a:pt x="425" y="208"/>
                    </a:lnTo>
                    <a:lnTo>
                      <a:pt x="428" y="71"/>
                    </a:lnTo>
                    <a:lnTo>
                      <a:pt x="401" y="42"/>
                    </a:lnTo>
                    <a:lnTo>
                      <a:pt x="412" y="4"/>
                    </a:lnTo>
                    <a:lnTo>
                      <a:pt x="208" y="3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  <p:sp>
            <p:nvSpPr>
              <p:cNvPr id="52" name="Freeform 36">
                <a:extLst>
                  <a:ext uri="{FF2B5EF4-FFF2-40B4-BE49-F238E27FC236}">
                    <a16:creationId xmlns:a16="http://schemas.microsoft.com/office/drawing/2014/main" id="{2070092D-D5C0-4F31-8F0E-F3FE8B45E1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82" y="1773"/>
                <a:ext cx="510" cy="247"/>
              </a:xfrm>
              <a:custGeom>
                <a:avLst/>
                <a:gdLst>
                  <a:gd name="T0" fmla="*/ 5 w 510"/>
                  <a:gd name="T1" fmla="*/ 0 h 247"/>
                  <a:gd name="T2" fmla="*/ 0 w 510"/>
                  <a:gd name="T3" fmla="*/ 163 h 247"/>
                  <a:gd name="T4" fmla="*/ 115 w 510"/>
                  <a:gd name="T5" fmla="*/ 167 h 247"/>
                  <a:gd name="T6" fmla="*/ 114 w 510"/>
                  <a:gd name="T7" fmla="*/ 247 h 247"/>
                  <a:gd name="T8" fmla="*/ 269 w 510"/>
                  <a:gd name="T9" fmla="*/ 245 h 247"/>
                  <a:gd name="T10" fmla="*/ 408 w 510"/>
                  <a:gd name="T11" fmla="*/ 242 h 247"/>
                  <a:gd name="T12" fmla="*/ 510 w 510"/>
                  <a:gd name="T13" fmla="*/ 245 h 247"/>
                  <a:gd name="T14" fmla="*/ 478 w 510"/>
                  <a:gd name="T15" fmla="*/ 175 h 247"/>
                  <a:gd name="T16" fmla="*/ 456 w 510"/>
                  <a:gd name="T17" fmla="*/ 110 h 247"/>
                  <a:gd name="T18" fmla="*/ 432 w 510"/>
                  <a:gd name="T19" fmla="*/ 43 h 247"/>
                  <a:gd name="T20" fmla="*/ 374 w 510"/>
                  <a:gd name="T21" fmla="*/ 1 h 247"/>
                  <a:gd name="T22" fmla="*/ 348 w 510"/>
                  <a:gd name="T23" fmla="*/ 26 h 247"/>
                  <a:gd name="T24" fmla="*/ 316 w 510"/>
                  <a:gd name="T25" fmla="*/ 8 h 247"/>
                  <a:gd name="T26" fmla="*/ 177 w 510"/>
                  <a:gd name="T27" fmla="*/ 3 h 247"/>
                  <a:gd name="T28" fmla="*/ 5 w 510"/>
                  <a:gd name="T29" fmla="*/ 0 h 247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510"/>
                  <a:gd name="T46" fmla="*/ 0 h 247"/>
                  <a:gd name="T47" fmla="*/ 510 w 510"/>
                  <a:gd name="T48" fmla="*/ 247 h 247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510" h="247">
                    <a:moveTo>
                      <a:pt x="5" y="0"/>
                    </a:moveTo>
                    <a:lnTo>
                      <a:pt x="0" y="163"/>
                    </a:lnTo>
                    <a:lnTo>
                      <a:pt x="115" y="167"/>
                    </a:lnTo>
                    <a:lnTo>
                      <a:pt x="114" y="247"/>
                    </a:lnTo>
                    <a:lnTo>
                      <a:pt x="269" y="245"/>
                    </a:lnTo>
                    <a:lnTo>
                      <a:pt x="408" y="242"/>
                    </a:lnTo>
                    <a:lnTo>
                      <a:pt x="510" y="245"/>
                    </a:lnTo>
                    <a:lnTo>
                      <a:pt x="478" y="175"/>
                    </a:lnTo>
                    <a:lnTo>
                      <a:pt x="456" y="110"/>
                    </a:lnTo>
                    <a:lnTo>
                      <a:pt x="432" y="43"/>
                    </a:lnTo>
                    <a:lnTo>
                      <a:pt x="374" y="1"/>
                    </a:lnTo>
                    <a:lnTo>
                      <a:pt x="348" y="26"/>
                    </a:lnTo>
                    <a:lnTo>
                      <a:pt x="316" y="8"/>
                    </a:lnTo>
                    <a:lnTo>
                      <a:pt x="177" y="3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  <p:sp>
            <p:nvSpPr>
              <p:cNvPr id="53" name="Freeform 37">
                <a:extLst>
                  <a:ext uri="{FF2B5EF4-FFF2-40B4-BE49-F238E27FC236}">
                    <a16:creationId xmlns:a16="http://schemas.microsoft.com/office/drawing/2014/main" id="{E1EB0082-2BF0-4D9B-A0F0-8DB65D08CA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90" y="2014"/>
                <a:ext cx="449" cy="246"/>
              </a:xfrm>
              <a:custGeom>
                <a:avLst/>
                <a:gdLst>
                  <a:gd name="T0" fmla="*/ 5 w 449"/>
                  <a:gd name="T1" fmla="*/ 2 h 246"/>
                  <a:gd name="T2" fmla="*/ 3 w 449"/>
                  <a:gd name="T3" fmla="*/ 143 h 246"/>
                  <a:gd name="T4" fmla="*/ 0 w 449"/>
                  <a:gd name="T5" fmla="*/ 243 h 246"/>
                  <a:gd name="T6" fmla="*/ 449 w 449"/>
                  <a:gd name="T7" fmla="*/ 246 h 246"/>
                  <a:gd name="T8" fmla="*/ 440 w 449"/>
                  <a:gd name="T9" fmla="*/ 118 h 246"/>
                  <a:gd name="T10" fmla="*/ 440 w 449"/>
                  <a:gd name="T11" fmla="*/ 69 h 246"/>
                  <a:gd name="T12" fmla="*/ 404 w 449"/>
                  <a:gd name="T13" fmla="*/ 40 h 246"/>
                  <a:gd name="T14" fmla="*/ 415 w 449"/>
                  <a:gd name="T15" fmla="*/ 14 h 246"/>
                  <a:gd name="T16" fmla="*/ 399 w 449"/>
                  <a:gd name="T17" fmla="*/ 0 h 246"/>
                  <a:gd name="T18" fmla="*/ 196 w 449"/>
                  <a:gd name="T19" fmla="*/ 2 h 246"/>
                  <a:gd name="T20" fmla="*/ 5 w 449"/>
                  <a:gd name="T21" fmla="*/ 2 h 24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449"/>
                  <a:gd name="T34" fmla="*/ 0 h 246"/>
                  <a:gd name="T35" fmla="*/ 449 w 449"/>
                  <a:gd name="T36" fmla="*/ 246 h 24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449" h="246">
                    <a:moveTo>
                      <a:pt x="5" y="2"/>
                    </a:moveTo>
                    <a:lnTo>
                      <a:pt x="3" y="143"/>
                    </a:lnTo>
                    <a:lnTo>
                      <a:pt x="0" y="243"/>
                    </a:lnTo>
                    <a:lnTo>
                      <a:pt x="449" y="246"/>
                    </a:lnTo>
                    <a:lnTo>
                      <a:pt x="440" y="118"/>
                    </a:lnTo>
                    <a:lnTo>
                      <a:pt x="440" y="69"/>
                    </a:lnTo>
                    <a:lnTo>
                      <a:pt x="404" y="40"/>
                    </a:lnTo>
                    <a:lnTo>
                      <a:pt x="415" y="14"/>
                    </a:lnTo>
                    <a:lnTo>
                      <a:pt x="399" y="0"/>
                    </a:lnTo>
                    <a:lnTo>
                      <a:pt x="196" y="2"/>
                    </a:lnTo>
                    <a:lnTo>
                      <a:pt x="5" y="2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  <p:sp>
            <p:nvSpPr>
              <p:cNvPr id="54" name="Freeform 38">
                <a:extLst>
                  <a:ext uri="{FF2B5EF4-FFF2-40B4-BE49-F238E27FC236}">
                    <a16:creationId xmlns:a16="http://schemas.microsoft.com/office/drawing/2014/main" id="{26934ECF-B65A-4F99-98F9-9362158C2E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30" y="2254"/>
                <a:ext cx="523" cy="270"/>
              </a:xfrm>
              <a:custGeom>
                <a:avLst/>
                <a:gdLst>
                  <a:gd name="T0" fmla="*/ 3 w 523"/>
                  <a:gd name="T1" fmla="*/ 0 h 270"/>
                  <a:gd name="T2" fmla="*/ 0 w 523"/>
                  <a:gd name="T3" fmla="*/ 48 h 270"/>
                  <a:gd name="T4" fmla="*/ 186 w 523"/>
                  <a:gd name="T5" fmla="*/ 55 h 270"/>
                  <a:gd name="T6" fmla="*/ 187 w 523"/>
                  <a:gd name="T7" fmla="*/ 209 h 270"/>
                  <a:gd name="T8" fmla="*/ 282 w 523"/>
                  <a:gd name="T9" fmla="*/ 251 h 270"/>
                  <a:gd name="T10" fmla="*/ 308 w 523"/>
                  <a:gd name="T11" fmla="*/ 236 h 270"/>
                  <a:gd name="T12" fmla="*/ 369 w 523"/>
                  <a:gd name="T13" fmla="*/ 270 h 270"/>
                  <a:gd name="T14" fmla="*/ 408 w 523"/>
                  <a:gd name="T15" fmla="*/ 269 h 270"/>
                  <a:gd name="T16" fmla="*/ 480 w 523"/>
                  <a:gd name="T17" fmla="*/ 236 h 270"/>
                  <a:gd name="T18" fmla="*/ 523 w 523"/>
                  <a:gd name="T19" fmla="*/ 268 h 270"/>
                  <a:gd name="T20" fmla="*/ 523 w 523"/>
                  <a:gd name="T21" fmla="*/ 101 h 270"/>
                  <a:gd name="T22" fmla="*/ 510 w 523"/>
                  <a:gd name="T23" fmla="*/ 3 h 270"/>
                  <a:gd name="T24" fmla="*/ 3 w 523"/>
                  <a:gd name="T25" fmla="*/ 0 h 270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523"/>
                  <a:gd name="T40" fmla="*/ 0 h 270"/>
                  <a:gd name="T41" fmla="*/ 523 w 523"/>
                  <a:gd name="T42" fmla="*/ 270 h 270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523" h="270">
                    <a:moveTo>
                      <a:pt x="3" y="0"/>
                    </a:moveTo>
                    <a:lnTo>
                      <a:pt x="0" y="48"/>
                    </a:lnTo>
                    <a:lnTo>
                      <a:pt x="186" y="55"/>
                    </a:lnTo>
                    <a:lnTo>
                      <a:pt x="187" y="209"/>
                    </a:lnTo>
                    <a:lnTo>
                      <a:pt x="282" y="251"/>
                    </a:lnTo>
                    <a:lnTo>
                      <a:pt x="308" y="236"/>
                    </a:lnTo>
                    <a:lnTo>
                      <a:pt x="369" y="270"/>
                    </a:lnTo>
                    <a:lnTo>
                      <a:pt x="408" y="269"/>
                    </a:lnTo>
                    <a:lnTo>
                      <a:pt x="480" y="236"/>
                    </a:lnTo>
                    <a:lnTo>
                      <a:pt x="523" y="268"/>
                    </a:lnTo>
                    <a:lnTo>
                      <a:pt x="523" y="101"/>
                    </a:lnTo>
                    <a:lnTo>
                      <a:pt x="510" y="3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  <p:sp>
            <p:nvSpPr>
              <p:cNvPr id="55" name="Freeform 39">
                <a:extLst>
                  <a:ext uri="{FF2B5EF4-FFF2-40B4-BE49-F238E27FC236}">
                    <a16:creationId xmlns:a16="http://schemas.microsoft.com/office/drawing/2014/main" id="{D737A285-5E46-4B78-B77A-B5A782B901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06" y="1715"/>
                <a:ext cx="354" cy="247"/>
              </a:xfrm>
              <a:custGeom>
                <a:avLst/>
                <a:gdLst>
                  <a:gd name="T0" fmla="*/ 6 w 354"/>
                  <a:gd name="T1" fmla="*/ 13 h 247"/>
                  <a:gd name="T2" fmla="*/ 0 w 354"/>
                  <a:gd name="T3" fmla="*/ 57 h 247"/>
                  <a:gd name="T4" fmla="*/ 8 w 354"/>
                  <a:gd name="T5" fmla="*/ 103 h 247"/>
                  <a:gd name="T6" fmla="*/ 41 w 354"/>
                  <a:gd name="T7" fmla="*/ 197 h 247"/>
                  <a:gd name="T8" fmla="*/ 59 w 354"/>
                  <a:gd name="T9" fmla="*/ 247 h 247"/>
                  <a:gd name="T10" fmla="*/ 267 w 354"/>
                  <a:gd name="T11" fmla="*/ 235 h 247"/>
                  <a:gd name="T12" fmla="*/ 301 w 354"/>
                  <a:gd name="T13" fmla="*/ 247 h 247"/>
                  <a:gd name="T14" fmla="*/ 322 w 354"/>
                  <a:gd name="T15" fmla="*/ 199 h 247"/>
                  <a:gd name="T16" fmla="*/ 314 w 354"/>
                  <a:gd name="T17" fmla="*/ 165 h 247"/>
                  <a:gd name="T18" fmla="*/ 349 w 354"/>
                  <a:gd name="T19" fmla="*/ 158 h 247"/>
                  <a:gd name="T20" fmla="*/ 354 w 354"/>
                  <a:gd name="T21" fmla="*/ 104 h 247"/>
                  <a:gd name="T22" fmla="*/ 333 w 354"/>
                  <a:gd name="T23" fmla="*/ 80 h 247"/>
                  <a:gd name="T24" fmla="*/ 297 w 354"/>
                  <a:gd name="T25" fmla="*/ 57 h 247"/>
                  <a:gd name="T26" fmla="*/ 304 w 354"/>
                  <a:gd name="T27" fmla="*/ 24 h 247"/>
                  <a:gd name="T28" fmla="*/ 289 w 354"/>
                  <a:gd name="T29" fmla="*/ 0 h 247"/>
                  <a:gd name="T30" fmla="*/ 211 w 354"/>
                  <a:gd name="T31" fmla="*/ 4 h 247"/>
                  <a:gd name="T32" fmla="*/ 133 w 354"/>
                  <a:gd name="T33" fmla="*/ 7 h 247"/>
                  <a:gd name="T34" fmla="*/ 6 w 354"/>
                  <a:gd name="T35" fmla="*/ 13 h 247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354"/>
                  <a:gd name="T55" fmla="*/ 0 h 247"/>
                  <a:gd name="T56" fmla="*/ 354 w 354"/>
                  <a:gd name="T57" fmla="*/ 247 h 247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354" h="247">
                    <a:moveTo>
                      <a:pt x="6" y="13"/>
                    </a:moveTo>
                    <a:lnTo>
                      <a:pt x="0" y="57"/>
                    </a:lnTo>
                    <a:lnTo>
                      <a:pt x="8" y="103"/>
                    </a:lnTo>
                    <a:lnTo>
                      <a:pt x="41" y="197"/>
                    </a:lnTo>
                    <a:lnTo>
                      <a:pt x="59" y="247"/>
                    </a:lnTo>
                    <a:lnTo>
                      <a:pt x="267" y="235"/>
                    </a:lnTo>
                    <a:lnTo>
                      <a:pt x="301" y="247"/>
                    </a:lnTo>
                    <a:lnTo>
                      <a:pt x="322" y="199"/>
                    </a:lnTo>
                    <a:lnTo>
                      <a:pt x="314" y="165"/>
                    </a:lnTo>
                    <a:lnTo>
                      <a:pt x="349" y="158"/>
                    </a:lnTo>
                    <a:lnTo>
                      <a:pt x="354" y="104"/>
                    </a:lnTo>
                    <a:lnTo>
                      <a:pt x="333" y="80"/>
                    </a:lnTo>
                    <a:lnTo>
                      <a:pt x="297" y="57"/>
                    </a:lnTo>
                    <a:lnTo>
                      <a:pt x="304" y="24"/>
                    </a:lnTo>
                    <a:lnTo>
                      <a:pt x="289" y="0"/>
                    </a:lnTo>
                    <a:lnTo>
                      <a:pt x="211" y="4"/>
                    </a:lnTo>
                    <a:lnTo>
                      <a:pt x="133" y="7"/>
                    </a:lnTo>
                    <a:lnTo>
                      <a:pt x="6" y="13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  <p:sp>
            <p:nvSpPr>
              <p:cNvPr id="56" name="Freeform 40">
                <a:extLst>
                  <a:ext uri="{FF2B5EF4-FFF2-40B4-BE49-F238E27FC236}">
                    <a16:creationId xmlns:a16="http://schemas.microsoft.com/office/drawing/2014/main" id="{E1A3CFA2-E893-438C-8CE1-A3037AE6A0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90" y="1768"/>
                <a:ext cx="253" cy="451"/>
              </a:xfrm>
              <a:custGeom>
                <a:avLst/>
                <a:gdLst>
                  <a:gd name="T0" fmla="*/ 47 w 253"/>
                  <a:gd name="T1" fmla="*/ 26 h 451"/>
                  <a:gd name="T2" fmla="*/ 192 w 253"/>
                  <a:gd name="T3" fmla="*/ 0 h 451"/>
                  <a:gd name="T4" fmla="*/ 215 w 253"/>
                  <a:gd name="T5" fmla="*/ 56 h 451"/>
                  <a:gd name="T6" fmla="*/ 245 w 253"/>
                  <a:gd name="T7" fmla="*/ 286 h 451"/>
                  <a:gd name="T8" fmla="*/ 253 w 253"/>
                  <a:gd name="T9" fmla="*/ 317 h 451"/>
                  <a:gd name="T10" fmla="*/ 230 w 253"/>
                  <a:gd name="T11" fmla="*/ 378 h 451"/>
                  <a:gd name="T12" fmla="*/ 230 w 253"/>
                  <a:gd name="T13" fmla="*/ 420 h 451"/>
                  <a:gd name="T14" fmla="*/ 204 w 253"/>
                  <a:gd name="T15" fmla="*/ 415 h 451"/>
                  <a:gd name="T16" fmla="*/ 205 w 253"/>
                  <a:gd name="T17" fmla="*/ 451 h 451"/>
                  <a:gd name="T18" fmla="*/ 178 w 253"/>
                  <a:gd name="T19" fmla="*/ 436 h 451"/>
                  <a:gd name="T20" fmla="*/ 164 w 253"/>
                  <a:gd name="T21" fmla="*/ 441 h 451"/>
                  <a:gd name="T22" fmla="*/ 143 w 253"/>
                  <a:gd name="T23" fmla="*/ 438 h 451"/>
                  <a:gd name="T24" fmla="*/ 128 w 253"/>
                  <a:gd name="T25" fmla="*/ 384 h 451"/>
                  <a:gd name="T26" fmla="*/ 98 w 253"/>
                  <a:gd name="T27" fmla="*/ 367 h 451"/>
                  <a:gd name="T28" fmla="*/ 98 w 253"/>
                  <a:gd name="T29" fmla="*/ 309 h 451"/>
                  <a:gd name="T30" fmla="*/ 69 w 253"/>
                  <a:gd name="T31" fmla="*/ 317 h 451"/>
                  <a:gd name="T32" fmla="*/ 52 w 253"/>
                  <a:gd name="T33" fmla="*/ 274 h 451"/>
                  <a:gd name="T34" fmla="*/ 0 w 253"/>
                  <a:gd name="T35" fmla="*/ 225 h 451"/>
                  <a:gd name="T36" fmla="*/ 38 w 253"/>
                  <a:gd name="T37" fmla="*/ 147 h 451"/>
                  <a:gd name="T38" fmla="*/ 27 w 253"/>
                  <a:gd name="T39" fmla="*/ 111 h 451"/>
                  <a:gd name="T40" fmla="*/ 65 w 253"/>
                  <a:gd name="T41" fmla="*/ 104 h 451"/>
                  <a:gd name="T42" fmla="*/ 69 w 253"/>
                  <a:gd name="T43" fmla="*/ 53 h 451"/>
                  <a:gd name="T44" fmla="*/ 47 w 253"/>
                  <a:gd name="T45" fmla="*/ 26 h 451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253"/>
                  <a:gd name="T70" fmla="*/ 0 h 451"/>
                  <a:gd name="T71" fmla="*/ 253 w 253"/>
                  <a:gd name="T72" fmla="*/ 451 h 451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253" h="451">
                    <a:moveTo>
                      <a:pt x="47" y="26"/>
                    </a:moveTo>
                    <a:lnTo>
                      <a:pt x="192" y="0"/>
                    </a:lnTo>
                    <a:lnTo>
                      <a:pt x="215" y="56"/>
                    </a:lnTo>
                    <a:lnTo>
                      <a:pt x="245" y="286"/>
                    </a:lnTo>
                    <a:lnTo>
                      <a:pt x="253" y="317"/>
                    </a:lnTo>
                    <a:lnTo>
                      <a:pt x="230" y="378"/>
                    </a:lnTo>
                    <a:lnTo>
                      <a:pt x="230" y="420"/>
                    </a:lnTo>
                    <a:lnTo>
                      <a:pt x="204" y="415"/>
                    </a:lnTo>
                    <a:lnTo>
                      <a:pt x="205" y="451"/>
                    </a:lnTo>
                    <a:lnTo>
                      <a:pt x="178" y="436"/>
                    </a:lnTo>
                    <a:lnTo>
                      <a:pt x="164" y="441"/>
                    </a:lnTo>
                    <a:lnTo>
                      <a:pt x="143" y="438"/>
                    </a:lnTo>
                    <a:lnTo>
                      <a:pt x="128" y="384"/>
                    </a:lnTo>
                    <a:lnTo>
                      <a:pt x="98" y="367"/>
                    </a:lnTo>
                    <a:lnTo>
                      <a:pt x="98" y="309"/>
                    </a:lnTo>
                    <a:lnTo>
                      <a:pt x="69" y="317"/>
                    </a:lnTo>
                    <a:lnTo>
                      <a:pt x="52" y="274"/>
                    </a:lnTo>
                    <a:lnTo>
                      <a:pt x="0" y="225"/>
                    </a:lnTo>
                    <a:lnTo>
                      <a:pt x="38" y="147"/>
                    </a:lnTo>
                    <a:lnTo>
                      <a:pt x="27" y="111"/>
                    </a:lnTo>
                    <a:lnTo>
                      <a:pt x="65" y="104"/>
                    </a:lnTo>
                    <a:lnTo>
                      <a:pt x="69" y="53"/>
                    </a:lnTo>
                    <a:lnTo>
                      <a:pt x="47" y="26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  <p:sp>
            <p:nvSpPr>
              <p:cNvPr id="57" name="Freeform 41">
                <a:extLst>
                  <a:ext uri="{FF2B5EF4-FFF2-40B4-BE49-F238E27FC236}">
                    <a16:creationId xmlns:a16="http://schemas.microsoft.com/office/drawing/2014/main" id="{E31AE2D7-C441-465F-A6E6-2B61AE6477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06" y="1689"/>
                <a:ext cx="92" cy="196"/>
              </a:xfrm>
              <a:custGeom>
                <a:avLst/>
                <a:gdLst>
                  <a:gd name="T0" fmla="*/ 17 w 92"/>
                  <a:gd name="T1" fmla="*/ 2 h 196"/>
                  <a:gd name="T2" fmla="*/ 39 w 92"/>
                  <a:gd name="T3" fmla="*/ 0 h 196"/>
                  <a:gd name="T4" fmla="*/ 82 w 92"/>
                  <a:gd name="T5" fmla="*/ 30 h 196"/>
                  <a:gd name="T6" fmla="*/ 76 w 92"/>
                  <a:gd name="T7" fmla="*/ 53 h 196"/>
                  <a:gd name="T8" fmla="*/ 91 w 92"/>
                  <a:gd name="T9" fmla="*/ 69 h 196"/>
                  <a:gd name="T10" fmla="*/ 92 w 92"/>
                  <a:gd name="T11" fmla="*/ 160 h 196"/>
                  <a:gd name="T12" fmla="*/ 77 w 92"/>
                  <a:gd name="T13" fmla="*/ 196 h 196"/>
                  <a:gd name="T14" fmla="*/ 59 w 92"/>
                  <a:gd name="T15" fmla="*/ 183 h 196"/>
                  <a:gd name="T16" fmla="*/ 41 w 92"/>
                  <a:gd name="T17" fmla="*/ 182 h 196"/>
                  <a:gd name="T18" fmla="*/ 9 w 92"/>
                  <a:gd name="T19" fmla="*/ 163 h 196"/>
                  <a:gd name="T20" fmla="*/ 33 w 92"/>
                  <a:gd name="T21" fmla="*/ 105 h 196"/>
                  <a:gd name="T22" fmla="*/ 0 w 92"/>
                  <a:gd name="T23" fmla="*/ 75 h 196"/>
                  <a:gd name="T24" fmla="*/ 17 w 92"/>
                  <a:gd name="T25" fmla="*/ 2 h 19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92"/>
                  <a:gd name="T40" fmla="*/ 0 h 196"/>
                  <a:gd name="T41" fmla="*/ 92 w 92"/>
                  <a:gd name="T42" fmla="*/ 196 h 19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92" h="196">
                    <a:moveTo>
                      <a:pt x="17" y="2"/>
                    </a:moveTo>
                    <a:lnTo>
                      <a:pt x="39" y="0"/>
                    </a:lnTo>
                    <a:lnTo>
                      <a:pt x="82" y="30"/>
                    </a:lnTo>
                    <a:lnTo>
                      <a:pt x="76" y="53"/>
                    </a:lnTo>
                    <a:lnTo>
                      <a:pt x="91" y="69"/>
                    </a:lnTo>
                    <a:lnTo>
                      <a:pt x="92" y="160"/>
                    </a:lnTo>
                    <a:lnTo>
                      <a:pt x="77" y="196"/>
                    </a:lnTo>
                    <a:lnTo>
                      <a:pt x="59" y="183"/>
                    </a:lnTo>
                    <a:lnTo>
                      <a:pt x="41" y="182"/>
                    </a:lnTo>
                    <a:lnTo>
                      <a:pt x="9" y="163"/>
                    </a:lnTo>
                    <a:lnTo>
                      <a:pt x="33" y="105"/>
                    </a:lnTo>
                    <a:lnTo>
                      <a:pt x="0" y="75"/>
                    </a:lnTo>
                    <a:lnTo>
                      <a:pt x="17" y="2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  <p:sp>
            <p:nvSpPr>
              <p:cNvPr id="58" name="Freeform 42">
                <a:extLst>
                  <a:ext uri="{FF2B5EF4-FFF2-40B4-BE49-F238E27FC236}">
                    <a16:creationId xmlns:a16="http://schemas.microsoft.com/office/drawing/2014/main" id="{00000453-7A9F-4A08-8FC2-45EE87F867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7" y="1604"/>
                <a:ext cx="113" cy="93"/>
              </a:xfrm>
              <a:custGeom>
                <a:avLst/>
                <a:gdLst>
                  <a:gd name="T0" fmla="*/ 0 w 113"/>
                  <a:gd name="T1" fmla="*/ 23 h 93"/>
                  <a:gd name="T2" fmla="*/ 87 w 113"/>
                  <a:gd name="T3" fmla="*/ 0 h 93"/>
                  <a:gd name="T4" fmla="*/ 113 w 113"/>
                  <a:gd name="T5" fmla="*/ 42 h 93"/>
                  <a:gd name="T6" fmla="*/ 98 w 113"/>
                  <a:gd name="T7" fmla="*/ 61 h 93"/>
                  <a:gd name="T8" fmla="*/ 70 w 113"/>
                  <a:gd name="T9" fmla="*/ 54 h 93"/>
                  <a:gd name="T10" fmla="*/ 28 w 113"/>
                  <a:gd name="T11" fmla="*/ 93 h 93"/>
                  <a:gd name="T12" fmla="*/ 5 w 113"/>
                  <a:gd name="T13" fmla="*/ 73 h 93"/>
                  <a:gd name="T14" fmla="*/ 0 w 113"/>
                  <a:gd name="T15" fmla="*/ 23 h 9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13"/>
                  <a:gd name="T25" fmla="*/ 0 h 93"/>
                  <a:gd name="T26" fmla="*/ 113 w 113"/>
                  <a:gd name="T27" fmla="*/ 93 h 9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13" h="93">
                    <a:moveTo>
                      <a:pt x="0" y="23"/>
                    </a:moveTo>
                    <a:lnTo>
                      <a:pt x="87" y="0"/>
                    </a:lnTo>
                    <a:lnTo>
                      <a:pt x="113" y="42"/>
                    </a:lnTo>
                    <a:lnTo>
                      <a:pt x="98" y="61"/>
                    </a:lnTo>
                    <a:lnTo>
                      <a:pt x="70" y="54"/>
                    </a:lnTo>
                    <a:lnTo>
                      <a:pt x="28" y="93"/>
                    </a:lnTo>
                    <a:lnTo>
                      <a:pt x="5" y="73"/>
                    </a:lnTo>
                    <a:lnTo>
                      <a:pt x="0" y="23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  <p:sp>
            <p:nvSpPr>
              <p:cNvPr id="59" name="Freeform 43">
                <a:extLst>
                  <a:ext uri="{FF2B5EF4-FFF2-40B4-BE49-F238E27FC236}">
                    <a16:creationId xmlns:a16="http://schemas.microsoft.com/office/drawing/2014/main" id="{7FF2E43F-92ED-4A99-BECB-35FA8F5659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64" y="1595"/>
                <a:ext cx="57" cy="51"/>
              </a:xfrm>
              <a:custGeom>
                <a:avLst/>
                <a:gdLst>
                  <a:gd name="T0" fmla="*/ 0 w 57"/>
                  <a:gd name="T1" fmla="*/ 9 h 51"/>
                  <a:gd name="T2" fmla="*/ 24 w 57"/>
                  <a:gd name="T3" fmla="*/ 0 h 51"/>
                  <a:gd name="T4" fmla="*/ 57 w 57"/>
                  <a:gd name="T5" fmla="*/ 26 h 51"/>
                  <a:gd name="T6" fmla="*/ 50 w 57"/>
                  <a:gd name="T7" fmla="*/ 33 h 51"/>
                  <a:gd name="T8" fmla="*/ 34 w 57"/>
                  <a:gd name="T9" fmla="*/ 33 h 51"/>
                  <a:gd name="T10" fmla="*/ 26 w 57"/>
                  <a:gd name="T11" fmla="*/ 51 h 51"/>
                  <a:gd name="T12" fmla="*/ 0 w 57"/>
                  <a:gd name="T13" fmla="*/ 9 h 51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57"/>
                  <a:gd name="T22" fmla="*/ 0 h 51"/>
                  <a:gd name="T23" fmla="*/ 57 w 57"/>
                  <a:gd name="T24" fmla="*/ 51 h 51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57" h="51">
                    <a:moveTo>
                      <a:pt x="0" y="9"/>
                    </a:moveTo>
                    <a:lnTo>
                      <a:pt x="24" y="0"/>
                    </a:lnTo>
                    <a:lnTo>
                      <a:pt x="57" y="26"/>
                    </a:lnTo>
                    <a:lnTo>
                      <a:pt x="50" y="33"/>
                    </a:lnTo>
                    <a:lnTo>
                      <a:pt x="34" y="33"/>
                    </a:lnTo>
                    <a:lnTo>
                      <a:pt x="26" y="51"/>
                    </a:lnTo>
                    <a:lnTo>
                      <a:pt x="0" y="9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</p:grpSp>
        <p:sp>
          <p:nvSpPr>
            <p:cNvPr id="31" name="Freeform 44">
              <a:extLst>
                <a:ext uri="{FF2B5EF4-FFF2-40B4-BE49-F238E27FC236}">
                  <a16:creationId xmlns:a16="http://schemas.microsoft.com/office/drawing/2014/main" id="{442B8ABC-B6E9-495F-94BC-225F7C2E55BE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795" y="1914525"/>
              <a:ext cx="801377" cy="584200"/>
            </a:xfrm>
            <a:custGeom>
              <a:avLst/>
              <a:gdLst>
                <a:gd name="T0" fmla="*/ 134 w 389"/>
                <a:gd name="T1" fmla="*/ 0 h 307"/>
                <a:gd name="T2" fmla="*/ 245 w 389"/>
                <a:gd name="T3" fmla="*/ 24 h 307"/>
                <a:gd name="T4" fmla="*/ 328 w 389"/>
                <a:gd name="T5" fmla="*/ 39 h 307"/>
                <a:gd name="T6" fmla="*/ 369 w 389"/>
                <a:gd name="T7" fmla="*/ 46 h 307"/>
                <a:gd name="T8" fmla="*/ 411 w 389"/>
                <a:gd name="T9" fmla="*/ 51 h 307"/>
                <a:gd name="T10" fmla="*/ 466 w 389"/>
                <a:gd name="T11" fmla="*/ 59 h 307"/>
                <a:gd name="T12" fmla="*/ 535 w 389"/>
                <a:gd name="T13" fmla="*/ 68 h 307"/>
                <a:gd name="T14" fmla="*/ 489 w 389"/>
                <a:gd name="T15" fmla="*/ 307 h 307"/>
                <a:gd name="T16" fmla="*/ 282 w 389"/>
                <a:gd name="T17" fmla="*/ 273 h 307"/>
                <a:gd name="T18" fmla="*/ 255 w 389"/>
                <a:gd name="T19" fmla="*/ 288 h 307"/>
                <a:gd name="T20" fmla="*/ 216 w 389"/>
                <a:gd name="T21" fmla="*/ 265 h 307"/>
                <a:gd name="T22" fmla="*/ 184 w 389"/>
                <a:gd name="T23" fmla="*/ 288 h 307"/>
                <a:gd name="T24" fmla="*/ 154 w 389"/>
                <a:gd name="T25" fmla="*/ 268 h 307"/>
                <a:gd name="T26" fmla="*/ 68 w 389"/>
                <a:gd name="T27" fmla="*/ 265 h 307"/>
                <a:gd name="T28" fmla="*/ 81 w 389"/>
                <a:gd name="T29" fmla="*/ 226 h 307"/>
                <a:gd name="T30" fmla="*/ 18 w 389"/>
                <a:gd name="T31" fmla="*/ 222 h 307"/>
                <a:gd name="T32" fmla="*/ 13 w 389"/>
                <a:gd name="T33" fmla="*/ 200 h 307"/>
                <a:gd name="T34" fmla="*/ 25 w 389"/>
                <a:gd name="T35" fmla="*/ 177 h 307"/>
                <a:gd name="T36" fmla="*/ 11 w 389"/>
                <a:gd name="T37" fmla="*/ 155 h 307"/>
                <a:gd name="T38" fmla="*/ 12 w 389"/>
                <a:gd name="T39" fmla="*/ 96 h 307"/>
                <a:gd name="T40" fmla="*/ 0 w 389"/>
                <a:gd name="T41" fmla="*/ 50 h 307"/>
                <a:gd name="T42" fmla="*/ 5 w 389"/>
                <a:gd name="T43" fmla="*/ 32 h 307"/>
                <a:gd name="T44" fmla="*/ 34 w 389"/>
                <a:gd name="T45" fmla="*/ 39 h 307"/>
                <a:gd name="T46" fmla="*/ 63 w 389"/>
                <a:gd name="T47" fmla="*/ 66 h 307"/>
                <a:gd name="T48" fmla="*/ 115 w 389"/>
                <a:gd name="T49" fmla="*/ 72 h 307"/>
                <a:gd name="T50" fmla="*/ 129 w 389"/>
                <a:gd name="T51" fmla="*/ 94 h 307"/>
                <a:gd name="T52" fmla="*/ 103 w 389"/>
                <a:gd name="T53" fmla="*/ 94 h 307"/>
                <a:gd name="T54" fmla="*/ 100 w 389"/>
                <a:gd name="T55" fmla="*/ 113 h 307"/>
                <a:gd name="T56" fmla="*/ 115 w 389"/>
                <a:gd name="T57" fmla="*/ 115 h 307"/>
                <a:gd name="T58" fmla="*/ 120 w 389"/>
                <a:gd name="T59" fmla="*/ 134 h 307"/>
                <a:gd name="T60" fmla="*/ 89 w 389"/>
                <a:gd name="T61" fmla="*/ 148 h 307"/>
                <a:gd name="T62" fmla="*/ 89 w 389"/>
                <a:gd name="T63" fmla="*/ 161 h 307"/>
                <a:gd name="T64" fmla="*/ 124 w 389"/>
                <a:gd name="T65" fmla="*/ 161 h 307"/>
                <a:gd name="T66" fmla="*/ 134 w 389"/>
                <a:gd name="T67" fmla="*/ 128 h 307"/>
                <a:gd name="T68" fmla="*/ 162 w 389"/>
                <a:gd name="T69" fmla="*/ 108 h 307"/>
                <a:gd name="T70" fmla="*/ 129 w 389"/>
                <a:gd name="T71" fmla="*/ 57 h 307"/>
                <a:gd name="T72" fmla="*/ 150 w 389"/>
                <a:gd name="T73" fmla="*/ 40 h 307"/>
                <a:gd name="T74" fmla="*/ 134 w 389"/>
                <a:gd name="T75" fmla="*/ 0 h 30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389"/>
                <a:gd name="T115" fmla="*/ 0 h 307"/>
                <a:gd name="T116" fmla="*/ 389 w 389"/>
                <a:gd name="T117" fmla="*/ 307 h 307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389" h="307">
                  <a:moveTo>
                    <a:pt x="98" y="0"/>
                  </a:moveTo>
                  <a:lnTo>
                    <a:pt x="178" y="24"/>
                  </a:lnTo>
                  <a:lnTo>
                    <a:pt x="239" y="39"/>
                  </a:lnTo>
                  <a:lnTo>
                    <a:pt x="269" y="46"/>
                  </a:lnTo>
                  <a:lnTo>
                    <a:pt x="299" y="51"/>
                  </a:lnTo>
                  <a:lnTo>
                    <a:pt x="340" y="59"/>
                  </a:lnTo>
                  <a:lnTo>
                    <a:pt x="389" y="68"/>
                  </a:lnTo>
                  <a:lnTo>
                    <a:pt x="357" y="307"/>
                  </a:lnTo>
                  <a:lnTo>
                    <a:pt x="206" y="273"/>
                  </a:lnTo>
                  <a:lnTo>
                    <a:pt x="186" y="288"/>
                  </a:lnTo>
                  <a:lnTo>
                    <a:pt x="158" y="265"/>
                  </a:lnTo>
                  <a:lnTo>
                    <a:pt x="134" y="288"/>
                  </a:lnTo>
                  <a:lnTo>
                    <a:pt x="112" y="268"/>
                  </a:lnTo>
                  <a:lnTo>
                    <a:pt x="50" y="265"/>
                  </a:lnTo>
                  <a:lnTo>
                    <a:pt x="59" y="226"/>
                  </a:lnTo>
                  <a:lnTo>
                    <a:pt x="14" y="222"/>
                  </a:lnTo>
                  <a:lnTo>
                    <a:pt x="9" y="200"/>
                  </a:lnTo>
                  <a:lnTo>
                    <a:pt x="18" y="177"/>
                  </a:lnTo>
                  <a:lnTo>
                    <a:pt x="7" y="155"/>
                  </a:lnTo>
                  <a:lnTo>
                    <a:pt x="8" y="96"/>
                  </a:lnTo>
                  <a:lnTo>
                    <a:pt x="0" y="50"/>
                  </a:lnTo>
                  <a:lnTo>
                    <a:pt x="5" y="32"/>
                  </a:lnTo>
                  <a:lnTo>
                    <a:pt x="25" y="39"/>
                  </a:lnTo>
                  <a:lnTo>
                    <a:pt x="46" y="66"/>
                  </a:lnTo>
                  <a:lnTo>
                    <a:pt x="84" y="72"/>
                  </a:lnTo>
                  <a:lnTo>
                    <a:pt x="94" y="94"/>
                  </a:lnTo>
                  <a:lnTo>
                    <a:pt x="75" y="94"/>
                  </a:lnTo>
                  <a:lnTo>
                    <a:pt x="73" y="113"/>
                  </a:lnTo>
                  <a:lnTo>
                    <a:pt x="84" y="115"/>
                  </a:lnTo>
                  <a:lnTo>
                    <a:pt x="88" y="134"/>
                  </a:lnTo>
                  <a:lnTo>
                    <a:pt x="65" y="148"/>
                  </a:lnTo>
                  <a:lnTo>
                    <a:pt x="65" y="161"/>
                  </a:lnTo>
                  <a:lnTo>
                    <a:pt x="91" y="161"/>
                  </a:lnTo>
                  <a:lnTo>
                    <a:pt x="98" y="128"/>
                  </a:lnTo>
                  <a:lnTo>
                    <a:pt x="118" y="108"/>
                  </a:lnTo>
                  <a:lnTo>
                    <a:pt x="94" y="57"/>
                  </a:lnTo>
                  <a:lnTo>
                    <a:pt x="109" y="40"/>
                  </a:lnTo>
                  <a:lnTo>
                    <a:pt x="98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32" name="Freeform 45">
              <a:extLst>
                <a:ext uri="{FF2B5EF4-FFF2-40B4-BE49-F238E27FC236}">
                  <a16:creationId xmlns:a16="http://schemas.microsoft.com/office/drawing/2014/main" id="{120EE865-432D-43B1-B243-8A95B59207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9908" y="2336800"/>
              <a:ext cx="1002582" cy="760413"/>
            </a:xfrm>
            <a:custGeom>
              <a:avLst/>
              <a:gdLst>
                <a:gd name="T0" fmla="*/ 147 w 485"/>
                <a:gd name="T1" fmla="*/ 0 h 399"/>
                <a:gd name="T2" fmla="*/ 127 w 485"/>
                <a:gd name="T3" fmla="*/ 9 h 399"/>
                <a:gd name="T4" fmla="*/ 115 w 485"/>
                <a:gd name="T5" fmla="*/ 44 h 399"/>
                <a:gd name="T6" fmla="*/ 102 w 485"/>
                <a:gd name="T7" fmla="*/ 73 h 399"/>
                <a:gd name="T8" fmla="*/ 94 w 485"/>
                <a:gd name="T9" fmla="*/ 97 h 399"/>
                <a:gd name="T10" fmla="*/ 81 w 485"/>
                <a:gd name="T11" fmla="*/ 123 h 399"/>
                <a:gd name="T12" fmla="*/ 67 w 485"/>
                <a:gd name="T13" fmla="*/ 149 h 399"/>
                <a:gd name="T14" fmla="*/ 50 w 485"/>
                <a:gd name="T15" fmla="*/ 177 h 399"/>
                <a:gd name="T16" fmla="*/ 26 w 485"/>
                <a:gd name="T17" fmla="*/ 210 h 399"/>
                <a:gd name="T18" fmla="*/ 0 w 485"/>
                <a:gd name="T19" fmla="*/ 241 h 399"/>
                <a:gd name="T20" fmla="*/ 0 w 485"/>
                <a:gd name="T21" fmla="*/ 311 h 399"/>
                <a:gd name="T22" fmla="*/ 376 w 485"/>
                <a:gd name="T23" fmla="*/ 371 h 399"/>
                <a:gd name="T24" fmla="*/ 552 w 485"/>
                <a:gd name="T25" fmla="*/ 399 h 399"/>
                <a:gd name="T26" fmla="*/ 587 w 485"/>
                <a:gd name="T27" fmla="*/ 260 h 399"/>
                <a:gd name="T28" fmla="*/ 610 w 485"/>
                <a:gd name="T29" fmla="*/ 249 h 399"/>
                <a:gd name="T30" fmla="*/ 588 w 485"/>
                <a:gd name="T31" fmla="*/ 218 h 399"/>
                <a:gd name="T32" fmla="*/ 600 w 485"/>
                <a:gd name="T33" fmla="*/ 186 h 399"/>
                <a:gd name="T34" fmla="*/ 670 w 485"/>
                <a:gd name="T35" fmla="*/ 133 h 399"/>
                <a:gd name="T36" fmla="*/ 621 w 485"/>
                <a:gd name="T37" fmla="*/ 85 h 399"/>
                <a:gd name="T38" fmla="*/ 412 w 485"/>
                <a:gd name="T39" fmla="*/ 51 h 399"/>
                <a:gd name="T40" fmla="*/ 386 w 485"/>
                <a:gd name="T41" fmla="*/ 65 h 399"/>
                <a:gd name="T42" fmla="*/ 346 w 485"/>
                <a:gd name="T43" fmla="*/ 42 h 399"/>
                <a:gd name="T44" fmla="*/ 312 w 485"/>
                <a:gd name="T45" fmla="*/ 66 h 399"/>
                <a:gd name="T46" fmla="*/ 281 w 485"/>
                <a:gd name="T47" fmla="*/ 42 h 399"/>
                <a:gd name="T48" fmla="*/ 197 w 485"/>
                <a:gd name="T49" fmla="*/ 43 h 399"/>
                <a:gd name="T50" fmla="*/ 209 w 485"/>
                <a:gd name="T51" fmla="*/ 4 h 399"/>
                <a:gd name="T52" fmla="*/ 147 w 485"/>
                <a:gd name="T53" fmla="*/ 0 h 399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485"/>
                <a:gd name="T82" fmla="*/ 0 h 399"/>
                <a:gd name="T83" fmla="*/ 485 w 485"/>
                <a:gd name="T84" fmla="*/ 399 h 399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485" h="399">
                  <a:moveTo>
                    <a:pt x="106" y="0"/>
                  </a:moveTo>
                  <a:lnTo>
                    <a:pt x="92" y="9"/>
                  </a:lnTo>
                  <a:lnTo>
                    <a:pt x="83" y="44"/>
                  </a:lnTo>
                  <a:lnTo>
                    <a:pt x="74" y="73"/>
                  </a:lnTo>
                  <a:lnTo>
                    <a:pt x="68" y="97"/>
                  </a:lnTo>
                  <a:lnTo>
                    <a:pt x="59" y="123"/>
                  </a:lnTo>
                  <a:lnTo>
                    <a:pt x="49" y="149"/>
                  </a:lnTo>
                  <a:lnTo>
                    <a:pt x="36" y="177"/>
                  </a:lnTo>
                  <a:lnTo>
                    <a:pt x="18" y="210"/>
                  </a:lnTo>
                  <a:lnTo>
                    <a:pt x="0" y="241"/>
                  </a:lnTo>
                  <a:lnTo>
                    <a:pt x="0" y="311"/>
                  </a:lnTo>
                  <a:lnTo>
                    <a:pt x="272" y="371"/>
                  </a:lnTo>
                  <a:lnTo>
                    <a:pt x="398" y="399"/>
                  </a:lnTo>
                  <a:lnTo>
                    <a:pt x="424" y="260"/>
                  </a:lnTo>
                  <a:lnTo>
                    <a:pt x="441" y="249"/>
                  </a:lnTo>
                  <a:lnTo>
                    <a:pt x="425" y="218"/>
                  </a:lnTo>
                  <a:lnTo>
                    <a:pt x="433" y="186"/>
                  </a:lnTo>
                  <a:lnTo>
                    <a:pt x="485" y="133"/>
                  </a:lnTo>
                  <a:lnTo>
                    <a:pt x="449" y="85"/>
                  </a:lnTo>
                  <a:lnTo>
                    <a:pt x="298" y="51"/>
                  </a:lnTo>
                  <a:lnTo>
                    <a:pt x="278" y="65"/>
                  </a:lnTo>
                  <a:lnTo>
                    <a:pt x="250" y="42"/>
                  </a:lnTo>
                  <a:lnTo>
                    <a:pt x="226" y="66"/>
                  </a:lnTo>
                  <a:lnTo>
                    <a:pt x="203" y="42"/>
                  </a:lnTo>
                  <a:lnTo>
                    <a:pt x="143" y="43"/>
                  </a:lnTo>
                  <a:lnTo>
                    <a:pt x="151" y="4"/>
                  </a:lnTo>
                  <a:lnTo>
                    <a:pt x="106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33" name="Freeform 46">
              <a:extLst>
                <a:ext uri="{FF2B5EF4-FFF2-40B4-BE49-F238E27FC236}">
                  <a16:creationId xmlns:a16="http://schemas.microsoft.com/office/drawing/2014/main" id="{D8772527-92BC-4CEC-BE0D-CE17009D2CF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7363" y="2925763"/>
              <a:ext cx="1057612" cy="1619250"/>
            </a:xfrm>
            <a:custGeom>
              <a:avLst/>
              <a:gdLst>
                <a:gd name="T0" fmla="*/ 55 w 512"/>
                <a:gd name="T1" fmla="*/ 0 h 850"/>
                <a:gd name="T2" fmla="*/ 379 w 512"/>
                <a:gd name="T3" fmla="*/ 50 h 850"/>
                <a:gd name="T4" fmla="*/ 308 w 512"/>
                <a:gd name="T5" fmla="*/ 300 h 850"/>
                <a:gd name="T6" fmla="*/ 673 w 512"/>
                <a:gd name="T7" fmla="*/ 681 h 850"/>
                <a:gd name="T8" fmla="*/ 708 w 512"/>
                <a:gd name="T9" fmla="*/ 730 h 850"/>
                <a:gd name="T10" fmla="*/ 672 w 512"/>
                <a:gd name="T11" fmla="*/ 753 h 850"/>
                <a:gd name="T12" fmla="*/ 651 w 512"/>
                <a:gd name="T13" fmla="*/ 795 h 850"/>
                <a:gd name="T14" fmla="*/ 628 w 512"/>
                <a:gd name="T15" fmla="*/ 820 h 850"/>
                <a:gd name="T16" fmla="*/ 653 w 512"/>
                <a:gd name="T17" fmla="*/ 842 h 850"/>
                <a:gd name="T18" fmla="*/ 612 w 512"/>
                <a:gd name="T19" fmla="*/ 850 h 850"/>
                <a:gd name="T20" fmla="*/ 398 w 512"/>
                <a:gd name="T21" fmla="*/ 844 h 850"/>
                <a:gd name="T22" fmla="*/ 384 w 512"/>
                <a:gd name="T23" fmla="*/ 794 h 850"/>
                <a:gd name="T24" fmla="*/ 348 w 512"/>
                <a:gd name="T25" fmla="*/ 758 h 850"/>
                <a:gd name="T26" fmla="*/ 320 w 512"/>
                <a:gd name="T27" fmla="*/ 745 h 850"/>
                <a:gd name="T28" fmla="*/ 313 w 512"/>
                <a:gd name="T29" fmla="*/ 719 h 850"/>
                <a:gd name="T30" fmla="*/ 291 w 512"/>
                <a:gd name="T31" fmla="*/ 705 h 850"/>
                <a:gd name="T32" fmla="*/ 268 w 512"/>
                <a:gd name="T33" fmla="*/ 687 h 850"/>
                <a:gd name="T34" fmla="*/ 260 w 512"/>
                <a:gd name="T35" fmla="*/ 667 h 850"/>
                <a:gd name="T36" fmla="*/ 240 w 512"/>
                <a:gd name="T37" fmla="*/ 654 h 850"/>
                <a:gd name="T38" fmla="*/ 207 w 512"/>
                <a:gd name="T39" fmla="*/ 661 h 850"/>
                <a:gd name="T40" fmla="*/ 168 w 512"/>
                <a:gd name="T41" fmla="*/ 651 h 850"/>
                <a:gd name="T42" fmla="*/ 168 w 512"/>
                <a:gd name="T43" fmla="*/ 640 h 850"/>
                <a:gd name="T44" fmla="*/ 167 w 512"/>
                <a:gd name="T45" fmla="*/ 617 h 850"/>
                <a:gd name="T46" fmla="*/ 152 w 512"/>
                <a:gd name="T47" fmla="*/ 591 h 850"/>
                <a:gd name="T48" fmla="*/ 151 w 512"/>
                <a:gd name="T49" fmla="*/ 570 h 850"/>
                <a:gd name="T50" fmla="*/ 134 w 512"/>
                <a:gd name="T51" fmla="*/ 551 h 850"/>
                <a:gd name="T52" fmla="*/ 138 w 512"/>
                <a:gd name="T53" fmla="*/ 533 h 850"/>
                <a:gd name="T54" fmla="*/ 92 w 512"/>
                <a:gd name="T55" fmla="*/ 490 h 850"/>
                <a:gd name="T56" fmla="*/ 92 w 512"/>
                <a:gd name="T57" fmla="*/ 465 h 850"/>
                <a:gd name="T58" fmla="*/ 115 w 512"/>
                <a:gd name="T59" fmla="*/ 456 h 850"/>
                <a:gd name="T60" fmla="*/ 115 w 512"/>
                <a:gd name="T61" fmla="*/ 440 h 850"/>
                <a:gd name="T62" fmla="*/ 92 w 512"/>
                <a:gd name="T63" fmla="*/ 436 h 850"/>
                <a:gd name="T64" fmla="*/ 80 w 512"/>
                <a:gd name="T65" fmla="*/ 412 h 850"/>
                <a:gd name="T66" fmla="*/ 69 w 512"/>
                <a:gd name="T67" fmla="*/ 371 h 850"/>
                <a:gd name="T68" fmla="*/ 103 w 512"/>
                <a:gd name="T69" fmla="*/ 393 h 850"/>
                <a:gd name="T70" fmla="*/ 89 w 512"/>
                <a:gd name="T71" fmla="*/ 364 h 850"/>
                <a:gd name="T72" fmla="*/ 115 w 512"/>
                <a:gd name="T73" fmla="*/ 364 h 850"/>
                <a:gd name="T74" fmla="*/ 115 w 512"/>
                <a:gd name="T75" fmla="*/ 343 h 850"/>
                <a:gd name="T76" fmla="*/ 89 w 512"/>
                <a:gd name="T77" fmla="*/ 329 h 850"/>
                <a:gd name="T78" fmla="*/ 78 w 512"/>
                <a:gd name="T79" fmla="*/ 349 h 850"/>
                <a:gd name="T80" fmla="*/ 55 w 512"/>
                <a:gd name="T81" fmla="*/ 342 h 850"/>
                <a:gd name="T82" fmla="*/ 11 w 512"/>
                <a:gd name="T83" fmla="*/ 246 h 850"/>
                <a:gd name="T84" fmla="*/ 22 w 512"/>
                <a:gd name="T85" fmla="*/ 178 h 850"/>
                <a:gd name="T86" fmla="*/ 0 w 512"/>
                <a:gd name="T87" fmla="*/ 139 h 850"/>
                <a:gd name="T88" fmla="*/ 12 w 512"/>
                <a:gd name="T89" fmla="*/ 110 h 850"/>
                <a:gd name="T90" fmla="*/ 33 w 512"/>
                <a:gd name="T91" fmla="*/ 104 h 850"/>
                <a:gd name="T92" fmla="*/ 55 w 512"/>
                <a:gd name="T93" fmla="*/ 57 h 850"/>
                <a:gd name="T94" fmla="*/ 55 w 512"/>
                <a:gd name="T95" fmla="*/ 0 h 85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512"/>
                <a:gd name="T145" fmla="*/ 0 h 850"/>
                <a:gd name="T146" fmla="*/ 512 w 512"/>
                <a:gd name="T147" fmla="*/ 850 h 85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512" h="850">
                  <a:moveTo>
                    <a:pt x="40" y="0"/>
                  </a:moveTo>
                  <a:lnTo>
                    <a:pt x="275" y="50"/>
                  </a:lnTo>
                  <a:lnTo>
                    <a:pt x="223" y="300"/>
                  </a:lnTo>
                  <a:lnTo>
                    <a:pt x="488" y="681"/>
                  </a:lnTo>
                  <a:lnTo>
                    <a:pt x="512" y="730"/>
                  </a:lnTo>
                  <a:lnTo>
                    <a:pt x="487" y="753"/>
                  </a:lnTo>
                  <a:lnTo>
                    <a:pt x="471" y="795"/>
                  </a:lnTo>
                  <a:lnTo>
                    <a:pt x="455" y="820"/>
                  </a:lnTo>
                  <a:lnTo>
                    <a:pt x="472" y="842"/>
                  </a:lnTo>
                  <a:lnTo>
                    <a:pt x="444" y="850"/>
                  </a:lnTo>
                  <a:lnTo>
                    <a:pt x="289" y="844"/>
                  </a:lnTo>
                  <a:lnTo>
                    <a:pt x="279" y="794"/>
                  </a:lnTo>
                  <a:lnTo>
                    <a:pt x="252" y="758"/>
                  </a:lnTo>
                  <a:lnTo>
                    <a:pt x="232" y="745"/>
                  </a:lnTo>
                  <a:lnTo>
                    <a:pt x="227" y="719"/>
                  </a:lnTo>
                  <a:lnTo>
                    <a:pt x="210" y="705"/>
                  </a:lnTo>
                  <a:lnTo>
                    <a:pt x="194" y="687"/>
                  </a:lnTo>
                  <a:lnTo>
                    <a:pt x="188" y="667"/>
                  </a:lnTo>
                  <a:lnTo>
                    <a:pt x="173" y="654"/>
                  </a:lnTo>
                  <a:lnTo>
                    <a:pt x="149" y="661"/>
                  </a:lnTo>
                  <a:lnTo>
                    <a:pt x="122" y="651"/>
                  </a:lnTo>
                  <a:lnTo>
                    <a:pt x="122" y="640"/>
                  </a:lnTo>
                  <a:lnTo>
                    <a:pt x="121" y="617"/>
                  </a:lnTo>
                  <a:lnTo>
                    <a:pt x="110" y="591"/>
                  </a:lnTo>
                  <a:lnTo>
                    <a:pt x="109" y="570"/>
                  </a:lnTo>
                  <a:lnTo>
                    <a:pt x="97" y="551"/>
                  </a:lnTo>
                  <a:lnTo>
                    <a:pt x="100" y="533"/>
                  </a:lnTo>
                  <a:lnTo>
                    <a:pt x="66" y="490"/>
                  </a:lnTo>
                  <a:lnTo>
                    <a:pt x="66" y="465"/>
                  </a:lnTo>
                  <a:lnTo>
                    <a:pt x="83" y="456"/>
                  </a:lnTo>
                  <a:lnTo>
                    <a:pt x="83" y="440"/>
                  </a:lnTo>
                  <a:lnTo>
                    <a:pt x="66" y="436"/>
                  </a:lnTo>
                  <a:lnTo>
                    <a:pt x="58" y="412"/>
                  </a:lnTo>
                  <a:lnTo>
                    <a:pt x="50" y="371"/>
                  </a:lnTo>
                  <a:lnTo>
                    <a:pt x="75" y="393"/>
                  </a:lnTo>
                  <a:lnTo>
                    <a:pt x="65" y="364"/>
                  </a:lnTo>
                  <a:lnTo>
                    <a:pt x="83" y="364"/>
                  </a:lnTo>
                  <a:lnTo>
                    <a:pt x="83" y="343"/>
                  </a:lnTo>
                  <a:lnTo>
                    <a:pt x="65" y="329"/>
                  </a:lnTo>
                  <a:lnTo>
                    <a:pt x="56" y="349"/>
                  </a:lnTo>
                  <a:lnTo>
                    <a:pt x="40" y="342"/>
                  </a:lnTo>
                  <a:lnTo>
                    <a:pt x="7" y="246"/>
                  </a:lnTo>
                  <a:lnTo>
                    <a:pt x="16" y="178"/>
                  </a:lnTo>
                  <a:lnTo>
                    <a:pt x="0" y="139"/>
                  </a:lnTo>
                  <a:lnTo>
                    <a:pt x="8" y="110"/>
                  </a:lnTo>
                  <a:lnTo>
                    <a:pt x="24" y="104"/>
                  </a:lnTo>
                  <a:lnTo>
                    <a:pt x="40" y="57"/>
                  </a:lnTo>
                  <a:lnTo>
                    <a:pt x="40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34" name="Freeform 47">
              <a:extLst>
                <a:ext uri="{FF2B5EF4-FFF2-40B4-BE49-F238E27FC236}">
                  <a16:creationId xmlns:a16="http://schemas.microsoft.com/office/drawing/2014/main" id="{C2BE81C8-9672-45DA-87F4-C088CACB5C85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8483" y="2041525"/>
              <a:ext cx="722272" cy="1158875"/>
            </a:xfrm>
            <a:custGeom>
              <a:avLst/>
              <a:gdLst>
                <a:gd name="T0" fmla="*/ 117 w 349"/>
                <a:gd name="T1" fmla="*/ 0 h 608"/>
                <a:gd name="T2" fmla="*/ 72 w 349"/>
                <a:gd name="T3" fmla="*/ 238 h 608"/>
                <a:gd name="T4" fmla="*/ 118 w 349"/>
                <a:gd name="T5" fmla="*/ 288 h 608"/>
                <a:gd name="T6" fmla="*/ 47 w 349"/>
                <a:gd name="T7" fmla="*/ 341 h 608"/>
                <a:gd name="T8" fmla="*/ 37 w 349"/>
                <a:gd name="T9" fmla="*/ 378 h 608"/>
                <a:gd name="T10" fmla="*/ 58 w 349"/>
                <a:gd name="T11" fmla="*/ 404 h 608"/>
                <a:gd name="T12" fmla="*/ 37 w 349"/>
                <a:gd name="T13" fmla="*/ 416 h 608"/>
                <a:gd name="T14" fmla="*/ 0 w 349"/>
                <a:gd name="T15" fmla="*/ 554 h 608"/>
                <a:gd name="T16" fmla="*/ 230 w 349"/>
                <a:gd name="T17" fmla="*/ 586 h 608"/>
                <a:gd name="T18" fmla="*/ 451 w 349"/>
                <a:gd name="T19" fmla="*/ 608 h 608"/>
                <a:gd name="T20" fmla="*/ 472 w 349"/>
                <a:gd name="T21" fmla="*/ 482 h 608"/>
                <a:gd name="T22" fmla="*/ 485 w 349"/>
                <a:gd name="T23" fmla="*/ 413 h 608"/>
                <a:gd name="T24" fmla="*/ 464 w 349"/>
                <a:gd name="T25" fmla="*/ 388 h 608"/>
                <a:gd name="T26" fmla="*/ 414 w 349"/>
                <a:gd name="T27" fmla="*/ 395 h 608"/>
                <a:gd name="T28" fmla="*/ 346 w 349"/>
                <a:gd name="T29" fmla="*/ 401 h 608"/>
                <a:gd name="T30" fmla="*/ 338 w 349"/>
                <a:gd name="T31" fmla="*/ 345 h 608"/>
                <a:gd name="T32" fmla="*/ 257 w 349"/>
                <a:gd name="T33" fmla="*/ 299 h 608"/>
                <a:gd name="T34" fmla="*/ 268 w 349"/>
                <a:gd name="T35" fmla="*/ 270 h 608"/>
                <a:gd name="T36" fmla="*/ 275 w 349"/>
                <a:gd name="T37" fmla="*/ 218 h 608"/>
                <a:gd name="T38" fmla="*/ 175 w 349"/>
                <a:gd name="T39" fmla="*/ 106 h 608"/>
                <a:gd name="T40" fmla="*/ 188 w 349"/>
                <a:gd name="T41" fmla="*/ 7 h 608"/>
                <a:gd name="T42" fmla="*/ 117 w 349"/>
                <a:gd name="T43" fmla="*/ 0 h 608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349"/>
                <a:gd name="T67" fmla="*/ 0 h 608"/>
                <a:gd name="T68" fmla="*/ 349 w 349"/>
                <a:gd name="T69" fmla="*/ 608 h 608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349" h="608">
                  <a:moveTo>
                    <a:pt x="84" y="0"/>
                  </a:moveTo>
                  <a:lnTo>
                    <a:pt x="52" y="238"/>
                  </a:lnTo>
                  <a:lnTo>
                    <a:pt x="85" y="288"/>
                  </a:lnTo>
                  <a:lnTo>
                    <a:pt x="34" y="341"/>
                  </a:lnTo>
                  <a:lnTo>
                    <a:pt x="27" y="378"/>
                  </a:lnTo>
                  <a:lnTo>
                    <a:pt x="41" y="404"/>
                  </a:lnTo>
                  <a:lnTo>
                    <a:pt x="27" y="416"/>
                  </a:lnTo>
                  <a:lnTo>
                    <a:pt x="0" y="554"/>
                  </a:lnTo>
                  <a:lnTo>
                    <a:pt x="166" y="586"/>
                  </a:lnTo>
                  <a:lnTo>
                    <a:pt x="324" y="608"/>
                  </a:lnTo>
                  <a:lnTo>
                    <a:pt x="340" y="482"/>
                  </a:lnTo>
                  <a:lnTo>
                    <a:pt x="349" y="413"/>
                  </a:lnTo>
                  <a:lnTo>
                    <a:pt x="333" y="388"/>
                  </a:lnTo>
                  <a:lnTo>
                    <a:pt x="297" y="395"/>
                  </a:lnTo>
                  <a:lnTo>
                    <a:pt x="250" y="401"/>
                  </a:lnTo>
                  <a:lnTo>
                    <a:pt x="242" y="345"/>
                  </a:lnTo>
                  <a:lnTo>
                    <a:pt x="185" y="299"/>
                  </a:lnTo>
                  <a:lnTo>
                    <a:pt x="192" y="270"/>
                  </a:lnTo>
                  <a:lnTo>
                    <a:pt x="198" y="218"/>
                  </a:lnTo>
                  <a:lnTo>
                    <a:pt x="125" y="106"/>
                  </a:lnTo>
                  <a:lnTo>
                    <a:pt x="134" y="7"/>
                  </a:lnTo>
                  <a:lnTo>
                    <a:pt x="84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35" name="Freeform 48">
              <a:extLst>
                <a:ext uri="{FF2B5EF4-FFF2-40B4-BE49-F238E27FC236}">
                  <a16:creationId xmlns:a16="http://schemas.microsoft.com/office/drawing/2014/main" id="{5DE191FF-194F-4363-BFE9-A1559DFA5420}"/>
                </a:ext>
              </a:extLst>
            </p:cNvPr>
            <p:cNvSpPr>
              <a:spLocks/>
            </p:cNvSpPr>
            <p:nvPr/>
          </p:nvSpPr>
          <p:spPr bwMode="auto">
            <a:xfrm>
              <a:off x="5698902" y="4259263"/>
              <a:ext cx="433363" cy="750887"/>
            </a:xfrm>
            <a:custGeom>
              <a:avLst/>
              <a:gdLst>
                <a:gd name="T0" fmla="*/ 81 w 210"/>
                <a:gd name="T1" fmla="*/ 13 h 394"/>
                <a:gd name="T2" fmla="*/ 37 w 210"/>
                <a:gd name="T3" fmla="*/ 80 h 394"/>
                <a:gd name="T4" fmla="*/ 0 w 210"/>
                <a:gd name="T5" fmla="*/ 124 h 394"/>
                <a:gd name="T6" fmla="*/ 13 w 210"/>
                <a:gd name="T7" fmla="*/ 175 h 394"/>
                <a:gd name="T8" fmla="*/ 57 w 210"/>
                <a:gd name="T9" fmla="*/ 246 h 394"/>
                <a:gd name="T10" fmla="*/ 23 w 210"/>
                <a:gd name="T11" fmla="*/ 318 h 394"/>
                <a:gd name="T12" fmla="*/ 6 w 210"/>
                <a:gd name="T13" fmla="*/ 355 h 394"/>
                <a:gd name="T14" fmla="*/ 174 w 210"/>
                <a:gd name="T15" fmla="*/ 340 h 394"/>
                <a:gd name="T16" fmla="*/ 184 w 210"/>
                <a:gd name="T17" fmla="*/ 388 h 394"/>
                <a:gd name="T18" fmla="*/ 217 w 210"/>
                <a:gd name="T19" fmla="*/ 394 h 394"/>
                <a:gd name="T20" fmla="*/ 225 w 210"/>
                <a:gd name="T21" fmla="*/ 369 h 394"/>
                <a:gd name="T22" fmla="*/ 286 w 210"/>
                <a:gd name="T23" fmla="*/ 362 h 394"/>
                <a:gd name="T24" fmla="*/ 272 w 210"/>
                <a:gd name="T25" fmla="*/ 282 h 394"/>
                <a:gd name="T26" fmla="*/ 270 w 210"/>
                <a:gd name="T27" fmla="*/ 0 h 394"/>
                <a:gd name="T28" fmla="*/ 81 w 210"/>
                <a:gd name="T29" fmla="*/ 13 h 39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10"/>
                <a:gd name="T46" fmla="*/ 0 h 394"/>
                <a:gd name="T47" fmla="*/ 210 w 210"/>
                <a:gd name="T48" fmla="*/ 394 h 39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10" h="394">
                  <a:moveTo>
                    <a:pt x="59" y="13"/>
                  </a:moveTo>
                  <a:lnTo>
                    <a:pt x="27" y="80"/>
                  </a:lnTo>
                  <a:lnTo>
                    <a:pt x="0" y="124"/>
                  </a:lnTo>
                  <a:lnTo>
                    <a:pt x="9" y="175"/>
                  </a:lnTo>
                  <a:lnTo>
                    <a:pt x="42" y="246"/>
                  </a:lnTo>
                  <a:lnTo>
                    <a:pt x="17" y="318"/>
                  </a:lnTo>
                  <a:lnTo>
                    <a:pt x="6" y="355"/>
                  </a:lnTo>
                  <a:lnTo>
                    <a:pt x="128" y="340"/>
                  </a:lnTo>
                  <a:lnTo>
                    <a:pt x="134" y="388"/>
                  </a:lnTo>
                  <a:lnTo>
                    <a:pt x="159" y="394"/>
                  </a:lnTo>
                  <a:lnTo>
                    <a:pt x="165" y="369"/>
                  </a:lnTo>
                  <a:lnTo>
                    <a:pt x="210" y="362"/>
                  </a:lnTo>
                  <a:lnTo>
                    <a:pt x="200" y="282"/>
                  </a:lnTo>
                  <a:lnTo>
                    <a:pt x="198" y="0"/>
                  </a:lnTo>
                  <a:lnTo>
                    <a:pt x="59" y="13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36" name="Freeform 49">
              <a:extLst>
                <a:ext uri="{FF2B5EF4-FFF2-40B4-BE49-F238E27FC236}">
                  <a16:creationId xmlns:a16="http://schemas.microsoft.com/office/drawing/2014/main" id="{80B6F277-45F4-4D57-847D-8756FE015EFD}"/>
                </a:ext>
              </a:extLst>
            </p:cNvPr>
            <p:cNvSpPr>
              <a:spLocks/>
            </p:cNvSpPr>
            <p:nvPr/>
          </p:nvSpPr>
          <p:spPr bwMode="auto">
            <a:xfrm>
              <a:off x="6104750" y="4222750"/>
              <a:ext cx="490113" cy="758825"/>
            </a:xfrm>
            <a:custGeom>
              <a:avLst/>
              <a:gdLst>
                <a:gd name="T0" fmla="*/ 0 w 237"/>
                <a:gd name="T1" fmla="*/ 20 h 398"/>
                <a:gd name="T2" fmla="*/ 213 w 237"/>
                <a:gd name="T3" fmla="*/ 0 h 398"/>
                <a:gd name="T4" fmla="*/ 281 w 237"/>
                <a:gd name="T5" fmla="*/ 184 h 398"/>
                <a:gd name="T6" fmla="*/ 329 w 237"/>
                <a:gd name="T7" fmla="*/ 213 h 398"/>
                <a:gd name="T8" fmla="*/ 291 w 237"/>
                <a:gd name="T9" fmla="*/ 267 h 398"/>
                <a:gd name="T10" fmla="*/ 326 w 237"/>
                <a:gd name="T11" fmla="*/ 319 h 398"/>
                <a:gd name="T12" fmla="*/ 110 w 237"/>
                <a:gd name="T13" fmla="*/ 338 h 398"/>
                <a:gd name="T14" fmla="*/ 117 w 237"/>
                <a:gd name="T15" fmla="*/ 383 h 398"/>
                <a:gd name="T16" fmla="*/ 86 w 237"/>
                <a:gd name="T17" fmla="*/ 398 h 398"/>
                <a:gd name="T18" fmla="*/ 61 w 237"/>
                <a:gd name="T19" fmla="*/ 341 h 398"/>
                <a:gd name="T20" fmla="*/ 46 w 237"/>
                <a:gd name="T21" fmla="*/ 387 h 398"/>
                <a:gd name="T22" fmla="*/ 17 w 237"/>
                <a:gd name="T23" fmla="*/ 383 h 398"/>
                <a:gd name="T24" fmla="*/ 11 w 237"/>
                <a:gd name="T25" fmla="*/ 337 h 398"/>
                <a:gd name="T26" fmla="*/ 1 w 237"/>
                <a:gd name="T27" fmla="*/ 297 h 398"/>
                <a:gd name="T28" fmla="*/ 0 w 237"/>
                <a:gd name="T29" fmla="*/ 20 h 39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37"/>
                <a:gd name="T46" fmla="*/ 0 h 398"/>
                <a:gd name="T47" fmla="*/ 237 w 237"/>
                <a:gd name="T48" fmla="*/ 398 h 398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37" h="398">
                  <a:moveTo>
                    <a:pt x="0" y="20"/>
                  </a:moveTo>
                  <a:lnTo>
                    <a:pt x="154" y="0"/>
                  </a:lnTo>
                  <a:lnTo>
                    <a:pt x="203" y="184"/>
                  </a:lnTo>
                  <a:lnTo>
                    <a:pt x="237" y="213"/>
                  </a:lnTo>
                  <a:lnTo>
                    <a:pt x="210" y="267"/>
                  </a:lnTo>
                  <a:lnTo>
                    <a:pt x="236" y="319"/>
                  </a:lnTo>
                  <a:lnTo>
                    <a:pt x="79" y="338"/>
                  </a:lnTo>
                  <a:lnTo>
                    <a:pt x="85" y="383"/>
                  </a:lnTo>
                  <a:lnTo>
                    <a:pt x="62" y="398"/>
                  </a:lnTo>
                  <a:lnTo>
                    <a:pt x="44" y="341"/>
                  </a:lnTo>
                  <a:lnTo>
                    <a:pt x="33" y="387"/>
                  </a:lnTo>
                  <a:lnTo>
                    <a:pt x="13" y="383"/>
                  </a:lnTo>
                  <a:lnTo>
                    <a:pt x="7" y="337"/>
                  </a:lnTo>
                  <a:lnTo>
                    <a:pt x="1" y="297"/>
                  </a:lnTo>
                  <a:lnTo>
                    <a:pt x="0" y="2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37" name="Freeform 50">
              <a:extLst>
                <a:ext uri="{FF2B5EF4-FFF2-40B4-BE49-F238E27FC236}">
                  <a16:creationId xmlns:a16="http://schemas.microsoft.com/office/drawing/2014/main" id="{73220F68-016F-49B5-B97D-4EB04D899674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2894" y="4184650"/>
              <a:ext cx="679279" cy="698500"/>
            </a:xfrm>
            <a:custGeom>
              <a:avLst/>
              <a:gdLst>
                <a:gd name="T0" fmla="*/ 0 w 328"/>
                <a:gd name="T1" fmla="*/ 23 h 366"/>
                <a:gd name="T2" fmla="*/ 4 w 328"/>
                <a:gd name="T3" fmla="*/ 23 h 366"/>
                <a:gd name="T4" fmla="*/ 111 w 328"/>
                <a:gd name="T5" fmla="*/ 7 h 366"/>
                <a:gd name="T6" fmla="*/ 206 w 328"/>
                <a:gd name="T7" fmla="*/ 0 h 366"/>
                <a:gd name="T8" fmla="*/ 192 w 328"/>
                <a:gd name="T9" fmla="*/ 19 h 366"/>
                <a:gd name="T10" fmla="*/ 221 w 328"/>
                <a:gd name="T11" fmla="*/ 19 h 366"/>
                <a:gd name="T12" fmla="*/ 384 w 328"/>
                <a:gd name="T13" fmla="*/ 132 h 366"/>
                <a:gd name="T14" fmla="*/ 446 w 328"/>
                <a:gd name="T15" fmla="*/ 205 h 366"/>
                <a:gd name="T16" fmla="*/ 455 w 328"/>
                <a:gd name="T17" fmla="*/ 254 h 366"/>
                <a:gd name="T18" fmla="*/ 434 w 328"/>
                <a:gd name="T19" fmla="*/ 266 h 366"/>
                <a:gd name="T20" fmla="*/ 446 w 328"/>
                <a:gd name="T21" fmla="*/ 316 h 366"/>
                <a:gd name="T22" fmla="*/ 402 w 328"/>
                <a:gd name="T23" fmla="*/ 318 h 366"/>
                <a:gd name="T24" fmla="*/ 402 w 328"/>
                <a:gd name="T25" fmla="*/ 360 h 366"/>
                <a:gd name="T26" fmla="*/ 364 w 328"/>
                <a:gd name="T27" fmla="*/ 339 h 366"/>
                <a:gd name="T28" fmla="*/ 130 w 328"/>
                <a:gd name="T29" fmla="*/ 366 h 366"/>
                <a:gd name="T30" fmla="*/ 78 w 328"/>
                <a:gd name="T31" fmla="*/ 287 h 366"/>
                <a:gd name="T32" fmla="*/ 115 w 328"/>
                <a:gd name="T33" fmla="*/ 233 h 366"/>
                <a:gd name="T34" fmla="*/ 65 w 328"/>
                <a:gd name="T35" fmla="*/ 206 h 366"/>
                <a:gd name="T36" fmla="*/ 0 w 328"/>
                <a:gd name="T37" fmla="*/ 23 h 36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328"/>
                <a:gd name="T58" fmla="*/ 0 h 366"/>
                <a:gd name="T59" fmla="*/ 328 w 328"/>
                <a:gd name="T60" fmla="*/ 366 h 36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328" h="366">
                  <a:moveTo>
                    <a:pt x="0" y="23"/>
                  </a:moveTo>
                  <a:lnTo>
                    <a:pt x="4" y="23"/>
                  </a:lnTo>
                  <a:lnTo>
                    <a:pt x="80" y="7"/>
                  </a:lnTo>
                  <a:lnTo>
                    <a:pt x="148" y="0"/>
                  </a:lnTo>
                  <a:lnTo>
                    <a:pt x="138" y="19"/>
                  </a:lnTo>
                  <a:lnTo>
                    <a:pt x="159" y="19"/>
                  </a:lnTo>
                  <a:lnTo>
                    <a:pt x="276" y="132"/>
                  </a:lnTo>
                  <a:lnTo>
                    <a:pt x="322" y="205"/>
                  </a:lnTo>
                  <a:lnTo>
                    <a:pt x="328" y="254"/>
                  </a:lnTo>
                  <a:lnTo>
                    <a:pt x="313" y="266"/>
                  </a:lnTo>
                  <a:lnTo>
                    <a:pt x="322" y="316"/>
                  </a:lnTo>
                  <a:lnTo>
                    <a:pt x="289" y="318"/>
                  </a:lnTo>
                  <a:lnTo>
                    <a:pt x="289" y="360"/>
                  </a:lnTo>
                  <a:lnTo>
                    <a:pt x="263" y="339"/>
                  </a:lnTo>
                  <a:lnTo>
                    <a:pt x="94" y="366"/>
                  </a:lnTo>
                  <a:lnTo>
                    <a:pt x="56" y="287"/>
                  </a:lnTo>
                  <a:lnTo>
                    <a:pt x="83" y="233"/>
                  </a:lnTo>
                  <a:lnTo>
                    <a:pt x="47" y="206"/>
                  </a:lnTo>
                  <a:lnTo>
                    <a:pt x="0" y="23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38" name="Freeform 51">
              <a:extLst>
                <a:ext uri="{FF2B5EF4-FFF2-40B4-BE49-F238E27FC236}">
                  <a16:creationId xmlns:a16="http://schemas.microsoft.com/office/drawing/2014/main" id="{2F6C4EA2-2E1D-4EB3-BC03-0B86EC5BCFA3}"/>
                </a:ext>
              </a:extLst>
            </p:cNvPr>
            <p:cNvSpPr>
              <a:spLocks/>
            </p:cNvSpPr>
            <p:nvPr/>
          </p:nvSpPr>
          <p:spPr bwMode="auto">
            <a:xfrm>
              <a:off x="6587984" y="3757613"/>
              <a:ext cx="1064490" cy="463550"/>
            </a:xfrm>
            <a:custGeom>
              <a:avLst/>
              <a:gdLst>
                <a:gd name="T0" fmla="*/ 25 w 516"/>
                <a:gd name="T1" fmla="*/ 180 h 243"/>
                <a:gd name="T2" fmla="*/ 0 w 516"/>
                <a:gd name="T3" fmla="*/ 231 h 243"/>
                <a:gd name="T4" fmla="*/ 93 w 516"/>
                <a:gd name="T5" fmla="*/ 224 h 243"/>
                <a:gd name="T6" fmla="*/ 128 w 516"/>
                <a:gd name="T7" fmla="*/ 201 h 243"/>
                <a:gd name="T8" fmla="*/ 253 w 516"/>
                <a:gd name="T9" fmla="*/ 175 h 243"/>
                <a:gd name="T10" fmla="*/ 287 w 516"/>
                <a:gd name="T11" fmla="*/ 189 h 243"/>
                <a:gd name="T12" fmla="*/ 369 w 516"/>
                <a:gd name="T13" fmla="*/ 180 h 243"/>
                <a:gd name="T14" fmla="*/ 369 w 516"/>
                <a:gd name="T15" fmla="*/ 183 h 243"/>
                <a:gd name="T16" fmla="*/ 494 w 516"/>
                <a:gd name="T17" fmla="*/ 243 h 243"/>
                <a:gd name="T18" fmla="*/ 565 w 516"/>
                <a:gd name="T19" fmla="*/ 226 h 243"/>
                <a:gd name="T20" fmla="*/ 608 w 516"/>
                <a:gd name="T21" fmla="*/ 159 h 243"/>
                <a:gd name="T22" fmla="*/ 677 w 516"/>
                <a:gd name="T23" fmla="*/ 140 h 243"/>
                <a:gd name="T24" fmla="*/ 711 w 516"/>
                <a:gd name="T25" fmla="*/ 90 h 243"/>
                <a:gd name="T26" fmla="*/ 708 w 516"/>
                <a:gd name="T27" fmla="*/ 30 h 243"/>
                <a:gd name="T28" fmla="*/ 701 w 516"/>
                <a:gd name="T29" fmla="*/ 80 h 243"/>
                <a:gd name="T30" fmla="*/ 661 w 516"/>
                <a:gd name="T31" fmla="*/ 122 h 243"/>
                <a:gd name="T32" fmla="*/ 646 w 516"/>
                <a:gd name="T33" fmla="*/ 119 h 243"/>
                <a:gd name="T34" fmla="*/ 594 w 516"/>
                <a:gd name="T35" fmla="*/ 130 h 243"/>
                <a:gd name="T36" fmla="*/ 594 w 516"/>
                <a:gd name="T37" fmla="*/ 116 h 243"/>
                <a:gd name="T38" fmla="*/ 646 w 516"/>
                <a:gd name="T39" fmla="*/ 102 h 243"/>
                <a:gd name="T40" fmla="*/ 597 w 516"/>
                <a:gd name="T41" fmla="*/ 97 h 243"/>
                <a:gd name="T42" fmla="*/ 652 w 516"/>
                <a:gd name="T43" fmla="*/ 85 h 243"/>
                <a:gd name="T44" fmla="*/ 674 w 516"/>
                <a:gd name="T45" fmla="*/ 92 h 243"/>
                <a:gd name="T46" fmla="*/ 685 w 516"/>
                <a:gd name="T47" fmla="*/ 45 h 243"/>
                <a:gd name="T48" fmla="*/ 672 w 516"/>
                <a:gd name="T49" fmla="*/ 34 h 243"/>
                <a:gd name="T50" fmla="*/ 607 w 516"/>
                <a:gd name="T51" fmla="*/ 53 h 243"/>
                <a:gd name="T52" fmla="*/ 608 w 516"/>
                <a:gd name="T53" fmla="*/ 25 h 243"/>
                <a:gd name="T54" fmla="*/ 635 w 516"/>
                <a:gd name="T55" fmla="*/ 32 h 243"/>
                <a:gd name="T56" fmla="*/ 672 w 516"/>
                <a:gd name="T57" fmla="*/ 10 h 243"/>
                <a:gd name="T58" fmla="*/ 651 w 516"/>
                <a:gd name="T59" fmla="*/ 0 h 243"/>
                <a:gd name="T60" fmla="*/ 438 w 516"/>
                <a:gd name="T61" fmla="*/ 37 h 243"/>
                <a:gd name="T62" fmla="*/ 179 w 516"/>
                <a:gd name="T63" fmla="*/ 79 h 243"/>
                <a:gd name="T64" fmla="*/ 60 w 516"/>
                <a:gd name="T65" fmla="*/ 179 h 243"/>
                <a:gd name="T66" fmla="*/ 25 w 516"/>
                <a:gd name="T67" fmla="*/ 180 h 243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516"/>
                <a:gd name="T103" fmla="*/ 0 h 243"/>
                <a:gd name="T104" fmla="*/ 516 w 516"/>
                <a:gd name="T105" fmla="*/ 243 h 243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516" h="243">
                  <a:moveTo>
                    <a:pt x="18" y="180"/>
                  </a:moveTo>
                  <a:lnTo>
                    <a:pt x="0" y="231"/>
                  </a:lnTo>
                  <a:lnTo>
                    <a:pt x="67" y="224"/>
                  </a:lnTo>
                  <a:lnTo>
                    <a:pt x="93" y="201"/>
                  </a:lnTo>
                  <a:lnTo>
                    <a:pt x="184" y="175"/>
                  </a:lnTo>
                  <a:lnTo>
                    <a:pt x="209" y="189"/>
                  </a:lnTo>
                  <a:lnTo>
                    <a:pt x="269" y="180"/>
                  </a:lnTo>
                  <a:lnTo>
                    <a:pt x="269" y="183"/>
                  </a:lnTo>
                  <a:lnTo>
                    <a:pt x="359" y="243"/>
                  </a:lnTo>
                  <a:lnTo>
                    <a:pt x="411" y="226"/>
                  </a:lnTo>
                  <a:lnTo>
                    <a:pt x="441" y="159"/>
                  </a:lnTo>
                  <a:lnTo>
                    <a:pt x="492" y="140"/>
                  </a:lnTo>
                  <a:lnTo>
                    <a:pt x="516" y="90"/>
                  </a:lnTo>
                  <a:lnTo>
                    <a:pt x="515" y="30"/>
                  </a:lnTo>
                  <a:lnTo>
                    <a:pt x="509" y="80"/>
                  </a:lnTo>
                  <a:lnTo>
                    <a:pt x="480" y="122"/>
                  </a:lnTo>
                  <a:lnTo>
                    <a:pt x="469" y="119"/>
                  </a:lnTo>
                  <a:lnTo>
                    <a:pt x="431" y="130"/>
                  </a:lnTo>
                  <a:lnTo>
                    <a:pt x="431" y="116"/>
                  </a:lnTo>
                  <a:lnTo>
                    <a:pt x="469" y="102"/>
                  </a:lnTo>
                  <a:lnTo>
                    <a:pt x="434" y="97"/>
                  </a:lnTo>
                  <a:lnTo>
                    <a:pt x="474" y="85"/>
                  </a:lnTo>
                  <a:lnTo>
                    <a:pt x="489" y="92"/>
                  </a:lnTo>
                  <a:lnTo>
                    <a:pt x="497" y="45"/>
                  </a:lnTo>
                  <a:lnTo>
                    <a:pt x="487" y="34"/>
                  </a:lnTo>
                  <a:lnTo>
                    <a:pt x="440" y="53"/>
                  </a:lnTo>
                  <a:lnTo>
                    <a:pt x="441" y="25"/>
                  </a:lnTo>
                  <a:lnTo>
                    <a:pt x="461" y="32"/>
                  </a:lnTo>
                  <a:lnTo>
                    <a:pt x="487" y="10"/>
                  </a:lnTo>
                  <a:lnTo>
                    <a:pt x="473" y="0"/>
                  </a:lnTo>
                  <a:lnTo>
                    <a:pt x="318" y="37"/>
                  </a:lnTo>
                  <a:lnTo>
                    <a:pt x="129" y="79"/>
                  </a:lnTo>
                  <a:lnTo>
                    <a:pt x="43" y="179"/>
                  </a:lnTo>
                  <a:lnTo>
                    <a:pt x="18" y="18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39" name="Freeform 52">
              <a:extLst>
                <a:ext uri="{FF2B5EF4-FFF2-40B4-BE49-F238E27FC236}">
                  <a16:creationId xmlns:a16="http://schemas.microsoft.com/office/drawing/2014/main" id="{2AFF1AE2-F51D-416E-8146-D5FB1E0206BD}"/>
                </a:ext>
              </a:extLst>
            </p:cNvPr>
            <p:cNvSpPr>
              <a:spLocks/>
            </p:cNvSpPr>
            <p:nvPr/>
          </p:nvSpPr>
          <p:spPr bwMode="auto">
            <a:xfrm>
              <a:off x="7449550" y="3270250"/>
              <a:ext cx="147894" cy="182563"/>
            </a:xfrm>
            <a:custGeom>
              <a:avLst/>
              <a:gdLst>
                <a:gd name="T0" fmla="*/ 0 w 72"/>
                <a:gd name="T1" fmla="*/ 5 h 96"/>
                <a:gd name="T2" fmla="*/ 20 w 72"/>
                <a:gd name="T3" fmla="*/ 0 h 96"/>
                <a:gd name="T4" fmla="*/ 66 w 72"/>
                <a:gd name="T5" fmla="*/ 21 h 96"/>
                <a:gd name="T6" fmla="*/ 66 w 72"/>
                <a:gd name="T7" fmla="*/ 42 h 96"/>
                <a:gd name="T8" fmla="*/ 97 w 72"/>
                <a:gd name="T9" fmla="*/ 57 h 96"/>
                <a:gd name="T10" fmla="*/ 99 w 72"/>
                <a:gd name="T11" fmla="*/ 85 h 96"/>
                <a:gd name="T12" fmla="*/ 48 w 72"/>
                <a:gd name="T13" fmla="*/ 96 h 96"/>
                <a:gd name="T14" fmla="*/ 0 w 72"/>
                <a:gd name="T15" fmla="*/ 5 h 9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72"/>
                <a:gd name="T25" fmla="*/ 0 h 96"/>
                <a:gd name="T26" fmla="*/ 72 w 72"/>
                <a:gd name="T27" fmla="*/ 96 h 9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72" h="96">
                  <a:moveTo>
                    <a:pt x="0" y="5"/>
                  </a:moveTo>
                  <a:lnTo>
                    <a:pt x="15" y="0"/>
                  </a:lnTo>
                  <a:lnTo>
                    <a:pt x="48" y="21"/>
                  </a:lnTo>
                  <a:lnTo>
                    <a:pt x="48" y="42"/>
                  </a:lnTo>
                  <a:lnTo>
                    <a:pt x="71" y="57"/>
                  </a:lnTo>
                  <a:lnTo>
                    <a:pt x="72" y="85"/>
                  </a:lnTo>
                  <a:lnTo>
                    <a:pt x="35" y="96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40" name="Freeform 53">
              <a:extLst>
                <a:ext uri="{FF2B5EF4-FFF2-40B4-BE49-F238E27FC236}">
                  <a16:creationId xmlns:a16="http://schemas.microsoft.com/office/drawing/2014/main" id="{F49C6F81-C55F-48BE-BDF3-DB293B7006F6}"/>
                </a:ext>
              </a:extLst>
            </p:cNvPr>
            <p:cNvSpPr>
              <a:spLocks/>
            </p:cNvSpPr>
            <p:nvPr/>
          </p:nvSpPr>
          <p:spPr bwMode="auto">
            <a:xfrm>
              <a:off x="6873453" y="2382838"/>
              <a:ext cx="792778" cy="639762"/>
            </a:xfrm>
            <a:custGeom>
              <a:avLst/>
              <a:gdLst>
                <a:gd name="T0" fmla="*/ 40 w 384"/>
                <a:gd name="T1" fmla="*/ 226 h 336"/>
                <a:gd name="T2" fmla="*/ 92 w 384"/>
                <a:gd name="T3" fmla="*/ 206 h 336"/>
                <a:gd name="T4" fmla="*/ 158 w 384"/>
                <a:gd name="T5" fmla="*/ 201 h 336"/>
                <a:gd name="T6" fmla="*/ 177 w 384"/>
                <a:gd name="T7" fmla="*/ 183 h 336"/>
                <a:gd name="T8" fmla="*/ 198 w 384"/>
                <a:gd name="T9" fmla="*/ 181 h 336"/>
                <a:gd name="T10" fmla="*/ 212 w 384"/>
                <a:gd name="T11" fmla="*/ 162 h 336"/>
                <a:gd name="T12" fmla="*/ 235 w 384"/>
                <a:gd name="T13" fmla="*/ 155 h 336"/>
                <a:gd name="T14" fmla="*/ 225 w 384"/>
                <a:gd name="T15" fmla="*/ 120 h 336"/>
                <a:gd name="T16" fmla="*/ 211 w 384"/>
                <a:gd name="T17" fmla="*/ 111 h 336"/>
                <a:gd name="T18" fmla="*/ 240 w 384"/>
                <a:gd name="T19" fmla="*/ 82 h 336"/>
                <a:gd name="T20" fmla="*/ 258 w 384"/>
                <a:gd name="T21" fmla="*/ 82 h 336"/>
                <a:gd name="T22" fmla="*/ 320 w 384"/>
                <a:gd name="T23" fmla="*/ 22 h 336"/>
                <a:gd name="T24" fmla="*/ 414 w 384"/>
                <a:gd name="T25" fmla="*/ 0 h 336"/>
                <a:gd name="T26" fmla="*/ 425 w 384"/>
                <a:gd name="T27" fmla="*/ 56 h 336"/>
                <a:gd name="T28" fmla="*/ 430 w 384"/>
                <a:gd name="T29" fmla="*/ 54 h 336"/>
                <a:gd name="T30" fmla="*/ 452 w 384"/>
                <a:gd name="T31" fmla="*/ 74 h 336"/>
                <a:gd name="T32" fmla="*/ 453 w 384"/>
                <a:gd name="T33" fmla="*/ 132 h 336"/>
                <a:gd name="T34" fmla="*/ 482 w 384"/>
                <a:gd name="T35" fmla="*/ 179 h 336"/>
                <a:gd name="T36" fmla="*/ 493 w 384"/>
                <a:gd name="T37" fmla="*/ 240 h 336"/>
                <a:gd name="T38" fmla="*/ 495 w 384"/>
                <a:gd name="T39" fmla="*/ 293 h 336"/>
                <a:gd name="T40" fmla="*/ 530 w 384"/>
                <a:gd name="T41" fmla="*/ 310 h 336"/>
                <a:gd name="T42" fmla="*/ 505 w 384"/>
                <a:gd name="T43" fmla="*/ 336 h 336"/>
                <a:gd name="T44" fmla="*/ 444 w 384"/>
                <a:gd name="T45" fmla="*/ 306 h 336"/>
                <a:gd name="T46" fmla="*/ 412 w 384"/>
                <a:gd name="T47" fmla="*/ 308 h 336"/>
                <a:gd name="T48" fmla="*/ 380 w 384"/>
                <a:gd name="T49" fmla="*/ 301 h 336"/>
                <a:gd name="T50" fmla="*/ 381 w 384"/>
                <a:gd name="T51" fmla="*/ 283 h 336"/>
                <a:gd name="T52" fmla="*/ 362 w 384"/>
                <a:gd name="T53" fmla="*/ 277 h 336"/>
                <a:gd name="T54" fmla="*/ 15 w 384"/>
                <a:gd name="T55" fmla="*/ 329 h 336"/>
                <a:gd name="T56" fmla="*/ 0 w 384"/>
                <a:gd name="T57" fmla="*/ 314 h 336"/>
                <a:gd name="T58" fmla="*/ 52 w 384"/>
                <a:gd name="T59" fmla="*/ 254 h 336"/>
                <a:gd name="T60" fmla="*/ 40 w 384"/>
                <a:gd name="T61" fmla="*/ 226 h 3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384"/>
                <a:gd name="T94" fmla="*/ 0 h 336"/>
                <a:gd name="T95" fmla="*/ 384 w 384"/>
                <a:gd name="T96" fmla="*/ 336 h 3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384" h="336">
                  <a:moveTo>
                    <a:pt x="29" y="226"/>
                  </a:moveTo>
                  <a:lnTo>
                    <a:pt x="66" y="206"/>
                  </a:lnTo>
                  <a:lnTo>
                    <a:pt x="115" y="201"/>
                  </a:lnTo>
                  <a:lnTo>
                    <a:pt x="127" y="183"/>
                  </a:lnTo>
                  <a:lnTo>
                    <a:pt x="144" y="181"/>
                  </a:lnTo>
                  <a:lnTo>
                    <a:pt x="154" y="162"/>
                  </a:lnTo>
                  <a:lnTo>
                    <a:pt x="171" y="155"/>
                  </a:lnTo>
                  <a:lnTo>
                    <a:pt x="163" y="120"/>
                  </a:lnTo>
                  <a:lnTo>
                    <a:pt x="153" y="111"/>
                  </a:lnTo>
                  <a:lnTo>
                    <a:pt x="174" y="82"/>
                  </a:lnTo>
                  <a:lnTo>
                    <a:pt x="187" y="82"/>
                  </a:lnTo>
                  <a:lnTo>
                    <a:pt x="232" y="22"/>
                  </a:lnTo>
                  <a:lnTo>
                    <a:pt x="301" y="0"/>
                  </a:lnTo>
                  <a:lnTo>
                    <a:pt x="308" y="56"/>
                  </a:lnTo>
                  <a:lnTo>
                    <a:pt x="312" y="54"/>
                  </a:lnTo>
                  <a:lnTo>
                    <a:pt x="328" y="74"/>
                  </a:lnTo>
                  <a:lnTo>
                    <a:pt x="329" y="132"/>
                  </a:lnTo>
                  <a:lnTo>
                    <a:pt x="350" y="179"/>
                  </a:lnTo>
                  <a:lnTo>
                    <a:pt x="358" y="240"/>
                  </a:lnTo>
                  <a:lnTo>
                    <a:pt x="360" y="293"/>
                  </a:lnTo>
                  <a:lnTo>
                    <a:pt x="384" y="310"/>
                  </a:lnTo>
                  <a:lnTo>
                    <a:pt x="366" y="336"/>
                  </a:lnTo>
                  <a:lnTo>
                    <a:pt x="322" y="306"/>
                  </a:lnTo>
                  <a:lnTo>
                    <a:pt x="299" y="308"/>
                  </a:lnTo>
                  <a:lnTo>
                    <a:pt x="276" y="301"/>
                  </a:lnTo>
                  <a:lnTo>
                    <a:pt x="277" y="283"/>
                  </a:lnTo>
                  <a:lnTo>
                    <a:pt x="262" y="277"/>
                  </a:lnTo>
                  <a:lnTo>
                    <a:pt x="11" y="329"/>
                  </a:lnTo>
                  <a:lnTo>
                    <a:pt x="0" y="314"/>
                  </a:lnTo>
                  <a:lnTo>
                    <a:pt x="38" y="254"/>
                  </a:lnTo>
                  <a:lnTo>
                    <a:pt x="29" y="22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41" name="Freeform 54">
              <a:extLst>
                <a:ext uri="{FF2B5EF4-FFF2-40B4-BE49-F238E27FC236}">
                  <a16:creationId xmlns:a16="http://schemas.microsoft.com/office/drawing/2014/main" id="{36BBFDC9-F535-4D1B-BBDB-5236FC3A8C38}"/>
                </a:ext>
              </a:extLst>
            </p:cNvPr>
            <p:cNvSpPr>
              <a:spLocks/>
            </p:cNvSpPr>
            <p:nvPr/>
          </p:nvSpPr>
          <p:spPr bwMode="auto">
            <a:xfrm>
              <a:off x="7647316" y="2919413"/>
              <a:ext cx="230439" cy="138112"/>
            </a:xfrm>
            <a:custGeom>
              <a:avLst/>
              <a:gdLst>
                <a:gd name="T0" fmla="*/ 0 w 112"/>
                <a:gd name="T1" fmla="*/ 53 h 72"/>
                <a:gd name="T2" fmla="*/ 63 w 112"/>
                <a:gd name="T3" fmla="*/ 30 h 72"/>
                <a:gd name="T4" fmla="*/ 124 w 112"/>
                <a:gd name="T5" fmla="*/ 0 h 72"/>
                <a:gd name="T6" fmla="*/ 135 w 112"/>
                <a:gd name="T7" fmla="*/ 1 h 72"/>
                <a:gd name="T8" fmla="*/ 153 w 112"/>
                <a:gd name="T9" fmla="*/ 3 h 72"/>
                <a:gd name="T10" fmla="*/ 92 w 112"/>
                <a:gd name="T11" fmla="*/ 40 h 72"/>
                <a:gd name="T12" fmla="*/ 17 w 112"/>
                <a:gd name="T13" fmla="*/ 72 h 72"/>
                <a:gd name="T14" fmla="*/ 0 w 112"/>
                <a:gd name="T15" fmla="*/ 53 h 7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12"/>
                <a:gd name="T25" fmla="*/ 0 h 72"/>
                <a:gd name="T26" fmla="*/ 112 w 112"/>
                <a:gd name="T27" fmla="*/ 72 h 7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12" h="72">
                  <a:moveTo>
                    <a:pt x="0" y="53"/>
                  </a:moveTo>
                  <a:lnTo>
                    <a:pt x="46" y="30"/>
                  </a:lnTo>
                  <a:lnTo>
                    <a:pt x="91" y="0"/>
                  </a:lnTo>
                  <a:lnTo>
                    <a:pt x="99" y="1"/>
                  </a:lnTo>
                  <a:lnTo>
                    <a:pt x="112" y="3"/>
                  </a:lnTo>
                  <a:lnTo>
                    <a:pt x="68" y="40"/>
                  </a:lnTo>
                  <a:lnTo>
                    <a:pt x="13" y="72"/>
                  </a:lnTo>
                  <a:lnTo>
                    <a:pt x="0" y="53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42" name="Freeform 55">
              <a:extLst>
                <a:ext uri="{FF2B5EF4-FFF2-40B4-BE49-F238E27FC236}">
                  <a16:creationId xmlns:a16="http://schemas.microsoft.com/office/drawing/2014/main" id="{BD841423-1244-4055-9F44-D74FC02AE1E9}"/>
                </a:ext>
              </a:extLst>
            </p:cNvPr>
            <p:cNvSpPr>
              <a:spLocks/>
            </p:cNvSpPr>
            <p:nvPr/>
          </p:nvSpPr>
          <p:spPr bwMode="auto">
            <a:xfrm>
              <a:off x="7535535" y="3517900"/>
              <a:ext cx="63629" cy="109538"/>
            </a:xfrm>
            <a:custGeom>
              <a:avLst/>
              <a:gdLst>
                <a:gd name="T0" fmla="*/ 0 w 31"/>
                <a:gd name="T1" fmla="*/ 5 h 57"/>
                <a:gd name="T2" fmla="*/ 45 w 31"/>
                <a:gd name="T3" fmla="*/ 0 h 57"/>
                <a:gd name="T4" fmla="*/ 20 w 31"/>
                <a:gd name="T5" fmla="*/ 57 h 57"/>
                <a:gd name="T6" fmla="*/ 2 w 31"/>
                <a:gd name="T7" fmla="*/ 55 h 57"/>
                <a:gd name="T8" fmla="*/ 0 w 31"/>
                <a:gd name="T9" fmla="*/ 5 h 5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1"/>
                <a:gd name="T16" fmla="*/ 0 h 57"/>
                <a:gd name="T17" fmla="*/ 31 w 31"/>
                <a:gd name="T18" fmla="*/ 57 h 5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1" h="57">
                  <a:moveTo>
                    <a:pt x="0" y="5"/>
                  </a:moveTo>
                  <a:lnTo>
                    <a:pt x="31" y="0"/>
                  </a:lnTo>
                  <a:lnTo>
                    <a:pt x="14" y="57"/>
                  </a:lnTo>
                  <a:lnTo>
                    <a:pt x="2" y="55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43" name="Freeform 5">
              <a:extLst>
                <a:ext uri="{FF2B5EF4-FFF2-40B4-BE49-F238E27FC236}">
                  <a16:creationId xmlns:a16="http://schemas.microsoft.com/office/drawing/2014/main" id="{51E08425-1167-4E8F-BD25-59F4B19A911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9626" y="4129088"/>
              <a:ext cx="1745489" cy="1604962"/>
            </a:xfrm>
            <a:custGeom>
              <a:avLst/>
              <a:gdLst>
                <a:gd name="T0" fmla="*/ 337 w 846"/>
                <a:gd name="T1" fmla="*/ 0 h 842"/>
                <a:gd name="T2" fmla="*/ 594 w 846"/>
                <a:gd name="T3" fmla="*/ 7 h 842"/>
                <a:gd name="T4" fmla="*/ 594 w 846"/>
                <a:gd name="T5" fmla="*/ 160 h 842"/>
                <a:gd name="T6" fmla="*/ 724 w 846"/>
                <a:gd name="T7" fmla="*/ 202 h 842"/>
                <a:gd name="T8" fmla="*/ 761 w 846"/>
                <a:gd name="T9" fmla="*/ 188 h 842"/>
                <a:gd name="T10" fmla="*/ 847 w 846"/>
                <a:gd name="T11" fmla="*/ 221 h 842"/>
                <a:gd name="T12" fmla="*/ 897 w 846"/>
                <a:gd name="T13" fmla="*/ 219 h 842"/>
                <a:gd name="T14" fmla="*/ 996 w 846"/>
                <a:gd name="T15" fmla="*/ 186 h 842"/>
                <a:gd name="T16" fmla="*/ 1054 w 846"/>
                <a:gd name="T17" fmla="*/ 218 h 842"/>
                <a:gd name="T18" fmla="*/ 1103 w 846"/>
                <a:gd name="T19" fmla="*/ 226 h 842"/>
                <a:gd name="T20" fmla="*/ 1103 w 846"/>
                <a:gd name="T21" fmla="*/ 350 h 842"/>
                <a:gd name="T22" fmla="*/ 1163 w 846"/>
                <a:gd name="T23" fmla="*/ 428 h 842"/>
                <a:gd name="T24" fmla="*/ 1149 w 846"/>
                <a:gd name="T25" fmla="*/ 534 h 842"/>
                <a:gd name="T26" fmla="*/ 1086 w 846"/>
                <a:gd name="T27" fmla="*/ 576 h 842"/>
                <a:gd name="T28" fmla="*/ 1073 w 846"/>
                <a:gd name="T29" fmla="*/ 537 h 842"/>
                <a:gd name="T30" fmla="*/ 1054 w 846"/>
                <a:gd name="T31" fmla="*/ 555 h 842"/>
                <a:gd name="T32" fmla="*/ 1068 w 846"/>
                <a:gd name="T33" fmla="*/ 580 h 842"/>
                <a:gd name="T34" fmla="*/ 955 w 846"/>
                <a:gd name="T35" fmla="*/ 643 h 842"/>
                <a:gd name="T36" fmla="*/ 927 w 846"/>
                <a:gd name="T37" fmla="*/ 647 h 842"/>
                <a:gd name="T38" fmla="*/ 868 w 846"/>
                <a:gd name="T39" fmla="*/ 678 h 842"/>
                <a:gd name="T40" fmla="*/ 868 w 846"/>
                <a:gd name="T41" fmla="*/ 696 h 842"/>
                <a:gd name="T42" fmla="*/ 850 w 846"/>
                <a:gd name="T43" fmla="*/ 700 h 842"/>
                <a:gd name="T44" fmla="*/ 864 w 846"/>
                <a:gd name="T45" fmla="*/ 721 h 842"/>
                <a:gd name="T46" fmla="*/ 833 w 846"/>
                <a:gd name="T47" fmla="*/ 752 h 842"/>
                <a:gd name="T48" fmla="*/ 850 w 846"/>
                <a:gd name="T49" fmla="*/ 798 h 842"/>
                <a:gd name="T50" fmla="*/ 868 w 846"/>
                <a:gd name="T51" fmla="*/ 814 h 842"/>
                <a:gd name="T52" fmla="*/ 864 w 846"/>
                <a:gd name="T53" fmla="*/ 842 h 842"/>
                <a:gd name="T54" fmla="*/ 819 w 846"/>
                <a:gd name="T55" fmla="*/ 842 h 842"/>
                <a:gd name="T56" fmla="*/ 780 w 846"/>
                <a:gd name="T57" fmla="*/ 828 h 842"/>
                <a:gd name="T58" fmla="*/ 751 w 846"/>
                <a:gd name="T59" fmla="*/ 831 h 842"/>
                <a:gd name="T60" fmla="*/ 662 w 846"/>
                <a:gd name="T61" fmla="*/ 807 h 842"/>
                <a:gd name="T62" fmla="*/ 620 w 846"/>
                <a:gd name="T63" fmla="*/ 710 h 842"/>
                <a:gd name="T64" fmla="*/ 558 w 846"/>
                <a:gd name="T65" fmla="*/ 664 h 842"/>
                <a:gd name="T66" fmla="*/ 501 w 846"/>
                <a:gd name="T67" fmla="*/ 580 h 842"/>
                <a:gd name="T68" fmla="*/ 477 w 846"/>
                <a:gd name="T69" fmla="*/ 571 h 842"/>
                <a:gd name="T70" fmla="*/ 447 w 846"/>
                <a:gd name="T71" fmla="*/ 550 h 842"/>
                <a:gd name="T72" fmla="*/ 417 w 846"/>
                <a:gd name="T73" fmla="*/ 550 h 842"/>
                <a:gd name="T74" fmla="*/ 374 w 846"/>
                <a:gd name="T75" fmla="*/ 543 h 842"/>
                <a:gd name="T76" fmla="*/ 341 w 846"/>
                <a:gd name="T77" fmla="*/ 550 h 842"/>
                <a:gd name="T78" fmla="*/ 319 w 846"/>
                <a:gd name="T79" fmla="*/ 593 h 842"/>
                <a:gd name="T80" fmla="*/ 285 w 846"/>
                <a:gd name="T81" fmla="*/ 600 h 842"/>
                <a:gd name="T82" fmla="*/ 211 w 846"/>
                <a:gd name="T83" fmla="*/ 567 h 842"/>
                <a:gd name="T84" fmla="*/ 167 w 846"/>
                <a:gd name="T85" fmla="*/ 527 h 842"/>
                <a:gd name="T86" fmla="*/ 159 w 846"/>
                <a:gd name="T87" fmla="*/ 479 h 842"/>
                <a:gd name="T88" fmla="*/ 128 w 846"/>
                <a:gd name="T89" fmla="*/ 446 h 842"/>
                <a:gd name="T90" fmla="*/ 53 w 846"/>
                <a:gd name="T91" fmla="*/ 400 h 842"/>
                <a:gd name="T92" fmla="*/ 0 w 846"/>
                <a:gd name="T93" fmla="*/ 352 h 842"/>
                <a:gd name="T94" fmla="*/ 0 w 846"/>
                <a:gd name="T95" fmla="*/ 332 h 842"/>
                <a:gd name="T96" fmla="*/ 176 w 846"/>
                <a:gd name="T97" fmla="*/ 333 h 842"/>
                <a:gd name="T98" fmla="*/ 319 w 846"/>
                <a:gd name="T99" fmla="*/ 342 h 842"/>
                <a:gd name="T100" fmla="*/ 337 w 846"/>
                <a:gd name="T101" fmla="*/ 0 h 84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46"/>
                <a:gd name="T154" fmla="*/ 0 h 842"/>
                <a:gd name="T155" fmla="*/ 846 w 846"/>
                <a:gd name="T156" fmla="*/ 842 h 84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46" h="842">
                  <a:moveTo>
                    <a:pt x="245" y="0"/>
                  </a:moveTo>
                  <a:lnTo>
                    <a:pt x="432" y="7"/>
                  </a:lnTo>
                  <a:lnTo>
                    <a:pt x="432" y="160"/>
                  </a:lnTo>
                  <a:lnTo>
                    <a:pt x="527" y="202"/>
                  </a:lnTo>
                  <a:lnTo>
                    <a:pt x="553" y="188"/>
                  </a:lnTo>
                  <a:lnTo>
                    <a:pt x="616" y="221"/>
                  </a:lnTo>
                  <a:lnTo>
                    <a:pt x="653" y="219"/>
                  </a:lnTo>
                  <a:lnTo>
                    <a:pt x="725" y="186"/>
                  </a:lnTo>
                  <a:lnTo>
                    <a:pt x="767" y="218"/>
                  </a:lnTo>
                  <a:lnTo>
                    <a:pt x="803" y="226"/>
                  </a:lnTo>
                  <a:lnTo>
                    <a:pt x="803" y="350"/>
                  </a:lnTo>
                  <a:lnTo>
                    <a:pt x="846" y="428"/>
                  </a:lnTo>
                  <a:lnTo>
                    <a:pt x="836" y="534"/>
                  </a:lnTo>
                  <a:lnTo>
                    <a:pt x="790" y="576"/>
                  </a:lnTo>
                  <a:lnTo>
                    <a:pt x="780" y="537"/>
                  </a:lnTo>
                  <a:lnTo>
                    <a:pt x="767" y="555"/>
                  </a:lnTo>
                  <a:lnTo>
                    <a:pt x="777" y="580"/>
                  </a:lnTo>
                  <a:lnTo>
                    <a:pt x="695" y="643"/>
                  </a:lnTo>
                  <a:lnTo>
                    <a:pt x="675" y="647"/>
                  </a:lnTo>
                  <a:lnTo>
                    <a:pt x="632" y="678"/>
                  </a:lnTo>
                  <a:lnTo>
                    <a:pt x="632" y="696"/>
                  </a:lnTo>
                  <a:lnTo>
                    <a:pt x="619" y="700"/>
                  </a:lnTo>
                  <a:lnTo>
                    <a:pt x="629" y="721"/>
                  </a:lnTo>
                  <a:lnTo>
                    <a:pt x="606" y="752"/>
                  </a:lnTo>
                  <a:lnTo>
                    <a:pt x="619" y="798"/>
                  </a:lnTo>
                  <a:lnTo>
                    <a:pt x="632" y="814"/>
                  </a:lnTo>
                  <a:lnTo>
                    <a:pt x="629" y="842"/>
                  </a:lnTo>
                  <a:lnTo>
                    <a:pt x="596" y="842"/>
                  </a:lnTo>
                  <a:lnTo>
                    <a:pt x="567" y="828"/>
                  </a:lnTo>
                  <a:lnTo>
                    <a:pt x="547" y="831"/>
                  </a:lnTo>
                  <a:lnTo>
                    <a:pt x="481" y="807"/>
                  </a:lnTo>
                  <a:lnTo>
                    <a:pt x="452" y="710"/>
                  </a:lnTo>
                  <a:lnTo>
                    <a:pt x="406" y="664"/>
                  </a:lnTo>
                  <a:lnTo>
                    <a:pt x="365" y="580"/>
                  </a:lnTo>
                  <a:lnTo>
                    <a:pt x="347" y="571"/>
                  </a:lnTo>
                  <a:lnTo>
                    <a:pt x="325" y="550"/>
                  </a:lnTo>
                  <a:lnTo>
                    <a:pt x="304" y="550"/>
                  </a:lnTo>
                  <a:lnTo>
                    <a:pt x="272" y="543"/>
                  </a:lnTo>
                  <a:lnTo>
                    <a:pt x="248" y="550"/>
                  </a:lnTo>
                  <a:lnTo>
                    <a:pt x="232" y="593"/>
                  </a:lnTo>
                  <a:lnTo>
                    <a:pt x="207" y="600"/>
                  </a:lnTo>
                  <a:lnTo>
                    <a:pt x="153" y="567"/>
                  </a:lnTo>
                  <a:lnTo>
                    <a:pt x="121" y="527"/>
                  </a:lnTo>
                  <a:lnTo>
                    <a:pt x="116" y="479"/>
                  </a:lnTo>
                  <a:lnTo>
                    <a:pt x="93" y="446"/>
                  </a:lnTo>
                  <a:lnTo>
                    <a:pt x="39" y="400"/>
                  </a:lnTo>
                  <a:lnTo>
                    <a:pt x="0" y="352"/>
                  </a:lnTo>
                  <a:lnTo>
                    <a:pt x="0" y="332"/>
                  </a:lnTo>
                  <a:lnTo>
                    <a:pt x="128" y="333"/>
                  </a:lnTo>
                  <a:lnTo>
                    <a:pt x="232" y="342"/>
                  </a:lnTo>
                  <a:lnTo>
                    <a:pt x="245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</p:grpSp>
      <p:sp>
        <p:nvSpPr>
          <p:cNvPr id="64" name="Text Placeholder 63">
            <a:extLst>
              <a:ext uri="{FF2B5EF4-FFF2-40B4-BE49-F238E27FC236}">
                <a16:creationId xmlns:a16="http://schemas.microsoft.com/office/drawing/2014/main" id="{6A78AED2-D80F-486D-9A5F-7BE35FD8D64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87759" y="2363006"/>
            <a:ext cx="407089" cy="491402"/>
          </a:xfrm>
          <a:custGeom>
            <a:avLst/>
            <a:gdLst>
              <a:gd name="connsiteX0" fmla="*/ 197521 w 395043"/>
              <a:gd name="connsiteY0" fmla="*/ 127878 h 476860"/>
              <a:gd name="connsiteX1" fmla="*/ 134426 w 395043"/>
              <a:gd name="connsiteY1" fmla="*/ 190974 h 476860"/>
              <a:gd name="connsiteX2" fmla="*/ 197521 w 395043"/>
              <a:gd name="connsiteY2" fmla="*/ 254069 h 476860"/>
              <a:gd name="connsiteX3" fmla="*/ 260616 w 395043"/>
              <a:gd name="connsiteY3" fmla="*/ 190974 h 476860"/>
              <a:gd name="connsiteX4" fmla="*/ 197521 w 395043"/>
              <a:gd name="connsiteY4" fmla="*/ 127878 h 476860"/>
              <a:gd name="connsiteX5" fmla="*/ 197522 w 395043"/>
              <a:gd name="connsiteY5" fmla="*/ 0 h 476860"/>
              <a:gd name="connsiteX6" fmla="*/ 337191 w 395043"/>
              <a:gd name="connsiteY6" fmla="*/ 57853 h 476860"/>
              <a:gd name="connsiteX7" fmla="*/ 337191 w 395043"/>
              <a:gd name="connsiteY7" fmla="*/ 57854 h 476860"/>
              <a:gd name="connsiteX8" fmla="*/ 337191 w 395043"/>
              <a:gd name="connsiteY8" fmla="*/ 337192 h 476860"/>
              <a:gd name="connsiteX9" fmla="*/ 197522 w 395043"/>
              <a:gd name="connsiteY9" fmla="*/ 476860 h 476860"/>
              <a:gd name="connsiteX10" fmla="*/ 57853 w 395043"/>
              <a:gd name="connsiteY10" fmla="*/ 337191 h 476860"/>
              <a:gd name="connsiteX11" fmla="*/ 57853 w 395043"/>
              <a:gd name="connsiteY11" fmla="*/ 57853 h 476860"/>
              <a:gd name="connsiteX12" fmla="*/ 197522 w 395043"/>
              <a:gd name="connsiteY12" fmla="*/ 0 h 4768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95043" h="476860">
                <a:moveTo>
                  <a:pt x="197521" y="127878"/>
                </a:moveTo>
                <a:cubicBezTo>
                  <a:pt x="162675" y="127878"/>
                  <a:pt x="134426" y="156127"/>
                  <a:pt x="134426" y="190974"/>
                </a:cubicBezTo>
                <a:cubicBezTo>
                  <a:pt x="134427" y="225819"/>
                  <a:pt x="162676" y="254068"/>
                  <a:pt x="197521" y="254069"/>
                </a:cubicBezTo>
                <a:cubicBezTo>
                  <a:pt x="232368" y="254069"/>
                  <a:pt x="260616" y="225820"/>
                  <a:pt x="260616" y="190974"/>
                </a:cubicBezTo>
                <a:cubicBezTo>
                  <a:pt x="260616" y="156127"/>
                  <a:pt x="232368" y="127878"/>
                  <a:pt x="197521" y="127878"/>
                </a:cubicBezTo>
                <a:close/>
                <a:moveTo>
                  <a:pt x="197522" y="0"/>
                </a:moveTo>
                <a:cubicBezTo>
                  <a:pt x="248073" y="0"/>
                  <a:pt x="298623" y="19285"/>
                  <a:pt x="337191" y="57853"/>
                </a:cubicBezTo>
                <a:lnTo>
                  <a:pt x="337191" y="57854"/>
                </a:lnTo>
                <a:cubicBezTo>
                  <a:pt x="414327" y="134991"/>
                  <a:pt x="414327" y="260055"/>
                  <a:pt x="337191" y="337192"/>
                </a:cubicBezTo>
                <a:lnTo>
                  <a:pt x="197522" y="476860"/>
                </a:lnTo>
                <a:lnTo>
                  <a:pt x="57853" y="337191"/>
                </a:lnTo>
                <a:cubicBezTo>
                  <a:pt x="-19284" y="260054"/>
                  <a:pt x="-19284" y="134990"/>
                  <a:pt x="57853" y="57853"/>
                </a:cubicBezTo>
                <a:cubicBezTo>
                  <a:pt x="96421" y="19285"/>
                  <a:pt x="146971" y="0"/>
                  <a:pt x="197522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none" lIns="0" rIns="731520" anchor="ctr" anchorCtr="0">
            <a:noAutofit/>
          </a:bodyPr>
          <a:lstStyle>
            <a:lvl1pPr algn="r">
              <a:defRPr sz="2400" b="1"/>
            </a:lvl1pPr>
          </a:lstStyle>
          <a:p>
            <a:pPr lvl="0"/>
            <a:r>
              <a:rPr lang="en-US" dirty="0"/>
              <a:t>New York HQ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120C356-CC85-4EB7-916E-AEFBD416DC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372293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orld Ma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2" name="Group 201">
            <a:extLst>
              <a:ext uri="{FF2B5EF4-FFF2-40B4-BE49-F238E27FC236}">
                <a16:creationId xmlns:a16="http://schemas.microsoft.com/office/drawing/2014/main" id="{2DDE1C8B-2964-4902-841B-E8E86E5D5DF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51231" y="1258518"/>
            <a:ext cx="10363229" cy="5111535"/>
            <a:chOff x="2235200" y="1676289"/>
            <a:chExt cx="8248805" cy="4068623"/>
          </a:xfrm>
          <a:solidFill>
            <a:schemeClr val="bg2"/>
          </a:solidFill>
        </p:grpSpPr>
        <p:sp>
          <p:nvSpPr>
            <p:cNvPr id="203" name="Freeform 107">
              <a:extLst>
                <a:ext uri="{FF2B5EF4-FFF2-40B4-BE49-F238E27FC236}">
                  <a16:creationId xmlns:a16="http://schemas.microsoft.com/office/drawing/2014/main" id="{8BE6A7DE-2B2A-4DE3-859A-5952560809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98108" y="4184703"/>
              <a:ext cx="914123" cy="931166"/>
            </a:xfrm>
            <a:custGeom>
              <a:avLst/>
              <a:gdLst>
                <a:gd name="T0" fmla="*/ 181 w 321"/>
                <a:gd name="T1" fmla="*/ 304 h 327"/>
                <a:gd name="T2" fmla="*/ 186 w 321"/>
                <a:gd name="T3" fmla="*/ 305 h 327"/>
                <a:gd name="T4" fmla="*/ 206 w 321"/>
                <a:gd name="T5" fmla="*/ 269 h 327"/>
                <a:gd name="T6" fmla="*/ 219 w 321"/>
                <a:gd name="T7" fmla="*/ 244 h 327"/>
                <a:gd name="T8" fmla="*/ 240 w 321"/>
                <a:gd name="T9" fmla="*/ 232 h 327"/>
                <a:gd name="T10" fmla="*/ 265 w 321"/>
                <a:gd name="T11" fmla="*/ 225 h 327"/>
                <a:gd name="T12" fmla="*/ 275 w 321"/>
                <a:gd name="T13" fmla="*/ 206 h 327"/>
                <a:gd name="T14" fmla="*/ 284 w 321"/>
                <a:gd name="T15" fmla="*/ 187 h 327"/>
                <a:gd name="T16" fmla="*/ 286 w 321"/>
                <a:gd name="T17" fmla="*/ 150 h 327"/>
                <a:gd name="T18" fmla="*/ 292 w 321"/>
                <a:gd name="T19" fmla="*/ 146 h 327"/>
                <a:gd name="T20" fmla="*/ 318 w 321"/>
                <a:gd name="T21" fmla="*/ 112 h 327"/>
                <a:gd name="T22" fmla="*/ 290 w 321"/>
                <a:gd name="T23" fmla="*/ 73 h 327"/>
                <a:gd name="T24" fmla="*/ 240 w 321"/>
                <a:gd name="T25" fmla="*/ 68 h 327"/>
                <a:gd name="T26" fmla="*/ 211 w 321"/>
                <a:gd name="T27" fmla="*/ 52 h 327"/>
                <a:gd name="T28" fmla="*/ 208 w 321"/>
                <a:gd name="T29" fmla="*/ 47 h 327"/>
                <a:gd name="T30" fmla="*/ 189 w 321"/>
                <a:gd name="T31" fmla="*/ 42 h 327"/>
                <a:gd name="T32" fmla="*/ 184 w 321"/>
                <a:gd name="T33" fmla="*/ 8 h 327"/>
                <a:gd name="T34" fmla="*/ 158 w 321"/>
                <a:gd name="T35" fmla="*/ 22 h 327"/>
                <a:gd name="T36" fmla="*/ 136 w 321"/>
                <a:gd name="T37" fmla="*/ 27 h 327"/>
                <a:gd name="T38" fmla="*/ 118 w 321"/>
                <a:gd name="T39" fmla="*/ 28 h 327"/>
                <a:gd name="T40" fmla="*/ 112 w 321"/>
                <a:gd name="T41" fmla="*/ 0 h 327"/>
                <a:gd name="T42" fmla="*/ 92 w 321"/>
                <a:gd name="T43" fmla="*/ 12 h 327"/>
                <a:gd name="T44" fmla="*/ 76 w 321"/>
                <a:gd name="T45" fmla="*/ 10 h 327"/>
                <a:gd name="T46" fmla="*/ 86 w 321"/>
                <a:gd name="T47" fmla="*/ 22 h 327"/>
                <a:gd name="T48" fmla="*/ 75 w 321"/>
                <a:gd name="T49" fmla="*/ 32 h 327"/>
                <a:gd name="T50" fmla="*/ 60 w 321"/>
                <a:gd name="T51" fmla="*/ 34 h 327"/>
                <a:gd name="T52" fmla="*/ 34 w 321"/>
                <a:gd name="T53" fmla="*/ 29 h 327"/>
                <a:gd name="T54" fmla="*/ 32 w 321"/>
                <a:gd name="T55" fmla="*/ 41 h 327"/>
                <a:gd name="T56" fmla="*/ 33 w 321"/>
                <a:gd name="T57" fmla="*/ 76 h 327"/>
                <a:gd name="T58" fmla="*/ 9 w 321"/>
                <a:gd name="T59" fmla="*/ 85 h 327"/>
                <a:gd name="T60" fmla="*/ 2 w 321"/>
                <a:gd name="T61" fmla="*/ 102 h 327"/>
                <a:gd name="T62" fmla="*/ 11 w 321"/>
                <a:gd name="T63" fmla="*/ 119 h 327"/>
                <a:gd name="T64" fmla="*/ 28 w 321"/>
                <a:gd name="T65" fmla="*/ 122 h 327"/>
                <a:gd name="T66" fmla="*/ 47 w 321"/>
                <a:gd name="T67" fmla="*/ 131 h 327"/>
                <a:gd name="T68" fmla="*/ 71 w 321"/>
                <a:gd name="T69" fmla="*/ 123 h 327"/>
                <a:gd name="T70" fmla="*/ 89 w 321"/>
                <a:gd name="T71" fmla="*/ 146 h 327"/>
                <a:gd name="T72" fmla="*/ 107 w 321"/>
                <a:gd name="T73" fmla="*/ 154 h 327"/>
                <a:gd name="T74" fmla="*/ 113 w 321"/>
                <a:gd name="T75" fmla="*/ 172 h 327"/>
                <a:gd name="T76" fmla="*/ 133 w 321"/>
                <a:gd name="T77" fmla="*/ 188 h 327"/>
                <a:gd name="T78" fmla="*/ 130 w 321"/>
                <a:gd name="T79" fmla="*/ 208 h 327"/>
                <a:gd name="T80" fmla="*/ 142 w 321"/>
                <a:gd name="T81" fmla="*/ 225 h 327"/>
                <a:gd name="T82" fmla="*/ 159 w 321"/>
                <a:gd name="T83" fmla="*/ 240 h 327"/>
                <a:gd name="T84" fmla="*/ 165 w 321"/>
                <a:gd name="T85" fmla="*/ 267 h 327"/>
                <a:gd name="T86" fmla="*/ 134 w 321"/>
                <a:gd name="T87" fmla="*/ 295 h 327"/>
                <a:gd name="T88" fmla="*/ 147 w 321"/>
                <a:gd name="T89" fmla="*/ 303 h 327"/>
                <a:gd name="T90" fmla="*/ 166 w 321"/>
                <a:gd name="T91" fmla="*/ 315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1" h="327">
                  <a:moveTo>
                    <a:pt x="170" y="324"/>
                  </a:moveTo>
                  <a:cubicBezTo>
                    <a:pt x="175" y="320"/>
                    <a:pt x="174" y="318"/>
                    <a:pt x="176" y="314"/>
                  </a:cubicBezTo>
                  <a:cubicBezTo>
                    <a:pt x="179" y="309"/>
                    <a:pt x="177" y="307"/>
                    <a:pt x="181" y="304"/>
                  </a:cubicBezTo>
                  <a:cubicBezTo>
                    <a:pt x="185" y="300"/>
                    <a:pt x="180" y="297"/>
                    <a:pt x="185" y="295"/>
                  </a:cubicBezTo>
                  <a:cubicBezTo>
                    <a:pt x="190" y="293"/>
                    <a:pt x="189" y="297"/>
                    <a:pt x="185" y="302"/>
                  </a:cubicBezTo>
                  <a:cubicBezTo>
                    <a:pt x="181" y="308"/>
                    <a:pt x="180" y="309"/>
                    <a:pt x="186" y="305"/>
                  </a:cubicBezTo>
                  <a:cubicBezTo>
                    <a:pt x="191" y="301"/>
                    <a:pt x="193" y="296"/>
                    <a:pt x="196" y="289"/>
                  </a:cubicBezTo>
                  <a:cubicBezTo>
                    <a:pt x="199" y="283"/>
                    <a:pt x="201" y="281"/>
                    <a:pt x="204" y="281"/>
                  </a:cubicBezTo>
                  <a:cubicBezTo>
                    <a:pt x="207" y="281"/>
                    <a:pt x="207" y="274"/>
                    <a:pt x="206" y="269"/>
                  </a:cubicBezTo>
                  <a:cubicBezTo>
                    <a:pt x="206" y="265"/>
                    <a:pt x="204" y="260"/>
                    <a:pt x="206" y="257"/>
                  </a:cubicBezTo>
                  <a:cubicBezTo>
                    <a:pt x="208" y="254"/>
                    <a:pt x="206" y="251"/>
                    <a:pt x="209" y="251"/>
                  </a:cubicBezTo>
                  <a:cubicBezTo>
                    <a:pt x="211" y="251"/>
                    <a:pt x="215" y="248"/>
                    <a:pt x="219" y="244"/>
                  </a:cubicBezTo>
                  <a:cubicBezTo>
                    <a:pt x="223" y="240"/>
                    <a:pt x="226" y="240"/>
                    <a:pt x="230" y="239"/>
                  </a:cubicBezTo>
                  <a:cubicBezTo>
                    <a:pt x="234" y="239"/>
                    <a:pt x="231" y="237"/>
                    <a:pt x="234" y="237"/>
                  </a:cubicBezTo>
                  <a:cubicBezTo>
                    <a:pt x="237" y="236"/>
                    <a:pt x="239" y="233"/>
                    <a:pt x="240" y="232"/>
                  </a:cubicBezTo>
                  <a:cubicBezTo>
                    <a:pt x="242" y="230"/>
                    <a:pt x="249" y="232"/>
                    <a:pt x="254" y="232"/>
                  </a:cubicBezTo>
                  <a:cubicBezTo>
                    <a:pt x="258" y="232"/>
                    <a:pt x="261" y="232"/>
                    <a:pt x="261" y="230"/>
                  </a:cubicBezTo>
                  <a:cubicBezTo>
                    <a:pt x="261" y="227"/>
                    <a:pt x="263" y="225"/>
                    <a:pt x="265" y="225"/>
                  </a:cubicBezTo>
                  <a:cubicBezTo>
                    <a:pt x="268" y="225"/>
                    <a:pt x="269" y="224"/>
                    <a:pt x="269" y="221"/>
                  </a:cubicBezTo>
                  <a:cubicBezTo>
                    <a:pt x="269" y="217"/>
                    <a:pt x="270" y="215"/>
                    <a:pt x="272" y="213"/>
                  </a:cubicBezTo>
                  <a:cubicBezTo>
                    <a:pt x="274" y="212"/>
                    <a:pt x="275" y="208"/>
                    <a:pt x="275" y="206"/>
                  </a:cubicBezTo>
                  <a:cubicBezTo>
                    <a:pt x="276" y="203"/>
                    <a:pt x="278" y="205"/>
                    <a:pt x="278" y="202"/>
                  </a:cubicBezTo>
                  <a:cubicBezTo>
                    <a:pt x="278" y="198"/>
                    <a:pt x="280" y="194"/>
                    <a:pt x="280" y="192"/>
                  </a:cubicBezTo>
                  <a:cubicBezTo>
                    <a:pt x="280" y="189"/>
                    <a:pt x="282" y="189"/>
                    <a:pt x="284" y="187"/>
                  </a:cubicBezTo>
                  <a:cubicBezTo>
                    <a:pt x="285" y="185"/>
                    <a:pt x="283" y="183"/>
                    <a:pt x="285" y="177"/>
                  </a:cubicBezTo>
                  <a:cubicBezTo>
                    <a:pt x="287" y="172"/>
                    <a:pt x="285" y="167"/>
                    <a:pt x="285" y="162"/>
                  </a:cubicBezTo>
                  <a:cubicBezTo>
                    <a:pt x="285" y="157"/>
                    <a:pt x="285" y="152"/>
                    <a:pt x="286" y="150"/>
                  </a:cubicBezTo>
                  <a:cubicBezTo>
                    <a:pt x="288" y="148"/>
                    <a:pt x="287" y="147"/>
                    <a:pt x="286" y="147"/>
                  </a:cubicBezTo>
                  <a:cubicBezTo>
                    <a:pt x="284" y="146"/>
                    <a:pt x="286" y="144"/>
                    <a:pt x="287" y="144"/>
                  </a:cubicBezTo>
                  <a:cubicBezTo>
                    <a:pt x="288" y="145"/>
                    <a:pt x="290" y="147"/>
                    <a:pt x="292" y="146"/>
                  </a:cubicBezTo>
                  <a:cubicBezTo>
                    <a:pt x="295" y="145"/>
                    <a:pt x="297" y="139"/>
                    <a:pt x="299" y="134"/>
                  </a:cubicBezTo>
                  <a:cubicBezTo>
                    <a:pt x="301" y="129"/>
                    <a:pt x="304" y="129"/>
                    <a:pt x="306" y="128"/>
                  </a:cubicBezTo>
                  <a:cubicBezTo>
                    <a:pt x="309" y="127"/>
                    <a:pt x="314" y="121"/>
                    <a:pt x="318" y="112"/>
                  </a:cubicBezTo>
                  <a:cubicBezTo>
                    <a:pt x="321" y="103"/>
                    <a:pt x="317" y="95"/>
                    <a:pt x="316" y="88"/>
                  </a:cubicBezTo>
                  <a:cubicBezTo>
                    <a:pt x="315" y="82"/>
                    <a:pt x="313" y="84"/>
                    <a:pt x="309" y="84"/>
                  </a:cubicBezTo>
                  <a:cubicBezTo>
                    <a:pt x="305" y="84"/>
                    <a:pt x="299" y="83"/>
                    <a:pt x="290" y="73"/>
                  </a:cubicBezTo>
                  <a:cubicBezTo>
                    <a:pt x="281" y="64"/>
                    <a:pt x="272" y="65"/>
                    <a:pt x="266" y="66"/>
                  </a:cubicBezTo>
                  <a:cubicBezTo>
                    <a:pt x="260" y="68"/>
                    <a:pt x="254" y="63"/>
                    <a:pt x="250" y="62"/>
                  </a:cubicBezTo>
                  <a:cubicBezTo>
                    <a:pt x="246" y="62"/>
                    <a:pt x="243" y="67"/>
                    <a:pt x="240" y="68"/>
                  </a:cubicBezTo>
                  <a:cubicBezTo>
                    <a:pt x="237" y="69"/>
                    <a:pt x="241" y="63"/>
                    <a:pt x="241" y="60"/>
                  </a:cubicBezTo>
                  <a:cubicBezTo>
                    <a:pt x="242" y="57"/>
                    <a:pt x="231" y="52"/>
                    <a:pt x="222" y="48"/>
                  </a:cubicBezTo>
                  <a:cubicBezTo>
                    <a:pt x="214" y="45"/>
                    <a:pt x="211" y="47"/>
                    <a:pt x="211" y="52"/>
                  </a:cubicBezTo>
                  <a:cubicBezTo>
                    <a:pt x="211" y="57"/>
                    <a:pt x="208" y="50"/>
                    <a:pt x="205" y="56"/>
                  </a:cubicBezTo>
                  <a:cubicBezTo>
                    <a:pt x="203" y="62"/>
                    <a:pt x="198" y="58"/>
                    <a:pt x="201" y="56"/>
                  </a:cubicBezTo>
                  <a:cubicBezTo>
                    <a:pt x="204" y="54"/>
                    <a:pt x="207" y="50"/>
                    <a:pt x="208" y="47"/>
                  </a:cubicBezTo>
                  <a:cubicBezTo>
                    <a:pt x="209" y="43"/>
                    <a:pt x="196" y="41"/>
                    <a:pt x="192" y="43"/>
                  </a:cubicBezTo>
                  <a:cubicBezTo>
                    <a:pt x="187" y="44"/>
                    <a:pt x="190" y="51"/>
                    <a:pt x="186" y="49"/>
                  </a:cubicBezTo>
                  <a:cubicBezTo>
                    <a:pt x="183" y="47"/>
                    <a:pt x="186" y="42"/>
                    <a:pt x="189" y="42"/>
                  </a:cubicBezTo>
                  <a:cubicBezTo>
                    <a:pt x="191" y="42"/>
                    <a:pt x="195" y="37"/>
                    <a:pt x="197" y="32"/>
                  </a:cubicBezTo>
                  <a:cubicBezTo>
                    <a:pt x="199" y="28"/>
                    <a:pt x="193" y="27"/>
                    <a:pt x="190" y="24"/>
                  </a:cubicBezTo>
                  <a:cubicBezTo>
                    <a:pt x="187" y="20"/>
                    <a:pt x="188" y="10"/>
                    <a:pt x="184" y="8"/>
                  </a:cubicBezTo>
                  <a:cubicBezTo>
                    <a:pt x="181" y="12"/>
                    <a:pt x="176" y="17"/>
                    <a:pt x="175" y="21"/>
                  </a:cubicBezTo>
                  <a:cubicBezTo>
                    <a:pt x="173" y="26"/>
                    <a:pt x="171" y="23"/>
                    <a:pt x="166" y="25"/>
                  </a:cubicBezTo>
                  <a:cubicBezTo>
                    <a:pt x="162" y="26"/>
                    <a:pt x="160" y="24"/>
                    <a:pt x="158" y="22"/>
                  </a:cubicBezTo>
                  <a:cubicBezTo>
                    <a:pt x="157" y="20"/>
                    <a:pt x="153" y="22"/>
                    <a:pt x="149" y="22"/>
                  </a:cubicBezTo>
                  <a:cubicBezTo>
                    <a:pt x="146" y="22"/>
                    <a:pt x="148" y="26"/>
                    <a:pt x="146" y="27"/>
                  </a:cubicBezTo>
                  <a:cubicBezTo>
                    <a:pt x="144" y="28"/>
                    <a:pt x="138" y="25"/>
                    <a:pt x="136" y="27"/>
                  </a:cubicBezTo>
                  <a:cubicBezTo>
                    <a:pt x="134" y="29"/>
                    <a:pt x="133" y="27"/>
                    <a:pt x="132" y="29"/>
                  </a:cubicBezTo>
                  <a:cubicBezTo>
                    <a:pt x="131" y="31"/>
                    <a:pt x="128" y="30"/>
                    <a:pt x="127" y="31"/>
                  </a:cubicBezTo>
                  <a:cubicBezTo>
                    <a:pt x="126" y="32"/>
                    <a:pt x="123" y="33"/>
                    <a:pt x="118" y="28"/>
                  </a:cubicBezTo>
                  <a:cubicBezTo>
                    <a:pt x="114" y="23"/>
                    <a:pt x="115" y="15"/>
                    <a:pt x="117" y="14"/>
                  </a:cubicBezTo>
                  <a:cubicBezTo>
                    <a:pt x="119" y="12"/>
                    <a:pt x="119" y="8"/>
                    <a:pt x="116" y="7"/>
                  </a:cubicBezTo>
                  <a:cubicBezTo>
                    <a:pt x="113" y="6"/>
                    <a:pt x="116" y="1"/>
                    <a:pt x="112" y="0"/>
                  </a:cubicBezTo>
                  <a:cubicBezTo>
                    <a:pt x="109" y="0"/>
                    <a:pt x="110" y="4"/>
                    <a:pt x="107" y="5"/>
                  </a:cubicBezTo>
                  <a:cubicBezTo>
                    <a:pt x="105" y="5"/>
                    <a:pt x="100" y="9"/>
                    <a:pt x="97" y="9"/>
                  </a:cubicBezTo>
                  <a:cubicBezTo>
                    <a:pt x="95" y="8"/>
                    <a:pt x="92" y="9"/>
                    <a:pt x="92" y="12"/>
                  </a:cubicBezTo>
                  <a:cubicBezTo>
                    <a:pt x="92" y="14"/>
                    <a:pt x="89" y="14"/>
                    <a:pt x="89" y="11"/>
                  </a:cubicBezTo>
                  <a:cubicBezTo>
                    <a:pt x="88" y="9"/>
                    <a:pt x="83" y="10"/>
                    <a:pt x="82" y="9"/>
                  </a:cubicBezTo>
                  <a:cubicBezTo>
                    <a:pt x="80" y="8"/>
                    <a:pt x="74" y="8"/>
                    <a:pt x="76" y="10"/>
                  </a:cubicBezTo>
                  <a:cubicBezTo>
                    <a:pt x="79" y="12"/>
                    <a:pt x="80" y="13"/>
                    <a:pt x="80" y="16"/>
                  </a:cubicBezTo>
                  <a:cubicBezTo>
                    <a:pt x="80" y="19"/>
                    <a:pt x="82" y="18"/>
                    <a:pt x="82" y="21"/>
                  </a:cubicBezTo>
                  <a:cubicBezTo>
                    <a:pt x="82" y="24"/>
                    <a:pt x="84" y="22"/>
                    <a:pt x="86" y="22"/>
                  </a:cubicBezTo>
                  <a:cubicBezTo>
                    <a:pt x="88" y="22"/>
                    <a:pt x="88" y="25"/>
                    <a:pt x="85" y="25"/>
                  </a:cubicBezTo>
                  <a:cubicBezTo>
                    <a:pt x="82" y="26"/>
                    <a:pt x="81" y="27"/>
                    <a:pt x="80" y="30"/>
                  </a:cubicBezTo>
                  <a:cubicBezTo>
                    <a:pt x="80" y="32"/>
                    <a:pt x="77" y="30"/>
                    <a:pt x="75" y="32"/>
                  </a:cubicBezTo>
                  <a:cubicBezTo>
                    <a:pt x="73" y="34"/>
                    <a:pt x="71" y="36"/>
                    <a:pt x="69" y="35"/>
                  </a:cubicBezTo>
                  <a:cubicBezTo>
                    <a:pt x="68" y="34"/>
                    <a:pt x="67" y="35"/>
                    <a:pt x="65" y="36"/>
                  </a:cubicBezTo>
                  <a:cubicBezTo>
                    <a:pt x="63" y="37"/>
                    <a:pt x="63" y="36"/>
                    <a:pt x="60" y="34"/>
                  </a:cubicBezTo>
                  <a:cubicBezTo>
                    <a:pt x="59" y="33"/>
                    <a:pt x="57" y="29"/>
                    <a:pt x="54" y="26"/>
                  </a:cubicBezTo>
                  <a:cubicBezTo>
                    <a:pt x="52" y="27"/>
                    <a:pt x="48" y="28"/>
                    <a:pt x="46" y="28"/>
                  </a:cubicBezTo>
                  <a:cubicBezTo>
                    <a:pt x="43" y="28"/>
                    <a:pt x="35" y="28"/>
                    <a:pt x="34" y="29"/>
                  </a:cubicBezTo>
                  <a:cubicBezTo>
                    <a:pt x="34" y="31"/>
                    <a:pt x="35" y="33"/>
                    <a:pt x="36" y="34"/>
                  </a:cubicBezTo>
                  <a:cubicBezTo>
                    <a:pt x="38" y="34"/>
                    <a:pt x="41" y="35"/>
                    <a:pt x="38" y="37"/>
                  </a:cubicBezTo>
                  <a:cubicBezTo>
                    <a:pt x="35" y="39"/>
                    <a:pt x="32" y="36"/>
                    <a:pt x="32" y="41"/>
                  </a:cubicBezTo>
                  <a:cubicBezTo>
                    <a:pt x="32" y="46"/>
                    <a:pt x="39" y="50"/>
                    <a:pt x="38" y="54"/>
                  </a:cubicBezTo>
                  <a:cubicBezTo>
                    <a:pt x="37" y="57"/>
                    <a:pt x="36" y="63"/>
                    <a:pt x="36" y="65"/>
                  </a:cubicBezTo>
                  <a:cubicBezTo>
                    <a:pt x="36" y="68"/>
                    <a:pt x="35" y="76"/>
                    <a:pt x="33" y="76"/>
                  </a:cubicBezTo>
                  <a:cubicBezTo>
                    <a:pt x="31" y="77"/>
                    <a:pt x="29" y="74"/>
                    <a:pt x="26" y="77"/>
                  </a:cubicBezTo>
                  <a:cubicBezTo>
                    <a:pt x="23" y="79"/>
                    <a:pt x="19" y="78"/>
                    <a:pt x="16" y="80"/>
                  </a:cubicBezTo>
                  <a:cubicBezTo>
                    <a:pt x="13" y="83"/>
                    <a:pt x="9" y="82"/>
                    <a:pt x="9" y="85"/>
                  </a:cubicBezTo>
                  <a:cubicBezTo>
                    <a:pt x="9" y="88"/>
                    <a:pt x="6" y="90"/>
                    <a:pt x="6" y="93"/>
                  </a:cubicBezTo>
                  <a:cubicBezTo>
                    <a:pt x="7" y="95"/>
                    <a:pt x="5" y="95"/>
                    <a:pt x="3" y="97"/>
                  </a:cubicBezTo>
                  <a:cubicBezTo>
                    <a:pt x="1" y="99"/>
                    <a:pt x="3" y="100"/>
                    <a:pt x="2" y="102"/>
                  </a:cubicBezTo>
                  <a:cubicBezTo>
                    <a:pt x="0" y="104"/>
                    <a:pt x="2" y="106"/>
                    <a:pt x="4" y="109"/>
                  </a:cubicBezTo>
                  <a:cubicBezTo>
                    <a:pt x="5" y="112"/>
                    <a:pt x="7" y="114"/>
                    <a:pt x="7" y="116"/>
                  </a:cubicBezTo>
                  <a:cubicBezTo>
                    <a:pt x="7" y="118"/>
                    <a:pt x="9" y="119"/>
                    <a:pt x="11" y="119"/>
                  </a:cubicBezTo>
                  <a:cubicBezTo>
                    <a:pt x="14" y="119"/>
                    <a:pt x="12" y="124"/>
                    <a:pt x="15" y="124"/>
                  </a:cubicBezTo>
                  <a:cubicBezTo>
                    <a:pt x="19" y="124"/>
                    <a:pt x="23" y="124"/>
                    <a:pt x="24" y="122"/>
                  </a:cubicBezTo>
                  <a:cubicBezTo>
                    <a:pt x="25" y="120"/>
                    <a:pt x="28" y="119"/>
                    <a:pt x="28" y="122"/>
                  </a:cubicBezTo>
                  <a:cubicBezTo>
                    <a:pt x="28" y="125"/>
                    <a:pt x="27" y="133"/>
                    <a:pt x="29" y="132"/>
                  </a:cubicBezTo>
                  <a:cubicBezTo>
                    <a:pt x="32" y="131"/>
                    <a:pt x="37" y="131"/>
                    <a:pt x="40" y="132"/>
                  </a:cubicBezTo>
                  <a:cubicBezTo>
                    <a:pt x="43" y="133"/>
                    <a:pt x="45" y="132"/>
                    <a:pt x="47" y="131"/>
                  </a:cubicBezTo>
                  <a:cubicBezTo>
                    <a:pt x="48" y="129"/>
                    <a:pt x="50" y="129"/>
                    <a:pt x="54" y="127"/>
                  </a:cubicBezTo>
                  <a:cubicBezTo>
                    <a:pt x="57" y="125"/>
                    <a:pt x="60" y="123"/>
                    <a:pt x="63" y="123"/>
                  </a:cubicBezTo>
                  <a:cubicBezTo>
                    <a:pt x="66" y="123"/>
                    <a:pt x="72" y="121"/>
                    <a:pt x="71" y="123"/>
                  </a:cubicBezTo>
                  <a:cubicBezTo>
                    <a:pt x="70" y="126"/>
                    <a:pt x="70" y="134"/>
                    <a:pt x="73" y="139"/>
                  </a:cubicBezTo>
                  <a:cubicBezTo>
                    <a:pt x="77" y="143"/>
                    <a:pt x="79" y="145"/>
                    <a:pt x="83" y="145"/>
                  </a:cubicBezTo>
                  <a:cubicBezTo>
                    <a:pt x="87" y="144"/>
                    <a:pt x="86" y="146"/>
                    <a:pt x="89" y="146"/>
                  </a:cubicBezTo>
                  <a:cubicBezTo>
                    <a:pt x="91" y="146"/>
                    <a:pt x="90" y="149"/>
                    <a:pt x="92" y="149"/>
                  </a:cubicBezTo>
                  <a:cubicBezTo>
                    <a:pt x="94" y="149"/>
                    <a:pt x="99" y="149"/>
                    <a:pt x="99" y="152"/>
                  </a:cubicBezTo>
                  <a:cubicBezTo>
                    <a:pt x="99" y="154"/>
                    <a:pt x="106" y="152"/>
                    <a:pt x="107" y="154"/>
                  </a:cubicBezTo>
                  <a:cubicBezTo>
                    <a:pt x="109" y="155"/>
                    <a:pt x="111" y="156"/>
                    <a:pt x="111" y="159"/>
                  </a:cubicBezTo>
                  <a:cubicBezTo>
                    <a:pt x="110" y="162"/>
                    <a:pt x="114" y="164"/>
                    <a:pt x="112" y="165"/>
                  </a:cubicBezTo>
                  <a:cubicBezTo>
                    <a:pt x="109" y="167"/>
                    <a:pt x="112" y="169"/>
                    <a:pt x="113" y="172"/>
                  </a:cubicBezTo>
                  <a:cubicBezTo>
                    <a:pt x="113" y="175"/>
                    <a:pt x="116" y="176"/>
                    <a:pt x="121" y="176"/>
                  </a:cubicBezTo>
                  <a:cubicBezTo>
                    <a:pt x="127" y="176"/>
                    <a:pt x="128" y="176"/>
                    <a:pt x="128" y="180"/>
                  </a:cubicBezTo>
                  <a:cubicBezTo>
                    <a:pt x="128" y="184"/>
                    <a:pt x="132" y="184"/>
                    <a:pt x="133" y="188"/>
                  </a:cubicBezTo>
                  <a:cubicBezTo>
                    <a:pt x="134" y="192"/>
                    <a:pt x="131" y="196"/>
                    <a:pt x="132" y="198"/>
                  </a:cubicBezTo>
                  <a:cubicBezTo>
                    <a:pt x="132" y="201"/>
                    <a:pt x="131" y="203"/>
                    <a:pt x="130" y="204"/>
                  </a:cubicBezTo>
                  <a:cubicBezTo>
                    <a:pt x="131" y="206"/>
                    <a:pt x="131" y="207"/>
                    <a:pt x="130" y="208"/>
                  </a:cubicBezTo>
                  <a:cubicBezTo>
                    <a:pt x="128" y="209"/>
                    <a:pt x="133" y="213"/>
                    <a:pt x="131" y="218"/>
                  </a:cubicBezTo>
                  <a:cubicBezTo>
                    <a:pt x="130" y="223"/>
                    <a:pt x="130" y="224"/>
                    <a:pt x="135" y="225"/>
                  </a:cubicBezTo>
                  <a:cubicBezTo>
                    <a:pt x="141" y="225"/>
                    <a:pt x="140" y="227"/>
                    <a:pt x="142" y="225"/>
                  </a:cubicBezTo>
                  <a:cubicBezTo>
                    <a:pt x="144" y="224"/>
                    <a:pt x="147" y="229"/>
                    <a:pt x="148" y="232"/>
                  </a:cubicBezTo>
                  <a:cubicBezTo>
                    <a:pt x="149" y="235"/>
                    <a:pt x="151" y="241"/>
                    <a:pt x="152" y="241"/>
                  </a:cubicBezTo>
                  <a:cubicBezTo>
                    <a:pt x="153" y="241"/>
                    <a:pt x="156" y="238"/>
                    <a:pt x="159" y="240"/>
                  </a:cubicBezTo>
                  <a:cubicBezTo>
                    <a:pt x="161" y="241"/>
                    <a:pt x="158" y="250"/>
                    <a:pt x="158" y="254"/>
                  </a:cubicBezTo>
                  <a:cubicBezTo>
                    <a:pt x="160" y="254"/>
                    <a:pt x="162" y="254"/>
                    <a:pt x="163" y="254"/>
                  </a:cubicBezTo>
                  <a:cubicBezTo>
                    <a:pt x="165" y="255"/>
                    <a:pt x="165" y="265"/>
                    <a:pt x="165" y="267"/>
                  </a:cubicBezTo>
                  <a:cubicBezTo>
                    <a:pt x="164" y="268"/>
                    <a:pt x="158" y="270"/>
                    <a:pt x="155" y="272"/>
                  </a:cubicBezTo>
                  <a:cubicBezTo>
                    <a:pt x="152" y="274"/>
                    <a:pt x="144" y="281"/>
                    <a:pt x="141" y="287"/>
                  </a:cubicBezTo>
                  <a:cubicBezTo>
                    <a:pt x="139" y="290"/>
                    <a:pt x="136" y="293"/>
                    <a:pt x="134" y="295"/>
                  </a:cubicBezTo>
                  <a:cubicBezTo>
                    <a:pt x="135" y="295"/>
                    <a:pt x="136" y="295"/>
                    <a:pt x="136" y="295"/>
                  </a:cubicBezTo>
                  <a:cubicBezTo>
                    <a:pt x="138" y="294"/>
                    <a:pt x="140" y="294"/>
                    <a:pt x="143" y="297"/>
                  </a:cubicBezTo>
                  <a:cubicBezTo>
                    <a:pt x="146" y="301"/>
                    <a:pt x="146" y="303"/>
                    <a:pt x="147" y="303"/>
                  </a:cubicBezTo>
                  <a:cubicBezTo>
                    <a:pt x="148" y="303"/>
                    <a:pt x="149" y="299"/>
                    <a:pt x="151" y="302"/>
                  </a:cubicBezTo>
                  <a:cubicBezTo>
                    <a:pt x="153" y="305"/>
                    <a:pt x="159" y="307"/>
                    <a:pt x="160" y="309"/>
                  </a:cubicBezTo>
                  <a:cubicBezTo>
                    <a:pt x="161" y="310"/>
                    <a:pt x="166" y="311"/>
                    <a:pt x="166" y="315"/>
                  </a:cubicBezTo>
                  <a:cubicBezTo>
                    <a:pt x="166" y="318"/>
                    <a:pt x="164" y="323"/>
                    <a:pt x="166" y="327"/>
                  </a:cubicBezTo>
                  <a:cubicBezTo>
                    <a:pt x="168" y="326"/>
                    <a:pt x="169" y="325"/>
                    <a:pt x="170" y="324"/>
                  </a:cubicBezTo>
                  <a:close/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126">
              <a:extLst>
                <a:ext uri="{FF2B5EF4-FFF2-40B4-BE49-F238E27FC236}">
                  <a16:creationId xmlns:a16="http://schemas.microsoft.com/office/drawing/2014/main" id="{848972A3-EB5C-4BEF-B7CA-8E392D2607A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856495" y="1693331"/>
              <a:ext cx="2040510" cy="1572602"/>
            </a:xfrm>
            <a:custGeom>
              <a:avLst/>
              <a:gdLst>
                <a:gd name="T0" fmla="*/ 147 w 717"/>
                <a:gd name="T1" fmla="*/ 487 h 552"/>
                <a:gd name="T2" fmla="*/ 135 w 717"/>
                <a:gd name="T3" fmla="*/ 162 h 552"/>
                <a:gd name="T4" fmla="*/ 276 w 717"/>
                <a:gd name="T5" fmla="*/ 179 h 552"/>
                <a:gd name="T6" fmla="*/ 183 w 717"/>
                <a:gd name="T7" fmla="*/ 192 h 552"/>
                <a:gd name="T8" fmla="*/ 276 w 717"/>
                <a:gd name="T9" fmla="*/ 239 h 552"/>
                <a:gd name="T10" fmla="*/ 169 w 717"/>
                <a:gd name="T11" fmla="*/ 138 h 552"/>
                <a:gd name="T12" fmla="*/ 149 w 717"/>
                <a:gd name="T13" fmla="*/ 132 h 552"/>
                <a:gd name="T14" fmla="*/ 264 w 717"/>
                <a:gd name="T15" fmla="*/ 152 h 552"/>
                <a:gd name="T16" fmla="*/ 212 w 717"/>
                <a:gd name="T17" fmla="*/ 103 h 552"/>
                <a:gd name="T18" fmla="*/ 295 w 717"/>
                <a:gd name="T19" fmla="*/ 85 h 552"/>
                <a:gd name="T20" fmla="*/ 297 w 717"/>
                <a:gd name="T21" fmla="*/ 115 h 552"/>
                <a:gd name="T22" fmla="*/ 300 w 717"/>
                <a:gd name="T23" fmla="*/ 132 h 552"/>
                <a:gd name="T24" fmla="*/ 387 w 717"/>
                <a:gd name="T25" fmla="*/ 105 h 552"/>
                <a:gd name="T26" fmla="*/ 351 w 717"/>
                <a:gd name="T27" fmla="*/ 166 h 552"/>
                <a:gd name="T28" fmla="*/ 490 w 717"/>
                <a:gd name="T29" fmla="*/ 157 h 552"/>
                <a:gd name="T30" fmla="*/ 414 w 717"/>
                <a:gd name="T31" fmla="*/ 108 h 552"/>
                <a:gd name="T32" fmla="*/ 427 w 717"/>
                <a:gd name="T33" fmla="*/ 60 h 552"/>
                <a:gd name="T34" fmla="*/ 419 w 717"/>
                <a:gd name="T35" fmla="*/ 47 h 552"/>
                <a:gd name="T36" fmla="*/ 453 w 717"/>
                <a:gd name="T37" fmla="*/ 86 h 552"/>
                <a:gd name="T38" fmla="*/ 498 w 717"/>
                <a:gd name="T39" fmla="*/ 129 h 552"/>
                <a:gd name="T40" fmla="*/ 567 w 717"/>
                <a:gd name="T41" fmla="*/ 62 h 552"/>
                <a:gd name="T42" fmla="*/ 542 w 717"/>
                <a:gd name="T43" fmla="*/ 7 h 552"/>
                <a:gd name="T44" fmla="*/ 406 w 717"/>
                <a:gd name="T45" fmla="*/ 33 h 552"/>
                <a:gd name="T46" fmla="*/ 445 w 717"/>
                <a:gd name="T47" fmla="*/ 314 h 552"/>
                <a:gd name="T48" fmla="*/ 590 w 717"/>
                <a:gd name="T49" fmla="*/ 243 h 552"/>
                <a:gd name="T50" fmla="*/ 532 w 717"/>
                <a:gd name="T51" fmla="*/ 194 h 552"/>
                <a:gd name="T52" fmla="*/ 445 w 717"/>
                <a:gd name="T53" fmla="*/ 179 h 552"/>
                <a:gd name="T54" fmla="*/ 503 w 717"/>
                <a:gd name="T55" fmla="*/ 220 h 552"/>
                <a:gd name="T56" fmla="*/ 525 w 717"/>
                <a:gd name="T57" fmla="*/ 292 h 552"/>
                <a:gd name="T58" fmla="*/ 606 w 717"/>
                <a:gd name="T59" fmla="*/ 299 h 552"/>
                <a:gd name="T60" fmla="*/ 487 w 717"/>
                <a:gd name="T61" fmla="*/ 172 h 552"/>
                <a:gd name="T62" fmla="*/ 687 w 717"/>
                <a:gd name="T63" fmla="*/ 458 h 552"/>
                <a:gd name="T64" fmla="*/ 79 w 717"/>
                <a:gd name="T65" fmla="*/ 449 h 552"/>
                <a:gd name="T66" fmla="*/ 586 w 717"/>
                <a:gd name="T67" fmla="*/ 490 h 552"/>
                <a:gd name="T68" fmla="*/ 687 w 717"/>
                <a:gd name="T69" fmla="*/ 434 h 552"/>
                <a:gd name="T70" fmla="*/ 639 w 717"/>
                <a:gd name="T71" fmla="*/ 400 h 552"/>
                <a:gd name="T72" fmla="*/ 602 w 717"/>
                <a:gd name="T73" fmla="*/ 377 h 552"/>
                <a:gd name="T74" fmla="*/ 544 w 717"/>
                <a:gd name="T75" fmla="*/ 330 h 552"/>
                <a:gd name="T76" fmla="*/ 519 w 717"/>
                <a:gd name="T77" fmla="*/ 387 h 552"/>
                <a:gd name="T78" fmla="*/ 475 w 717"/>
                <a:gd name="T79" fmla="*/ 441 h 552"/>
                <a:gd name="T80" fmla="*/ 384 w 717"/>
                <a:gd name="T81" fmla="*/ 375 h 552"/>
                <a:gd name="T82" fmla="*/ 413 w 717"/>
                <a:gd name="T83" fmla="*/ 307 h 552"/>
                <a:gd name="T84" fmla="*/ 463 w 717"/>
                <a:gd name="T85" fmla="*/ 276 h 552"/>
                <a:gd name="T86" fmla="*/ 454 w 717"/>
                <a:gd name="T87" fmla="*/ 242 h 552"/>
                <a:gd name="T88" fmla="*/ 414 w 717"/>
                <a:gd name="T89" fmla="*/ 245 h 552"/>
                <a:gd name="T90" fmla="*/ 383 w 717"/>
                <a:gd name="T91" fmla="*/ 194 h 552"/>
                <a:gd name="T92" fmla="*/ 369 w 717"/>
                <a:gd name="T93" fmla="*/ 208 h 552"/>
                <a:gd name="T94" fmla="*/ 362 w 717"/>
                <a:gd name="T95" fmla="*/ 260 h 552"/>
                <a:gd name="T96" fmla="*/ 351 w 717"/>
                <a:gd name="T97" fmla="*/ 249 h 552"/>
                <a:gd name="T98" fmla="*/ 285 w 717"/>
                <a:gd name="T99" fmla="*/ 249 h 552"/>
                <a:gd name="T100" fmla="*/ 191 w 717"/>
                <a:gd name="T101" fmla="*/ 242 h 552"/>
                <a:gd name="T102" fmla="*/ 69 w 717"/>
                <a:gd name="T103" fmla="*/ 243 h 552"/>
                <a:gd name="T104" fmla="*/ 34 w 717"/>
                <a:gd name="T105" fmla="*/ 243 h 552"/>
                <a:gd name="T106" fmla="*/ 91 w 717"/>
                <a:gd name="T107" fmla="*/ 420 h 552"/>
                <a:gd name="T108" fmla="*/ 130 w 717"/>
                <a:gd name="T109" fmla="*/ 470 h 552"/>
                <a:gd name="T110" fmla="*/ 444 w 717"/>
                <a:gd name="T111" fmla="*/ 492 h 552"/>
                <a:gd name="T112" fmla="*/ 500 w 717"/>
                <a:gd name="T113" fmla="*/ 546 h 552"/>
                <a:gd name="T114" fmla="*/ 618 w 717"/>
                <a:gd name="T115" fmla="*/ 515 h 552"/>
                <a:gd name="T116" fmla="*/ 173 w 717"/>
                <a:gd name="T117" fmla="*/ 290 h 552"/>
                <a:gd name="T118" fmla="*/ 172 w 717"/>
                <a:gd name="T119" fmla="*/ 280 h 552"/>
                <a:gd name="T120" fmla="*/ 359 w 717"/>
                <a:gd name="T121" fmla="*/ 468 h 5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17" h="552">
                  <a:moveTo>
                    <a:pt x="142" y="484"/>
                  </a:moveTo>
                  <a:cubicBezTo>
                    <a:pt x="139" y="482"/>
                    <a:pt x="133" y="482"/>
                    <a:pt x="132" y="480"/>
                  </a:cubicBezTo>
                  <a:cubicBezTo>
                    <a:pt x="131" y="478"/>
                    <a:pt x="126" y="469"/>
                    <a:pt x="123" y="469"/>
                  </a:cubicBezTo>
                  <a:cubicBezTo>
                    <a:pt x="120" y="470"/>
                    <a:pt x="116" y="470"/>
                    <a:pt x="112" y="467"/>
                  </a:cubicBezTo>
                  <a:cubicBezTo>
                    <a:pt x="109" y="464"/>
                    <a:pt x="106" y="464"/>
                    <a:pt x="104" y="466"/>
                  </a:cubicBezTo>
                  <a:cubicBezTo>
                    <a:pt x="101" y="467"/>
                    <a:pt x="107" y="468"/>
                    <a:pt x="106" y="470"/>
                  </a:cubicBezTo>
                  <a:cubicBezTo>
                    <a:pt x="106" y="471"/>
                    <a:pt x="108" y="472"/>
                    <a:pt x="110" y="472"/>
                  </a:cubicBezTo>
                  <a:cubicBezTo>
                    <a:pt x="112" y="472"/>
                    <a:pt x="114" y="476"/>
                    <a:pt x="116" y="476"/>
                  </a:cubicBezTo>
                  <a:cubicBezTo>
                    <a:pt x="118" y="477"/>
                    <a:pt x="119" y="480"/>
                    <a:pt x="121" y="480"/>
                  </a:cubicBezTo>
                  <a:cubicBezTo>
                    <a:pt x="124" y="480"/>
                    <a:pt x="124" y="483"/>
                    <a:pt x="125" y="484"/>
                  </a:cubicBezTo>
                  <a:cubicBezTo>
                    <a:pt x="127" y="486"/>
                    <a:pt x="129" y="485"/>
                    <a:pt x="129" y="486"/>
                  </a:cubicBezTo>
                  <a:cubicBezTo>
                    <a:pt x="129" y="488"/>
                    <a:pt x="132" y="489"/>
                    <a:pt x="133" y="491"/>
                  </a:cubicBezTo>
                  <a:cubicBezTo>
                    <a:pt x="138" y="491"/>
                    <a:pt x="142" y="492"/>
                    <a:pt x="146" y="491"/>
                  </a:cubicBezTo>
                  <a:cubicBezTo>
                    <a:pt x="146" y="490"/>
                    <a:pt x="146" y="488"/>
                    <a:pt x="147" y="487"/>
                  </a:cubicBezTo>
                  <a:cubicBezTo>
                    <a:pt x="148" y="485"/>
                    <a:pt x="144" y="487"/>
                    <a:pt x="142" y="484"/>
                  </a:cubicBezTo>
                  <a:close/>
                  <a:moveTo>
                    <a:pt x="135" y="201"/>
                  </a:moveTo>
                  <a:cubicBezTo>
                    <a:pt x="142" y="202"/>
                    <a:pt x="143" y="214"/>
                    <a:pt x="147" y="214"/>
                  </a:cubicBezTo>
                  <a:cubicBezTo>
                    <a:pt x="150" y="214"/>
                    <a:pt x="148" y="210"/>
                    <a:pt x="152" y="210"/>
                  </a:cubicBezTo>
                  <a:cubicBezTo>
                    <a:pt x="157" y="210"/>
                    <a:pt x="156" y="208"/>
                    <a:pt x="160" y="208"/>
                  </a:cubicBezTo>
                  <a:cubicBezTo>
                    <a:pt x="164" y="208"/>
                    <a:pt x="168" y="207"/>
                    <a:pt x="168" y="202"/>
                  </a:cubicBezTo>
                  <a:cubicBezTo>
                    <a:pt x="168" y="197"/>
                    <a:pt x="171" y="195"/>
                    <a:pt x="175" y="194"/>
                  </a:cubicBezTo>
                  <a:cubicBezTo>
                    <a:pt x="180" y="193"/>
                    <a:pt x="176" y="188"/>
                    <a:pt x="182" y="186"/>
                  </a:cubicBezTo>
                  <a:cubicBezTo>
                    <a:pt x="188" y="185"/>
                    <a:pt x="205" y="178"/>
                    <a:pt x="208" y="176"/>
                  </a:cubicBezTo>
                  <a:cubicBezTo>
                    <a:pt x="210" y="173"/>
                    <a:pt x="204" y="171"/>
                    <a:pt x="198" y="167"/>
                  </a:cubicBezTo>
                  <a:cubicBezTo>
                    <a:pt x="191" y="163"/>
                    <a:pt x="186" y="162"/>
                    <a:pt x="181" y="165"/>
                  </a:cubicBezTo>
                  <a:cubicBezTo>
                    <a:pt x="176" y="168"/>
                    <a:pt x="180" y="161"/>
                    <a:pt x="176" y="163"/>
                  </a:cubicBezTo>
                  <a:cubicBezTo>
                    <a:pt x="172" y="165"/>
                    <a:pt x="162" y="160"/>
                    <a:pt x="160" y="158"/>
                  </a:cubicBezTo>
                  <a:cubicBezTo>
                    <a:pt x="159" y="157"/>
                    <a:pt x="139" y="162"/>
                    <a:pt x="135" y="162"/>
                  </a:cubicBezTo>
                  <a:cubicBezTo>
                    <a:pt x="130" y="162"/>
                    <a:pt x="135" y="167"/>
                    <a:pt x="138" y="170"/>
                  </a:cubicBezTo>
                  <a:cubicBezTo>
                    <a:pt x="142" y="172"/>
                    <a:pt x="130" y="180"/>
                    <a:pt x="133" y="182"/>
                  </a:cubicBezTo>
                  <a:cubicBezTo>
                    <a:pt x="135" y="184"/>
                    <a:pt x="130" y="188"/>
                    <a:pt x="125" y="194"/>
                  </a:cubicBezTo>
                  <a:cubicBezTo>
                    <a:pt x="120" y="200"/>
                    <a:pt x="129" y="199"/>
                    <a:pt x="135" y="201"/>
                  </a:cubicBezTo>
                  <a:close/>
                  <a:moveTo>
                    <a:pt x="314" y="230"/>
                  </a:moveTo>
                  <a:cubicBezTo>
                    <a:pt x="316" y="228"/>
                    <a:pt x="325" y="235"/>
                    <a:pt x="325" y="230"/>
                  </a:cubicBezTo>
                  <a:cubicBezTo>
                    <a:pt x="326" y="224"/>
                    <a:pt x="315" y="222"/>
                    <a:pt x="311" y="219"/>
                  </a:cubicBezTo>
                  <a:cubicBezTo>
                    <a:pt x="307" y="216"/>
                    <a:pt x="305" y="218"/>
                    <a:pt x="298" y="213"/>
                  </a:cubicBezTo>
                  <a:cubicBezTo>
                    <a:pt x="291" y="208"/>
                    <a:pt x="300" y="205"/>
                    <a:pt x="295" y="201"/>
                  </a:cubicBezTo>
                  <a:cubicBezTo>
                    <a:pt x="290" y="197"/>
                    <a:pt x="288" y="187"/>
                    <a:pt x="292" y="183"/>
                  </a:cubicBezTo>
                  <a:cubicBezTo>
                    <a:pt x="295" y="179"/>
                    <a:pt x="299" y="174"/>
                    <a:pt x="293" y="172"/>
                  </a:cubicBezTo>
                  <a:cubicBezTo>
                    <a:pt x="286" y="169"/>
                    <a:pt x="276" y="174"/>
                    <a:pt x="277" y="175"/>
                  </a:cubicBezTo>
                  <a:cubicBezTo>
                    <a:pt x="278" y="177"/>
                    <a:pt x="287" y="182"/>
                    <a:pt x="287" y="184"/>
                  </a:cubicBezTo>
                  <a:cubicBezTo>
                    <a:pt x="287" y="186"/>
                    <a:pt x="279" y="178"/>
                    <a:pt x="276" y="179"/>
                  </a:cubicBezTo>
                  <a:cubicBezTo>
                    <a:pt x="273" y="181"/>
                    <a:pt x="270" y="176"/>
                    <a:pt x="267" y="179"/>
                  </a:cubicBezTo>
                  <a:cubicBezTo>
                    <a:pt x="265" y="183"/>
                    <a:pt x="271" y="195"/>
                    <a:pt x="273" y="199"/>
                  </a:cubicBezTo>
                  <a:cubicBezTo>
                    <a:pt x="275" y="203"/>
                    <a:pt x="271" y="203"/>
                    <a:pt x="268" y="203"/>
                  </a:cubicBezTo>
                  <a:cubicBezTo>
                    <a:pt x="265" y="204"/>
                    <a:pt x="265" y="193"/>
                    <a:pt x="262" y="189"/>
                  </a:cubicBezTo>
                  <a:cubicBezTo>
                    <a:pt x="259" y="185"/>
                    <a:pt x="247" y="181"/>
                    <a:pt x="247" y="184"/>
                  </a:cubicBezTo>
                  <a:cubicBezTo>
                    <a:pt x="246" y="187"/>
                    <a:pt x="254" y="187"/>
                    <a:pt x="253" y="190"/>
                  </a:cubicBezTo>
                  <a:cubicBezTo>
                    <a:pt x="252" y="194"/>
                    <a:pt x="247" y="188"/>
                    <a:pt x="244" y="191"/>
                  </a:cubicBezTo>
                  <a:cubicBezTo>
                    <a:pt x="240" y="194"/>
                    <a:pt x="240" y="192"/>
                    <a:pt x="241" y="189"/>
                  </a:cubicBezTo>
                  <a:cubicBezTo>
                    <a:pt x="242" y="186"/>
                    <a:pt x="235" y="182"/>
                    <a:pt x="228" y="183"/>
                  </a:cubicBezTo>
                  <a:cubicBezTo>
                    <a:pt x="221" y="184"/>
                    <a:pt x="225" y="189"/>
                    <a:pt x="223" y="190"/>
                  </a:cubicBezTo>
                  <a:cubicBezTo>
                    <a:pt x="221" y="192"/>
                    <a:pt x="210" y="189"/>
                    <a:pt x="217" y="188"/>
                  </a:cubicBezTo>
                  <a:cubicBezTo>
                    <a:pt x="224" y="187"/>
                    <a:pt x="221" y="183"/>
                    <a:pt x="218" y="179"/>
                  </a:cubicBezTo>
                  <a:cubicBezTo>
                    <a:pt x="216" y="175"/>
                    <a:pt x="209" y="179"/>
                    <a:pt x="198" y="183"/>
                  </a:cubicBezTo>
                  <a:cubicBezTo>
                    <a:pt x="187" y="187"/>
                    <a:pt x="182" y="192"/>
                    <a:pt x="183" y="192"/>
                  </a:cubicBezTo>
                  <a:cubicBezTo>
                    <a:pt x="185" y="192"/>
                    <a:pt x="185" y="194"/>
                    <a:pt x="181" y="198"/>
                  </a:cubicBezTo>
                  <a:cubicBezTo>
                    <a:pt x="176" y="201"/>
                    <a:pt x="181" y="204"/>
                    <a:pt x="185" y="204"/>
                  </a:cubicBezTo>
                  <a:cubicBezTo>
                    <a:pt x="189" y="204"/>
                    <a:pt x="185" y="208"/>
                    <a:pt x="188" y="208"/>
                  </a:cubicBezTo>
                  <a:cubicBezTo>
                    <a:pt x="190" y="209"/>
                    <a:pt x="203" y="203"/>
                    <a:pt x="207" y="206"/>
                  </a:cubicBezTo>
                  <a:cubicBezTo>
                    <a:pt x="210" y="208"/>
                    <a:pt x="186" y="210"/>
                    <a:pt x="186" y="214"/>
                  </a:cubicBezTo>
                  <a:cubicBezTo>
                    <a:pt x="186" y="218"/>
                    <a:pt x="199" y="221"/>
                    <a:pt x="209" y="219"/>
                  </a:cubicBezTo>
                  <a:cubicBezTo>
                    <a:pt x="219" y="217"/>
                    <a:pt x="237" y="220"/>
                    <a:pt x="237" y="223"/>
                  </a:cubicBezTo>
                  <a:cubicBezTo>
                    <a:pt x="237" y="225"/>
                    <a:pt x="225" y="225"/>
                    <a:pt x="216" y="224"/>
                  </a:cubicBezTo>
                  <a:cubicBezTo>
                    <a:pt x="207" y="224"/>
                    <a:pt x="192" y="227"/>
                    <a:pt x="193" y="230"/>
                  </a:cubicBezTo>
                  <a:cubicBezTo>
                    <a:pt x="193" y="233"/>
                    <a:pt x="194" y="233"/>
                    <a:pt x="204" y="237"/>
                  </a:cubicBezTo>
                  <a:cubicBezTo>
                    <a:pt x="213" y="241"/>
                    <a:pt x="222" y="235"/>
                    <a:pt x="222" y="241"/>
                  </a:cubicBezTo>
                  <a:cubicBezTo>
                    <a:pt x="222" y="247"/>
                    <a:pt x="227" y="249"/>
                    <a:pt x="240" y="249"/>
                  </a:cubicBezTo>
                  <a:cubicBezTo>
                    <a:pt x="252" y="249"/>
                    <a:pt x="258" y="243"/>
                    <a:pt x="264" y="244"/>
                  </a:cubicBezTo>
                  <a:cubicBezTo>
                    <a:pt x="270" y="244"/>
                    <a:pt x="273" y="243"/>
                    <a:pt x="276" y="239"/>
                  </a:cubicBezTo>
                  <a:cubicBezTo>
                    <a:pt x="278" y="234"/>
                    <a:pt x="281" y="237"/>
                    <a:pt x="282" y="239"/>
                  </a:cubicBezTo>
                  <a:cubicBezTo>
                    <a:pt x="282" y="241"/>
                    <a:pt x="290" y="241"/>
                    <a:pt x="292" y="243"/>
                  </a:cubicBezTo>
                  <a:cubicBezTo>
                    <a:pt x="297" y="247"/>
                    <a:pt x="312" y="246"/>
                    <a:pt x="317" y="243"/>
                  </a:cubicBezTo>
                  <a:cubicBezTo>
                    <a:pt x="323" y="240"/>
                    <a:pt x="315" y="232"/>
                    <a:pt x="312" y="236"/>
                  </a:cubicBezTo>
                  <a:cubicBezTo>
                    <a:pt x="309" y="239"/>
                    <a:pt x="307" y="237"/>
                    <a:pt x="306" y="235"/>
                  </a:cubicBezTo>
                  <a:cubicBezTo>
                    <a:pt x="305" y="234"/>
                    <a:pt x="312" y="233"/>
                    <a:pt x="314" y="230"/>
                  </a:cubicBezTo>
                  <a:close/>
                  <a:moveTo>
                    <a:pt x="178" y="142"/>
                  </a:moveTo>
                  <a:cubicBezTo>
                    <a:pt x="185" y="143"/>
                    <a:pt x="191" y="137"/>
                    <a:pt x="191" y="134"/>
                  </a:cubicBezTo>
                  <a:cubicBezTo>
                    <a:pt x="190" y="131"/>
                    <a:pt x="175" y="142"/>
                    <a:pt x="178" y="142"/>
                  </a:cubicBezTo>
                  <a:close/>
                  <a:moveTo>
                    <a:pt x="149" y="132"/>
                  </a:moveTo>
                  <a:cubicBezTo>
                    <a:pt x="151" y="133"/>
                    <a:pt x="149" y="138"/>
                    <a:pt x="152" y="137"/>
                  </a:cubicBezTo>
                  <a:cubicBezTo>
                    <a:pt x="154" y="136"/>
                    <a:pt x="155" y="135"/>
                    <a:pt x="157" y="136"/>
                  </a:cubicBezTo>
                  <a:cubicBezTo>
                    <a:pt x="161" y="137"/>
                    <a:pt x="162" y="134"/>
                    <a:pt x="164" y="132"/>
                  </a:cubicBezTo>
                  <a:cubicBezTo>
                    <a:pt x="165" y="130"/>
                    <a:pt x="165" y="138"/>
                    <a:pt x="169" y="138"/>
                  </a:cubicBezTo>
                  <a:cubicBezTo>
                    <a:pt x="173" y="138"/>
                    <a:pt x="173" y="130"/>
                    <a:pt x="176" y="132"/>
                  </a:cubicBezTo>
                  <a:cubicBezTo>
                    <a:pt x="180" y="135"/>
                    <a:pt x="181" y="131"/>
                    <a:pt x="181" y="129"/>
                  </a:cubicBezTo>
                  <a:cubicBezTo>
                    <a:pt x="182" y="126"/>
                    <a:pt x="182" y="122"/>
                    <a:pt x="186" y="121"/>
                  </a:cubicBezTo>
                  <a:cubicBezTo>
                    <a:pt x="190" y="121"/>
                    <a:pt x="187" y="125"/>
                    <a:pt x="189" y="128"/>
                  </a:cubicBezTo>
                  <a:cubicBezTo>
                    <a:pt x="191" y="133"/>
                    <a:pt x="196" y="129"/>
                    <a:pt x="196" y="127"/>
                  </a:cubicBezTo>
                  <a:cubicBezTo>
                    <a:pt x="196" y="124"/>
                    <a:pt x="203" y="126"/>
                    <a:pt x="203" y="123"/>
                  </a:cubicBezTo>
                  <a:cubicBezTo>
                    <a:pt x="202" y="121"/>
                    <a:pt x="204" y="120"/>
                    <a:pt x="203" y="117"/>
                  </a:cubicBezTo>
                  <a:cubicBezTo>
                    <a:pt x="201" y="115"/>
                    <a:pt x="205" y="115"/>
                    <a:pt x="208" y="113"/>
                  </a:cubicBezTo>
                  <a:cubicBezTo>
                    <a:pt x="210" y="111"/>
                    <a:pt x="205" y="113"/>
                    <a:pt x="201" y="110"/>
                  </a:cubicBezTo>
                  <a:cubicBezTo>
                    <a:pt x="198" y="106"/>
                    <a:pt x="196" y="111"/>
                    <a:pt x="196" y="113"/>
                  </a:cubicBezTo>
                  <a:cubicBezTo>
                    <a:pt x="196" y="115"/>
                    <a:pt x="189" y="113"/>
                    <a:pt x="185" y="112"/>
                  </a:cubicBezTo>
                  <a:cubicBezTo>
                    <a:pt x="181" y="110"/>
                    <a:pt x="176" y="116"/>
                    <a:pt x="171" y="119"/>
                  </a:cubicBezTo>
                  <a:cubicBezTo>
                    <a:pt x="165" y="122"/>
                    <a:pt x="165" y="127"/>
                    <a:pt x="159" y="127"/>
                  </a:cubicBezTo>
                  <a:cubicBezTo>
                    <a:pt x="154" y="126"/>
                    <a:pt x="146" y="131"/>
                    <a:pt x="149" y="132"/>
                  </a:cubicBezTo>
                  <a:close/>
                  <a:moveTo>
                    <a:pt x="204" y="131"/>
                  </a:moveTo>
                  <a:cubicBezTo>
                    <a:pt x="199" y="131"/>
                    <a:pt x="200" y="136"/>
                    <a:pt x="205" y="136"/>
                  </a:cubicBezTo>
                  <a:cubicBezTo>
                    <a:pt x="211" y="136"/>
                    <a:pt x="213" y="138"/>
                    <a:pt x="205" y="137"/>
                  </a:cubicBezTo>
                  <a:cubicBezTo>
                    <a:pt x="196" y="137"/>
                    <a:pt x="193" y="144"/>
                    <a:pt x="199" y="143"/>
                  </a:cubicBezTo>
                  <a:cubicBezTo>
                    <a:pt x="204" y="141"/>
                    <a:pt x="211" y="141"/>
                    <a:pt x="207" y="143"/>
                  </a:cubicBezTo>
                  <a:cubicBezTo>
                    <a:pt x="203" y="144"/>
                    <a:pt x="191" y="145"/>
                    <a:pt x="193" y="147"/>
                  </a:cubicBezTo>
                  <a:cubicBezTo>
                    <a:pt x="194" y="149"/>
                    <a:pt x="198" y="148"/>
                    <a:pt x="203" y="150"/>
                  </a:cubicBezTo>
                  <a:cubicBezTo>
                    <a:pt x="208" y="152"/>
                    <a:pt x="210" y="153"/>
                    <a:pt x="214" y="149"/>
                  </a:cubicBezTo>
                  <a:cubicBezTo>
                    <a:pt x="218" y="145"/>
                    <a:pt x="222" y="141"/>
                    <a:pt x="220" y="147"/>
                  </a:cubicBezTo>
                  <a:cubicBezTo>
                    <a:pt x="219" y="152"/>
                    <a:pt x="226" y="148"/>
                    <a:pt x="236" y="148"/>
                  </a:cubicBezTo>
                  <a:cubicBezTo>
                    <a:pt x="245" y="147"/>
                    <a:pt x="234" y="153"/>
                    <a:pt x="224" y="154"/>
                  </a:cubicBezTo>
                  <a:cubicBezTo>
                    <a:pt x="214" y="155"/>
                    <a:pt x="216" y="160"/>
                    <a:pt x="224" y="162"/>
                  </a:cubicBezTo>
                  <a:cubicBezTo>
                    <a:pt x="231" y="163"/>
                    <a:pt x="248" y="157"/>
                    <a:pt x="252" y="153"/>
                  </a:cubicBezTo>
                  <a:cubicBezTo>
                    <a:pt x="256" y="149"/>
                    <a:pt x="260" y="155"/>
                    <a:pt x="264" y="152"/>
                  </a:cubicBezTo>
                  <a:cubicBezTo>
                    <a:pt x="267" y="149"/>
                    <a:pt x="275" y="152"/>
                    <a:pt x="282" y="151"/>
                  </a:cubicBezTo>
                  <a:cubicBezTo>
                    <a:pt x="288" y="149"/>
                    <a:pt x="290" y="137"/>
                    <a:pt x="285" y="134"/>
                  </a:cubicBezTo>
                  <a:cubicBezTo>
                    <a:pt x="280" y="132"/>
                    <a:pt x="280" y="137"/>
                    <a:pt x="276" y="138"/>
                  </a:cubicBezTo>
                  <a:cubicBezTo>
                    <a:pt x="272" y="138"/>
                    <a:pt x="270" y="133"/>
                    <a:pt x="266" y="130"/>
                  </a:cubicBezTo>
                  <a:cubicBezTo>
                    <a:pt x="263" y="127"/>
                    <a:pt x="265" y="121"/>
                    <a:pt x="261" y="122"/>
                  </a:cubicBezTo>
                  <a:cubicBezTo>
                    <a:pt x="256" y="122"/>
                    <a:pt x="246" y="130"/>
                    <a:pt x="252" y="131"/>
                  </a:cubicBezTo>
                  <a:cubicBezTo>
                    <a:pt x="258" y="131"/>
                    <a:pt x="256" y="134"/>
                    <a:pt x="253" y="136"/>
                  </a:cubicBezTo>
                  <a:cubicBezTo>
                    <a:pt x="250" y="137"/>
                    <a:pt x="260" y="140"/>
                    <a:pt x="259" y="142"/>
                  </a:cubicBezTo>
                  <a:cubicBezTo>
                    <a:pt x="257" y="144"/>
                    <a:pt x="241" y="142"/>
                    <a:pt x="240" y="139"/>
                  </a:cubicBezTo>
                  <a:cubicBezTo>
                    <a:pt x="240" y="135"/>
                    <a:pt x="227" y="129"/>
                    <a:pt x="221" y="130"/>
                  </a:cubicBezTo>
                  <a:cubicBezTo>
                    <a:pt x="216" y="132"/>
                    <a:pt x="218" y="126"/>
                    <a:pt x="213" y="126"/>
                  </a:cubicBezTo>
                  <a:cubicBezTo>
                    <a:pt x="208" y="125"/>
                    <a:pt x="209" y="130"/>
                    <a:pt x="204" y="131"/>
                  </a:cubicBezTo>
                  <a:close/>
                  <a:moveTo>
                    <a:pt x="223" y="105"/>
                  </a:moveTo>
                  <a:cubicBezTo>
                    <a:pt x="225" y="101"/>
                    <a:pt x="211" y="101"/>
                    <a:pt x="212" y="103"/>
                  </a:cubicBezTo>
                  <a:cubicBezTo>
                    <a:pt x="215" y="106"/>
                    <a:pt x="221" y="109"/>
                    <a:pt x="223" y="105"/>
                  </a:cubicBezTo>
                  <a:close/>
                  <a:moveTo>
                    <a:pt x="252" y="103"/>
                  </a:moveTo>
                  <a:cubicBezTo>
                    <a:pt x="257" y="102"/>
                    <a:pt x="255" y="99"/>
                    <a:pt x="247" y="100"/>
                  </a:cubicBezTo>
                  <a:cubicBezTo>
                    <a:pt x="240" y="101"/>
                    <a:pt x="227" y="101"/>
                    <a:pt x="227" y="106"/>
                  </a:cubicBezTo>
                  <a:cubicBezTo>
                    <a:pt x="227" y="111"/>
                    <a:pt x="230" y="113"/>
                    <a:pt x="238" y="113"/>
                  </a:cubicBezTo>
                  <a:cubicBezTo>
                    <a:pt x="246" y="114"/>
                    <a:pt x="253" y="106"/>
                    <a:pt x="249" y="106"/>
                  </a:cubicBezTo>
                  <a:cubicBezTo>
                    <a:pt x="245" y="106"/>
                    <a:pt x="248" y="104"/>
                    <a:pt x="252" y="103"/>
                  </a:cubicBezTo>
                  <a:close/>
                  <a:moveTo>
                    <a:pt x="235" y="96"/>
                  </a:moveTo>
                  <a:cubicBezTo>
                    <a:pt x="239" y="98"/>
                    <a:pt x="242" y="93"/>
                    <a:pt x="245" y="95"/>
                  </a:cubicBezTo>
                  <a:cubicBezTo>
                    <a:pt x="247" y="97"/>
                    <a:pt x="258" y="99"/>
                    <a:pt x="258" y="93"/>
                  </a:cubicBezTo>
                  <a:cubicBezTo>
                    <a:pt x="258" y="88"/>
                    <a:pt x="244" y="87"/>
                    <a:pt x="241" y="89"/>
                  </a:cubicBezTo>
                  <a:cubicBezTo>
                    <a:pt x="237" y="91"/>
                    <a:pt x="221" y="92"/>
                    <a:pt x="225" y="96"/>
                  </a:cubicBezTo>
                  <a:cubicBezTo>
                    <a:pt x="228" y="98"/>
                    <a:pt x="231" y="95"/>
                    <a:pt x="235" y="96"/>
                  </a:cubicBezTo>
                  <a:close/>
                  <a:moveTo>
                    <a:pt x="295" y="85"/>
                  </a:moveTo>
                  <a:cubicBezTo>
                    <a:pt x="299" y="82"/>
                    <a:pt x="307" y="87"/>
                    <a:pt x="305" y="90"/>
                  </a:cubicBezTo>
                  <a:cubicBezTo>
                    <a:pt x="304" y="93"/>
                    <a:pt x="291" y="90"/>
                    <a:pt x="292" y="92"/>
                  </a:cubicBezTo>
                  <a:cubicBezTo>
                    <a:pt x="293" y="93"/>
                    <a:pt x="294" y="98"/>
                    <a:pt x="303" y="95"/>
                  </a:cubicBezTo>
                  <a:cubicBezTo>
                    <a:pt x="311" y="93"/>
                    <a:pt x="318" y="95"/>
                    <a:pt x="324" y="99"/>
                  </a:cubicBezTo>
                  <a:cubicBezTo>
                    <a:pt x="330" y="104"/>
                    <a:pt x="335" y="106"/>
                    <a:pt x="339" y="101"/>
                  </a:cubicBezTo>
                  <a:cubicBezTo>
                    <a:pt x="343" y="96"/>
                    <a:pt x="334" y="96"/>
                    <a:pt x="336" y="92"/>
                  </a:cubicBezTo>
                  <a:cubicBezTo>
                    <a:pt x="338" y="88"/>
                    <a:pt x="330" y="86"/>
                    <a:pt x="326" y="86"/>
                  </a:cubicBezTo>
                  <a:cubicBezTo>
                    <a:pt x="322" y="86"/>
                    <a:pt x="321" y="79"/>
                    <a:pt x="318" y="81"/>
                  </a:cubicBezTo>
                  <a:cubicBezTo>
                    <a:pt x="315" y="82"/>
                    <a:pt x="312" y="85"/>
                    <a:pt x="312" y="80"/>
                  </a:cubicBezTo>
                  <a:cubicBezTo>
                    <a:pt x="312" y="75"/>
                    <a:pt x="294" y="75"/>
                    <a:pt x="289" y="77"/>
                  </a:cubicBezTo>
                  <a:cubicBezTo>
                    <a:pt x="285" y="78"/>
                    <a:pt x="290" y="88"/>
                    <a:pt x="295" y="85"/>
                  </a:cubicBezTo>
                  <a:close/>
                  <a:moveTo>
                    <a:pt x="297" y="115"/>
                  </a:moveTo>
                  <a:cubicBezTo>
                    <a:pt x="300" y="112"/>
                    <a:pt x="286" y="100"/>
                    <a:pt x="285" y="106"/>
                  </a:cubicBezTo>
                  <a:cubicBezTo>
                    <a:pt x="284" y="111"/>
                    <a:pt x="294" y="119"/>
                    <a:pt x="297" y="115"/>
                  </a:cubicBezTo>
                  <a:close/>
                  <a:moveTo>
                    <a:pt x="343" y="68"/>
                  </a:moveTo>
                  <a:cubicBezTo>
                    <a:pt x="346" y="64"/>
                    <a:pt x="328" y="61"/>
                    <a:pt x="333" y="65"/>
                  </a:cubicBezTo>
                  <a:cubicBezTo>
                    <a:pt x="335" y="67"/>
                    <a:pt x="341" y="73"/>
                    <a:pt x="343" y="68"/>
                  </a:cubicBezTo>
                  <a:close/>
                  <a:moveTo>
                    <a:pt x="303" y="149"/>
                  </a:moveTo>
                  <a:cubicBezTo>
                    <a:pt x="306" y="147"/>
                    <a:pt x="298" y="141"/>
                    <a:pt x="296" y="146"/>
                  </a:cubicBezTo>
                  <a:cubicBezTo>
                    <a:pt x="293" y="151"/>
                    <a:pt x="301" y="152"/>
                    <a:pt x="303" y="149"/>
                  </a:cubicBezTo>
                  <a:close/>
                  <a:moveTo>
                    <a:pt x="343" y="124"/>
                  </a:moveTo>
                  <a:cubicBezTo>
                    <a:pt x="343" y="128"/>
                    <a:pt x="335" y="124"/>
                    <a:pt x="328" y="121"/>
                  </a:cubicBezTo>
                  <a:cubicBezTo>
                    <a:pt x="322" y="119"/>
                    <a:pt x="326" y="126"/>
                    <a:pt x="331" y="131"/>
                  </a:cubicBezTo>
                  <a:cubicBezTo>
                    <a:pt x="336" y="135"/>
                    <a:pt x="328" y="133"/>
                    <a:pt x="322" y="128"/>
                  </a:cubicBezTo>
                  <a:cubicBezTo>
                    <a:pt x="315" y="123"/>
                    <a:pt x="316" y="131"/>
                    <a:pt x="319" y="134"/>
                  </a:cubicBezTo>
                  <a:cubicBezTo>
                    <a:pt x="322" y="136"/>
                    <a:pt x="318" y="140"/>
                    <a:pt x="314" y="134"/>
                  </a:cubicBezTo>
                  <a:cubicBezTo>
                    <a:pt x="310" y="128"/>
                    <a:pt x="307" y="122"/>
                    <a:pt x="301" y="122"/>
                  </a:cubicBezTo>
                  <a:cubicBezTo>
                    <a:pt x="294" y="122"/>
                    <a:pt x="297" y="129"/>
                    <a:pt x="300" y="132"/>
                  </a:cubicBezTo>
                  <a:cubicBezTo>
                    <a:pt x="303" y="137"/>
                    <a:pt x="307" y="138"/>
                    <a:pt x="312" y="141"/>
                  </a:cubicBezTo>
                  <a:cubicBezTo>
                    <a:pt x="318" y="144"/>
                    <a:pt x="327" y="139"/>
                    <a:pt x="332" y="141"/>
                  </a:cubicBezTo>
                  <a:cubicBezTo>
                    <a:pt x="336" y="142"/>
                    <a:pt x="327" y="147"/>
                    <a:pt x="330" y="151"/>
                  </a:cubicBezTo>
                  <a:cubicBezTo>
                    <a:pt x="333" y="154"/>
                    <a:pt x="341" y="152"/>
                    <a:pt x="347" y="151"/>
                  </a:cubicBezTo>
                  <a:cubicBezTo>
                    <a:pt x="353" y="151"/>
                    <a:pt x="350" y="147"/>
                    <a:pt x="353" y="145"/>
                  </a:cubicBezTo>
                  <a:cubicBezTo>
                    <a:pt x="357" y="142"/>
                    <a:pt x="350" y="143"/>
                    <a:pt x="353" y="137"/>
                  </a:cubicBezTo>
                  <a:cubicBezTo>
                    <a:pt x="356" y="131"/>
                    <a:pt x="344" y="121"/>
                    <a:pt x="343" y="124"/>
                  </a:cubicBezTo>
                  <a:close/>
                  <a:moveTo>
                    <a:pt x="358" y="103"/>
                  </a:moveTo>
                  <a:cubicBezTo>
                    <a:pt x="364" y="103"/>
                    <a:pt x="368" y="103"/>
                    <a:pt x="373" y="101"/>
                  </a:cubicBezTo>
                  <a:cubicBezTo>
                    <a:pt x="377" y="99"/>
                    <a:pt x="370" y="99"/>
                    <a:pt x="373" y="95"/>
                  </a:cubicBezTo>
                  <a:cubicBezTo>
                    <a:pt x="377" y="91"/>
                    <a:pt x="366" y="90"/>
                    <a:pt x="365" y="92"/>
                  </a:cubicBezTo>
                  <a:cubicBezTo>
                    <a:pt x="364" y="93"/>
                    <a:pt x="350" y="83"/>
                    <a:pt x="348" y="86"/>
                  </a:cubicBezTo>
                  <a:cubicBezTo>
                    <a:pt x="346" y="90"/>
                    <a:pt x="353" y="103"/>
                    <a:pt x="358" y="103"/>
                  </a:cubicBezTo>
                  <a:close/>
                  <a:moveTo>
                    <a:pt x="387" y="105"/>
                  </a:moveTo>
                  <a:cubicBezTo>
                    <a:pt x="387" y="103"/>
                    <a:pt x="360" y="106"/>
                    <a:pt x="364" y="110"/>
                  </a:cubicBezTo>
                  <a:cubicBezTo>
                    <a:pt x="371" y="115"/>
                    <a:pt x="388" y="107"/>
                    <a:pt x="387" y="105"/>
                  </a:cubicBezTo>
                  <a:close/>
                  <a:moveTo>
                    <a:pt x="383" y="157"/>
                  </a:moveTo>
                  <a:cubicBezTo>
                    <a:pt x="390" y="157"/>
                    <a:pt x="387" y="149"/>
                    <a:pt x="379" y="144"/>
                  </a:cubicBezTo>
                  <a:cubicBezTo>
                    <a:pt x="372" y="138"/>
                    <a:pt x="356" y="149"/>
                    <a:pt x="359" y="152"/>
                  </a:cubicBezTo>
                  <a:cubicBezTo>
                    <a:pt x="362" y="154"/>
                    <a:pt x="377" y="158"/>
                    <a:pt x="383" y="157"/>
                  </a:cubicBezTo>
                  <a:close/>
                  <a:moveTo>
                    <a:pt x="338" y="207"/>
                  </a:moveTo>
                  <a:cubicBezTo>
                    <a:pt x="346" y="213"/>
                    <a:pt x="343" y="203"/>
                    <a:pt x="352" y="203"/>
                  </a:cubicBezTo>
                  <a:cubicBezTo>
                    <a:pt x="361" y="204"/>
                    <a:pt x="361" y="189"/>
                    <a:pt x="363" y="184"/>
                  </a:cubicBezTo>
                  <a:cubicBezTo>
                    <a:pt x="364" y="178"/>
                    <a:pt x="356" y="179"/>
                    <a:pt x="358" y="183"/>
                  </a:cubicBezTo>
                  <a:cubicBezTo>
                    <a:pt x="360" y="187"/>
                    <a:pt x="357" y="190"/>
                    <a:pt x="357" y="186"/>
                  </a:cubicBezTo>
                  <a:cubicBezTo>
                    <a:pt x="356" y="181"/>
                    <a:pt x="349" y="185"/>
                    <a:pt x="347" y="182"/>
                  </a:cubicBezTo>
                  <a:cubicBezTo>
                    <a:pt x="344" y="178"/>
                    <a:pt x="354" y="178"/>
                    <a:pt x="357" y="173"/>
                  </a:cubicBezTo>
                  <a:cubicBezTo>
                    <a:pt x="359" y="169"/>
                    <a:pt x="349" y="169"/>
                    <a:pt x="351" y="166"/>
                  </a:cubicBezTo>
                  <a:cubicBezTo>
                    <a:pt x="354" y="162"/>
                    <a:pt x="336" y="166"/>
                    <a:pt x="341" y="168"/>
                  </a:cubicBezTo>
                  <a:cubicBezTo>
                    <a:pt x="346" y="171"/>
                    <a:pt x="341" y="173"/>
                    <a:pt x="336" y="170"/>
                  </a:cubicBezTo>
                  <a:cubicBezTo>
                    <a:pt x="331" y="166"/>
                    <a:pt x="317" y="172"/>
                    <a:pt x="322" y="176"/>
                  </a:cubicBezTo>
                  <a:cubicBezTo>
                    <a:pt x="326" y="179"/>
                    <a:pt x="338" y="174"/>
                    <a:pt x="331" y="183"/>
                  </a:cubicBezTo>
                  <a:cubicBezTo>
                    <a:pt x="325" y="193"/>
                    <a:pt x="322" y="181"/>
                    <a:pt x="315" y="182"/>
                  </a:cubicBezTo>
                  <a:cubicBezTo>
                    <a:pt x="309" y="183"/>
                    <a:pt x="312" y="191"/>
                    <a:pt x="321" y="194"/>
                  </a:cubicBezTo>
                  <a:cubicBezTo>
                    <a:pt x="331" y="197"/>
                    <a:pt x="330" y="202"/>
                    <a:pt x="338" y="207"/>
                  </a:cubicBezTo>
                  <a:close/>
                  <a:moveTo>
                    <a:pt x="396" y="150"/>
                  </a:moveTo>
                  <a:cubicBezTo>
                    <a:pt x="398" y="157"/>
                    <a:pt x="401" y="152"/>
                    <a:pt x="405" y="155"/>
                  </a:cubicBezTo>
                  <a:cubicBezTo>
                    <a:pt x="409" y="158"/>
                    <a:pt x="415" y="160"/>
                    <a:pt x="418" y="157"/>
                  </a:cubicBezTo>
                  <a:cubicBezTo>
                    <a:pt x="422" y="154"/>
                    <a:pt x="423" y="152"/>
                    <a:pt x="424" y="154"/>
                  </a:cubicBezTo>
                  <a:cubicBezTo>
                    <a:pt x="426" y="159"/>
                    <a:pt x="434" y="159"/>
                    <a:pt x="451" y="159"/>
                  </a:cubicBezTo>
                  <a:cubicBezTo>
                    <a:pt x="468" y="160"/>
                    <a:pt x="464" y="152"/>
                    <a:pt x="469" y="155"/>
                  </a:cubicBezTo>
                  <a:cubicBezTo>
                    <a:pt x="474" y="158"/>
                    <a:pt x="485" y="158"/>
                    <a:pt x="490" y="157"/>
                  </a:cubicBezTo>
                  <a:cubicBezTo>
                    <a:pt x="495" y="156"/>
                    <a:pt x="498" y="148"/>
                    <a:pt x="497" y="144"/>
                  </a:cubicBezTo>
                  <a:cubicBezTo>
                    <a:pt x="497" y="140"/>
                    <a:pt x="459" y="137"/>
                    <a:pt x="452" y="141"/>
                  </a:cubicBezTo>
                  <a:cubicBezTo>
                    <a:pt x="445" y="145"/>
                    <a:pt x="434" y="139"/>
                    <a:pt x="429" y="142"/>
                  </a:cubicBezTo>
                  <a:cubicBezTo>
                    <a:pt x="424" y="145"/>
                    <a:pt x="425" y="138"/>
                    <a:pt x="416" y="138"/>
                  </a:cubicBezTo>
                  <a:cubicBezTo>
                    <a:pt x="406" y="138"/>
                    <a:pt x="417" y="133"/>
                    <a:pt x="418" y="131"/>
                  </a:cubicBezTo>
                  <a:cubicBezTo>
                    <a:pt x="420" y="128"/>
                    <a:pt x="404" y="123"/>
                    <a:pt x="397" y="124"/>
                  </a:cubicBezTo>
                  <a:cubicBezTo>
                    <a:pt x="390" y="126"/>
                    <a:pt x="386" y="122"/>
                    <a:pt x="380" y="119"/>
                  </a:cubicBezTo>
                  <a:cubicBezTo>
                    <a:pt x="373" y="116"/>
                    <a:pt x="356" y="117"/>
                    <a:pt x="359" y="122"/>
                  </a:cubicBezTo>
                  <a:cubicBezTo>
                    <a:pt x="362" y="126"/>
                    <a:pt x="383" y="133"/>
                    <a:pt x="385" y="129"/>
                  </a:cubicBezTo>
                  <a:cubicBezTo>
                    <a:pt x="387" y="126"/>
                    <a:pt x="392" y="134"/>
                    <a:pt x="395" y="138"/>
                  </a:cubicBezTo>
                  <a:cubicBezTo>
                    <a:pt x="399" y="142"/>
                    <a:pt x="393" y="143"/>
                    <a:pt x="396" y="150"/>
                  </a:cubicBezTo>
                  <a:close/>
                  <a:moveTo>
                    <a:pt x="414" y="108"/>
                  </a:moveTo>
                  <a:cubicBezTo>
                    <a:pt x="408" y="105"/>
                    <a:pt x="400" y="112"/>
                    <a:pt x="406" y="114"/>
                  </a:cubicBezTo>
                  <a:cubicBezTo>
                    <a:pt x="412" y="116"/>
                    <a:pt x="420" y="111"/>
                    <a:pt x="414" y="108"/>
                  </a:cubicBezTo>
                  <a:close/>
                  <a:moveTo>
                    <a:pt x="363" y="68"/>
                  </a:moveTo>
                  <a:cubicBezTo>
                    <a:pt x="368" y="71"/>
                    <a:pt x="365" y="74"/>
                    <a:pt x="371" y="77"/>
                  </a:cubicBezTo>
                  <a:cubicBezTo>
                    <a:pt x="376" y="79"/>
                    <a:pt x="393" y="73"/>
                    <a:pt x="394" y="77"/>
                  </a:cubicBezTo>
                  <a:cubicBezTo>
                    <a:pt x="395" y="81"/>
                    <a:pt x="377" y="82"/>
                    <a:pt x="380" y="84"/>
                  </a:cubicBezTo>
                  <a:cubicBezTo>
                    <a:pt x="382" y="87"/>
                    <a:pt x="393" y="91"/>
                    <a:pt x="391" y="93"/>
                  </a:cubicBezTo>
                  <a:cubicBezTo>
                    <a:pt x="390" y="95"/>
                    <a:pt x="408" y="101"/>
                    <a:pt x="410" y="98"/>
                  </a:cubicBezTo>
                  <a:cubicBezTo>
                    <a:pt x="412" y="95"/>
                    <a:pt x="417" y="96"/>
                    <a:pt x="422" y="98"/>
                  </a:cubicBezTo>
                  <a:cubicBezTo>
                    <a:pt x="426" y="100"/>
                    <a:pt x="427" y="87"/>
                    <a:pt x="430" y="89"/>
                  </a:cubicBezTo>
                  <a:cubicBezTo>
                    <a:pt x="433" y="91"/>
                    <a:pt x="433" y="84"/>
                    <a:pt x="438" y="82"/>
                  </a:cubicBezTo>
                  <a:cubicBezTo>
                    <a:pt x="443" y="80"/>
                    <a:pt x="451" y="80"/>
                    <a:pt x="451" y="77"/>
                  </a:cubicBezTo>
                  <a:cubicBezTo>
                    <a:pt x="452" y="76"/>
                    <a:pt x="450" y="73"/>
                    <a:pt x="444" y="74"/>
                  </a:cubicBezTo>
                  <a:cubicBezTo>
                    <a:pt x="437" y="75"/>
                    <a:pt x="433" y="72"/>
                    <a:pt x="436" y="68"/>
                  </a:cubicBezTo>
                  <a:cubicBezTo>
                    <a:pt x="439" y="65"/>
                    <a:pt x="429" y="64"/>
                    <a:pt x="432" y="61"/>
                  </a:cubicBezTo>
                  <a:cubicBezTo>
                    <a:pt x="436" y="58"/>
                    <a:pt x="425" y="55"/>
                    <a:pt x="427" y="60"/>
                  </a:cubicBezTo>
                  <a:cubicBezTo>
                    <a:pt x="428" y="64"/>
                    <a:pt x="420" y="60"/>
                    <a:pt x="419" y="56"/>
                  </a:cubicBezTo>
                  <a:cubicBezTo>
                    <a:pt x="418" y="52"/>
                    <a:pt x="403" y="51"/>
                    <a:pt x="394" y="42"/>
                  </a:cubicBezTo>
                  <a:cubicBezTo>
                    <a:pt x="384" y="34"/>
                    <a:pt x="374" y="39"/>
                    <a:pt x="380" y="40"/>
                  </a:cubicBezTo>
                  <a:cubicBezTo>
                    <a:pt x="386" y="41"/>
                    <a:pt x="385" y="44"/>
                    <a:pt x="381" y="44"/>
                  </a:cubicBezTo>
                  <a:cubicBezTo>
                    <a:pt x="376" y="44"/>
                    <a:pt x="368" y="44"/>
                    <a:pt x="375" y="47"/>
                  </a:cubicBezTo>
                  <a:cubicBezTo>
                    <a:pt x="383" y="50"/>
                    <a:pt x="374" y="51"/>
                    <a:pt x="368" y="51"/>
                  </a:cubicBezTo>
                  <a:cubicBezTo>
                    <a:pt x="362" y="51"/>
                    <a:pt x="362" y="59"/>
                    <a:pt x="370" y="60"/>
                  </a:cubicBezTo>
                  <a:cubicBezTo>
                    <a:pt x="378" y="61"/>
                    <a:pt x="372" y="66"/>
                    <a:pt x="366" y="64"/>
                  </a:cubicBezTo>
                  <a:cubicBezTo>
                    <a:pt x="359" y="62"/>
                    <a:pt x="357" y="65"/>
                    <a:pt x="363" y="68"/>
                  </a:cubicBezTo>
                  <a:close/>
                  <a:moveTo>
                    <a:pt x="406" y="33"/>
                  </a:moveTo>
                  <a:cubicBezTo>
                    <a:pt x="411" y="30"/>
                    <a:pt x="415" y="32"/>
                    <a:pt x="410" y="34"/>
                  </a:cubicBezTo>
                  <a:cubicBezTo>
                    <a:pt x="406" y="36"/>
                    <a:pt x="408" y="37"/>
                    <a:pt x="414" y="37"/>
                  </a:cubicBezTo>
                  <a:cubicBezTo>
                    <a:pt x="420" y="37"/>
                    <a:pt x="411" y="39"/>
                    <a:pt x="411" y="42"/>
                  </a:cubicBezTo>
                  <a:cubicBezTo>
                    <a:pt x="411" y="46"/>
                    <a:pt x="418" y="44"/>
                    <a:pt x="419" y="47"/>
                  </a:cubicBezTo>
                  <a:cubicBezTo>
                    <a:pt x="419" y="51"/>
                    <a:pt x="434" y="52"/>
                    <a:pt x="439" y="48"/>
                  </a:cubicBezTo>
                  <a:cubicBezTo>
                    <a:pt x="444" y="44"/>
                    <a:pt x="442" y="49"/>
                    <a:pt x="442" y="52"/>
                  </a:cubicBezTo>
                  <a:cubicBezTo>
                    <a:pt x="441" y="55"/>
                    <a:pt x="463" y="57"/>
                    <a:pt x="464" y="54"/>
                  </a:cubicBezTo>
                  <a:cubicBezTo>
                    <a:pt x="465" y="50"/>
                    <a:pt x="469" y="52"/>
                    <a:pt x="473" y="53"/>
                  </a:cubicBezTo>
                  <a:cubicBezTo>
                    <a:pt x="477" y="54"/>
                    <a:pt x="498" y="49"/>
                    <a:pt x="499" y="45"/>
                  </a:cubicBezTo>
                  <a:cubicBezTo>
                    <a:pt x="499" y="40"/>
                    <a:pt x="505" y="47"/>
                    <a:pt x="499" y="51"/>
                  </a:cubicBezTo>
                  <a:cubicBezTo>
                    <a:pt x="492" y="56"/>
                    <a:pt x="478" y="55"/>
                    <a:pt x="472" y="57"/>
                  </a:cubicBezTo>
                  <a:cubicBezTo>
                    <a:pt x="466" y="59"/>
                    <a:pt x="476" y="63"/>
                    <a:pt x="482" y="68"/>
                  </a:cubicBezTo>
                  <a:cubicBezTo>
                    <a:pt x="488" y="72"/>
                    <a:pt x="474" y="70"/>
                    <a:pt x="469" y="64"/>
                  </a:cubicBezTo>
                  <a:cubicBezTo>
                    <a:pt x="463" y="58"/>
                    <a:pt x="450" y="58"/>
                    <a:pt x="443" y="58"/>
                  </a:cubicBezTo>
                  <a:cubicBezTo>
                    <a:pt x="437" y="59"/>
                    <a:pt x="439" y="71"/>
                    <a:pt x="444" y="71"/>
                  </a:cubicBezTo>
                  <a:cubicBezTo>
                    <a:pt x="449" y="71"/>
                    <a:pt x="454" y="73"/>
                    <a:pt x="459" y="81"/>
                  </a:cubicBezTo>
                  <a:cubicBezTo>
                    <a:pt x="464" y="88"/>
                    <a:pt x="474" y="87"/>
                    <a:pt x="474" y="90"/>
                  </a:cubicBezTo>
                  <a:cubicBezTo>
                    <a:pt x="474" y="94"/>
                    <a:pt x="460" y="87"/>
                    <a:pt x="453" y="86"/>
                  </a:cubicBezTo>
                  <a:cubicBezTo>
                    <a:pt x="445" y="85"/>
                    <a:pt x="432" y="90"/>
                    <a:pt x="432" y="95"/>
                  </a:cubicBezTo>
                  <a:cubicBezTo>
                    <a:pt x="432" y="101"/>
                    <a:pt x="443" y="100"/>
                    <a:pt x="451" y="96"/>
                  </a:cubicBezTo>
                  <a:cubicBezTo>
                    <a:pt x="459" y="91"/>
                    <a:pt x="453" y="97"/>
                    <a:pt x="449" y="101"/>
                  </a:cubicBezTo>
                  <a:cubicBezTo>
                    <a:pt x="445" y="104"/>
                    <a:pt x="459" y="107"/>
                    <a:pt x="459" y="111"/>
                  </a:cubicBezTo>
                  <a:cubicBezTo>
                    <a:pt x="459" y="116"/>
                    <a:pt x="449" y="114"/>
                    <a:pt x="448" y="110"/>
                  </a:cubicBezTo>
                  <a:cubicBezTo>
                    <a:pt x="447" y="106"/>
                    <a:pt x="443" y="102"/>
                    <a:pt x="434" y="103"/>
                  </a:cubicBezTo>
                  <a:cubicBezTo>
                    <a:pt x="425" y="104"/>
                    <a:pt x="427" y="110"/>
                    <a:pt x="433" y="111"/>
                  </a:cubicBezTo>
                  <a:cubicBezTo>
                    <a:pt x="439" y="112"/>
                    <a:pt x="439" y="116"/>
                    <a:pt x="433" y="116"/>
                  </a:cubicBezTo>
                  <a:cubicBezTo>
                    <a:pt x="426" y="116"/>
                    <a:pt x="412" y="120"/>
                    <a:pt x="416" y="124"/>
                  </a:cubicBezTo>
                  <a:cubicBezTo>
                    <a:pt x="421" y="129"/>
                    <a:pt x="439" y="124"/>
                    <a:pt x="443" y="127"/>
                  </a:cubicBezTo>
                  <a:cubicBezTo>
                    <a:pt x="446" y="130"/>
                    <a:pt x="455" y="131"/>
                    <a:pt x="457" y="128"/>
                  </a:cubicBezTo>
                  <a:cubicBezTo>
                    <a:pt x="459" y="124"/>
                    <a:pt x="466" y="126"/>
                    <a:pt x="473" y="126"/>
                  </a:cubicBezTo>
                  <a:cubicBezTo>
                    <a:pt x="480" y="126"/>
                    <a:pt x="482" y="127"/>
                    <a:pt x="485" y="130"/>
                  </a:cubicBezTo>
                  <a:cubicBezTo>
                    <a:pt x="489" y="133"/>
                    <a:pt x="494" y="132"/>
                    <a:pt x="498" y="129"/>
                  </a:cubicBezTo>
                  <a:cubicBezTo>
                    <a:pt x="502" y="126"/>
                    <a:pt x="502" y="126"/>
                    <a:pt x="507" y="126"/>
                  </a:cubicBezTo>
                  <a:cubicBezTo>
                    <a:pt x="512" y="126"/>
                    <a:pt x="513" y="123"/>
                    <a:pt x="511" y="119"/>
                  </a:cubicBezTo>
                  <a:cubicBezTo>
                    <a:pt x="508" y="115"/>
                    <a:pt x="502" y="122"/>
                    <a:pt x="501" y="119"/>
                  </a:cubicBezTo>
                  <a:cubicBezTo>
                    <a:pt x="500" y="115"/>
                    <a:pt x="494" y="114"/>
                    <a:pt x="484" y="116"/>
                  </a:cubicBezTo>
                  <a:cubicBezTo>
                    <a:pt x="474" y="117"/>
                    <a:pt x="479" y="109"/>
                    <a:pt x="485" y="111"/>
                  </a:cubicBezTo>
                  <a:cubicBezTo>
                    <a:pt x="491" y="113"/>
                    <a:pt x="499" y="112"/>
                    <a:pt x="506" y="110"/>
                  </a:cubicBezTo>
                  <a:cubicBezTo>
                    <a:pt x="512" y="108"/>
                    <a:pt x="507" y="105"/>
                    <a:pt x="507" y="102"/>
                  </a:cubicBezTo>
                  <a:cubicBezTo>
                    <a:pt x="507" y="100"/>
                    <a:pt x="516" y="101"/>
                    <a:pt x="522" y="101"/>
                  </a:cubicBezTo>
                  <a:cubicBezTo>
                    <a:pt x="529" y="101"/>
                    <a:pt x="538" y="91"/>
                    <a:pt x="538" y="85"/>
                  </a:cubicBezTo>
                  <a:cubicBezTo>
                    <a:pt x="539" y="79"/>
                    <a:pt x="524" y="80"/>
                    <a:pt x="517" y="80"/>
                  </a:cubicBezTo>
                  <a:cubicBezTo>
                    <a:pt x="510" y="80"/>
                    <a:pt x="521" y="75"/>
                    <a:pt x="535" y="76"/>
                  </a:cubicBezTo>
                  <a:cubicBezTo>
                    <a:pt x="549" y="76"/>
                    <a:pt x="542" y="70"/>
                    <a:pt x="545" y="68"/>
                  </a:cubicBezTo>
                  <a:cubicBezTo>
                    <a:pt x="547" y="66"/>
                    <a:pt x="554" y="71"/>
                    <a:pt x="561" y="69"/>
                  </a:cubicBezTo>
                  <a:cubicBezTo>
                    <a:pt x="567" y="68"/>
                    <a:pt x="563" y="62"/>
                    <a:pt x="567" y="62"/>
                  </a:cubicBezTo>
                  <a:cubicBezTo>
                    <a:pt x="571" y="62"/>
                    <a:pt x="578" y="57"/>
                    <a:pt x="593" y="49"/>
                  </a:cubicBezTo>
                  <a:cubicBezTo>
                    <a:pt x="607" y="41"/>
                    <a:pt x="619" y="42"/>
                    <a:pt x="619" y="37"/>
                  </a:cubicBezTo>
                  <a:cubicBezTo>
                    <a:pt x="620" y="33"/>
                    <a:pt x="599" y="37"/>
                    <a:pt x="596" y="36"/>
                  </a:cubicBezTo>
                  <a:cubicBezTo>
                    <a:pt x="592" y="35"/>
                    <a:pt x="610" y="31"/>
                    <a:pt x="615" y="32"/>
                  </a:cubicBezTo>
                  <a:cubicBezTo>
                    <a:pt x="619" y="33"/>
                    <a:pt x="624" y="32"/>
                    <a:pt x="639" y="25"/>
                  </a:cubicBezTo>
                  <a:cubicBezTo>
                    <a:pt x="654" y="17"/>
                    <a:pt x="647" y="16"/>
                    <a:pt x="641" y="17"/>
                  </a:cubicBezTo>
                  <a:cubicBezTo>
                    <a:pt x="635" y="18"/>
                    <a:pt x="628" y="16"/>
                    <a:pt x="629" y="12"/>
                  </a:cubicBezTo>
                  <a:cubicBezTo>
                    <a:pt x="629" y="8"/>
                    <a:pt x="620" y="11"/>
                    <a:pt x="619" y="9"/>
                  </a:cubicBezTo>
                  <a:cubicBezTo>
                    <a:pt x="619" y="7"/>
                    <a:pt x="611" y="8"/>
                    <a:pt x="601" y="12"/>
                  </a:cubicBezTo>
                  <a:cubicBezTo>
                    <a:pt x="592" y="15"/>
                    <a:pt x="601" y="8"/>
                    <a:pt x="605" y="7"/>
                  </a:cubicBezTo>
                  <a:cubicBezTo>
                    <a:pt x="608" y="5"/>
                    <a:pt x="581" y="7"/>
                    <a:pt x="576" y="4"/>
                  </a:cubicBezTo>
                  <a:cubicBezTo>
                    <a:pt x="572" y="0"/>
                    <a:pt x="566" y="9"/>
                    <a:pt x="562" y="5"/>
                  </a:cubicBezTo>
                  <a:cubicBezTo>
                    <a:pt x="558" y="0"/>
                    <a:pt x="547" y="4"/>
                    <a:pt x="548" y="7"/>
                  </a:cubicBezTo>
                  <a:cubicBezTo>
                    <a:pt x="550" y="10"/>
                    <a:pt x="546" y="10"/>
                    <a:pt x="542" y="7"/>
                  </a:cubicBezTo>
                  <a:cubicBezTo>
                    <a:pt x="538" y="3"/>
                    <a:pt x="530" y="7"/>
                    <a:pt x="522" y="6"/>
                  </a:cubicBezTo>
                  <a:cubicBezTo>
                    <a:pt x="515" y="5"/>
                    <a:pt x="518" y="12"/>
                    <a:pt x="510" y="9"/>
                  </a:cubicBezTo>
                  <a:cubicBezTo>
                    <a:pt x="501" y="5"/>
                    <a:pt x="493" y="7"/>
                    <a:pt x="495" y="8"/>
                  </a:cubicBezTo>
                  <a:cubicBezTo>
                    <a:pt x="498" y="9"/>
                    <a:pt x="494" y="11"/>
                    <a:pt x="491" y="10"/>
                  </a:cubicBezTo>
                  <a:cubicBezTo>
                    <a:pt x="487" y="9"/>
                    <a:pt x="484" y="10"/>
                    <a:pt x="486" y="14"/>
                  </a:cubicBezTo>
                  <a:cubicBezTo>
                    <a:pt x="488" y="17"/>
                    <a:pt x="473" y="13"/>
                    <a:pt x="473" y="17"/>
                  </a:cubicBezTo>
                  <a:cubicBezTo>
                    <a:pt x="473" y="21"/>
                    <a:pt x="467" y="23"/>
                    <a:pt x="463" y="19"/>
                  </a:cubicBezTo>
                  <a:cubicBezTo>
                    <a:pt x="459" y="16"/>
                    <a:pt x="445" y="15"/>
                    <a:pt x="449" y="18"/>
                  </a:cubicBezTo>
                  <a:cubicBezTo>
                    <a:pt x="453" y="21"/>
                    <a:pt x="437" y="19"/>
                    <a:pt x="441" y="22"/>
                  </a:cubicBezTo>
                  <a:cubicBezTo>
                    <a:pt x="445" y="26"/>
                    <a:pt x="436" y="28"/>
                    <a:pt x="436" y="26"/>
                  </a:cubicBezTo>
                  <a:cubicBezTo>
                    <a:pt x="436" y="25"/>
                    <a:pt x="427" y="21"/>
                    <a:pt x="423" y="25"/>
                  </a:cubicBezTo>
                  <a:cubicBezTo>
                    <a:pt x="420" y="28"/>
                    <a:pt x="419" y="32"/>
                    <a:pt x="417" y="30"/>
                  </a:cubicBezTo>
                  <a:cubicBezTo>
                    <a:pt x="415" y="27"/>
                    <a:pt x="407" y="28"/>
                    <a:pt x="400" y="31"/>
                  </a:cubicBezTo>
                  <a:cubicBezTo>
                    <a:pt x="392" y="34"/>
                    <a:pt x="401" y="36"/>
                    <a:pt x="406" y="33"/>
                  </a:cubicBezTo>
                  <a:close/>
                  <a:moveTo>
                    <a:pt x="496" y="341"/>
                  </a:moveTo>
                  <a:cubicBezTo>
                    <a:pt x="498" y="340"/>
                    <a:pt x="503" y="331"/>
                    <a:pt x="497" y="332"/>
                  </a:cubicBezTo>
                  <a:cubicBezTo>
                    <a:pt x="490" y="332"/>
                    <a:pt x="492" y="341"/>
                    <a:pt x="496" y="341"/>
                  </a:cubicBezTo>
                  <a:close/>
                  <a:moveTo>
                    <a:pt x="464" y="333"/>
                  </a:moveTo>
                  <a:cubicBezTo>
                    <a:pt x="470" y="336"/>
                    <a:pt x="479" y="327"/>
                    <a:pt x="478" y="324"/>
                  </a:cubicBezTo>
                  <a:cubicBezTo>
                    <a:pt x="477" y="321"/>
                    <a:pt x="457" y="329"/>
                    <a:pt x="464" y="333"/>
                  </a:cubicBezTo>
                  <a:close/>
                  <a:moveTo>
                    <a:pt x="490" y="313"/>
                  </a:moveTo>
                  <a:cubicBezTo>
                    <a:pt x="491" y="310"/>
                    <a:pt x="478" y="308"/>
                    <a:pt x="479" y="304"/>
                  </a:cubicBezTo>
                  <a:cubicBezTo>
                    <a:pt x="480" y="300"/>
                    <a:pt x="467" y="297"/>
                    <a:pt x="463" y="295"/>
                  </a:cubicBezTo>
                  <a:cubicBezTo>
                    <a:pt x="459" y="293"/>
                    <a:pt x="453" y="292"/>
                    <a:pt x="453" y="288"/>
                  </a:cubicBezTo>
                  <a:cubicBezTo>
                    <a:pt x="453" y="283"/>
                    <a:pt x="445" y="286"/>
                    <a:pt x="444" y="293"/>
                  </a:cubicBezTo>
                  <a:cubicBezTo>
                    <a:pt x="444" y="299"/>
                    <a:pt x="440" y="298"/>
                    <a:pt x="442" y="304"/>
                  </a:cubicBezTo>
                  <a:cubicBezTo>
                    <a:pt x="444" y="310"/>
                    <a:pt x="434" y="311"/>
                    <a:pt x="435" y="315"/>
                  </a:cubicBezTo>
                  <a:cubicBezTo>
                    <a:pt x="437" y="318"/>
                    <a:pt x="441" y="314"/>
                    <a:pt x="445" y="314"/>
                  </a:cubicBezTo>
                  <a:cubicBezTo>
                    <a:pt x="450" y="314"/>
                    <a:pt x="444" y="320"/>
                    <a:pt x="450" y="321"/>
                  </a:cubicBezTo>
                  <a:cubicBezTo>
                    <a:pt x="454" y="321"/>
                    <a:pt x="461" y="316"/>
                    <a:pt x="463" y="313"/>
                  </a:cubicBezTo>
                  <a:cubicBezTo>
                    <a:pt x="465" y="310"/>
                    <a:pt x="469" y="309"/>
                    <a:pt x="474" y="313"/>
                  </a:cubicBezTo>
                  <a:cubicBezTo>
                    <a:pt x="479" y="316"/>
                    <a:pt x="489" y="317"/>
                    <a:pt x="490" y="313"/>
                  </a:cubicBezTo>
                  <a:close/>
                  <a:moveTo>
                    <a:pt x="607" y="282"/>
                  </a:moveTo>
                  <a:cubicBezTo>
                    <a:pt x="611" y="282"/>
                    <a:pt x="612" y="288"/>
                    <a:pt x="618" y="293"/>
                  </a:cubicBezTo>
                  <a:cubicBezTo>
                    <a:pt x="625" y="299"/>
                    <a:pt x="626" y="295"/>
                    <a:pt x="627" y="291"/>
                  </a:cubicBezTo>
                  <a:cubicBezTo>
                    <a:pt x="628" y="287"/>
                    <a:pt x="636" y="290"/>
                    <a:pt x="635" y="286"/>
                  </a:cubicBezTo>
                  <a:cubicBezTo>
                    <a:pt x="635" y="283"/>
                    <a:pt x="641" y="278"/>
                    <a:pt x="646" y="276"/>
                  </a:cubicBezTo>
                  <a:cubicBezTo>
                    <a:pt x="650" y="274"/>
                    <a:pt x="642" y="270"/>
                    <a:pt x="636" y="270"/>
                  </a:cubicBezTo>
                  <a:cubicBezTo>
                    <a:pt x="631" y="271"/>
                    <a:pt x="629" y="267"/>
                    <a:pt x="629" y="264"/>
                  </a:cubicBezTo>
                  <a:cubicBezTo>
                    <a:pt x="629" y="262"/>
                    <a:pt x="619" y="256"/>
                    <a:pt x="615" y="257"/>
                  </a:cubicBezTo>
                  <a:cubicBezTo>
                    <a:pt x="612" y="258"/>
                    <a:pt x="606" y="252"/>
                    <a:pt x="601" y="252"/>
                  </a:cubicBezTo>
                  <a:cubicBezTo>
                    <a:pt x="596" y="251"/>
                    <a:pt x="590" y="248"/>
                    <a:pt x="590" y="243"/>
                  </a:cubicBezTo>
                  <a:cubicBezTo>
                    <a:pt x="591" y="238"/>
                    <a:pt x="600" y="244"/>
                    <a:pt x="601" y="240"/>
                  </a:cubicBezTo>
                  <a:cubicBezTo>
                    <a:pt x="603" y="237"/>
                    <a:pt x="592" y="239"/>
                    <a:pt x="592" y="236"/>
                  </a:cubicBezTo>
                  <a:cubicBezTo>
                    <a:pt x="592" y="233"/>
                    <a:pt x="595" y="234"/>
                    <a:pt x="597" y="232"/>
                  </a:cubicBezTo>
                  <a:cubicBezTo>
                    <a:pt x="599" y="230"/>
                    <a:pt x="595" y="227"/>
                    <a:pt x="592" y="225"/>
                  </a:cubicBezTo>
                  <a:cubicBezTo>
                    <a:pt x="590" y="224"/>
                    <a:pt x="589" y="228"/>
                    <a:pt x="587" y="228"/>
                  </a:cubicBezTo>
                  <a:cubicBezTo>
                    <a:pt x="584" y="228"/>
                    <a:pt x="586" y="224"/>
                    <a:pt x="588" y="222"/>
                  </a:cubicBezTo>
                  <a:cubicBezTo>
                    <a:pt x="590" y="219"/>
                    <a:pt x="580" y="217"/>
                    <a:pt x="576" y="218"/>
                  </a:cubicBezTo>
                  <a:cubicBezTo>
                    <a:pt x="571" y="219"/>
                    <a:pt x="570" y="217"/>
                    <a:pt x="570" y="214"/>
                  </a:cubicBezTo>
                  <a:cubicBezTo>
                    <a:pt x="570" y="211"/>
                    <a:pt x="562" y="214"/>
                    <a:pt x="560" y="216"/>
                  </a:cubicBezTo>
                  <a:cubicBezTo>
                    <a:pt x="557" y="218"/>
                    <a:pt x="553" y="214"/>
                    <a:pt x="557" y="214"/>
                  </a:cubicBezTo>
                  <a:cubicBezTo>
                    <a:pt x="560" y="213"/>
                    <a:pt x="565" y="210"/>
                    <a:pt x="563" y="207"/>
                  </a:cubicBezTo>
                  <a:cubicBezTo>
                    <a:pt x="562" y="204"/>
                    <a:pt x="553" y="204"/>
                    <a:pt x="551" y="208"/>
                  </a:cubicBezTo>
                  <a:cubicBezTo>
                    <a:pt x="550" y="212"/>
                    <a:pt x="542" y="203"/>
                    <a:pt x="542" y="200"/>
                  </a:cubicBezTo>
                  <a:cubicBezTo>
                    <a:pt x="542" y="197"/>
                    <a:pt x="531" y="200"/>
                    <a:pt x="532" y="194"/>
                  </a:cubicBezTo>
                  <a:cubicBezTo>
                    <a:pt x="534" y="189"/>
                    <a:pt x="519" y="188"/>
                    <a:pt x="515" y="188"/>
                  </a:cubicBezTo>
                  <a:cubicBezTo>
                    <a:pt x="511" y="188"/>
                    <a:pt x="505" y="191"/>
                    <a:pt x="506" y="194"/>
                  </a:cubicBezTo>
                  <a:cubicBezTo>
                    <a:pt x="507" y="198"/>
                    <a:pt x="502" y="197"/>
                    <a:pt x="501" y="193"/>
                  </a:cubicBezTo>
                  <a:cubicBezTo>
                    <a:pt x="500" y="189"/>
                    <a:pt x="491" y="197"/>
                    <a:pt x="488" y="197"/>
                  </a:cubicBezTo>
                  <a:cubicBezTo>
                    <a:pt x="485" y="197"/>
                    <a:pt x="490" y="187"/>
                    <a:pt x="488" y="183"/>
                  </a:cubicBezTo>
                  <a:cubicBezTo>
                    <a:pt x="487" y="180"/>
                    <a:pt x="485" y="179"/>
                    <a:pt x="483" y="174"/>
                  </a:cubicBezTo>
                  <a:cubicBezTo>
                    <a:pt x="480" y="168"/>
                    <a:pt x="470" y="171"/>
                    <a:pt x="467" y="174"/>
                  </a:cubicBezTo>
                  <a:cubicBezTo>
                    <a:pt x="464" y="177"/>
                    <a:pt x="455" y="176"/>
                    <a:pt x="450" y="180"/>
                  </a:cubicBezTo>
                  <a:cubicBezTo>
                    <a:pt x="445" y="185"/>
                    <a:pt x="450" y="190"/>
                    <a:pt x="452" y="192"/>
                  </a:cubicBezTo>
                  <a:cubicBezTo>
                    <a:pt x="454" y="194"/>
                    <a:pt x="445" y="197"/>
                    <a:pt x="448" y="200"/>
                  </a:cubicBezTo>
                  <a:cubicBezTo>
                    <a:pt x="451" y="203"/>
                    <a:pt x="456" y="201"/>
                    <a:pt x="456" y="206"/>
                  </a:cubicBezTo>
                  <a:cubicBezTo>
                    <a:pt x="457" y="210"/>
                    <a:pt x="445" y="204"/>
                    <a:pt x="443" y="200"/>
                  </a:cubicBezTo>
                  <a:cubicBezTo>
                    <a:pt x="441" y="197"/>
                    <a:pt x="444" y="193"/>
                    <a:pt x="441" y="190"/>
                  </a:cubicBezTo>
                  <a:cubicBezTo>
                    <a:pt x="439" y="187"/>
                    <a:pt x="441" y="184"/>
                    <a:pt x="445" y="179"/>
                  </a:cubicBezTo>
                  <a:cubicBezTo>
                    <a:pt x="450" y="174"/>
                    <a:pt x="454" y="174"/>
                    <a:pt x="454" y="172"/>
                  </a:cubicBezTo>
                  <a:cubicBezTo>
                    <a:pt x="454" y="169"/>
                    <a:pt x="434" y="169"/>
                    <a:pt x="422" y="179"/>
                  </a:cubicBezTo>
                  <a:cubicBezTo>
                    <a:pt x="410" y="190"/>
                    <a:pt x="414" y="204"/>
                    <a:pt x="414" y="207"/>
                  </a:cubicBezTo>
                  <a:cubicBezTo>
                    <a:pt x="415" y="210"/>
                    <a:pt x="425" y="209"/>
                    <a:pt x="432" y="210"/>
                  </a:cubicBezTo>
                  <a:cubicBezTo>
                    <a:pt x="438" y="212"/>
                    <a:pt x="434" y="215"/>
                    <a:pt x="430" y="214"/>
                  </a:cubicBezTo>
                  <a:cubicBezTo>
                    <a:pt x="425" y="213"/>
                    <a:pt x="417" y="212"/>
                    <a:pt x="418" y="215"/>
                  </a:cubicBezTo>
                  <a:cubicBezTo>
                    <a:pt x="418" y="218"/>
                    <a:pt x="428" y="224"/>
                    <a:pt x="433" y="223"/>
                  </a:cubicBezTo>
                  <a:cubicBezTo>
                    <a:pt x="439" y="222"/>
                    <a:pt x="439" y="222"/>
                    <a:pt x="442" y="225"/>
                  </a:cubicBezTo>
                  <a:cubicBezTo>
                    <a:pt x="444" y="228"/>
                    <a:pt x="451" y="227"/>
                    <a:pt x="458" y="227"/>
                  </a:cubicBezTo>
                  <a:cubicBezTo>
                    <a:pt x="464" y="228"/>
                    <a:pt x="472" y="230"/>
                    <a:pt x="475" y="230"/>
                  </a:cubicBezTo>
                  <a:cubicBezTo>
                    <a:pt x="479" y="231"/>
                    <a:pt x="483" y="229"/>
                    <a:pt x="484" y="227"/>
                  </a:cubicBezTo>
                  <a:cubicBezTo>
                    <a:pt x="485" y="225"/>
                    <a:pt x="498" y="230"/>
                    <a:pt x="502" y="229"/>
                  </a:cubicBezTo>
                  <a:cubicBezTo>
                    <a:pt x="506" y="229"/>
                    <a:pt x="503" y="225"/>
                    <a:pt x="501" y="224"/>
                  </a:cubicBezTo>
                  <a:cubicBezTo>
                    <a:pt x="498" y="223"/>
                    <a:pt x="499" y="219"/>
                    <a:pt x="503" y="220"/>
                  </a:cubicBezTo>
                  <a:cubicBezTo>
                    <a:pt x="506" y="222"/>
                    <a:pt x="511" y="223"/>
                    <a:pt x="512" y="227"/>
                  </a:cubicBezTo>
                  <a:cubicBezTo>
                    <a:pt x="513" y="229"/>
                    <a:pt x="516" y="228"/>
                    <a:pt x="516" y="230"/>
                  </a:cubicBezTo>
                  <a:cubicBezTo>
                    <a:pt x="517" y="233"/>
                    <a:pt x="528" y="236"/>
                    <a:pt x="529" y="239"/>
                  </a:cubicBezTo>
                  <a:cubicBezTo>
                    <a:pt x="529" y="241"/>
                    <a:pt x="517" y="243"/>
                    <a:pt x="521" y="245"/>
                  </a:cubicBezTo>
                  <a:cubicBezTo>
                    <a:pt x="524" y="248"/>
                    <a:pt x="529" y="242"/>
                    <a:pt x="533" y="242"/>
                  </a:cubicBezTo>
                  <a:cubicBezTo>
                    <a:pt x="537" y="241"/>
                    <a:pt x="537" y="251"/>
                    <a:pt x="541" y="250"/>
                  </a:cubicBezTo>
                  <a:cubicBezTo>
                    <a:pt x="545" y="248"/>
                    <a:pt x="549" y="251"/>
                    <a:pt x="553" y="258"/>
                  </a:cubicBezTo>
                  <a:cubicBezTo>
                    <a:pt x="557" y="264"/>
                    <a:pt x="552" y="269"/>
                    <a:pt x="553" y="271"/>
                  </a:cubicBezTo>
                  <a:cubicBezTo>
                    <a:pt x="553" y="274"/>
                    <a:pt x="561" y="273"/>
                    <a:pt x="566" y="270"/>
                  </a:cubicBezTo>
                  <a:cubicBezTo>
                    <a:pt x="571" y="268"/>
                    <a:pt x="575" y="273"/>
                    <a:pt x="578" y="276"/>
                  </a:cubicBezTo>
                  <a:cubicBezTo>
                    <a:pt x="582" y="280"/>
                    <a:pt x="565" y="285"/>
                    <a:pt x="567" y="282"/>
                  </a:cubicBezTo>
                  <a:cubicBezTo>
                    <a:pt x="568" y="279"/>
                    <a:pt x="557" y="271"/>
                    <a:pt x="546" y="275"/>
                  </a:cubicBezTo>
                  <a:cubicBezTo>
                    <a:pt x="536" y="279"/>
                    <a:pt x="543" y="285"/>
                    <a:pt x="544" y="288"/>
                  </a:cubicBezTo>
                  <a:cubicBezTo>
                    <a:pt x="545" y="292"/>
                    <a:pt x="535" y="295"/>
                    <a:pt x="525" y="292"/>
                  </a:cubicBezTo>
                  <a:cubicBezTo>
                    <a:pt x="516" y="289"/>
                    <a:pt x="519" y="294"/>
                    <a:pt x="515" y="294"/>
                  </a:cubicBezTo>
                  <a:cubicBezTo>
                    <a:pt x="511" y="294"/>
                    <a:pt x="506" y="300"/>
                    <a:pt x="510" y="304"/>
                  </a:cubicBezTo>
                  <a:cubicBezTo>
                    <a:pt x="514" y="308"/>
                    <a:pt x="521" y="305"/>
                    <a:pt x="528" y="305"/>
                  </a:cubicBezTo>
                  <a:cubicBezTo>
                    <a:pt x="534" y="305"/>
                    <a:pt x="535" y="307"/>
                    <a:pt x="536" y="304"/>
                  </a:cubicBezTo>
                  <a:cubicBezTo>
                    <a:pt x="536" y="300"/>
                    <a:pt x="543" y="302"/>
                    <a:pt x="548" y="303"/>
                  </a:cubicBezTo>
                  <a:cubicBezTo>
                    <a:pt x="552" y="304"/>
                    <a:pt x="551" y="310"/>
                    <a:pt x="557" y="311"/>
                  </a:cubicBezTo>
                  <a:cubicBezTo>
                    <a:pt x="563" y="312"/>
                    <a:pt x="558" y="317"/>
                    <a:pt x="562" y="321"/>
                  </a:cubicBezTo>
                  <a:cubicBezTo>
                    <a:pt x="565" y="325"/>
                    <a:pt x="577" y="323"/>
                    <a:pt x="581" y="327"/>
                  </a:cubicBezTo>
                  <a:cubicBezTo>
                    <a:pt x="585" y="332"/>
                    <a:pt x="603" y="340"/>
                    <a:pt x="606" y="337"/>
                  </a:cubicBezTo>
                  <a:cubicBezTo>
                    <a:pt x="609" y="334"/>
                    <a:pt x="590" y="317"/>
                    <a:pt x="585" y="316"/>
                  </a:cubicBezTo>
                  <a:cubicBezTo>
                    <a:pt x="580" y="314"/>
                    <a:pt x="590" y="312"/>
                    <a:pt x="597" y="318"/>
                  </a:cubicBezTo>
                  <a:cubicBezTo>
                    <a:pt x="604" y="323"/>
                    <a:pt x="614" y="326"/>
                    <a:pt x="619" y="319"/>
                  </a:cubicBezTo>
                  <a:cubicBezTo>
                    <a:pt x="624" y="313"/>
                    <a:pt x="615" y="315"/>
                    <a:pt x="615" y="310"/>
                  </a:cubicBezTo>
                  <a:cubicBezTo>
                    <a:pt x="615" y="305"/>
                    <a:pt x="611" y="299"/>
                    <a:pt x="606" y="299"/>
                  </a:cubicBezTo>
                  <a:cubicBezTo>
                    <a:pt x="601" y="299"/>
                    <a:pt x="588" y="289"/>
                    <a:pt x="593" y="287"/>
                  </a:cubicBezTo>
                  <a:cubicBezTo>
                    <a:pt x="598" y="285"/>
                    <a:pt x="592" y="282"/>
                    <a:pt x="595" y="278"/>
                  </a:cubicBezTo>
                  <a:cubicBezTo>
                    <a:pt x="599" y="274"/>
                    <a:pt x="602" y="281"/>
                    <a:pt x="607" y="282"/>
                  </a:cubicBezTo>
                  <a:close/>
                  <a:moveTo>
                    <a:pt x="531" y="265"/>
                  </a:moveTo>
                  <a:cubicBezTo>
                    <a:pt x="536" y="264"/>
                    <a:pt x="535" y="257"/>
                    <a:pt x="532" y="254"/>
                  </a:cubicBezTo>
                  <a:cubicBezTo>
                    <a:pt x="531" y="251"/>
                    <a:pt x="526" y="251"/>
                    <a:pt x="522" y="251"/>
                  </a:cubicBezTo>
                  <a:cubicBezTo>
                    <a:pt x="518" y="252"/>
                    <a:pt x="511" y="258"/>
                    <a:pt x="515" y="264"/>
                  </a:cubicBezTo>
                  <a:cubicBezTo>
                    <a:pt x="519" y="270"/>
                    <a:pt x="527" y="265"/>
                    <a:pt x="531" y="265"/>
                  </a:cubicBezTo>
                  <a:close/>
                  <a:moveTo>
                    <a:pt x="487" y="172"/>
                  </a:moveTo>
                  <a:cubicBezTo>
                    <a:pt x="485" y="177"/>
                    <a:pt x="491" y="177"/>
                    <a:pt x="492" y="182"/>
                  </a:cubicBezTo>
                  <a:cubicBezTo>
                    <a:pt x="492" y="187"/>
                    <a:pt x="499" y="189"/>
                    <a:pt x="504" y="186"/>
                  </a:cubicBezTo>
                  <a:cubicBezTo>
                    <a:pt x="509" y="183"/>
                    <a:pt x="523" y="187"/>
                    <a:pt x="523" y="183"/>
                  </a:cubicBezTo>
                  <a:cubicBezTo>
                    <a:pt x="523" y="179"/>
                    <a:pt x="508" y="172"/>
                    <a:pt x="503" y="173"/>
                  </a:cubicBezTo>
                  <a:cubicBezTo>
                    <a:pt x="498" y="174"/>
                    <a:pt x="489" y="167"/>
                    <a:pt x="487" y="172"/>
                  </a:cubicBezTo>
                  <a:close/>
                  <a:moveTo>
                    <a:pt x="621" y="475"/>
                  </a:moveTo>
                  <a:cubicBezTo>
                    <a:pt x="621" y="478"/>
                    <a:pt x="642" y="487"/>
                    <a:pt x="643" y="483"/>
                  </a:cubicBezTo>
                  <a:cubicBezTo>
                    <a:pt x="643" y="479"/>
                    <a:pt x="620" y="473"/>
                    <a:pt x="621" y="475"/>
                  </a:cubicBezTo>
                  <a:close/>
                  <a:moveTo>
                    <a:pt x="711" y="497"/>
                  </a:moveTo>
                  <a:cubicBezTo>
                    <a:pt x="710" y="499"/>
                    <a:pt x="707" y="495"/>
                    <a:pt x="711" y="492"/>
                  </a:cubicBezTo>
                  <a:cubicBezTo>
                    <a:pt x="714" y="490"/>
                    <a:pt x="710" y="489"/>
                    <a:pt x="707" y="491"/>
                  </a:cubicBezTo>
                  <a:cubicBezTo>
                    <a:pt x="704" y="492"/>
                    <a:pt x="705" y="484"/>
                    <a:pt x="708" y="483"/>
                  </a:cubicBezTo>
                  <a:cubicBezTo>
                    <a:pt x="710" y="481"/>
                    <a:pt x="701" y="478"/>
                    <a:pt x="701" y="481"/>
                  </a:cubicBezTo>
                  <a:cubicBezTo>
                    <a:pt x="701" y="484"/>
                    <a:pt x="695" y="482"/>
                    <a:pt x="694" y="480"/>
                  </a:cubicBezTo>
                  <a:cubicBezTo>
                    <a:pt x="693" y="477"/>
                    <a:pt x="689" y="477"/>
                    <a:pt x="691" y="475"/>
                  </a:cubicBezTo>
                  <a:cubicBezTo>
                    <a:pt x="692" y="473"/>
                    <a:pt x="685" y="472"/>
                    <a:pt x="684" y="475"/>
                  </a:cubicBezTo>
                  <a:cubicBezTo>
                    <a:pt x="684" y="478"/>
                    <a:pt x="682" y="473"/>
                    <a:pt x="685" y="469"/>
                  </a:cubicBezTo>
                  <a:cubicBezTo>
                    <a:pt x="689" y="466"/>
                    <a:pt x="688" y="462"/>
                    <a:pt x="691" y="460"/>
                  </a:cubicBezTo>
                  <a:cubicBezTo>
                    <a:pt x="694" y="458"/>
                    <a:pt x="691" y="456"/>
                    <a:pt x="687" y="458"/>
                  </a:cubicBezTo>
                  <a:cubicBezTo>
                    <a:pt x="683" y="459"/>
                    <a:pt x="674" y="472"/>
                    <a:pt x="674" y="476"/>
                  </a:cubicBezTo>
                  <a:cubicBezTo>
                    <a:pt x="674" y="479"/>
                    <a:pt x="674" y="484"/>
                    <a:pt x="670" y="483"/>
                  </a:cubicBezTo>
                  <a:cubicBezTo>
                    <a:pt x="667" y="483"/>
                    <a:pt x="663" y="486"/>
                    <a:pt x="666" y="488"/>
                  </a:cubicBezTo>
                  <a:cubicBezTo>
                    <a:pt x="668" y="490"/>
                    <a:pt x="659" y="496"/>
                    <a:pt x="663" y="498"/>
                  </a:cubicBezTo>
                  <a:cubicBezTo>
                    <a:pt x="667" y="500"/>
                    <a:pt x="672" y="497"/>
                    <a:pt x="676" y="498"/>
                  </a:cubicBezTo>
                  <a:cubicBezTo>
                    <a:pt x="680" y="498"/>
                    <a:pt x="684" y="498"/>
                    <a:pt x="687" y="496"/>
                  </a:cubicBezTo>
                  <a:cubicBezTo>
                    <a:pt x="691" y="493"/>
                    <a:pt x="691" y="498"/>
                    <a:pt x="695" y="498"/>
                  </a:cubicBezTo>
                  <a:cubicBezTo>
                    <a:pt x="698" y="497"/>
                    <a:pt x="693" y="501"/>
                    <a:pt x="693" y="503"/>
                  </a:cubicBezTo>
                  <a:cubicBezTo>
                    <a:pt x="693" y="506"/>
                    <a:pt x="697" y="502"/>
                    <a:pt x="700" y="501"/>
                  </a:cubicBezTo>
                  <a:cubicBezTo>
                    <a:pt x="702" y="499"/>
                    <a:pt x="706" y="501"/>
                    <a:pt x="705" y="503"/>
                  </a:cubicBezTo>
                  <a:cubicBezTo>
                    <a:pt x="703" y="505"/>
                    <a:pt x="712" y="508"/>
                    <a:pt x="715" y="504"/>
                  </a:cubicBezTo>
                  <a:cubicBezTo>
                    <a:pt x="717" y="500"/>
                    <a:pt x="712" y="494"/>
                    <a:pt x="711" y="497"/>
                  </a:cubicBezTo>
                  <a:close/>
                  <a:moveTo>
                    <a:pt x="66" y="431"/>
                  </a:moveTo>
                  <a:cubicBezTo>
                    <a:pt x="60" y="435"/>
                    <a:pt x="75" y="451"/>
                    <a:pt x="79" y="449"/>
                  </a:cubicBezTo>
                  <a:cubicBezTo>
                    <a:pt x="81" y="447"/>
                    <a:pt x="75" y="441"/>
                    <a:pt x="75" y="436"/>
                  </a:cubicBezTo>
                  <a:cubicBezTo>
                    <a:pt x="75" y="432"/>
                    <a:pt x="73" y="428"/>
                    <a:pt x="66" y="431"/>
                  </a:cubicBezTo>
                  <a:close/>
                  <a:moveTo>
                    <a:pt x="654" y="513"/>
                  </a:moveTo>
                  <a:cubicBezTo>
                    <a:pt x="652" y="513"/>
                    <a:pt x="654" y="509"/>
                    <a:pt x="654" y="507"/>
                  </a:cubicBezTo>
                  <a:cubicBezTo>
                    <a:pt x="654" y="505"/>
                    <a:pt x="649" y="508"/>
                    <a:pt x="648" y="510"/>
                  </a:cubicBezTo>
                  <a:cubicBezTo>
                    <a:pt x="648" y="513"/>
                    <a:pt x="644" y="513"/>
                    <a:pt x="644" y="515"/>
                  </a:cubicBezTo>
                  <a:cubicBezTo>
                    <a:pt x="644" y="519"/>
                    <a:pt x="644" y="517"/>
                    <a:pt x="641" y="518"/>
                  </a:cubicBezTo>
                  <a:cubicBezTo>
                    <a:pt x="638" y="520"/>
                    <a:pt x="627" y="518"/>
                    <a:pt x="627" y="516"/>
                  </a:cubicBezTo>
                  <a:cubicBezTo>
                    <a:pt x="626" y="513"/>
                    <a:pt x="618" y="512"/>
                    <a:pt x="618" y="509"/>
                  </a:cubicBezTo>
                  <a:cubicBezTo>
                    <a:pt x="618" y="505"/>
                    <a:pt x="614" y="504"/>
                    <a:pt x="617" y="500"/>
                  </a:cubicBezTo>
                  <a:cubicBezTo>
                    <a:pt x="620" y="497"/>
                    <a:pt x="616" y="495"/>
                    <a:pt x="613" y="498"/>
                  </a:cubicBezTo>
                  <a:cubicBezTo>
                    <a:pt x="610" y="501"/>
                    <a:pt x="608" y="496"/>
                    <a:pt x="613" y="495"/>
                  </a:cubicBezTo>
                  <a:cubicBezTo>
                    <a:pt x="617" y="493"/>
                    <a:pt x="624" y="491"/>
                    <a:pt x="620" y="484"/>
                  </a:cubicBezTo>
                  <a:cubicBezTo>
                    <a:pt x="616" y="477"/>
                    <a:pt x="592" y="486"/>
                    <a:pt x="586" y="490"/>
                  </a:cubicBezTo>
                  <a:cubicBezTo>
                    <a:pt x="579" y="494"/>
                    <a:pt x="572" y="505"/>
                    <a:pt x="568" y="505"/>
                  </a:cubicBezTo>
                  <a:cubicBezTo>
                    <a:pt x="565" y="505"/>
                    <a:pt x="574" y="499"/>
                    <a:pt x="575" y="497"/>
                  </a:cubicBezTo>
                  <a:cubicBezTo>
                    <a:pt x="577" y="494"/>
                    <a:pt x="575" y="492"/>
                    <a:pt x="577" y="493"/>
                  </a:cubicBezTo>
                  <a:cubicBezTo>
                    <a:pt x="579" y="494"/>
                    <a:pt x="585" y="485"/>
                    <a:pt x="588" y="482"/>
                  </a:cubicBezTo>
                  <a:cubicBezTo>
                    <a:pt x="592" y="479"/>
                    <a:pt x="596" y="482"/>
                    <a:pt x="597" y="480"/>
                  </a:cubicBezTo>
                  <a:cubicBezTo>
                    <a:pt x="597" y="477"/>
                    <a:pt x="599" y="476"/>
                    <a:pt x="603" y="473"/>
                  </a:cubicBezTo>
                  <a:cubicBezTo>
                    <a:pt x="606" y="469"/>
                    <a:pt x="649" y="470"/>
                    <a:pt x="653" y="470"/>
                  </a:cubicBezTo>
                  <a:cubicBezTo>
                    <a:pt x="657" y="470"/>
                    <a:pt x="665" y="465"/>
                    <a:pt x="667" y="461"/>
                  </a:cubicBezTo>
                  <a:cubicBezTo>
                    <a:pt x="670" y="458"/>
                    <a:pt x="673" y="458"/>
                    <a:pt x="678" y="458"/>
                  </a:cubicBezTo>
                  <a:cubicBezTo>
                    <a:pt x="684" y="458"/>
                    <a:pt x="687" y="453"/>
                    <a:pt x="690" y="451"/>
                  </a:cubicBezTo>
                  <a:cubicBezTo>
                    <a:pt x="692" y="449"/>
                    <a:pt x="691" y="448"/>
                    <a:pt x="689" y="448"/>
                  </a:cubicBezTo>
                  <a:cubicBezTo>
                    <a:pt x="686" y="447"/>
                    <a:pt x="684" y="446"/>
                    <a:pt x="687" y="446"/>
                  </a:cubicBezTo>
                  <a:cubicBezTo>
                    <a:pt x="689" y="445"/>
                    <a:pt x="690" y="444"/>
                    <a:pt x="691" y="441"/>
                  </a:cubicBezTo>
                  <a:cubicBezTo>
                    <a:pt x="692" y="437"/>
                    <a:pt x="690" y="439"/>
                    <a:pt x="687" y="434"/>
                  </a:cubicBezTo>
                  <a:cubicBezTo>
                    <a:pt x="684" y="430"/>
                    <a:pt x="682" y="436"/>
                    <a:pt x="679" y="436"/>
                  </a:cubicBezTo>
                  <a:cubicBezTo>
                    <a:pt x="675" y="435"/>
                    <a:pt x="681" y="431"/>
                    <a:pt x="678" y="429"/>
                  </a:cubicBezTo>
                  <a:cubicBezTo>
                    <a:pt x="675" y="427"/>
                    <a:pt x="670" y="429"/>
                    <a:pt x="666" y="432"/>
                  </a:cubicBezTo>
                  <a:cubicBezTo>
                    <a:pt x="661" y="436"/>
                    <a:pt x="662" y="432"/>
                    <a:pt x="658" y="436"/>
                  </a:cubicBezTo>
                  <a:cubicBezTo>
                    <a:pt x="654" y="439"/>
                    <a:pt x="654" y="434"/>
                    <a:pt x="656" y="432"/>
                  </a:cubicBezTo>
                  <a:cubicBezTo>
                    <a:pt x="658" y="431"/>
                    <a:pt x="659" y="433"/>
                    <a:pt x="661" y="430"/>
                  </a:cubicBezTo>
                  <a:cubicBezTo>
                    <a:pt x="662" y="428"/>
                    <a:pt x="664" y="430"/>
                    <a:pt x="668" y="428"/>
                  </a:cubicBezTo>
                  <a:cubicBezTo>
                    <a:pt x="672" y="425"/>
                    <a:pt x="675" y="426"/>
                    <a:pt x="677" y="424"/>
                  </a:cubicBezTo>
                  <a:cubicBezTo>
                    <a:pt x="678" y="422"/>
                    <a:pt x="675" y="420"/>
                    <a:pt x="671" y="421"/>
                  </a:cubicBezTo>
                  <a:cubicBezTo>
                    <a:pt x="667" y="421"/>
                    <a:pt x="664" y="415"/>
                    <a:pt x="662" y="417"/>
                  </a:cubicBezTo>
                  <a:cubicBezTo>
                    <a:pt x="659" y="419"/>
                    <a:pt x="660" y="414"/>
                    <a:pt x="657" y="416"/>
                  </a:cubicBezTo>
                  <a:cubicBezTo>
                    <a:pt x="654" y="418"/>
                    <a:pt x="652" y="416"/>
                    <a:pt x="651" y="412"/>
                  </a:cubicBezTo>
                  <a:cubicBezTo>
                    <a:pt x="650" y="409"/>
                    <a:pt x="642" y="403"/>
                    <a:pt x="638" y="402"/>
                  </a:cubicBezTo>
                  <a:cubicBezTo>
                    <a:pt x="633" y="400"/>
                    <a:pt x="636" y="398"/>
                    <a:pt x="639" y="400"/>
                  </a:cubicBezTo>
                  <a:cubicBezTo>
                    <a:pt x="641" y="401"/>
                    <a:pt x="644" y="398"/>
                    <a:pt x="645" y="396"/>
                  </a:cubicBezTo>
                  <a:cubicBezTo>
                    <a:pt x="646" y="394"/>
                    <a:pt x="643" y="393"/>
                    <a:pt x="642" y="393"/>
                  </a:cubicBezTo>
                  <a:cubicBezTo>
                    <a:pt x="640" y="392"/>
                    <a:pt x="640" y="390"/>
                    <a:pt x="641" y="388"/>
                  </a:cubicBezTo>
                  <a:cubicBezTo>
                    <a:pt x="641" y="386"/>
                    <a:pt x="636" y="384"/>
                    <a:pt x="636" y="382"/>
                  </a:cubicBezTo>
                  <a:cubicBezTo>
                    <a:pt x="635" y="381"/>
                    <a:pt x="632" y="379"/>
                    <a:pt x="633" y="378"/>
                  </a:cubicBezTo>
                  <a:cubicBezTo>
                    <a:pt x="633" y="376"/>
                    <a:pt x="629" y="374"/>
                    <a:pt x="629" y="372"/>
                  </a:cubicBezTo>
                  <a:cubicBezTo>
                    <a:pt x="629" y="370"/>
                    <a:pt x="624" y="365"/>
                    <a:pt x="624" y="363"/>
                  </a:cubicBezTo>
                  <a:cubicBezTo>
                    <a:pt x="624" y="360"/>
                    <a:pt x="621" y="358"/>
                    <a:pt x="620" y="355"/>
                  </a:cubicBezTo>
                  <a:cubicBezTo>
                    <a:pt x="619" y="352"/>
                    <a:pt x="617" y="354"/>
                    <a:pt x="616" y="358"/>
                  </a:cubicBezTo>
                  <a:cubicBezTo>
                    <a:pt x="615" y="362"/>
                    <a:pt x="611" y="362"/>
                    <a:pt x="613" y="364"/>
                  </a:cubicBezTo>
                  <a:cubicBezTo>
                    <a:pt x="615" y="367"/>
                    <a:pt x="613" y="367"/>
                    <a:pt x="611" y="368"/>
                  </a:cubicBezTo>
                  <a:cubicBezTo>
                    <a:pt x="610" y="370"/>
                    <a:pt x="613" y="373"/>
                    <a:pt x="610" y="373"/>
                  </a:cubicBezTo>
                  <a:cubicBezTo>
                    <a:pt x="607" y="373"/>
                    <a:pt x="608" y="378"/>
                    <a:pt x="607" y="376"/>
                  </a:cubicBezTo>
                  <a:cubicBezTo>
                    <a:pt x="606" y="373"/>
                    <a:pt x="602" y="374"/>
                    <a:pt x="602" y="377"/>
                  </a:cubicBezTo>
                  <a:cubicBezTo>
                    <a:pt x="602" y="379"/>
                    <a:pt x="596" y="381"/>
                    <a:pt x="594" y="381"/>
                  </a:cubicBezTo>
                  <a:cubicBezTo>
                    <a:pt x="592" y="381"/>
                    <a:pt x="592" y="376"/>
                    <a:pt x="590" y="378"/>
                  </a:cubicBezTo>
                  <a:cubicBezTo>
                    <a:pt x="588" y="379"/>
                    <a:pt x="588" y="374"/>
                    <a:pt x="585" y="374"/>
                  </a:cubicBezTo>
                  <a:cubicBezTo>
                    <a:pt x="582" y="374"/>
                    <a:pt x="580" y="374"/>
                    <a:pt x="581" y="371"/>
                  </a:cubicBezTo>
                  <a:cubicBezTo>
                    <a:pt x="582" y="368"/>
                    <a:pt x="576" y="367"/>
                    <a:pt x="578" y="365"/>
                  </a:cubicBezTo>
                  <a:cubicBezTo>
                    <a:pt x="580" y="364"/>
                    <a:pt x="577" y="361"/>
                    <a:pt x="577" y="356"/>
                  </a:cubicBezTo>
                  <a:cubicBezTo>
                    <a:pt x="577" y="352"/>
                    <a:pt x="580" y="351"/>
                    <a:pt x="580" y="350"/>
                  </a:cubicBezTo>
                  <a:cubicBezTo>
                    <a:pt x="580" y="348"/>
                    <a:pt x="577" y="348"/>
                    <a:pt x="575" y="349"/>
                  </a:cubicBezTo>
                  <a:cubicBezTo>
                    <a:pt x="573" y="351"/>
                    <a:pt x="573" y="347"/>
                    <a:pt x="571" y="347"/>
                  </a:cubicBezTo>
                  <a:cubicBezTo>
                    <a:pt x="568" y="348"/>
                    <a:pt x="562" y="347"/>
                    <a:pt x="561" y="344"/>
                  </a:cubicBezTo>
                  <a:cubicBezTo>
                    <a:pt x="561" y="341"/>
                    <a:pt x="559" y="342"/>
                    <a:pt x="557" y="339"/>
                  </a:cubicBezTo>
                  <a:cubicBezTo>
                    <a:pt x="556" y="336"/>
                    <a:pt x="554" y="339"/>
                    <a:pt x="554" y="337"/>
                  </a:cubicBezTo>
                  <a:cubicBezTo>
                    <a:pt x="554" y="334"/>
                    <a:pt x="552" y="334"/>
                    <a:pt x="550" y="333"/>
                  </a:cubicBezTo>
                  <a:cubicBezTo>
                    <a:pt x="548" y="333"/>
                    <a:pt x="547" y="331"/>
                    <a:pt x="544" y="330"/>
                  </a:cubicBezTo>
                  <a:cubicBezTo>
                    <a:pt x="542" y="330"/>
                    <a:pt x="538" y="332"/>
                    <a:pt x="536" y="333"/>
                  </a:cubicBezTo>
                  <a:cubicBezTo>
                    <a:pt x="535" y="334"/>
                    <a:pt x="531" y="331"/>
                    <a:pt x="529" y="332"/>
                  </a:cubicBezTo>
                  <a:cubicBezTo>
                    <a:pt x="527" y="333"/>
                    <a:pt x="527" y="331"/>
                    <a:pt x="523" y="330"/>
                  </a:cubicBezTo>
                  <a:cubicBezTo>
                    <a:pt x="518" y="329"/>
                    <a:pt x="512" y="328"/>
                    <a:pt x="512" y="330"/>
                  </a:cubicBezTo>
                  <a:cubicBezTo>
                    <a:pt x="512" y="331"/>
                    <a:pt x="508" y="332"/>
                    <a:pt x="509" y="336"/>
                  </a:cubicBezTo>
                  <a:cubicBezTo>
                    <a:pt x="509" y="339"/>
                    <a:pt x="513" y="339"/>
                    <a:pt x="514" y="341"/>
                  </a:cubicBezTo>
                  <a:cubicBezTo>
                    <a:pt x="515" y="344"/>
                    <a:pt x="512" y="343"/>
                    <a:pt x="512" y="345"/>
                  </a:cubicBezTo>
                  <a:cubicBezTo>
                    <a:pt x="512" y="347"/>
                    <a:pt x="509" y="347"/>
                    <a:pt x="509" y="349"/>
                  </a:cubicBezTo>
                  <a:cubicBezTo>
                    <a:pt x="509" y="350"/>
                    <a:pt x="511" y="350"/>
                    <a:pt x="512" y="353"/>
                  </a:cubicBezTo>
                  <a:cubicBezTo>
                    <a:pt x="513" y="357"/>
                    <a:pt x="514" y="356"/>
                    <a:pt x="515" y="361"/>
                  </a:cubicBezTo>
                  <a:cubicBezTo>
                    <a:pt x="516" y="365"/>
                    <a:pt x="514" y="364"/>
                    <a:pt x="512" y="365"/>
                  </a:cubicBezTo>
                  <a:cubicBezTo>
                    <a:pt x="510" y="365"/>
                    <a:pt x="512" y="367"/>
                    <a:pt x="509" y="370"/>
                  </a:cubicBezTo>
                  <a:cubicBezTo>
                    <a:pt x="507" y="373"/>
                    <a:pt x="505" y="376"/>
                    <a:pt x="507" y="378"/>
                  </a:cubicBezTo>
                  <a:cubicBezTo>
                    <a:pt x="509" y="380"/>
                    <a:pt x="516" y="383"/>
                    <a:pt x="519" y="387"/>
                  </a:cubicBezTo>
                  <a:cubicBezTo>
                    <a:pt x="522" y="392"/>
                    <a:pt x="522" y="400"/>
                    <a:pt x="521" y="405"/>
                  </a:cubicBezTo>
                  <a:cubicBezTo>
                    <a:pt x="520" y="410"/>
                    <a:pt x="514" y="412"/>
                    <a:pt x="509" y="416"/>
                  </a:cubicBezTo>
                  <a:cubicBezTo>
                    <a:pt x="505" y="421"/>
                    <a:pt x="500" y="420"/>
                    <a:pt x="498" y="420"/>
                  </a:cubicBezTo>
                  <a:cubicBezTo>
                    <a:pt x="496" y="421"/>
                    <a:pt x="497" y="425"/>
                    <a:pt x="500" y="428"/>
                  </a:cubicBezTo>
                  <a:cubicBezTo>
                    <a:pt x="503" y="432"/>
                    <a:pt x="501" y="433"/>
                    <a:pt x="502" y="436"/>
                  </a:cubicBezTo>
                  <a:cubicBezTo>
                    <a:pt x="504" y="440"/>
                    <a:pt x="502" y="443"/>
                    <a:pt x="505" y="446"/>
                  </a:cubicBezTo>
                  <a:cubicBezTo>
                    <a:pt x="507" y="449"/>
                    <a:pt x="506" y="450"/>
                    <a:pt x="503" y="453"/>
                  </a:cubicBezTo>
                  <a:cubicBezTo>
                    <a:pt x="500" y="455"/>
                    <a:pt x="504" y="454"/>
                    <a:pt x="504" y="457"/>
                  </a:cubicBezTo>
                  <a:cubicBezTo>
                    <a:pt x="504" y="460"/>
                    <a:pt x="503" y="458"/>
                    <a:pt x="501" y="456"/>
                  </a:cubicBezTo>
                  <a:cubicBezTo>
                    <a:pt x="498" y="455"/>
                    <a:pt x="496" y="459"/>
                    <a:pt x="496" y="461"/>
                  </a:cubicBezTo>
                  <a:cubicBezTo>
                    <a:pt x="496" y="463"/>
                    <a:pt x="491" y="459"/>
                    <a:pt x="489" y="459"/>
                  </a:cubicBezTo>
                  <a:cubicBezTo>
                    <a:pt x="488" y="459"/>
                    <a:pt x="490" y="456"/>
                    <a:pt x="486" y="453"/>
                  </a:cubicBezTo>
                  <a:cubicBezTo>
                    <a:pt x="483" y="451"/>
                    <a:pt x="481" y="450"/>
                    <a:pt x="481" y="448"/>
                  </a:cubicBezTo>
                  <a:cubicBezTo>
                    <a:pt x="481" y="445"/>
                    <a:pt x="475" y="444"/>
                    <a:pt x="475" y="441"/>
                  </a:cubicBezTo>
                  <a:cubicBezTo>
                    <a:pt x="475" y="438"/>
                    <a:pt x="476" y="431"/>
                    <a:pt x="475" y="428"/>
                  </a:cubicBezTo>
                  <a:cubicBezTo>
                    <a:pt x="473" y="426"/>
                    <a:pt x="475" y="424"/>
                    <a:pt x="476" y="422"/>
                  </a:cubicBezTo>
                  <a:cubicBezTo>
                    <a:pt x="477" y="420"/>
                    <a:pt x="474" y="417"/>
                    <a:pt x="471" y="417"/>
                  </a:cubicBezTo>
                  <a:cubicBezTo>
                    <a:pt x="468" y="417"/>
                    <a:pt x="463" y="416"/>
                    <a:pt x="459" y="416"/>
                  </a:cubicBezTo>
                  <a:cubicBezTo>
                    <a:pt x="455" y="417"/>
                    <a:pt x="452" y="416"/>
                    <a:pt x="451" y="415"/>
                  </a:cubicBezTo>
                  <a:cubicBezTo>
                    <a:pt x="449" y="413"/>
                    <a:pt x="445" y="411"/>
                    <a:pt x="440" y="409"/>
                  </a:cubicBezTo>
                  <a:cubicBezTo>
                    <a:pt x="434" y="408"/>
                    <a:pt x="432" y="405"/>
                    <a:pt x="431" y="403"/>
                  </a:cubicBezTo>
                  <a:cubicBezTo>
                    <a:pt x="430" y="402"/>
                    <a:pt x="425" y="401"/>
                    <a:pt x="424" y="399"/>
                  </a:cubicBezTo>
                  <a:cubicBezTo>
                    <a:pt x="422" y="397"/>
                    <a:pt x="417" y="396"/>
                    <a:pt x="415" y="397"/>
                  </a:cubicBezTo>
                  <a:cubicBezTo>
                    <a:pt x="413" y="397"/>
                    <a:pt x="407" y="392"/>
                    <a:pt x="404" y="393"/>
                  </a:cubicBezTo>
                  <a:cubicBezTo>
                    <a:pt x="401" y="393"/>
                    <a:pt x="394" y="396"/>
                    <a:pt x="392" y="396"/>
                  </a:cubicBezTo>
                  <a:cubicBezTo>
                    <a:pt x="391" y="396"/>
                    <a:pt x="392" y="393"/>
                    <a:pt x="393" y="392"/>
                  </a:cubicBezTo>
                  <a:cubicBezTo>
                    <a:pt x="394" y="391"/>
                    <a:pt x="391" y="386"/>
                    <a:pt x="390" y="382"/>
                  </a:cubicBezTo>
                  <a:cubicBezTo>
                    <a:pt x="389" y="378"/>
                    <a:pt x="388" y="375"/>
                    <a:pt x="384" y="375"/>
                  </a:cubicBezTo>
                  <a:cubicBezTo>
                    <a:pt x="380" y="376"/>
                    <a:pt x="376" y="374"/>
                    <a:pt x="375" y="373"/>
                  </a:cubicBezTo>
                  <a:cubicBezTo>
                    <a:pt x="374" y="372"/>
                    <a:pt x="374" y="362"/>
                    <a:pt x="375" y="358"/>
                  </a:cubicBezTo>
                  <a:cubicBezTo>
                    <a:pt x="376" y="353"/>
                    <a:pt x="380" y="347"/>
                    <a:pt x="380" y="344"/>
                  </a:cubicBezTo>
                  <a:cubicBezTo>
                    <a:pt x="380" y="342"/>
                    <a:pt x="383" y="340"/>
                    <a:pt x="386" y="340"/>
                  </a:cubicBezTo>
                  <a:cubicBezTo>
                    <a:pt x="389" y="339"/>
                    <a:pt x="386" y="334"/>
                    <a:pt x="389" y="334"/>
                  </a:cubicBezTo>
                  <a:cubicBezTo>
                    <a:pt x="392" y="333"/>
                    <a:pt x="392" y="332"/>
                    <a:pt x="392" y="330"/>
                  </a:cubicBezTo>
                  <a:cubicBezTo>
                    <a:pt x="393" y="328"/>
                    <a:pt x="396" y="329"/>
                    <a:pt x="394" y="327"/>
                  </a:cubicBezTo>
                  <a:cubicBezTo>
                    <a:pt x="393" y="326"/>
                    <a:pt x="394" y="325"/>
                    <a:pt x="398" y="325"/>
                  </a:cubicBezTo>
                  <a:cubicBezTo>
                    <a:pt x="402" y="325"/>
                    <a:pt x="408" y="324"/>
                    <a:pt x="407" y="320"/>
                  </a:cubicBezTo>
                  <a:cubicBezTo>
                    <a:pt x="407" y="316"/>
                    <a:pt x="396" y="319"/>
                    <a:pt x="396" y="315"/>
                  </a:cubicBezTo>
                  <a:cubicBezTo>
                    <a:pt x="396" y="312"/>
                    <a:pt x="382" y="312"/>
                    <a:pt x="383" y="310"/>
                  </a:cubicBezTo>
                  <a:cubicBezTo>
                    <a:pt x="384" y="308"/>
                    <a:pt x="397" y="311"/>
                    <a:pt x="401" y="313"/>
                  </a:cubicBezTo>
                  <a:cubicBezTo>
                    <a:pt x="406" y="315"/>
                    <a:pt x="407" y="314"/>
                    <a:pt x="411" y="314"/>
                  </a:cubicBezTo>
                  <a:cubicBezTo>
                    <a:pt x="415" y="314"/>
                    <a:pt x="412" y="309"/>
                    <a:pt x="413" y="307"/>
                  </a:cubicBezTo>
                  <a:cubicBezTo>
                    <a:pt x="414" y="305"/>
                    <a:pt x="421" y="310"/>
                    <a:pt x="425" y="309"/>
                  </a:cubicBezTo>
                  <a:cubicBezTo>
                    <a:pt x="429" y="308"/>
                    <a:pt x="433" y="300"/>
                    <a:pt x="436" y="297"/>
                  </a:cubicBezTo>
                  <a:cubicBezTo>
                    <a:pt x="440" y="295"/>
                    <a:pt x="437" y="293"/>
                    <a:pt x="430" y="294"/>
                  </a:cubicBezTo>
                  <a:cubicBezTo>
                    <a:pt x="423" y="294"/>
                    <a:pt x="420" y="292"/>
                    <a:pt x="416" y="289"/>
                  </a:cubicBezTo>
                  <a:cubicBezTo>
                    <a:pt x="413" y="286"/>
                    <a:pt x="413" y="284"/>
                    <a:pt x="417" y="284"/>
                  </a:cubicBezTo>
                  <a:cubicBezTo>
                    <a:pt x="420" y="285"/>
                    <a:pt x="429" y="292"/>
                    <a:pt x="433" y="292"/>
                  </a:cubicBezTo>
                  <a:cubicBezTo>
                    <a:pt x="436" y="293"/>
                    <a:pt x="442" y="286"/>
                    <a:pt x="445" y="284"/>
                  </a:cubicBezTo>
                  <a:cubicBezTo>
                    <a:pt x="448" y="281"/>
                    <a:pt x="442" y="281"/>
                    <a:pt x="440" y="279"/>
                  </a:cubicBezTo>
                  <a:cubicBezTo>
                    <a:pt x="438" y="277"/>
                    <a:pt x="444" y="276"/>
                    <a:pt x="447" y="276"/>
                  </a:cubicBezTo>
                  <a:cubicBezTo>
                    <a:pt x="449" y="276"/>
                    <a:pt x="451" y="279"/>
                    <a:pt x="452" y="280"/>
                  </a:cubicBezTo>
                  <a:cubicBezTo>
                    <a:pt x="453" y="281"/>
                    <a:pt x="458" y="279"/>
                    <a:pt x="460" y="279"/>
                  </a:cubicBezTo>
                  <a:cubicBezTo>
                    <a:pt x="463" y="279"/>
                    <a:pt x="460" y="275"/>
                    <a:pt x="456" y="273"/>
                  </a:cubicBezTo>
                  <a:cubicBezTo>
                    <a:pt x="452" y="272"/>
                    <a:pt x="456" y="269"/>
                    <a:pt x="457" y="271"/>
                  </a:cubicBezTo>
                  <a:cubicBezTo>
                    <a:pt x="458" y="274"/>
                    <a:pt x="461" y="273"/>
                    <a:pt x="463" y="276"/>
                  </a:cubicBezTo>
                  <a:cubicBezTo>
                    <a:pt x="465" y="280"/>
                    <a:pt x="466" y="278"/>
                    <a:pt x="470" y="276"/>
                  </a:cubicBezTo>
                  <a:cubicBezTo>
                    <a:pt x="473" y="275"/>
                    <a:pt x="475" y="273"/>
                    <a:pt x="477" y="271"/>
                  </a:cubicBezTo>
                  <a:cubicBezTo>
                    <a:pt x="479" y="269"/>
                    <a:pt x="479" y="271"/>
                    <a:pt x="482" y="268"/>
                  </a:cubicBezTo>
                  <a:cubicBezTo>
                    <a:pt x="484" y="264"/>
                    <a:pt x="481" y="261"/>
                    <a:pt x="478" y="259"/>
                  </a:cubicBezTo>
                  <a:cubicBezTo>
                    <a:pt x="475" y="257"/>
                    <a:pt x="478" y="255"/>
                    <a:pt x="475" y="253"/>
                  </a:cubicBezTo>
                  <a:cubicBezTo>
                    <a:pt x="472" y="252"/>
                    <a:pt x="472" y="249"/>
                    <a:pt x="475" y="250"/>
                  </a:cubicBezTo>
                  <a:cubicBezTo>
                    <a:pt x="479" y="251"/>
                    <a:pt x="482" y="250"/>
                    <a:pt x="483" y="247"/>
                  </a:cubicBezTo>
                  <a:cubicBezTo>
                    <a:pt x="485" y="245"/>
                    <a:pt x="478" y="244"/>
                    <a:pt x="481" y="242"/>
                  </a:cubicBezTo>
                  <a:cubicBezTo>
                    <a:pt x="484" y="240"/>
                    <a:pt x="482" y="239"/>
                    <a:pt x="478" y="239"/>
                  </a:cubicBezTo>
                  <a:cubicBezTo>
                    <a:pt x="475" y="239"/>
                    <a:pt x="473" y="237"/>
                    <a:pt x="472" y="234"/>
                  </a:cubicBezTo>
                  <a:cubicBezTo>
                    <a:pt x="472" y="232"/>
                    <a:pt x="467" y="233"/>
                    <a:pt x="463" y="232"/>
                  </a:cubicBezTo>
                  <a:cubicBezTo>
                    <a:pt x="460" y="230"/>
                    <a:pt x="452" y="231"/>
                    <a:pt x="451" y="231"/>
                  </a:cubicBezTo>
                  <a:cubicBezTo>
                    <a:pt x="449" y="231"/>
                    <a:pt x="449" y="238"/>
                    <a:pt x="451" y="238"/>
                  </a:cubicBezTo>
                  <a:cubicBezTo>
                    <a:pt x="454" y="239"/>
                    <a:pt x="456" y="241"/>
                    <a:pt x="454" y="242"/>
                  </a:cubicBezTo>
                  <a:cubicBezTo>
                    <a:pt x="451" y="243"/>
                    <a:pt x="454" y="246"/>
                    <a:pt x="452" y="246"/>
                  </a:cubicBezTo>
                  <a:cubicBezTo>
                    <a:pt x="451" y="246"/>
                    <a:pt x="448" y="245"/>
                    <a:pt x="447" y="250"/>
                  </a:cubicBezTo>
                  <a:cubicBezTo>
                    <a:pt x="447" y="254"/>
                    <a:pt x="446" y="256"/>
                    <a:pt x="443" y="258"/>
                  </a:cubicBezTo>
                  <a:cubicBezTo>
                    <a:pt x="440" y="259"/>
                    <a:pt x="443" y="252"/>
                    <a:pt x="440" y="253"/>
                  </a:cubicBezTo>
                  <a:cubicBezTo>
                    <a:pt x="437" y="253"/>
                    <a:pt x="437" y="258"/>
                    <a:pt x="439" y="259"/>
                  </a:cubicBezTo>
                  <a:cubicBezTo>
                    <a:pt x="441" y="259"/>
                    <a:pt x="441" y="261"/>
                    <a:pt x="442" y="264"/>
                  </a:cubicBezTo>
                  <a:cubicBezTo>
                    <a:pt x="442" y="266"/>
                    <a:pt x="438" y="264"/>
                    <a:pt x="436" y="268"/>
                  </a:cubicBezTo>
                  <a:cubicBezTo>
                    <a:pt x="434" y="271"/>
                    <a:pt x="434" y="266"/>
                    <a:pt x="432" y="264"/>
                  </a:cubicBezTo>
                  <a:cubicBezTo>
                    <a:pt x="429" y="262"/>
                    <a:pt x="426" y="258"/>
                    <a:pt x="426" y="256"/>
                  </a:cubicBezTo>
                  <a:cubicBezTo>
                    <a:pt x="426" y="253"/>
                    <a:pt x="428" y="253"/>
                    <a:pt x="430" y="252"/>
                  </a:cubicBezTo>
                  <a:cubicBezTo>
                    <a:pt x="432" y="252"/>
                    <a:pt x="430" y="250"/>
                    <a:pt x="429" y="247"/>
                  </a:cubicBezTo>
                  <a:cubicBezTo>
                    <a:pt x="429" y="244"/>
                    <a:pt x="427" y="245"/>
                    <a:pt x="424" y="241"/>
                  </a:cubicBezTo>
                  <a:cubicBezTo>
                    <a:pt x="421" y="238"/>
                    <a:pt x="418" y="238"/>
                    <a:pt x="417" y="240"/>
                  </a:cubicBezTo>
                  <a:cubicBezTo>
                    <a:pt x="415" y="241"/>
                    <a:pt x="416" y="244"/>
                    <a:pt x="414" y="245"/>
                  </a:cubicBezTo>
                  <a:cubicBezTo>
                    <a:pt x="411" y="246"/>
                    <a:pt x="412" y="251"/>
                    <a:pt x="410" y="252"/>
                  </a:cubicBezTo>
                  <a:cubicBezTo>
                    <a:pt x="408" y="252"/>
                    <a:pt x="409" y="243"/>
                    <a:pt x="407" y="242"/>
                  </a:cubicBezTo>
                  <a:cubicBezTo>
                    <a:pt x="405" y="241"/>
                    <a:pt x="406" y="239"/>
                    <a:pt x="408" y="239"/>
                  </a:cubicBezTo>
                  <a:cubicBezTo>
                    <a:pt x="411" y="238"/>
                    <a:pt x="413" y="235"/>
                    <a:pt x="410" y="235"/>
                  </a:cubicBezTo>
                  <a:cubicBezTo>
                    <a:pt x="408" y="235"/>
                    <a:pt x="404" y="233"/>
                    <a:pt x="402" y="232"/>
                  </a:cubicBezTo>
                  <a:cubicBezTo>
                    <a:pt x="401" y="232"/>
                    <a:pt x="398" y="235"/>
                    <a:pt x="396" y="234"/>
                  </a:cubicBezTo>
                  <a:cubicBezTo>
                    <a:pt x="394" y="232"/>
                    <a:pt x="396" y="229"/>
                    <a:pt x="397" y="227"/>
                  </a:cubicBezTo>
                  <a:cubicBezTo>
                    <a:pt x="397" y="225"/>
                    <a:pt x="399" y="228"/>
                    <a:pt x="401" y="225"/>
                  </a:cubicBezTo>
                  <a:cubicBezTo>
                    <a:pt x="403" y="223"/>
                    <a:pt x="396" y="223"/>
                    <a:pt x="396" y="220"/>
                  </a:cubicBezTo>
                  <a:cubicBezTo>
                    <a:pt x="396" y="217"/>
                    <a:pt x="391" y="217"/>
                    <a:pt x="389" y="216"/>
                  </a:cubicBezTo>
                  <a:cubicBezTo>
                    <a:pt x="387" y="215"/>
                    <a:pt x="390" y="210"/>
                    <a:pt x="389" y="209"/>
                  </a:cubicBezTo>
                  <a:cubicBezTo>
                    <a:pt x="389" y="207"/>
                    <a:pt x="382" y="201"/>
                    <a:pt x="379" y="202"/>
                  </a:cubicBezTo>
                  <a:cubicBezTo>
                    <a:pt x="376" y="202"/>
                    <a:pt x="376" y="198"/>
                    <a:pt x="377" y="198"/>
                  </a:cubicBezTo>
                  <a:cubicBezTo>
                    <a:pt x="379" y="198"/>
                    <a:pt x="380" y="197"/>
                    <a:pt x="383" y="194"/>
                  </a:cubicBezTo>
                  <a:cubicBezTo>
                    <a:pt x="386" y="190"/>
                    <a:pt x="386" y="189"/>
                    <a:pt x="384" y="189"/>
                  </a:cubicBezTo>
                  <a:cubicBezTo>
                    <a:pt x="382" y="188"/>
                    <a:pt x="381" y="186"/>
                    <a:pt x="385" y="186"/>
                  </a:cubicBezTo>
                  <a:cubicBezTo>
                    <a:pt x="389" y="186"/>
                    <a:pt x="395" y="189"/>
                    <a:pt x="397" y="187"/>
                  </a:cubicBezTo>
                  <a:cubicBezTo>
                    <a:pt x="399" y="185"/>
                    <a:pt x="406" y="175"/>
                    <a:pt x="409" y="171"/>
                  </a:cubicBezTo>
                  <a:cubicBezTo>
                    <a:pt x="412" y="167"/>
                    <a:pt x="407" y="167"/>
                    <a:pt x="400" y="167"/>
                  </a:cubicBezTo>
                  <a:cubicBezTo>
                    <a:pt x="394" y="168"/>
                    <a:pt x="393" y="165"/>
                    <a:pt x="387" y="165"/>
                  </a:cubicBezTo>
                  <a:cubicBezTo>
                    <a:pt x="382" y="164"/>
                    <a:pt x="372" y="166"/>
                    <a:pt x="371" y="167"/>
                  </a:cubicBezTo>
                  <a:cubicBezTo>
                    <a:pt x="369" y="169"/>
                    <a:pt x="373" y="170"/>
                    <a:pt x="373" y="172"/>
                  </a:cubicBezTo>
                  <a:cubicBezTo>
                    <a:pt x="372" y="174"/>
                    <a:pt x="369" y="171"/>
                    <a:pt x="367" y="172"/>
                  </a:cubicBezTo>
                  <a:cubicBezTo>
                    <a:pt x="366" y="172"/>
                    <a:pt x="368" y="175"/>
                    <a:pt x="367" y="181"/>
                  </a:cubicBezTo>
                  <a:cubicBezTo>
                    <a:pt x="367" y="187"/>
                    <a:pt x="369" y="187"/>
                    <a:pt x="371" y="190"/>
                  </a:cubicBezTo>
                  <a:cubicBezTo>
                    <a:pt x="372" y="192"/>
                    <a:pt x="372" y="195"/>
                    <a:pt x="372" y="199"/>
                  </a:cubicBezTo>
                  <a:cubicBezTo>
                    <a:pt x="372" y="203"/>
                    <a:pt x="368" y="203"/>
                    <a:pt x="367" y="204"/>
                  </a:cubicBezTo>
                  <a:cubicBezTo>
                    <a:pt x="366" y="205"/>
                    <a:pt x="370" y="206"/>
                    <a:pt x="369" y="208"/>
                  </a:cubicBezTo>
                  <a:cubicBezTo>
                    <a:pt x="369" y="211"/>
                    <a:pt x="365" y="207"/>
                    <a:pt x="363" y="208"/>
                  </a:cubicBezTo>
                  <a:cubicBezTo>
                    <a:pt x="361" y="208"/>
                    <a:pt x="359" y="215"/>
                    <a:pt x="361" y="217"/>
                  </a:cubicBezTo>
                  <a:cubicBezTo>
                    <a:pt x="364" y="218"/>
                    <a:pt x="364" y="218"/>
                    <a:pt x="363" y="220"/>
                  </a:cubicBezTo>
                  <a:cubicBezTo>
                    <a:pt x="361" y="223"/>
                    <a:pt x="359" y="226"/>
                    <a:pt x="363" y="230"/>
                  </a:cubicBezTo>
                  <a:cubicBezTo>
                    <a:pt x="367" y="233"/>
                    <a:pt x="375" y="233"/>
                    <a:pt x="379" y="235"/>
                  </a:cubicBezTo>
                  <a:cubicBezTo>
                    <a:pt x="384" y="238"/>
                    <a:pt x="378" y="236"/>
                    <a:pt x="379" y="239"/>
                  </a:cubicBezTo>
                  <a:cubicBezTo>
                    <a:pt x="381" y="242"/>
                    <a:pt x="377" y="243"/>
                    <a:pt x="377" y="246"/>
                  </a:cubicBezTo>
                  <a:cubicBezTo>
                    <a:pt x="377" y="248"/>
                    <a:pt x="379" y="247"/>
                    <a:pt x="381" y="243"/>
                  </a:cubicBezTo>
                  <a:cubicBezTo>
                    <a:pt x="383" y="239"/>
                    <a:pt x="384" y="244"/>
                    <a:pt x="384" y="247"/>
                  </a:cubicBezTo>
                  <a:cubicBezTo>
                    <a:pt x="384" y="251"/>
                    <a:pt x="381" y="249"/>
                    <a:pt x="379" y="252"/>
                  </a:cubicBezTo>
                  <a:cubicBezTo>
                    <a:pt x="376" y="256"/>
                    <a:pt x="374" y="256"/>
                    <a:pt x="371" y="255"/>
                  </a:cubicBezTo>
                  <a:cubicBezTo>
                    <a:pt x="367" y="255"/>
                    <a:pt x="369" y="260"/>
                    <a:pt x="371" y="263"/>
                  </a:cubicBezTo>
                  <a:cubicBezTo>
                    <a:pt x="372" y="266"/>
                    <a:pt x="371" y="267"/>
                    <a:pt x="367" y="266"/>
                  </a:cubicBezTo>
                  <a:cubicBezTo>
                    <a:pt x="363" y="265"/>
                    <a:pt x="360" y="263"/>
                    <a:pt x="362" y="260"/>
                  </a:cubicBezTo>
                  <a:cubicBezTo>
                    <a:pt x="364" y="257"/>
                    <a:pt x="366" y="253"/>
                    <a:pt x="363" y="253"/>
                  </a:cubicBezTo>
                  <a:cubicBezTo>
                    <a:pt x="361" y="254"/>
                    <a:pt x="356" y="253"/>
                    <a:pt x="354" y="251"/>
                  </a:cubicBezTo>
                  <a:cubicBezTo>
                    <a:pt x="353" y="248"/>
                    <a:pt x="355" y="249"/>
                    <a:pt x="360" y="250"/>
                  </a:cubicBezTo>
                  <a:cubicBezTo>
                    <a:pt x="365" y="250"/>
                    <a:pt x="361" y="247"/>
                    <a:pt x="364" y="247"/>
                  </a:cubicBezTo>
                  <a:cubicBezTo>
                    <a:pt x="368" y="247"/>
                    <a:pt x="371" y="249"/>
                    <a:pt x="374" y="246"/>
                  </a:cubicBezTo>
                  <a:cubicBezTo>
                    <a:pt x="377" y="243"/>
                    <a:pt x="372" y="238"/>
                    <a:pt x="369" y="239"/>
                  </a:cubicBezTo>
                  <a:cubicBezTo>
                    <a:pt x="367" y="240"/>
                    <a:pt x="363" y="241"/>
                    <a:pt x="363" y="238"/>
                  </a:cubicBezTo>
                  <a:cubicBezTo>
                    <a:pt x="363" y="236"/>
                    <a:pt x="367" y="238"/>
                    <a:pt x="369" y="237"/>
                  </a:cubicBezTo>
                  <a:cubicBezTo>
                    <a:pt x="372" y="237"/>
                    <a:pt x="368" y="233"/>
                    <a:pt x="364" y="234"/>
                  </a:cubicBezTo>
                  <a:cubicBezTo>
                    <a:pt x="361" y="235"/>
                    <a:pt x="358" y="235"/>
                    <a:pt x="356" y="232"/>
                  </a:cubicBezTo>
                  <a:cubicBezTo>
                    <a:pt x="353" y="229"/>
                    <a:pt x="348" y="228"/>
                    <a:pt x="346" y="235"/>
                  </a:cubicBezTo>
                  <a:cubicBezTo>
                    <a:pt x="345" y="241"/>
                    <a:pt x="340" y="238"/>
                    <a:pt x="338" y="240"/>
                  </a:cubicBezTo>
                  <a:cubicBezTo>
                    <a:pt x="336" y="242"/>
                    <a:pt x="340" y="244"/>
                    <a:pt x="345" y="244"/>
                  </a:cubicBezTo>
                  <a:cubicBezTo>
                    <a:pt x="350" y="244"/>
                    <a:pt x="354" y="249"/>
                    <a:pt x="351" y="249"/>
                  </a:cubicBezTo>
                  <a:cubicBezTo>
                    <a:pt x="349" y="249"/>
                    <a:pt x="350" y="252"/>
                    <a:pt x="348" y="251"/>
                  </a:cubicBezTo>
                  <a:cubicBezTo>
                    <a:pt x="345" y="250"/>
                    <a:pt x="343" y="251"/>
                    <a:pt x="344" y="253"/>
                  </a:cubicBezTo>
                  <a:cubicBezTo>
                    <a:pt x="346" y="255"/>
                    <a:pt x="344" y="256"/>
                    <a:pt x="344" y="258"/>
                  </a:cubicBezTo>
                  <a:cubicBezTo>
                    <a:pt x="344" y="260"/>
                    <a:pt x="340" y="258"/>
                    <a:pt x="336" y="258"/>
                  </a:cubicBezTo>
                  <a:cubicBezTo>
                    <a:pt x="333" y="258"/>
                    <a:pt x="326" y="259"/>
                    <a:pt x="321" y="260"/>
                  </a:cubicBezTo>
                  <a:cubicBezTo>
                    <a:pt x="316" y="261"/>
                    <a:pt x="310" y="259"/>
                    <a:pt x="308" y="257"/>
                  </a:cubicBezTo>
                  <a:cubicBezTo>
                    <a:pt x="306" y="255"/>
                    <a:pt x="303" y="255"/>
                    <a:pt x="299" y="255"/>
                  </a:cubicBezTo>
                  <a:cubicBezTo>
                    <a:pt x="296" y="255"/>
                    <a:pt x="297" y="252"/>
                    <a:pt x="292" y="251"/>
                  </a:cubicBezTo>
                  <a:cubicBezTo>
                    <a:pt x="288" y="251"/>
                    <a:pt x="289" y="247"/>
                    <a:pt x="288" y="245"/>
                  </a:cubicBezTo>
                  <a:cubicBezTo>
                    <a:pt x="288" y="243"/>
                    <a:pt x="278" y="243"/>
                    <a:pt x="275" y="246"/>
                  </a:cubicBezTo>
                  <a:cubicBezTo>
                    <a:pt x="272" y="248"/>
                    <a:pt x="265" y="247"/>
                    <a:pt x="263" y="251"/>
                  </a:cubicBezTo>
                  <a:cubicBezTo>
                    <a:pt x="261" y="255"/>
                    <a:pt x="265" y="254"/>
                    <a:pt x="267" y="254"/>
                  </a:cubicBezTo>
                  <a:cubicBezTo>
                    <a:pt x="269" y="254"/>
                    <a:pt x="269" y="251"/>
                    <a:pt x="274" y="252"/>
                  </a:cubicBezTo>
                  <a:cubicBezTo>
                    <a:pt x="279" y="252"/>
                    <a:pt x="283" y="246"/>
                    <a:pt x="285" y="249"/>
                  </a:cubicBezTo>
                  <a:cubicBezTo>
                    <a:pt x="287" y="251"/>
                    <a:pt x="276" y="255"/>
                    <a:pt x="272" y="256"/>
                  </a:cubicBezTo>
                  <a:cubicBezTo>
                    <a:pt x="267" y="256"/>
                    <a:pt x="268" y="260"/>
                    <a:pt x="273" y="267"/>
                  </a:cubicBezTo>
                  <a:cubicBezTo>
                    <a:pt x="277" y="273"/>
                    <a:pt x="271" y="269"/>
                    <a:pt x="271" y="273"/>
                  </a:cubicBezTo>
                  <a:cubicBezTo>
                    <a:pt x="271" y="276"/>
                    <a:pt x="262" y="272"/>
                    <a:pt x="266" y="271"/>
                  </a:cubicBezTo>
                  <a:cubicBezTo>
                    <a:pt x="269" y="269"/>
                    <a:pt x="267" y="266"/>
                    <a:pt x="265" y="264"/>
                  </a:cubicBezTo>
                  <a:cubicBezTo>
                    <a:pt x="262" y="262"/>
                    <a:pt x="260" y="264"/>
                    <a:pt x="261" y="262"/>
                  </a:cubicBezTo>
                  <a:cubicBezTo>
                    <a:pt x="261" y="259"/>
                    <a:pt x="258" y="262"/>
                    <a:pt x="255" y="260"/>
                  </a:cubicBezTo>
                  <a:cubicBezTo>
                    <a:pt x="253" y="258"/>
                    <a:pt x="252" y="256"/>
                    <a:pt x="248" y="258"/>
                  </a:cubicBezTo>
                  <a:cubicBezTo>
                    <a:pt x="245" y="260"/>
                    <a:pt x="241" y="259"/>
                    <a:pt x="233" y="261"/>
                  </a:cubicBezTo>
                  <a:cubicBezTo>
                    <a:pt x="226" y="262"/>
                    <a:pt x="212" y="261"/>
                    <a:pt x="210" y="259"/>
                  </a:cubicBezTo>
                  <a:cubicBezTo>
                    <a:pt x="207" y="256"/>
                    <a:pt x="216" y="252"/>
                    <a:pt x="219" y="253"/>
                  </a:cubicBezTo>
                  <a:cubicBezTo>
                    <a:pt x="221" y="253"/>
                    <a:pt x="220" y="250"/>
                    <a:pt x="216" y="247"/>
                  </a:cubicBezTo>
                  <a:cubicBezTo>
                    <a:pt x="212" y="243"/>
                    <a:pt x="203" y="241"/>
                    <a:pt x="203" y="243"/>
                  </a:cubicBezTo>
                  <a:cubicBezTo>
                    <a:pt x="203" y="245"/>
                    <a:pt x="198" y="244"/>
                    <a:pt x="191" y="242"/>
                  </a:cubicBezTo>
                  <a:cubicBezTo>
                    <a:pt x="184" y="241"/>
                    <a:pt x="183" y="239"/>
                    <a:pt x="179" y="239"/>
                  </a:cubicBezTo>
                  <a:cubicBezTo>
                    <a:pt x="175" y="238"/>
                    <a:pt x="168" y="237"/>
                    <a:pt x="163" y="233"/>
                  </a:cubicBezTo>
                  <a:cubicBezTo>
                    <a:pt x="158" y="229"/>
                    <a:pt x="147" y="230"/>
                    <a:pt x="145" y="234"/>
                  </a:cubicBezTo>
                  <a:cubicBezTo>
                    <a:pt x="144" y="238"/>
                    <a:pt x="140" y="237"/>
                    <a:pt x="136" y="237"/>
                  </a:cubicBezTo>
                  <a:cubicBezTo>
                    <a:pt x="132" y="237"/>
                    <a:pt x="138" y="233"/>
                    <a:pt x="136" y="232"/>
                  </a:cubicBezTo>
                  <a:cubicBezTo>
                    <a:pt x="134" y="231"/>
                    <a:pt x="137" y="226"/>
                    <a:pt x="134" y="226"/>
                  </a:cubicBezTo>
                  <a:cubicBezTo>
                    <a:pt x="131" y="226"/>
                    <a:pt x="128" y="238"/>
                    <a:pt x="123" y="237"/>
                  </a:cubicBezTo>
                  <a:cubicBezTo>
                    <a:pt x="117" y="237"/>
                    <a:pt x="115" y="225"/>
                    <a:pt x="111" y="221"/>
                  </a:cubicBezTo>
                  <a:cubicBezTo>
                    <a:pt x="106" y="218"/>
                    <a:pt x="102" y="218"/>
                    <a:pt x="106" y="223"/>
                  </a:cubicBezTo>
                  <a:cubicBezTo>
                    <a:pt x="110" y="228"/>
                    <a:pt x="103" y="224"/>
                    <a:pt x="103" y="227"/>
                  </a:cubicBezTo>
                  <a:cubicBezTo>
                    <a:pt x="103" y="231"/>
                    <a:pt x="97" y="234"/>
                    <a:pt x="97" y="233"/>
                  </a:cubicBezTo>
                  <a:cubicBezTo>
                    <a:pt x="97" y="231"/>
                    <a:pt x="94" y="229"/>
                    <a:pt x="89" y="234"/>
                  </a:cubicBezTo>
                  <a:cubicBezTo>
                    <a:pt x="85" y="239"/>
                    <a:pt x="82" y="238"/>
                    <a:pt x="82" y="236"/>
                  </a:cubicBezTo>
                  <a:cubicBezTo>
                    <a:pt x="81" y="235"/>
                    <a:pt x="69" y="241"/>
                    <a:pt x="69" y="243"/>
                  </a:cubicBezTo>
                  <a:cubicBezTo>
                    <a:pt x="70" y="245"/>
                    <a:pt x="67" y="247"/>
                    <a:pt x="64" y="247"/>
                  </a:cubicBezTo>
                  <a:cubicBezTo>
                    <a:pt x="60" y="246"/>
                    <a:pt x="63" y="244"/>
                    <a:pt x="66" y="242"/>
                  </a:cubicBezTo>
                  <a:cubicBezTo>
                    <a:pt x="69" y="241"/>
                    <a:pt x="77" y="234"/>
                    <a:pt x="81" y="233"/>
                  </a:cubicBezTo>
                  <a:cubicBezTo>
                    <a:pt x="86" y="233"/>
                    <a:pt x="94" y="229"/>
                    <a:pt x="94" y="227"/>
                  </a:cubicBezTo>
                  <a:cubicBezTo>
                    <a:pt x="94" y="225"/>
                    <a:pt x="90" y="227"/>
                    <a:pt x="87" y="226"/>
                  </a:cubicBezTo>
                  <a:cubicBezTo>
                    <a:pt x="84" y="226"/>
                    <a:pt x="79" y="229"/>
                    <a:pt x="74" y="231"/>
                  </a:cubicBezTo>
                  <a:cubicBezTo>
                    <a:pt x="69" y="233"/>
                    <a:pt x="64" y="233"/>
                    <a:pt x="65" y="235"/>
                  </a:cubicBezTo>
                  <a:cubicBezTo>
                    <a:pt x="67" y="238"/>
                    <a:pt x="61" y="235"/>
                    <a:pt x="60" y="237"/>
                  </a:cubicBezTo>
                  <a:cubicBezTo>
                    <a:pt x="58" y="239"/>
                    <a:pt x="56" y="237"/>
                    <a:pt x="58" y="236"/>
                  </a:cubicBezTo>
                  <a:cubicBezTo>
                    <a:pt x="60" y="235"/>
                    <a:pt x="54" y="233"/>
                    <a:pt x="54" y="234"/>
                  </a:cubicBezTo>
                  <a:cubicBezTo>
                    <a:pt x="54" y="235"/>
                    <a:pt x="53" y="237"/>
                    <a:pt x="48" y="237"/>
                  </a:cubicBezTo>
                  <a:cubicBezTo>
                    <a:pt x="44" y="237"/>
                    <a:pt x="40" y="240"/>
                    <a:pt x="43" y="242"/>
                  </a:cubicBezTo>
                  <a:cubicBezTo>
                    <a:pt x="45" y="244"/>
                    <a:pt x="47" y="245"/>
                    <a:pt x="46" y="247"/>
                  </a:cubicBezTo>
                  <a:cubicBezTo>
                    <a:pt x="44" y="248"/>
                    <a:pt x="40" y="243"/>
                    <a:pt x="34" y="243"/>
                  </a:cubicBezTo>
                  <a:cubicBezTo>
                    <a:pt x="27" y="244"/>
                    <a:pt x="15" y="237"/>
                    <a:pt x="15" y="235"/>
                  </a:cubicBezTo>
                  <a:cubicBezTo>
                    <a:pt x="15" y="233"/>
                    <a:pt x="6" y="234"/>
                    <a:pt x="0" y="234"/>
                  </a:cubicBezTo>
                  <a:cubicBezTo>
                    <a:pt x="0" y="357"/>
                    <a:pt x="0" y="357"/>
                    <a:pt x="0" y="357"/>
                  </a:cubicBezTo>
                  <a:cubicBezTo>
                    <a:pt x="0" y="357"/>
                    <a:pt x="3" y="359"/>
                    <a:pt x="4" y="358"/>
                  </a:cubicBezTo>
                  <a:cubicBezTo>
                    <a:pt x="6" y="356"/>
                    <a:pt x="8" y="358"/>
                    <a:pt x="12" y="356"/>
                  </a:cubicBezTo>
                  <a:cubicBezTo>
                    <a:pt x="16" y="354"/>
                    <a:pt x="17" y="358"/>
                    <a:pt x="17" y="360"/>
                  </a:cubicBezTo>
                  <a:cubicBezTo>
                    <a:pt x="17" y="362"/>
                    <a:pt x="23" y="365"/>
                    <a:pt x="25" y="368"/>
                  </a:cubicBezTo>
                  <a:cubicBezTo>
                    <a:pt x="28" y="371"/>
                    <a:pt x="29" y="374"/>
                    <a:pt x="31" y="372"/>
                  </a:cubicBezTo>
                  <a:cubicBezTo>
                    <a:pt x="34" y="371"/>
                    <a:pt x="39" y="370"/>
                    <a:pt x="39" y="367"/>
                  </a:cubicBezTo>
                  <a:cubicBezTo>
                    <a:pt x="39" y="364"/>
                    <a:pt x="50" y="363"/>
                    <a:pt x="50" y="367"/>
                  </a:cubicBezTo>
                  <a:cubicBezTo>
                    <a:pt x="50" y="371"/>
                    <a:pt x="61" y="376"/>
                    <a:pt x="67" y="387"/>
                  </a:cubicBezTo>
                  <a:cubicBezTo>
                    <a:pt x="73" y="398"/>
                    <a:pt x="72" y="400"/>
                    <a:pt x="81" y="404"/>
                  </a:cubicBezTo>
                  <a:cubicBezTo>
                    <a:pt x="90" y="407"/>
                    <a:pt x="90" y="409"/>
                    <a:pt x="89" y="412"/>
                  </a:cubicBezTo>
                  <a:cubicBezTo>
                    <a:pt x="88" y="415"/>
                    <a:pt x="94" y="417"/>
                    <a:pt x="91" y="420"/>
                  </a:cubicBezTo>
                  <a:cubicBezTo>
                    <a:pt x="89" y="421"/>
                    <a:pt x="87" y="422"/>
                    <a:pt x="85" y="424"/>
                  </a:cubicBezTo>
                  <a:cubicBezTo>
                    <a:pt x="85" y="425"/>
                    <a:pt x="87" y="426"/>
                    <a:pt x="89" y="428"/>
                  </a:cubicBezTo>
                  <a:cubicBezTo>
                    <a:pt x="91" y="429"/>
                    <a:pt x="85" y="429"/>
                    <a:pt x="86" y="431"/>
                  </a:cubicBezTo>
                  <a:cubicBezTo>
                    <a:pt x="88" y="433"/>
                    <a:pt x="86" y="435"/>
                    <a:pt x="88" y="437"/>
                  </a:cubicBezTo>
                  <a:cubicBezTo>
                    <a:pt x="90" y="439"/>
                    <a:pt x="93" y="438"/>
                    <a:pt x="95" y="437"/>
                  </a:cubicBezTo>
                  <a:cubicBezTo>
                    <a:pt x="97" y="435"/>
                    <a:pt x="98" y="439"/>
                    <a:pt x="97" y="441"/>
                  </a:cubicBezTo>
                  <a:cubicBezTo>
                    <a:pt x="95" y="444"/>
                    <a:pt x="98" y="446"/>
                    <a:pt x="100" y="444"/>
                  </a:cubicBezTo>
                  <a:cubicBezTo>
                    <a:pt x="102" y="442"/>
                    <a:pt x="105" y="447"/>
                    <a:pt x="107" y="448"/>
                  </a:cubicBezTo>
                  <a:cubicBezTo>
                    <a:pt x="108" y="449"/>
                    <a:pt x="110" y="452"/>
                    <a:pt x="107" y="452"/>
                  </a:cubicBezTo>
                  <a:cubicBezTo>
                    <a:pt x="104" y="452"/>
                    <a:pt x="105" y="456"/>
                    <a:pt x="107" y="457"/>
                  </a:cubicBezTo>
                  <a:cubicBezTo>
                    <a:pt x="109" y="457"/>
                    <a:pt x="109" y="459"/>
                    <a:pt x="109" y="461"/>
                  </a:cubicBezTo>
                  <a:cubicBezTo>
                    <a:pt x="109" y="462"/>
                    <a:pt x="115" y="465"/>
                    <a:pt x="117" y="464"/>
                  </a:cubicBezTo>
                  <a:cubicBezTo>
                    <a:pt x="119" y="463"/>
                    <a:pt x="122" y="465"/>
                    <a:pt x="123" y="467"/>
                  </a:cubicBezTo>
                  <a:cubicBezTo>
                    <a:pt x="124" y="469"/>
                    <a:pt x="128" y="471"/>
                    <a:pt x="130" y="470"/>
                  </a:cubicBezTo>
                  <a:cubicBezTo>
                    <a:pt x="131" y="468"/>
                    <a:pt x="132" y="472"/>
                    <a:pt x="133" y="474"/>
                  </a:cubicBezTo>
                  <a:cubicBezTo>
                    <a:pt x="133" y="477"/>
                    <a:pt x="137" y="475"/>
                    <a:pt x="139" y="475"/>
                  </a:cubicBezTo>
                  <a:cubicBezTo>
                    <a:pt x="141" y="475"/>
                    <a:pt x="142" y="478"/>
                    <a:pt x="143" y="478"/>
                  </a:cubicBezTo>
                  <a:cubicBezTo>
                    <a:pt x="147" y="476"/>
                    <a:pt x="148" y="482"/>
                    <a:pt x="150" y="485"/>
                  </a:cubicBezTo>
                  <a:cubicBezTo>
                    <a:pt x="371" y="484"/>
                    <a:pt x="371" y="484"/>
                    <a:pt x="371" y="484"/>
                  </a:cubicBezTo>
                  <a:cubicBezTo>
                    <a:pt x="371" y="484"/>
                    <a:pt x="371" y="478"/>
                    <a:pt x="374" y="480"/>
                  </a:cubicBezTo>
                  <a:cubicBezTo>
                    <a:pt x="377" y="482"/>
                    <a:pt x="374" y="485"/>
                    <a:pt x="377" y="487"/>
                  </a:cubicBezTo>
                  <a:cubicBezTo>
                    <a:pt x="381" y="488"/>
                    <a:pt x="383" y="490"/>
                    <a:pt x="384" y="489"/>
                  </a:cubicBezTo>
                  <a:cubicBezTo>
                    <a:pt x="386" y="488"/>
                    <a:pt x="389" y="486"/>
                    <a:pt x="392" y="489"/>
                  </a:cubicBezTo>
                  <a:cubicBezTo>
                    <a:pt x="395" y="492"/>
                    <a:pt x="397" y="490"/>
                    <a:pt x="398" y="492"/>
                  </a:cubicBezTo>
                  <a:cubicBezTo>
                    <a:pt x="400" y="494"/>
                    <a:pt x="403" y="496"/>
                    <a:pt x="405" y="493"/>
                  </a:cubicBezTo>
                  <a:cubicBezTo>
                    <a:pt x="407" y="491"/>
                    <a:pt x="414" y="493"/>
                    <a:pt x="417" y="495"/>
                  </a:cubicBezTo>
                  <a:cubicBezTo>
                    <a:pt x="421" y="491"/>
                    <a:pt x="424" y="485"/>
                    <a:pt x="427" y="485"/>
                  </a:cubicBezTo>
                  <a:cubicBezTo>
                    <a:pt x="432" y="485"/>
                    <a:pt x="444" y="486"/>
                    <a:pt x="444" y="492"/>
                  </a:cubicBezTo>
                  <a:cubicBezTo>
                    <a:pt x="445" y="498"/>
                    <a:pt x="452" y="492"/>
                    <a:pt x="453" y="498"/>
                  </a:cubicBezTo>
                  <a:cubicBezTo>
                    <a:pt x="454" y="503"/>
                    <a:pt x="458" y="507"/>
                    <a:pt x="457" y="509"/>
                  </a:cubicBezTo>
                  <a:cubicBezTo>
                    <a:pt x="459" y="510"/>
                    <a:pt x="461" y="511"/>
                    <a:pt x="462" y="512"/>
                  </a:cubicBezTo>
                  <a:cubicBezTo>
                    <a:pt x="464" y="512"/>
                    <a:pt x="470" y="513"/>
                    <a:pt x="474" y="514"/>
                  </a:cubicBezTo>
                  <a:cubicBezTo>
                    <a:pt x="479" y="516"/>
                    <a:pt x="487" y="512"/>
                    <a:pt x="489" y="518"/>
                  </a:cubicBezTo>
                  <a:cubicBezTo>
                    <a:pt x="492" y="524"/>
                    <a:pt x="498" y="529"/>
                    <a:pt x="492" y="529"/>
                  </a:cubicBezTo>
                  <a:cubicBezTo>
                    <a:pt x="488" y="529"/>
                    <a:pt x="481" y="523"/>
                    <a:pt x="482" y="526"/>
                  </a:cubicBezTo>
                  <a:cubicBezTo>
                    <a:pt x="482" y="530"/>
                    <a:pt x="479" y="528"/>
                    <a:pt x="479" y="534"/>
                  </a:cubicBezTo>
                  <a:cubicBezTo>
                    <a:pt x="479" y="539"/>
                    <a:pt x="476" y="546"/>
                    <a:pt x="474" y="546"/>
                  </a:cubicBezTo>
                  <a:cubicBezTo>
                    <a:pt x="474" y="546"/>
                    <a:pt x="473" y="546"/>
                    <a:pt x="473" y="546"/>
                  </a:cubicBezTo>
                  <a:cubicBezTo>
                    <a:pt x="473" y="548"/>
                    <a:pt x="473" y="551"/>
                    <a:pt x="475" y="552"/>
                  </a:cubicBezTo>
                  <a:cubicBezTo>
                    <a:pt x="477" y="550"/>
                    <a:pt x="481" y="547"/>
                    <a:pt x="485" y="547"/>
                  </a:cubicBezTo>
                  <a:cubicBezTo>
                    <a:pt x="490" y="548"/>
                    <a:pt x="491" y="551"/>
                    <a:pt x="495" y="548"/>
                  </a:cubicBezTo>
                  <a:cubicBezTo>
                    <a:pt x="499" y="546"/>
                    <a:pt x="499" y="545"/>
                    <a:pt x="500" y="546"/>
                  </a:cubicBezTo>
                  <a:cubicBezTo>
                    <a:pt x="500" y="547"/>
                    <a:pt x="500" y="547"/>
                    <a:pt x="500" y="547"/>
                  </a:cubicBezTo>
                  <a:cubicBezTo>
                    <a:pt x="501" y="547"/>
                    <a:pt x="502" y="546"/>
                    <a:pt x="502" y="545"/>
                  </a:cubicBezTo>
                  <a:cubicBezTo>
                    <a:pt x="502" y="544"/>
                    <a:pt x="502" y="543"/>
                    <a:pt x="502" y="542"/>
                  </a:cubicBezTo>
                  <a:cubicBezTo>
                    <a:pt x="498" y="543"/>
                    <a:pt x="497" y="543"/>
                    <a:pt x="496" y="540"/>
                  </a:cubicBezTo>
                  <a:cubicBezTo>
                    <a:pt x="495" y="537"/>
                    <a:pt x="507" y="533"/>
                    <a:pt x="512" y="534"/>
                  </a:cubicBezTo>
                  <a:cubicBezTo>
                    <a:pt x="518" y="535"/>
                    <a:pt x="522" y="531"/>
                    <a:pt x="524" y="533"/>
                  </a:cubicBezTo>
                  <a:cubicBezTo>
                    <a:pt x="527" y="530"/>
                    <a:pt x="533" y="525"/>
                    <a:pt x="534" y="525"/>
                  </a:cubicBezTo>
                  <a:cubicBezTo>
                    <a:pt x="537" y="525"/>
                    <a:pt x="562" y="525"/>
                    <a:pt x="562" y="525"/>
                  </a:cubicBezTo>
                  <a:cubicBezTo>
                    <a:pt x="562" y="525"/>
                    <a:pt x="571" y="519"/>
                    <a:pt x="572" y="514"/>
                  </a:cubicBezTo>
                  <a:cubicBezTo>
                    <a:pt x="573" y="509"/>
                    <a:pt x="579" y="497"/>
                    <a:pt x="582" y="500"/>
                  </a:cubicBezTo>
                  <a:cubicBezTo>
                    <a:pt x="585" y="503"/>
                    <a:pt x="593" y="501"/>
                    <a:pt x="593" y="503"/>
                  </a:cubicBezTo>
                  <a:cubicBezTo>
                    <a:pt x="593" y="505"/>
                    <a:pt x="590" y="513"/>
                    <a:pt x="600" y="526"/>
                  </a:cubicBezTo>
                  <a:cubicBezTo>
                    <a:pt x="603" y="524"/>
                    <a:pt x="606" y="522"/>
                    <a:pt x="608" y="522"/>
                  </a:cubicBezTo>
                  <a:cubicBezTo>
                    <a:pt x="611" y="522"/>
                    <a:pt x="616" y="518"/>
                    <a:pt x="618" y="515"/>
                  </a:cubicBezTo>
                  <a:cubicBezTo>
                    <a:pt x="619" y="513"/>
                    <a:pt x="621" y="518"/>
                    <a:pt x="618" y="519"/>
                  </a:cubicBezTo>
                  <a:cubicBezTo>
                    <a:pt x="615" y="520"/>
                    <a:pt x="620" y="522"/>
                    <a:pt x="625" y="522"/>
                  </a:cubicBezTo>
                  <a:cubicBezTo>
                    <a:pt x="630" y="521"/>
                    <a:pt x="623" y="523"/>
                    <a:pt x="619" y="523"/>
                  </a:cubicBezTo>
                  <a:cubicBezTo>
                    <a:pt x="616" y="523"/>
                    <a:pt x="614" y="523"/>
                    <a:pt x="609" y="528"/>
                  </a:cubicBezTo>
                  <a:cubicBezTo>
                    <a:pt x="604" y="533"/>
                    <a:pt x="605" y="535"/>
                    <a:pt x="608" y="537"/>
                  </a:cubicBezTo>
                  <a:cubicBezTo>
                    <a:pt x="611" y="540"/>
                    <a:pt x="615" y="539"/>
                    <a:pt x="619" y="535"/>
                  </a:cubicBezTo>
                  <a:cubicBezTo>
                    <a:pt x="623" y="532"/>
                    <a:pt x="622" y="529"/>
                    <a:pt x="626" y="529"/>
                  </a:cubicBezTo>
                  <a:cubicBezTo>
                    <a:pt x="630" y="529"/>
                    <a:pt x="640" y="525"/>
                    <a:pt x="645" y="524"/>
                  </a:cubicBezTo>
                  <a:cubicBezTo>
                    <a:pt x="649" y="522"/>
                    <a:pt x="646" y="522"/>
                    <a:pt x="646" y="520"/>
                  </a:cubicBezTo>
                  <a:cubicBezTo>
                    <a:pt x="646" y="518"/>
                    <a:pt x="654" y="518"/>
                    <a:pt x="657" y="516"/>
                  </a:cubicBezTo>
                  <a:cubicBezTo>
                    <a:pt x="660" y="514"/>
                    <a:pt x="657" y="512"/>
                    <a:pt x="654" y="513"/>
                  </a:cubicBezTo>
                  <a:close/>
                  <a:moveTo>
                    <a:pt x="190" y="281"/>
                  </a:moveTo>
                  <a:cubicBezTo>
                    <a:pt x="185" y="287"/>
                    <a:pt x="184" y="288"/>
                    <a:pt x="179" y="287"/>
                  </a:cubicBezTo>
                  <a:cubicBezTo>
                    <a:pt x="174" y="286"/>
                    <a:pt x="171" y="289"/>
                    <a:pt x="173" y="290"/>
                  </a:cubicBezTo>
                  <a:cubicBezTo>
                    <a:pt x="176" y="292"/>
                    <a:pt x="176" y="294"/>
                    <a:pt x="171" y="295"/>
                  </a:cubicBezTo>
                  <a:cubicBezTo>
                    <a:pt x="166" y="296"/>
                    <a:pt x="163" y="300"/>
                    <a:pt x="161" y="299"/>
                  </a:cubicBezTo>
                  <a:cubicBezTo>
                    <a:pt x="159" y="299"/>
                    <a:pt x="169" y="291"/>
                    <a:pt x="167" y="289"/>
                  </a:cubicBezTo>
                  <a:cubicBezTo>
                    <a:pt x="164" y="287"/>
                    <a:pt x="157" y="293"/>
                    <a:pt x="157" y="295"/>
                  </a:cubicBezTo>
                  <a:cubicBezTo>
                    <a:pt x="157" y="298"/>
                    <a:pt x="153" y="298"/>
                    <a:pt x="150" y="298"/>
                  </a:cubicBezTo>
                  <a:cubicBezTo>
                    <a:pt x="147" y="297"/>
                    <a:pt x="144" y="295"/>
                    <a:pt x="146" y="295"/>
                  </a:cubicBezTo>
                  <a:cubicBezTo>
                    <a:pt x="149" y="294"/>
                    <a:pt x="147" y="291"/>
                    <a:pt x="151" y="290"/>
                  </a:cubicBezTo>
                  <a:cubicBezTo>
                    <a:pt x="155" y="289"/>
                    <a:pt x="150" y="286"/>
                    <a:pt x="151" y="285"/>
                  </a:cubicBezTo>
                  <a:cubicBezTo>
                    <a:pt x="152" y="283"/>
                    <a:pt x="160" y="286"/>
                    <a:pt x="160" y="284"/>
                  </a:cubicBezTo>
                  <a:cubicBezTo>
                    <a:pt x="160" y="281"/>
                    <a:pt x="153" y="278"/>
                    <a:pt x="150" y="280"/>
                  </a:cubicBezTo>
                  <a:cubicBezTo>
                    <a:pt x="148" y="282"/>
                    <a:pt x="142" y="286"/>
                    <a:pt x="134" y="283"/>
                  </a:cubicBezTo>
                  <a:cubicBezTo>
                    <a:pt x="132" y="282"/>
                    <a:pt x="152" y="279"/>
                    <a:pt x="156" y="276"/>
                  </a:cubicBezTo>
                  <a:cubicBezTo>
                    <a:pt x="159" y="273"/>
                    <a:pt x="174" y="270"/>
                    <a:pt x="176" y="272"/>
                  </a:cubicBezTo>
                  <a:cubicBezTo>
                    <a:pt x="177" y="275"/>
                    <a:pt x="167" y="277"/>
                    <a:pt x="172" y="280"/>
                  </a:cubicBezTo>
                  <a:cubicBezTo>
                    <a:pt x="176" y="282"/>
                    <a:pt x="184" y="281"/>
                    <a:pt x="186" y="278"/>
                  </a:cubicBezTo>
                  <a:cubicBezTo>
                    <a:pt x="187" y="275"/>
                    <a:pt x="195" y="276"/>
                    <a:pt x="190" y="281"/>
                  </a:cubicBezTo>
                  <a:close/>
                  <a:moveTo>
                    <a:pt x="235" y="339"/>
                  </a:moveTo>
                  <a:cubicBezTo>
                    <a:pt x="229" y="344"/>
                    <a:pt x="230" y="342"/>
                    <a:pt x="225" y="343"/>
                  </a:cubicBezTo>
                  <a:cubicBezTo>
                    <a:pt x="220" y="344"/>
                    <a:pt x="224" y="349"/>
                    <a:pt x="218" y="349"/>
                  </a:cubicBezTo>
                  <a:cubicBezTo>
                    <a:pt x="212" y="350"/>
                    <a:pt x="198" y="350"/>
                    <a:pt x="196" y="347"/>
                  </a:cubicBezTo>
                  <a:cubicBezTo>
                    <a:pt x="196" y="346"/>
                    <a:pt x="204" y="347"/>
                    <a:pt x="205" y="344"/>
                  </a:cubicBezTo>
                  <a:cubicBezTo>
                    <a:pt x="205" y="342"/>
                    <a:pt x="207" y="338"/>
                    <a:pt x="211" y="338"/>
                  </a:cubicBezTo>
                  <a:cubicBezTo>
                    <a:pt x="215" y="338"/>
                    <a:pt x="214" y="333"/>
                    <a:pt x="208" y="330"/>
                  </a:cubicBezTo>
                  <a:cubicBezTo>
                    <a:pt x="203" y="328"/>
                    <a:pt x="217" y="326"/>
                    <a:pt x="220" y="330"/>
                  </a:cubicBezTo>
                  <a:cubicBezTo>
                    <a:pt x="223" y="335"/>
                    <a:pt x="229" y="338"/>
                    <a:pt x="232" y="335"/>
                  </a:cubicBezTo>
                  <a:cubicBezTo>
                    <a:pt x="236" y="332"/>
                    <a:pt x="254" y="323"/>
                    <a:pt x="254" y="327"/>
                  </a:cubicBezTo>
                  <a:cubicBezTo>
                    <a:pt x="254" y="331"/>
                    <a:pt x="241" y="334"/>
                    <a:pt x="235" y="339"/>
                  </a:cubicBezTo>
                  <a:close/>
                  <a:moveTo>
                    <a:pt x="359" y="468"/>
                  </a:moveTo>
                  <a:cubicBezTo>
                    <a:pt x="355" y="469"/>
                    <a:pt x="359" y="458"/>
                    <a:pt x="352" y="454"/>
                  </a:cubicBezTo>
                  <a:cubicBezTo>
                    <a:pt x="344" y="449"/>
                    <a:pt x="340" y="441"/>
                    <a:pt x="340" y="436"/>
                  </a:cubicBezTo>
                  <a:cubicBezTo>
                    <a:pt x="340" y="432"/>
                    <a:pt x="347" y="429"/>
                    <a:pt x="350" y="433"/>
                  </a:cubicBezTo>
                  <a:cubicBezTo>
                    <a:pt x="353" y="437"/>
                    <a:pt x="357" y="451"/>
                    <a:pt x="360" y="456"/>
                  </a:cubicBezTo>
                  <a:cubicBezTo>
                    <a:pt x="362" y="461"/>
                    <a:pt x="362" y="468"/>
                    <a:pt x="359" y="468"/>
                  </a:cubicBezTo>
                  <a:close/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Freeform 158">
              <a:extLst>
                <a:ext uri="{FF2B5EF4-FFF2-40B4-BE49-F238E27FC236}">
                  <a16:creationId xmlns:a16="http://schemas.microsoft.com/office/drawing/2014/main" id="{338C85C8-08F6-4EDE-83F5-54D1493FC4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665054" y="4555002"/>
              <a:ext cx="942010" cy="833557"/>
            </a:xfrm>
            <a:custGeom>
              <a:avLst/>
              <a:gdLst>
                <a:gd name="T0" fmla="*/ 326 w 331"/>
                <a:gd name="T1" fmla="*/ 128 h 293"/>
                <a:gd name="T2" fmla="*/ 312 w 331"/>
                <a:gd name="T3" fmla="*/ 114 h 293"/>
                <a:gd name="T4" fmla="*/ 302 w 331"/>
                <a:gd name="T5" fmla="*/ 99 h 293"/>
                <a:gd name="T6" fmla="*/ 293 w 331"/>
                <a:gd name="T7" fmla="*/ 88 h 293"/>
                <a:gd name="T8" fmla="*/ 270 w 331"/>
                <a:gd name="T9" fmla="*/ 66 h 293"/>
                <a:gd name="T10" fmla="*/ 262 w 331"/>
                <a:gd name="T11" fmla="*/ 38 h 293"/>
                <a:gd name="T12" fmla="*/ 248 w 331"/>
                <a:gd name="T13" fmla="*/ 24 h 293"/>
                <a:gd name="T14" fmla="*/ 235 w 331"/>
                <a:gd name="T15" fmla="*/ 7 h 293"/>
                <a:gd name="T16" fmla="*/ 231 w 331"/>
                <a:gd name="T17" fmla="*/ 36 h 293"/>
                <a:gd name="T18" fmla="*/ 212 w 331"/>
                <a:gd name="T19" fmla="*/ 54 h 293"/>
                <a:gd name="T20" fmla="*/ 189 w 331"/>
                <a:gd name="T21" fmla="*/ 42 h 293"/>
                <a:gd name="T22" fmla="*/ 185 w 331"/>
                <a:gd name="T23" fmla="*/ 25 h 293"/>
                <a:gd name="T24" fmla="*/ 191 w 331"/>
                <a:gd name="T25" fmla="*/ 12 h 293"/>
                <a:gd name="T26" fmla="*/ 179 w 331"/>
                <a:gd name="T27" fmla="*/ 13 h 293"/>
                <a:gd name="T28" fmla="*/ 159 w 331"/>
                <a:gd name="T29" fmla="*/ 9 h 293"/>
                <a:gd name="T30" fmla="*/ 138 w 331"/>
                <a:gd name="T31" fmla="*/ 22 h 293"/>
                <a:gd name="T32" fmla="*/ 131 w 331"/>
                <a:gd name="T33" fmla="*/ 36 h 293"/>
                <a:gd name="T34" fmla="*/ 119 w 331"/>
                <a:gd name="T35" fmla="*/ 31 h 293"/>
                <a:gd name="T36" fmla="*/ 105 w 331"/>
                <a:gd name="T37" fmla="*/ 32 h 293"/>
                <a:gd name="T38" fmla="*/ 94 w 331"/>
                <a:gd name="T39" fmla="*/ 39 h 293"/>
                <a:gd name="T40" fmla="*/ 87 w 331"/>
                <a:gd name="T41" fmla="*/ 52 h 293"/>
                <a:gd name="T42" fmla="*/ 76 w 331"/>
                <a:gd name="T43" fmla="*/ 53 h 293"/>
                <a:gd name="T44" fmla="*/ 49 w 331"/>
                <a:gd name="T45" fmla="*/ 78 h 293"/>
                <a:gd name="T46" fmla="*/ 24 w 331"/>
                <a:gd name="T47" fmla="*/ 86 h 293"/>
                <a:gd name="T48" fmla="*/ 9 w 331"/>
                <a:gd name="T49" fmla="*/ 93 h 293"/>
                <a:gd name="T50" fmla="*/ 4 w 331"/>
                <a:gd name="T51" fmla="*/ 121 h 293"/>
                <a:gd name="T52" fmla="*/ 6 w 331"/>
                <a:gd name="T53" fmla="*/ 133 h 293"/>
                <a:gd name="T54" fmla="*/ 15 w 331"/>
                <a:gd name="T55" fmla="*/ 162 h 293"/>
                <a:gd name="T56" fmla="*/ 16 w 331"/>
                <a:gd name="T57" fmla="*/ 198 h 293"/>
                <a:gd name="T58" fmla="*/ 40 w 331"/>
                <a:gd name="T59" fmla="*/ 210 h 293"/>
                <a:gd name="T60" fmla="*/ 74 w 331"/>
                <a:gd name="T61" fmla="*/ 200 h 293"/>
                <a:gd name="T62" fmla="*/ 112 w 331"/>
                <a:gd name="T63" fmla="*/ 185 h 293"/>
                <a:gd name="T64" fmla="*/ 156 w 331"/>
                <a:gd name="T65" fmla="*/ 183 h 293"/>
                <a:gd name="T66" fmla="*/ 171 w 331"/>
                <a:gd name="T67" fmla="*/ 191 h 293"/>
                <a:gd name="T68" fmla="*/ 187 w 331"/>
                <a:gd name="T69" fmla="*/ 205 h 293"/>
                <a:gd name="T70" fmla="*/ 198 w 331"/>
                <a:gd name="T71" fmla="*/ 203 h 293"/>
                <a:gd name="T72" fmla="*/ 205 w 331"/>
                <a:gd name="T73" fmla="*/ 206 h 293"/>
                <a:gd name="T74" fmla="*/ 217 w 331"/>
                <a:gd name="T75" fmla="*/ 226 h 293"/>
                <a:gd name="T76" fmla="*/ 245 w 331"/>
                <a:gd name="T77" fmla="*/ 245 h 293"/>
                <a:gd name="T78" fmla="*/ 260 w 331"/>
                <a:gd name="T79" fmla="*/ 243 h 293"/>
                <a:gd name="T80" fmla="*/ 271 w 331"/>
                <a:gd name="T81" fmla="*/ 248 h 293"/>
                <a:gd name="T82" fmla="*/ 299 w 331"/>
                <a:gd name="T83" fmla="*/ 235 h 293"/>
                <a:gd name="T84" fmla="*/ 316 w 331"/>
                <a:gd name="T85" fmla="*/ 189 h 293"/>
                <a:gd name="T86" fmla="*/ 327 w 331"/>
                <a:gd name="T87" fmla="*/ 162 h 293"/>
                <a:gd name="T88" fmla="*/ 150 w 331"/>
                <a:gd name="T89" fmla="*/ 7 h 293"/>
                <a:gd name="T90" fmla="*/ 190 w 331"/>
                <a:gd name="T91" fmla="*/ 219 h 293"/>
                <a:gd name="T92" fmla="*/ 270 w 331"/>
                <a:gd name="T93" fmla="*/ 268 h 293"/>
                <a:gd name="T94" fmla="*/ 271 w 331"/>
                <a:gd name="T95" fmla="*/ 293 h 293"/>
                <a:gd name="T96" fmla="*/ 282 w 331"/>
                <a:gd name="T97" fmla="*/ 286 h 293"/>
                <a:gd name="T98" fmla="*/ 270 w 331"/>
                <a:gd name="T99" fmla="*/ 268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31" h="293">
                  <a:moveTo>
                    <a:pt x="328" y="147"/>
                  </a:moveTo>
                  <a:cubicBezTo>
                    <a:pt x="330" y="146"/>
                    <a:pt x="328" y="140"/>
                    <a:pt x="326" y="141"/>
                  </a:cubicBezTo>
                  <a:cubicBezTo>
                    <a:pt x="325" y="142"/>
                    <a:pt x="325" y="132"/>
                    <a:pt x="326" y="128"/>
                  </a:cubicBezTo>
                  <a:cubicBezTo>
                    <a:pt x="327" y="123"/>
                    <a:pt x="326" y="124"/>
                    <a:pt x="324" y="126"/>
                  </a:cubicBezTo>
                  <a:cubicBezTo>
                    <a:pt x="322" y="129"/>
                    <a:pt x="319" y="122"/>
                    <a:pt x="319" y="120"/>
                  </a:cubicBezTo>
                  <a:cubicBezTo>
                    <a:pt x="318" y="118"/>
                    <a:pt x="315" y="113"/>
                    <a:pt x="312" y="114"/>
                  </a:cubicBezTo>
                  <a:cubicBezTo>
                    <a:pt x="309" y="115"/>
                    <a:pt x="311" y="110"/>
                    <a:pt x="308" y="110"/>
                  </a:cubicBezTo>
                  <a:cubicBezTo>
                    <a:pt x="306" y="111"/>
                    <a:pt x="305" y="106"/>
                    <a:pt x="306" y="102"/>
                  </a:cubicBezTo>
                  <a:cubicBezTo>
                    <a:pt x="306" y="98"/>
                    <a:pt x="304" y="101"/>
                    <a:pt x="302" y="99"/>
                  </a:cubicBezTo>
                  <a:cubicBezTo>
                    <a:pt x="301" y="97"/>
                    <a:pt x="300" y="99"/>
                    <a:pt x="298" y="100"/>
                  </a:cubicBezTo>
                  <a:cubicBezTo>
                    <a:pt x="296" y="100"/>
                    <a:pt x="295" y="96"/>
                    <a:pt x="296" y="94"/>
                  </a:cubicBezTo>
                  <a:cubicBezTo>
                    <a:pt x="296" y="92"/>
                    <a:pt x="295" y="90"/>
                    <a:pt x="293" y="88"/>
                  </a:cubicBezTo>
                  <a:cubicBezTo>
                    <a:pt x="290" y="86"/>
                    <a:pt x="290" y="85"/>
                    <a:pt x="290" y="82"/>
                  </a:cubicBezTo>
                  <a:cubicBezTo>
                    <a:pt x="290" y="80"/>
                    <a:pt x="275" y="72"/>
                    <a:pt x="272" y="71"/>
                  </a:cubicBezTo>
                  <a:cubicBezTo>
                    <a:pt x="268" y="71"/>
                    <a:pt x="271" y="67"/>
                    <a:pt x="270" y="66"/>
                  </a:cubicBezTo>
                  <a:cubicBezTo>
                    <a:pt x="268" y="65"/>
                    <a:pt x="268" y="60"/>
                    <a:pt x="268" y="56"/>
                  </a:cubicBezTo>
                  <a:cubicBezTo>
                    <a:pt x="268" y="52"/>
                    <a:pt x="263" y="51"/>
                    <a:pt x="263" y="48"/>
                  </a:cubicBezTo>
                  <a:cubicBezTo>
                    <a:pt x="263" y="44"/>
                    <a:pt x="261" y="41"/>
                    <a:pt x="262" y="38"/>
                  </a:cubicBezTo>
                  <a:cubicBezTo>
                    <a:pt x="262" y="34"/>
                    <a:pt x="257" y="33"/>
                    <a:pt x="256" y="31"/>
                  </a:cubicBezTo>
                  <a:cubicBezTo>
                    <a:pt x="256" y="29"/>
                    <a:pt x="253" y="31"/>
                    <a:pt x="250" y="32"/>
                  </a:cubicBezTo>
                  <a:cubicBezTo>
                    <a:pt x="247" y="32"/>
                    <a:pt x="247" y="28"/>
                    <a:pt x="248" y="24"/>
                  </a:cubicBezTo>
                  <a:cubicBezTo>
                    <a:pt x="248" y="19"/>
                    <a:pt x="246" y="13"/>
                    <a:pt x="244" y="11"/>
                  </a:cubicBezTo>
                  <a:cubicBezTo>
                    <a:pt x="241" y="9"/>
                    <a:pt x="241" y="2"/>
                    <a:pt x="240" y="1"/>
                  </a:cubicBezTo>
                  <a:cubicBezTo>
                    <a:pt x="239" y="0"/>
                    <a:pt x="235" y="4"/>
                    <a:pt x="235" y="7"/>
                  </a:cubicBezTo>
                  <a:cubicBezTo>
                    <a:pt x="235" y="9"/>
                    <a:pt x="234" y="12"/>
                    <a:pt x="233" y="13"/>
                  </a:cubicBezTo>
                  <a:cubicBezTo>
                    <a:pt x="231" y="15"/>
                    <a:pt x="234" y="20"/>
                    <a:pt x="232" y="22"/>
                  </a:cubicBezTo>
                  <a:cubicBezTo>
                    <a:pt x="230" y="24"/>
                    <a:pt x="232" y="32"/>
                    <a:pt x="231" y="36"/>
                  </a:cubicBezTo>
                  <a:cubicBezTo>
                    <a:pt x="231" y="41"/>
                    <a:pt x="231" y="46"/>
                    <a:pt x="229" y="49"/>
                  </a:cubicBezTo>
                  <a:cubicBezTo>
                    <a:pt x="226" y="52"/>
                    <a:pt x="226" y="57"/>
                    <a:pt x="222" y="58"/>
                  </a:cubicBezTo>
                  <a:cubicBezTo>
                    <a:pt x="217" y="60"/>
                    <a:pt x="212" y="56"/>
                    <a:pt x="212" y="54"/>
                  </a:cubicBezTo>
                  <a:cubicBezTo>
                    <a:pt x="212" y="52"/>
                    <a:pt x="207" y="50"/>
                    <a:pt x="205" y="51"/>
                  </a:cubicBezTo>
                  <a:cubicBezTo>
                    <a:pt x="202" y="51"/>
                    <a:pt x="201" y="47"/>
                    <a:pt x="197" y="44"/>
                  </a:cubicBezTo>
                  <a:cubicBezTo>
                    <a:pt x="193" y="41"/>
                    <a:pt x="190" y="45"/>
                    <a:pt x="189" y="42"/>
                  </a:cubicBezTo>
                  <a:cubicBezTo>
                    <a:pt x="188" y="38"/>
                    <a:pt x="186" y="37"/>
                    <a:pt x="183" y="35"/>
                  </a:cubicBezTo>
                  <a:cubicBezTo>
                    <a:pt x="181" y="34"/>
                    <a:pt x="181" y="34"/>
                    <a:pt x="184" y="32"/>
                  </a:cubicBezTo>
                  <a:cubicBezTo>
                    <a:pt x="187" y="30"/>
                    <a:pt x="186" y="27"/>
                    <a:pt x="185" y="25"/>
                  </a:cubicBezTo>
                  <a:cubicBezTo>
                    <a:pt x="183" y="22"/>
                    <a:pt x="186" y="23"/>
                    <a:pt x="190" y="21"/>
                  </a:cubicBezTo>
                  <a:cubicBezTo>
                    <a:pt x="194" y="19"/>
                    <a:pt x="190" y="17"/>
                    <a:pt x="193" y="16"/>
                  </a:cubicBezTo>
                  <a:cubicBezTo>
                    <a:pt x="195" y="15"/>
                    <a:pt x="194" y="12"/>
                    <a:pt x="191" y="12"/>
                  </a:cubicBezTo>
                  <a:cubicBezTo>
                    <a:pt x="188" y="11"/>
                    <a:pt x="189" y="15"/>
                    <a:pt x="188" y="15"/>
                  </a:cubicBezTo>
                  <a:cubicBezTo>
                    <a:pt x="187" y="15"/>
                    <a:pt x="186" y="11"/>
                    <a:pt x="185" y="11"/>
                  </a:cubicBezTo>
                  <a:cubicBezTo>
                    <a:pt x="184" y="11"/>
                    <a:pt x="181" y="16"/>
                    <a:pt x="179" y="13"/>
                  </a:cubicBezTo>
                  <a:cubicBezTo>
                    <a:pt x="177" y="11"/>
                    <a:pt x="167" y="9"/>
                    <a:pt x="163" y="8"/>
                  </a:cubicBezTo>
                  <a:cubicBezTo>
                    <a:pt x="159" y="8"/>
                    <a:pt x="158" y="3"/>
                    <a:pt x="156" y="4"/>
                  </a:cubicBezTo>
                  <a:cubicBezTo>
                    <a:pt x="153" y="5"/>
                    <a:pt x="156" y="6"/>
                    <a:pt x="159" y="9"/>
                  </a:cubicBezTo>
                  <a:cubicBezTo>
                    <a:pt x="161" y="12"/>
                    <a:pt x="150" y="14"/>
                    <a:pt x="146" y="13"/>
                  </a:cubicBezTo>
                  <a:cubicBezTo>
                    <a:pt x="143" y="12"/>
                    <a:pt x="147" y="15"/>
                    <a:pt x="144" y="15"/>
                  </a:cubicBezTo>
                  <a:cubicBezTo>
                    <a:pt x="141" y="15"/>
                    <a:pt x="141" y="20"/>
                    <a:pt x="138" y="22"/>
                  </a:cubicBezTo>
                  <a:cubicBezTo>
                    <a:pt x="136" y="25"/>
                    <a:pt x="138" y="27"/>
                    <a:pt x="135" y="28"/>
                  </a:cubicBezTo>
                  <a:cubicBezTo>
                    <a:pt x="133" y="30"/>
                    <a:pt x="132" y="32"/>
                    <a:pt x="135" y="35"/>
                  </a:cubicBezTo>
                  <a:cubicBezTo>
                    <a:pt x="138" y="39"/>
                    <a:pt x="134" y="39"/>
                    <a:pt x="131" y="36"/>
                  </a:cubicBezTo>
                  <a:cubicBezTo>
                    <a:pt x="129" y="33"/>
                    <a:pt x="126" y="33"/>
                    <a:pt x="126" y="36"/>
                  </a:cubicBezTo>
                  <a:cubicBezTo>
                    <a:pt x="126" y="39"/>
                    <a:pt x="123" y="38"/>
                    <a:pt x="124" y="35"/>
                  </a:cubicBezTo>
                  <a:cubicBezTo>
                    <a:pt x="124" y="31"/>
                    <a:pt x="120" y="33"/>
                    <a:pt x="119" y="31"/>
                  </a:cubicBezTo>
                  <a:cubicBezTo>
                    <a:pt x="118" y="29"/>
                    <a:pt x="115" y="26"/>
                    <a:pt x="112" y="26"/>
                  </a:cubicBezTo>
                  <a:cubicBezTo>
                    <a:pt x="110" y="26"/>
                    <a:pt x="110" y="29"/>
                    <a:pt x="108" y="29"/>
                  </a:cubicBezTo>
                  <a:cubicBezTo>
                    <a:pt x="105" y="29"/>
                    <a:pt x="105" y="30"/>
                    <a:pt x="105" y="32"/>
                  </a:cubicBezTo>
                  <a:cubicBezTo>
                    <a:pt x="105" y="35"/>
                    <a:pt x="102" y="32"/>
                    <a:pt x="99" y="32"/>
                  </a:cubicBezTo>
                  <a:cubicBezTo>
                    <a:pt x="96" y="33"/>
                    <a:pt x="99" y="36"/>
                    <a:pt x="97" y="36"/>
                  </a:cubicBezTo>
                  <a:cubicBezTo>
                    <a:pt x="96" y="36"/>
                    <a:pt x="96" y="39"/>
                    <a:pt x="94" y="39"/>
                  </a:cubicBezTo>
                  <a:cubicBezTo>
                    <a:pt x="91" y="39"/>
                    <a:pt x="92" y="44"/>
                    <a:pt x="92" y="47"/>
                  </a:cubicBezTo>
                  <a:cubicBezTo>
                    <a:pt x="92" y="49"/>
                    <a:pt x="89" y="45"/>
                    <a:pt x="86" y="46"/>
                  </a:cubicBezTo>
                  <a:cubicBezTo>
                    <a:pt x="84" y="47"/>
                    <a:pt x="87" y="49"/>
                    <a:pt x="87" y="52"/>
                  </a:cubicBezTo>
                  <a:cubicBezTo>
                    <a:pt x="88" y="55"/>
                    <a:pt x="86" y="55"/>
                    <a:pt x="85" y="56"/>
                  </a:cubicBezTo>
                  <a:cubicBezTo>
                    <a:pt x="84" y="57"/>
                    <a:pt x="82" y="53"/>
                    <a:pt x="82" y="50"/>
                  </a:cubicBezTo>
                  <a:cubicBezTo>
                    <a:pt x="82" y="47"/>
                    <a:pt x="79" y="50"/>
                    <a:pt x="76" y="53"/>
                  </a:cubicBezTo>
                  <a:cubicBezTo>
                    <a:pt x="72" y="57"/>
                    <a:pt x="77" y="62"/>
                    <a:pt x="75" y="63"/>
                  </a:cubicBezTo>
                  <a:cubicBezTo>
                    <a:pt x="74" y="64"/>
                    <a:pt x="67" y="70"/>
                    <a:pt x="64" y="74"/>
                  </a:cubicBezTo>
                  <a:cubicBezTo>
                    <a:pt x="60" y="79"/>
                    <a:pt x="52" y="76"/>
                    <a:pt x="49" y="78"/>
                  </a:cubicBezTo>
                  <a:cubicBezTo>
                    <a:pt x="47" y="80"/>
                    <a:pt x="44" y="79"/>
                    <a:pt x="42" y="81"/>
                  </a:cubicBezTo>
                  <a:cubicBezTo>
                    <a:pt x="39" y="83"/>
                    <a:pt x="35" y="86"/>
                    <a:pt x="34" y="84"/>
                  </a:cubicBezTo>
                  <a:cubicBezTo>
                    <a:pt x="33" y="82"/>
                    <a:pt x="27" y="83"/>
                    <a:pt x="24" y="86"/>
                  </a:cubicBezTo>
                  <a:cubicBezTo>
                    <a:pt x="22" y="89"/>
                    <a:pt x="17" y="92"/>
                    <a:pt x="14" y="92"/>
                  </a:cubicBezTo>
                  <a:cubicBezTo>
                    <a:pt x="11" y="92"/>
                    <a:pt x="11" y="97"/>
                    <a:pt x="10" y="98"/>
                  </a:cubicBezTo>
                  <a:cubicBezTo>
                    <a:pt x="9" y="99"/>
                    <a:pt x="9" y="94"/>
                    <a:pt x="9" y="93"/>
                  </a:cubicBezTo>
                  <a:cubicBezTo>
                    <a:pt x="9" y="91"/>
                    <a:pt x="6" y="95"/>
                    <a:pt x="5" y="99"/>
                  </a:cubicBezTo>
                  <a:cubicBezTo>
                    <a:pt x="4" y="102"/>
                    <a:pt x="8" y="104"/>
                    <a:pt x="5" y="108"/>
                  </a:cubicBezTo>
                  <a:cubicBezTo>
                    <a:pt x="3" y="112"/>
                    <a:pt x="0" y="116"/>
                    <a:pt x="4" y="121"/>
                  </a:cubicBezTo>
                  <a:cubicBezTo>
                    <a:pt x="8" y="126"/>
                    <a:pt x="10" y="129"/>
                    <a:pt x="9" y="131"/>
                  </a:cubicBezTo>
                  <a:cubicBezTo>
                    <a:pt x="7" y="134"/>
                    <a:pt x="5" y="126"/>
                    <a:pt x="4" y="127"/>
                  </a:cubicBezTo>
                  <a:cubicBezTo>
                    <a:pt x="3" y="128"/>
                    <a:pt x="7" y="131"/>
                    <a:pt x="6" y="133"/>
                  </a:cubicBezTo>
                  <a:cubicBezTo>
                    <a:pt x="5" y="134"/>
                    <a:pt x="1" y="127"/>
                    <a:pt x="0" y="129"/>
                  </a:cubicBezTo>
                  <a:cubicBezTo>
                    <a:pt x="0" y="130"/>
                    <a:pt x="8" y="142"/>
                    <a:pt x="9" y="147"/>
                  </a:cubicBezTo>
                  <a:cubicBezTo>
                    <a:pt x="9" y="151"/>
                    <a:pt x="16" y="156"/>
                    <a:pt x="15" y="162"/>
                  </a:cubicBezTo>
                  <a:cubicBezTo>
                    <a:pt x="15" y="168"/>
                    <a:pt x="21" y="179"/>
                    <a:pt x="23" y="180"/>
                  </a:cubicBezTo>
                  <a:cubicBezTo>
                    <a:pt x="24" y="182"/>
                    <a:pt x="20" y="186"/>
                    <a:pt x="21" y="191"/>
                  </a:cubicBezTo>
                  <a:cubicBezTo>
                    <a:pt x="21" y="196"/>
                    <a:pt x="19" y="198"/>
                    <a:pt x="16" y="198"/>
                  </a:cubicBezTo>
                  <a:cubicBezTo>
                    <a:pt x="13" y="198"/>
                    <a:pt x="15" y="203"/>
                    <a:pt x="18" y="203"/>
                  </a:cubicBezTo>
                  <a:cubicBezTo>
                    <a:pt x="22" y="203"/>
                    <a:pt x="20" y="206"/>
                    <a:pt x="24" y="208"/>
                  </a:cubicBezTo>
                  <a:cubicBezTo>
                    <a:pt x="28" y="211"/>
                    <a:pt x="37" y="210"/>
                    <a:pt x="40" y="210"/>
                  </a:cubicBezTo>
                  <a:cubicBezTo>
                    <a:pt x="43" y="210"/>
                    <a:pt x="44" y="205"/>
                    <a:pt x="48" y="205"/>
                  </a:cubicBezTo>
                  <a:cubicBezTo>
                    <a:pt x="52" y="205"/>
                    <a:pt x="52" y="203"/>
                    <a:pt x="54" y="201"/>
                  </a:cubicBezTo>
                  <a:cubicBezTo>
                    <a:pt x="56" y="198"/>
                    <a:pt x="65" y="199"/>
                    <a:pt x="74" y="200"/>
                  </a:cubicBezTo>
                  <a:cubicBezTo>
                    <a:pt x="84" y="200"/>
                    <a:pt x="88" y="197"/>
                    <a:pt x="89" y="193"/>
                  </a:cubicBezTo>
                  <a:cubicBezTo>
                    <a:pt x="90" y="190"/>
                    <a:pt x="97" y="190"/>
                    <a:pt x="100" y="187"/>
                  </a:cubicBezTo>
                  <a:cubicBezTo>
                    <a:pt x="103" y="185"/>
                    <a:pt x="105" y="185"/>
                    <a:pt x="112" y="185"/>
                  </a:cubicBezTo>
                  <a:cubicBezTo>
                    <a:pt x="119" y="185"/>
                    <a:pt x="125" y="182"/>
                    <a:pt x="130" y="180"/>
                  </a:cubicBezTo>
                  <a:cubicBezTo>
                    <a:pt x="134" y="178"/>
                    <a:pt x="142" y="179"/>
                    <a:pt x="147" y="178"/>
                  </a:cubicBezTo>
                  <a:cubicBezTo>
                    <a:pt x="151" y="177"/>
                    <a:pt x="152" y="183"/>
                    <a:pt x="156" y="183"/>
                  </a:cubicBezTo>
                  <a:cubicBezTo>
                    <a:pt x="161" y="182"/>
                    <a:pt x="163" y="184"/>
                    <a:pt x="166" y="184"/>
                  </a:cubicBezTo>
                  <a:cubicBezTo>
                    <a:pt x="168" y="184"/>
                    <a:pt x="168" y="186"/>
                    <a:pt x="171" y="186"/>
                  </a:cubicBezTo>
                  <a:cubicBezTo>
                    <a:pt x="173" y="187"/>
                    <a:pt x="173" y="189"/>
                    <a:pt x="171" y="191"/>
                  </a:cubicBezTo>
                  <a:cubicBezTo>
                    <a:pt x="170" y="193"/>
                    <a:pt x="175" y="193"/>
                    <a:pt x="178" y="198"/>
                  </a:cubicBezTo>
                  <a:cubicBezTo>
                    <a:pt x="182" y="203"/>
                    <a:pt x="178" y="203"/>
                    <a:pt x="180" y="207"/>
                  </a:cubicBezTo>
                  <a:cubicBezTo>
                    <a:pt x="182" y="210"/>
                    <a:pt x="183" y="210"/>
                    <a:pt x="187" y="205"/>
                  </a:cubicBezTo>
                  <a:cubicBezTo>
                    <a:pt x="190" y="200"/>
                    <a:pt x="194" y="203"/>
                    <a:pt x="195" y="198"/>
                  </a:cubicBezTo>
                  <a:cubicBezTo>
                    <a:pt x="195" y="194"/>
                    <a:pt x="199" y="189"/>
                    <a:pt x="202" y="191"/>
                  </a:cubicBezTo>
                  <a:cubicBezTo>
                    <a:pt x="204" y="193"/>
                    <a:pt x="200" y="195"/>
                    <a:pt x="198" y="203"/>
                  </a:cubicBezTo>
                  <a:cubicBezTo>
                    <a:pt x="197" y="211"/>
                    <a:pt x="194" y="207"/>
                    <a:pt x="193" y="209"/>
                  </a:cubicBezTo>
                  <a:cubicBezTo>
                    <a:pt x="193" y="211"/>
                    <a:pt x="201" y="213"/>
                    <a:pt x="201" y="208"/>
                  </a:cubicBezTo>
                  <a:cubicBezTo>
                    <a:pt x="201" y="204"/>
                    <a:pt x="202" y="202"/>
                    <a:pt x="205" y="206"/>
                  </a:cubicBezTo>
                  <a:cubicBezTo>
                    <a:pt x="208" y="210"/>
                    <a:pt x="203" y="213"/>
                    <a:pt x="204" y="215"/>
                  </a:cubicBezTo>
                  <a:cubicBezTo>
                    <a:pt x="205" y="217"/>
                    <a:pt x="208" y="214"/>
                    <a:pt x="210" y="215"/>
                  </a:cubicBezTo>
                  <a:cubicBezTo>
                    <a:pt x="213" y="215"/>
                    <a:pt x="217" y="222"/>
                    <a:pt x="217" y="226"/>
                  </a:cubicBezTo>
                  <a:cubicBezTo>
                    <a:pt x="216" y="229"/>
                    <a:pt x="215" y="233"/>
                    <a:pt x="221" y="236"/>
                  </a:cubicBezTo>
                  <a:cubicBezTo>
                    <a:pt x="227" y="239"/>
                    <a:pt x="225" y="240"/>
                    <a:pt x="229" y="240"/>
                  </a:cubicBezTo>
                  <a:cubicBezTo>
                    <a:pt x="234" y="240"/>
                    <a:pt x="243" y="243"/>
                    <a:pt x="245" y="245"/>
                  </a:cubicBezTo>
                  <a:cubicBezTo>
                    <a:pt x="248" y="247"/>
                    <a:pt x="254" y="244"/>
                    <a:pt x="256" y="239"/>
                  </a:cubicBezTo>
                  <a:cubicBezTo>
                    <a:pt x="257" y="235"/>
                    <a:pt x="262" y="239"/>
                    <a:pt x="259" y="241"/>
                  </a:cubicBezTo>
                  <a:cubicBezTo>
                    <a:pt x="257" y="242"/>
                    <a:pt x="260" y="245"/>
                    <a:pt x="260" y="243"/>
                  </a:cubicBezTo>
                  <a:cubicBezTo>
                    <a:pt x="261" y="241"/>
                    <a:pt x="262" y="239"/>
                    <a:pt x="263" y="241"/>
                  </a:cubicBezTo>
                  <a:cubicBezTo>
                    <a:pt x="264" y="244"/>
                    <a:pt x="267" y="244"/>
                    <a:pt x="268" y="246"/>
                  </a:cubicBezTo>
                  <a:cubicBezTo>
                    <a:pt x="269" y="248"/>
                    <a:pt x="271" y="250"/>
                    <a:pt x="271" y="248"/>
                  </a:cubicBezTo>
                  <a:cubicBezTo>
                    <a:pt x="271" y="246"/>
                    <a:pt x="271" y="245"/>
                    <a:pt x="274" y="244"/>
                  </a:cubicBezTo>
                  <a:cubicBezTo>
                    <a:pt x="277" y="243"/>
                    <a:pt x="279" y="241"/>
                    <a:pt x="282" y="238"/>
                  </a:cubicBezTo>
                  <a:cubicBezTo>
                    <a:pt x="285" y="236"/>
                    <a:pt x="297" y="235"/>
                    <a:pt x="299" y="235"/>
                  </a:cubicBezTo>
                  <a:cubicBezTo>
                    <a:pt x="300" y="235"/>
                    <a:pt x="301" y="225"/>
                    <a:pt x="301" y="219"/>
                  </a:cubicBezTo>
                  <a:cubicBezTo>
                    <a:pt x="302" y="213"/>
                    <a:pt x="307" y="213"/>
                    <a:pt x="307" y="207"/>
                  </a:cubicBezTo>
                  <a:cubicBezTo>
                    <a:pt x="308" y="201"/>
                    <a:pt x="314" y="190"/>
                    <a:pt x="316" y="189"/>
                  </a:cubicBezTo>
                  <a:cubicBezTo>
                    <a:pt x="318" y="189"/>
                    <a:pt x="321" y="187"/>
                    <a:pt x="321" y="184"/>
                  </a:cubicBezTo>
                  <a:cubicBezTo>
                    <a:pt x="321" y="180"/>
                    <a:pt x="325" y="177"/>
                    <a:pt x="325" y="173"/>
                  </a:cubicBezTo>
                  <a:cubicBezTo>
                    <a:pt x="325" y="169"/>
                    <a:pt x="327" y="164"/>
                    <a:pt x="327" y="162"/>
                  </a:cubicBezTo>
                  <a:cubicBezTo>
                    <a:pt x="327" y="161"/>
                    <a:pt x="325" y="157"/>
                    <a:pt x="328" y="154"/>
                  </a:cubicBezTo>
                  <a:cubicBezTo>
                    <a:pt x="331" y="152"/>
                    <a:pt x="327" y="148"/>
                    <a:pt x="328" y="147"/>
                  </a:cubicBezTo>
                  <a:close/>
                  <a:moveTo>
                    <a:pt x="150" y="7"/>
                  </a:moveTo>
                  <a:cubicBezTo>
                    <a:pt x="149" y="5"/>
                    <a:pt x="136" y="8"/>
                    <a:pt x="139" y="10"/>
                  </a:cubicBezTo>
                  <a:cubicBezTo>
                    <a:pt x="141" y="11"/>
                    <a:pt x="150" y="10"/>
                    <a:pt x="150" y="7"/>
                  </a:cubicBezTo>
                  <a:close/>
                  <a:moveTo>
                    <a:pt x="190" y="219"/>
                  </a:moveTo>
                  <a:cubicBezTo>
                    <a:pt x="192" y="220"/>
                    <a:pt x="198" y="220"/>
                    <a:pt x="199" y="217"/>
                  </a:cubicBezTo>
                  <a:cubicBezTo>
                    <a:pt x="200" y="215"/>
                    <a:pt x="188" y="217"/>
                    <a:pt x="190" y="219"/>
                  </a:cubicBezTo>
                  <a:close/>
                  <a:moveTo>
                    <a:pt x="270" y="268"/>
                  </a:moveTo>
                  <a:cubicBezTo>
                    <a:pt x="265" y="269"/>
                    <a:pt x="258" y="264"/>
                    <a:pt x="257" y="264"/>
                  </a:cubicBezTo>
                  <a:cubicBezTo>
                    <a:pt x="255" y="265"/>
                    <a:pt x="263" y="277"/>
                    <a:pt x="260" y="280"/>
                  </a:cubicBezTo>
                  <a:cubicBezTo>
                    <a:pt x="258" y="284"/>
                    <a:pt x="268" y="292"/>
                    <a:pt x="271" y="293"/>
                  </a:cubicBezTo>
                  <a:cubicBezTo>
                    <a:pt x="274" y="293"/>
                    <a:pt x="273" y="289"/>
                    <a:pt x="275" y="290"/>
                  </a:cubicBezTo>
                  <a:cubicBezTo>
                    <a:pt x="278" y="290"/>
                    <a:pt x="277" y="287"/>
                    <a:pt x="277" y="286"/>
                  </a:cubicBezTo>
                  <a:cubicBezTo>
                    <a:pt x="278" y="284"/>
                    <a:pt x="280" y="287"/>
                    <a:pt x="282" y="286"/>
                  </a:cubicBezTo>
                  <a:cubicBezTo>
                    <a:pt x="284" y="285"/>
                    <a:pt x="281" y="278"/>
                    <a:pt x="284" y="278"/>
                  </a:cubicBezTo>
                  <a:cubicBezTo>
                    <a:pt x="287" y="278"/>
                    <a:pt x="285" y="268"/>
                    <a:pt x="284" y="265"/>
                  </a:cubicBezTo>
                  <a:cubicBezTo>
                    <a:pt x="283" y="262"/>
                    <a:pt x="275" y="268"/>
                    <a:pt x="270" y="268"/>
                  </a:cubicBezTo>
                  <a:close/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Freeform 164">
              <a:extLst>
                <a:ext uri="{FF2B5EF4-FFF2-40B4-BE49-F238E27FC236}">
                  <a16:creationId xmlns:a16="http://schemas.microsoft.com/office/drawing/2014/main" id="{58CA43E4-FD01-43B2-8F01-50B4EFB243F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53272" y="1795588"/>
              <a:ext cx="3907491" cy="1501332"/>
            </a:xfrm>
            <a:custGeom>
              <a:avLst/>
              <a:gdLst>
                <a:gd name="T0" fmla="*/ 361 w 1373"/>
                <a:gd name="T1" fmla="*/ 11 h 527"/>
                <a:gd name="T2" fmla="*/ 610 w 1373"/>
                <a:gd name="T3" fmla="*/ 5 h 527"/>
                <a:gd name="T4" fmla="*/ 480 w 1373"/>
                <a:gd name="T5" fmla="*/ 151 h 527"/>
                <a:gd name="T6" fmla="*/ 662 w 1373"/>
                <a:gd name="T7" fmla="*/ 50 h 527"/>
                <a:gd name="T8" fmla="*/ 1002 w 1373"/>
                <a:gd name="T9" fmla="*/ 111 h 527"/>
                <a:gd name="T10" fmla="*/ 1053 w 1373"/>
                <a:gd name="T11" fmla="*/ 117 h 527"/>
                <a:gd name="T12" fmla="*/ 981 w 1373"/>
                <a:gd name="T13" fmla="*/ 426 h 527"/>
                <a:gd name="T14" fmla="*/ 243 w 1373"/>
                <a:gd name="T15" fmla="*/ 23 h 527"/>
                <a:gd name="T16" fmla="*/ 1331 w 1373"/>
                <a:gd name="T17" fmla="*/ 242 h 527"/>
                <a:gd name="T18" fmla="*/ 1193 w 1373"/>
                <a:gd name="T19" fmla="*/ 203 h 527"/>
                <a:gd name="T20" fmla="*/ 1062 w 1373"/>
                <a:gd name="T21" fmla="*/ 177 h 527"/>
                <a:gd name="T22" fmla="*/ 973 w 1373"/>
                <a:gd name="T23" fmla="*/ 150 h 527"/>
                <a:gd name="T24" fmla="*/ 902 w 1373"/>
                <a:gd name="T25" fmla="*/ 168 h 527"/>
                <a:gd name="T26" fmla="*/ 844 w 1373"/>
                <a:gd name="T27" fmla="*/ 139 h 527"/>
                <a:gd name="T28" fmla="*/ 747 w 1373"/>
                <a:gd name="T29" fmla="*/ 136 h 527"/>
                <a:gd name="T30" fmla="*/ 737 w 1373"/>
                <a:gd name="T31" fmla="*/ 118 h 527"/>
                <a:gd name="T32" fmla="*/ 698 w 1373"/>
                <a:gd name="T33" fmla="*/ 84 h 527"/>
                <a:gd name="T34" fmla="*/ 630 w 1373"/>
                <a:gd name="T35" fmla="*/ 96 h 527"/>
                <a:gd name="T36" fmla="*/ 546 w 1373"/>
                <a:gd name="T37" fmla="*/ 114 h 527"/>
                <a:gd name="T38" fmla="*/ 519 w 1373"/>
                <a:gd name="T39" fmla="*/ 137 h 527"/>
                <a:gd name="T40" fmla="*/ 478 w 1373"/>
                <a:gd name="T41" fmla="*/ 178 h 527"/>
                <a:gd name="T42" fmla="*/ 455 w 1373"/>
                <a:gd name="T43" fmla="*/ 204 h 527"/>
                <a:gd name="T44" fmla="*/ 421 w 1373"/>
                <a:gd name="T45" fmla="*/ 244 h 527"/>
                <a:gd name="T46" fmla="*/ 437 w 1373"/>
                <a:gd name="T47" fmla="*/ 213 h 527"/>
                <a:gd name="T48" fmla="*/ 386 w 1373"/>
                <a:gd name="T49" fmla="*/ 188 h 527"/>
                <a:gd name="T50" fmla="*/ 326 w 1373"/>
                <a:gd name="T51" fmla="*/ 196 h 527"/>
                <a:gd name="T52" fmla="*/ 268 w 1373"/>
                <a:gd name="T53" fmla="*/ 211 h 527"/>
                <a:gd name="T54" fmla="*/ 195 w 1373"/>
                <a:gd name="T55" fmla="*/ 214 h 527"/>
                <a:gd name="T56" fmla="*/ 149 w 1373"/>
                <a:gd name="T57" fmla="*/ 263 h 527"/>
                <a:gd name="T58" fmla="*/ 102 w 1373"/>
                <a:gd name="T59" fmla="*/ 234 h 527"/>
                <a:gd name="T60" fmla="*/ 107 w 1373"/>
                <a:gd name="T61" fmla="*/ 200 h 527"/>
                <a:gd name="T62" fmla="*/ 78 w 1373"/>
                <a:gd name="T63" fmla="*/ 231 h 527"/>
                <a:gd name="T64" fmla="*/ 70 w 1373"/>
                <a:gd name="T65" fmla="*/ 316 h 527"/>
                <a:gd name="T66" fmla="*/ 73 w 1373"/>
                <a:gd name="T67" fmla="*/ 370 h 527"/>
                <a:gd name="T68" fmla="*/ 114 w 1373"/>
                <a:gd name="T69" fmla="*/ 412 h 527"/>
                <a:gd name="T70" fmla="*/ 160 w 1373"/>
                <a:gd name="T71" fmla="*/ 451 h 527"/>
                <a:gd name="T72" fmla="*/ 164 w 1373"/>
                <a:gd name="T73" fmla="*/ 503 h 527"/>
                <a:gd name="T74" fmla="*/ 238 w 1373"/>
                <a:gd name="T75" fmla="*/ 476 h 527"/>
                <a:gd name="T76" fmla="*/ 236 w 1373"/>
                <a:gd name="T77" fmla="*/ 430 h 527"/>
                <a:gd name="T78" fmla="*/ 325 w 1373"/>
                <a:gd name="T79" fmla="*/ 433 h 527"/>
                <a:gd name="T80" fmla="*/ 373 w 1373"/>
                <a:gd name="T81" fmla="*/ 388 h 527"/>
                <a:gd name="T82" fmla="*/ 450 w 1373"/>
                <a:gd name="T83" fmla="*/ 396 h 527"/>
                <a:gd name="T84" fmla="*/ 541 w 1373"/>
                <a:gd name="T85" fmla="*/ 442 h 527"/>
                <a:gd name="T86" fmla="*/ 624 w 1373"/>
                <a:gd name="T87" fmla="*/ 433 h 527"/>
                <a:gd name="T88" fmla="*/ 696 w 1373"/>
                <a:gd name="T89" fmla="*/ 437 h 527"/>
                <a:gd name="T90" fmla="*/ 803 w 1373"/>
                <a:gd name="T91" fmla="*/ 420 h 527"/>
                <a:gd name="T92" fmla="*/ 887 w 1373"/>
                <a:gd name="T93" fmla="*/ 453 h 527"/>
                <a:gd name="T94" fmla="*/ 898 w 1373"/>
                <a:gd name="T95" fmla="*/ 508 h 527"/>
                <a:gd name="T96" fmla="*/ 960 w 1373"/>
                <a:gd name="T97" fmla="*/ 393 h 527"/>
                <a:gd name="T98" fmla="*/ 969 w 1373"/>
                <a:gd name="T99" fmla="*/ 349 h 527"/>
                <a:gd name="T100" fmla="*/ 1078 w 1373"/>
                <a:gd name="T101" fmla="*/ 337 h 527"/>
                <a:gd name="T102" fmla="*/ 1152 w 1373"/>
                <a:gd name="T103" fmla="*/ 299 h 527"/>
                <a:gd name="T104" fmla="*/ 1097 w 1373"/>
                <a:gd name="T105" fmla="*/ 424 h 527"/>
                <a:gd name="T106" fmla="*/ 1150 w 1373"/>
                <a:gd name="T107" fmla="*/ 352 h 527"/>
                <a:gd name="T108" fmla="*/ 1234 w 1373"/>
                <a:gd name="T109" fmla="*/ 309 h 527"/>
                <a:gd name="T110" fmla="*/ 1292 w 1373"/>
                <a:gd name="T111" fmla="*/ 262 h 527"/>
                <a:gd name="T112" fmla="*/ 1347 w 1373"/>
                <a:gd name="T113" fmla="*/ 268 h 527"/>
                <a:gd name="T114" fmla="*/ 707 w 1373"/>
                <a:gd name="T115" fmla="*/ 392 h 527"/>
                <a:gd name="T116" fmla="*/ 276 w 1373"/>
                <a:gd name="T117" fmla="*/ 24 h 527"/>
                <a:gd name="T118" fmla="*/ 281 w 1373"/>
                <a:gd name="T119" fmla="*/ 15 h 527"/>
                <a:gd name="T120" fmla="*/ 299 w 1373"/>
                <a:gd name="T121" fmla="*/ 146 h 527"/>
                <a:gd name="T122" fmla="*/ 300 w 1373"/>
                <a:gd name="T123" fmla="*/ 111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373" h="527">
                  <a:moveTo>
                    <a:pt x="20" y="381"/>
                  </a:moveTo>
                  <a:cubicBezTo>
                    <a:pt x="19" y="382"/>
                    <a:pt x="16" y="381"/>
                    <a:pt x="16" y="379"/>
                  </a:cubicBezTo>
                  <a:cubicBezTo>
                    <a:pt x="15" y="378"/>
                    <a:pt x="13" y="379"/>
                    <a:pt x="11" y="379"/>
                  </a:cubicBezTo>
                  <a:cubicBezTo>
                    <a:pt x="11" y="379"/>
                    <a:pt x="12" y="380"/>
                    <a:pt x="12" y="380"/>
                  </a:cubicBezTo>
                  <a:cubicBezTo>
                    <a:pt x="13" y="382"/>
                    <a:pt x="8" y="382"/>
                    <a:pt x="9" y="385"/>
                  </a:cubicBezTo>
                  <a:cubicBezTo>
                    <a:pt x="11" y="387"/>
                    <a:pt x="5" y="387"/>
                    <a:pt x="5" y="385"/>
                  </a:cubicBezTo>
                  <a:cubicBezTo>
                    <a:pt x="5" y="382"/>
                    <a:pt x="0" y="383"/>
                    <a:pt x="0" y="385"/>
                  </a:cubicBezTo>
                  <a:cubicBezTo>
                    <a:pt x="0" y="385"/>
                    <a:pt x="0" y="386"/>
                    <a:pt x="0" y="387"/>
                  </a:cubicBezTo>
                  <a:cubicBezTo>
                    <a:pt x="1" y="387"/>
                    <a:pt x="3" y="388"/>
                    <a:pt x="4" y="388"/>
                  </a:cubicBezTo>
                  <a:cubicBezTo>
                    <a:pt x="5" y="389"/>
                    <a:pt x="19" y="390"/>
                    <a:pt x="24" y="389"/>
                  </a:cubicBezTo>
                  <a:cubicBezTo>
                    <a:pt x="24" y="388"/>
                    <a:pt x="25" y="385"/>
                    <a:pt x="25" y="384"/>
                  </a:cubicBezTo>
                  <a:cubicBezTo>
                    <a:pt x="25" y="382"/>
                    <a:pt x="21" y="381"/>
                    <a:pt x="20" y="381"/>
                  </a:cubicBezTo>
                  <a:close/>
                  <a:moveTo>
                    <a:pt x="364" y="15"/>
                  </a:moveTo>
                  <a:cubicBezTo>
                    <a:pt x="373" y="14"/>
                    <a:pt x="373" y="9"/>
                    <a:pt x="368" y="8"/>
                  </a:cubicBezTo>
                  <a:cubicBezTo>
                    <a:pt x="364" y="7"/>
                    <a:pt x="363" y="11"/>
                    <a:pt x="361" y="11"/>
                  </a:cubicBezTo>
                  <a:cubicBezTo>
                    <a:pt x="358" y="10"/>
                    <a:pt x="349" y="12"/>
                    <a:pt x="351" y="14"/>
                  </a:cubicBezTo>
                  <a:cubicBezTo>
                    <a:pt x="353" y="17"/>
                    <a:pt x="360" y="15"/>
                    <a:pt x="364" y="15"/>
                  </a:cubicBezTo>
                  <a:close/>
                  <a:moveTo>
                    <a:pt x="410" y="147"/>
                  </a:moveTo>
                  <a:cubicBezTo>
                    <a:pt x="413" y="148"/>
                    <a:pt x="422" y="146"/>
                    <a:pt x="423" y="144"/>
                  </a:cubicBezTo>
                  <a:cubicBezTo>
                    <a:pt x="424" y="143"/>
                    <a:pt x="419" y="141"/>
                    <a:pt x="414" y="141"/>
                  </a:cubicBezTo>
                  <a:cubicBezTo>
                    <a:pt x="408" y="141"/>
                    <a:pt x="408" y="147"/>
                    <a:pt x="410" y="147"/>
                  </a:cubicBezTo>
                  <a:close/>
                  <a:moveTo>
                    <a:pt x="586" y="26"/>
                  </a:moveTo>
                  <a:cubicBezTo>
                    <a:pt x="591" y="28"/>
                    <a:pt x="589" y="29"/>
                    <a:pt x="584" y="29"/>
                  </a:cubicBezTo>
                  <a:cubicBezTo>
                    <a:pt x="579" y="29"/>
                    <a:pt x="575" y="30"/>
                    <a:pt x="578" y="32"/>
                  </a:cubicBezTo>
                  <a:cubicBezTo>
                    <a:pt x="581" y="33"/>
                    <a:pt x="581" y="35"/>
                    <a:pt x="586" y="36"/>
                  </a:cubicBezTo>
                  <a:cubicBezTo>
                    <a:pt x="591" y="37"/>
                    <a:pt x="596" y="33"/>
                    <a:pt x="595" y="31"/>
                  </a:cubicBezTo>
                  <a:cubicBezTo>
                    <a:pt x="595" y="28"/>
                    <a:pt x="612" y="25"/>
                    <a:pt x="617" y="24"/>
                  </a:cubicBezTo>
                  <a:cubicBezTo>
                    <a:pt x="622" y="23"/>
                    <a:pt x="614" y="18"/>
                    <a:pt x="619" y="17"/>
                  </a:cubicBezTo>
                  <a:cubicBezTo>
                    <a:pt x="625" y="17"/>
                    <a:pt x="622" y="14"/>
                    <a:pt x="616" y="13"/>
                  </a:cubicBezTo>
                  <a:cubicBezTo>
                    <a:pt x="610" y="13"/>
                    <a:pt x="612" y="7"/>
                    <a:pt x="610" y="5"/>
                  </a:cubicBezTo>
                  <a:cubicBezTo>
                    <a:pt x="608" y="3"/>
                    <a:pt x="607" y="8"/>
                    <a:pt x="598" y="9"/>
                  </a:cubicBezTo>
                  <a:cubicBezTo>
                    <a:pt x="590" y="11"/>
                    <a:pt x="586" y="13"/>
                    <a:pt x="589" y="15"/>
                  </a:cubicBezTo>
                  <a:cubicBezTo>
                    <a:pt x="593" y="16"/>
                    <a:pt x="589" y="20"/>
                    <a:pt x="586" y="20"/>
                  </a:cubicBezTo>
                  <a:cubicBezTo>
                    <a:pt x="582" y="20"/>
                    <a:pt x="582" y="24"/>
                    <a:pt x="586" y="26"/>
                  </a:cubicBezTo>
                  <a:close/>
                  <a:moveTo>
                    <a:pt x="599" y="32"/>
                  </a:moveTo>
                  <a:cubicBezTo>
                    <a:pt x="599" y="35"/>
                    <a:pt x="591" y="37"/>
                    <a:pt x="593" y="39"/>
                  </a:cubicBezTo>
                  <a:cubicBezTo>
                    <a:pt x="595" y="41"/>
                    <a:pt x="597" y="41"/>
                    <a:pt x="599" y="41"/>
                  </a:cubicBezTo>
                  <a:cubicBezTo>
                    <a:pt x="601" y="42"/>
                    <a:pt x="603" y="47"/>
                    <a:pt x="607" y="47"/>
                  </a:cubicBezTo>
                  <a:cubicBezTo>
                    <a:pt x="611" y="46"/>
                    <a:pt x="623" y="51"/>
                    <a:pt x="630" y="51"/>
                  </a:cubicBezTo>
                  <a:cubicBezTo>
                    <a:pt x="637" y="51"/>
                    <a:pt x="637" y="46"/>
                    <a:pt x="635" y="45"/>
                  </a:cubicBezTo>
                  <a:cubicBezTo>
                    <a:pt x="633" y="45"/>
                    <a:pt x="635" y="42"/>
                    <a:pt x="639" y="36"/>
                  </a:cubicBezTo>
                  <a:cubicBezTo>
                    <a:pt x="643" y="31"/>
                    <a:pt x="627" y="27"/>
                    <a:pt x="627" y="31"/>
                  </a:cubicBezTo>
                  <a:cubicBezTo>
                    <a:pt x="627" y="35"/>
                    <a:pt x="622" y="30"/>
                    <a:pt x="621" y="28"/>
                  </a:cubicBezTo>
                  <a:cubicBezTo>
                    <a:pt x="620" y="25"/>
                    <a:pt x="599" y="30"/>
                    <a:pt x="599" y="32"/>
                  </a:cubicBezTo>
                  <a:close/>
                  <a:moveTo>
                    <a:pt x="480" y="151"/>
                  </a:moveTo>
                  <a:cubicBezTo>
                    <a:pt x="484" y="153"/>
                    <a:pt x="486" y="152"/>
                    <a:pt x="486" y="148"/>
                  </a:cubicBezTo>
                  <a:cubicBezTo>
                    <a:pt x="485" y="144"/>
                    <a:pt x="477" y="149"/>
                    <a:pt x="480" y="151"/>
                  </a:cubicBezTo>
                  <a:close/>
                  <a:moveTo>
                    <a:pt x="580" y="9"/>
                  </a:moveTo>
                  <a:cubicBezTo>
                    <a:pt x="581" y="5"/>
                    <a:pt x="565" y="7"/>
                    <a:pt x="569" y="10"/>
                  </a:cubicBezTo>
                  <a:cubicBezTo>
                    <a:pt x="571" y="11"/>
                    <a:pt x="579" y="12"/>
                    <a:pt x="580" y="9"/>
                  </a:cubicBezTo>
                  <a:close/>
                  <a:moveTo>
                    <a:pt x="1280" y="181"/>
                  </a:moveTo>
                  <a:cubicBezTo>
                    <a:pt x="1284" y="184"/>
                    <a:pt x="1287" y="178"/>
                    <a:pt x="1291" y="181"/>
                  </a:cubicBezTo>
                  <a:cubicBezTo>
                    <a:pt x="1295" y="184"/>
                    <a:pt x="1304" y="180"/>
                    <a:pt x="1308" y="179"/>
                  </a:cubicBezTo>
                  <a:cubicBezTo>
                    <a:pt x="1312" y="178"/>
                    <a:pt x="1310" y="174"/>
                    <a:pt x="1299" y="172"/>
                  </a:cubicBezTo>
                  <a:cubicBezTo>
                    <a:pt x="1288" y="171"/>
                    <a:pt x="1275" y="179"/>
                    <a:pt x="1280" y="181"/>
                  </a:cubicBezTo>
                  <a:close/>
                  <a:moveTo>
                    <a:pt x="636" y="66"/>
                  </a:moveTo>
                  <a:cubicBezTo>
                    <a:pt x="639" y="68"/>
                    <a:pt x="650" y="63"/>
                    <a:pt x="657" y="64"/>
                  </a:cubicBezTo>
                  <a:cubicBezTo>
                    <a:pt x="664" y="64"/>
                    <a:pt x="684" y="58"/>
                    <a:pt x="684" y="54"/>
                  </a:cubicBezTo>
                  <a:cubicBezTo>
                    <a:pt x="685" y="51"/>
                    <a:pt x="677" y="51"/>
                    <a:pt x="674" y="47"/>
                  </a:cubicBezTo>
                  <a:cubicBezTo>
                    <a:pt x="671" y="44"/>
                    <a:pt x="664" y="47"/>
                    <a:pt x="662" y="50"/>
                  </a:cubicBezTo>
                  <a:cubicBezTo>
                    <a:pt x="661" y="53"/>
                    <a:pt x="659" y="50"/>
                    <a:pt x="663" y="46"/>
                  </a:cubicBezTo>
                  <a:cubicBezTo>
                    <a:pt x="668" y="41"/>
                    <a:pt x="659" y="37"/>
                    <a:pt x="659" y="40"/>
                  </a:cubicBezTo>
                  <a:cubicBezTo>
                    <a:pt x="658" y="43"/>
                    <a:pt x="650" y="41"/>
                    <a:pt x="650" y="43"/>
                  </a:cubicBezTo>
                  <a:cubicBezTo>
                    <a:pt x="650" y="46"/>
                    <a:pt x="647" y="47"/>
                    <a:pt x="647" y="50"/>
                  </a:cubicBezTo>
                  <a:cubicBezTo>
                    <a:pt x="647" y="52"/>
                    <a:pt x="641" y="48"/>
                    <a:pt x="641" y="54"/>
                  </a:cubicBezTo>
                  <a:cubicBezTo>
                    <a:pt x="641" y="60"/>
                    <a:pt x="632" y="64"/>
                    <a:pt x="636" y="66"/>
                  </a:cubicBezTo>
                  <a:close/>
                  <a:moveTo>
                    <a:pt x="942" y="115"/>
                  </a:moveTo>
                  <a:cubicBezTo>
                    <a:pt x="946" y="116"/>
                    <a:pt x="947" y="118"/>
                    <a:pt x="949" y="120"/>
                  </a:cubicBezTo>
                  <a:cubicBezTo>
                    <a:pt x="951" y="122"/>
                    <a:pt x="958" y="119"/>
                    <a:pt x="961" y="118"/>
                  </a:cubicBezTo>
                  <a:cubicBezTo>
                    <a:pt x="963" y="117"/>
                    <a:pt x="964" y="122"/>
                    <a:pt x="968" y="120"/>
                  </a:cubicBezTo>
                  <a:cubicBezTo>
                    <a:pt x="973" y="117"/>
                    <a:pt x="977" y="118"/>
                    <a:pt x="982" y="118"/>
                  </a:cubicBezTo>
                  <a:cubicBezTo>
                    <a:pt x="988" y="118"/>
                    <a:pt x="981" y="112"/>
                    <a:pt x="982" y="109"/>
                  </a:cubicBezTo>
                  <a:cubicBezTo>
                    <a:pt x="982" y="106"/>
                    <a:pt x="988" y="108"/>
                    <a:pt x="986" y="110"/>
                  </a:cubicBezTo>
                  <a:cubicBezTo>
                    <a:pt x="984" y="113"/>
                    <a:pt x="989" y="118"/>
                    <a:pt x="996" y="118"/>
                  </a:cubicBezTo>
                  <a:cubicBezTo>
                    <a:pt x="1004" y="117"/>
                    <a:pt x="998" y="112"/>
                    <a:pt x="1002" y="111"/>
                  </a:cubicBezTo>
                  <a:cubicBezTo>
                    <a:pt x="1006" y="109"/>
                    <a:pt x="1006" y="107"/>
                    <a:pt x="1000" y="104"/>
                  </a:cubicBezTo>
                  <a:cubicBezTo>
                    <a:pt x="995" y="101"/>
                    <a:pt x="987" y="103"/>
                    <a:pt x="983" y="101"/>
                  </a:cubicBezTo>
                  <a:cubicBezTo>
                    <a:pt x="978" y="98"/>
                    <a:pt x="972" y="98"/>
                    <a:pt x="971" y="103"/>
                  </a:cubicBezTo>
                  <a:cubicBezTo>
                    <a:pt x="971" y="109"/>
                    <a:pt x="961" y="98"/>
                    <a:pt x="956" y="96"/>
                  </a:cubicBezTo>
                  <a:cubicBezTo>
                    <a:pt x="951" y="94"/>
                    <a:pt x="934" y="111"/>
                    <a:pt x="942" y="115"/>
                  </a:cubicBezTo>
                  <a:close/>
                  <a:moveTo>
                    <a:pt x="992" y="145"/>
                  </a:moveTo>
                  <a:cubicBezTo>
                    <a:pt x="996" y="144"/>
                    <a:pt x="989" y="136"/>
                    <a:pt x="981" y="135"/>
                  </a:cubicBezTo>
                  <a:cubicBezTo>
                    <a:pt x="974" y="134"/>
                    <a:pt x="967" y="140"/>
                    <a:pt x="968" y="141"/>
                  </a:cubicBezTo>
                  <a:cubicBezTo>
                    <a:pt x="970" y="145"/>
                    <a:pt x="988" y="146"/>
                    <a:pt x="992" y="145"/>
                  </a:cubicBezTo>
                  <a:close/>
                  <a:moveTo>
                    <a:pt x="973" y="130"/>
                  </a:moveTo>
                  <a:cubicBezTo>
                    <a:pt x="973" y="126"/>
                    <a:pt x="960" y="131"/>
                    <a:pt x="965" y="133"/>
                  </a:cubicBezTo>
                  <a:cubicBezTo>
                    <a:pt x="968" y="134"/>
                    <a:pt x="973" y="133"/>
                    <a:pt x="973" y="130"/>
                  </a:cubicBezTo>
                  <a:close/>
                  <a:moveTo>
                    <a:pt x="1014" y="115"/>
                  </a:moveTo>
                  <a:cubicBezTo>
                    <a:pt x="1020" y="115"/>
                    <a:pt x="1023" y="120"/>
                    <a:pt x="1034" y="121"/>
                  </a:cubicBezTo>
                  <a:cubicBezTo>
                    <a:pt x="1045" y="122"/>
                    <a:pt x="1053" y="120"/>
                    <a:pt x="1053" y="117"/>
                  </a:cubicBezTo>
                  <a:cubicBezTo>
                    <a:pt x="1053" y="115"/>
                    <a:pt x="1043" y="111"/>
                    <a:pt x="1040" y="113"/>
                  </a:cubicBezTo>
                  <a:cubicBezTo>
                    <a:pt x="1037" y="115"/>
                    <a:pt x="1035" y="110"/>
                    <a:pt x="1031" y="111"/>
                  </a:cubicBezTo>
                  <a:cubicBezTo>
                    <a:pt x="1027" y="113"/>
                    <a:pt x="1022" y="112"/>
                    <a:pt x="1020" y="109"/>
                  </a:cubicBezTo>
                  <a:cubicBezTo>
                    <a:pt x="1018" y="106"/>
                    <a:pt x="1011" y="114"/>
                    <a:pt x="1014" y="115"/>
                  </a:cubicBezTo>
                  <a:close/>
                  <a:moveTo>
                    <a:pt x="220" y="18"/>
                  </a:moveTo>
                  <a:cubicBezTo>
                    <a:pt x="225" y="13"/>
                    <a:pt x="232" y="18"/>
                    <a:pt x="233" y="15"/>
                  </a:cubicBezTo>
                  <a:cubicBezTo>
                    <a:pt x="234" y="13"/>
                    <a:pt x="223" y="12"/>
                    <a:pt x="219" y="14"/>
                  </a:cubicBezTo>
                  <a:cubicBezTo>
                    <a:pt x="215" y="17"/>
                    <a:pt x="206" y="15"/>
                    <a:pt x="207" y="18"/>
                  </a:cubicBezTo>
                  <a:cubicBezTo>
                    <a:pt x="207" y="19"/>
                    <a:pt x="214" y="23"/>
                    <a:pt x="220" y="18"/>
                  </a:cubicBezTo>
                  <a:close/>
                  <a:moveTo>
                    <a:pt x="990" y="420"/>
                  </a:moveTo>
                  <a:cubicBezTo>
                    <a:pt x="987" y="413"/>
                    <a:pt x="994" y="406"/>
                    <a:pt x="989" y="403"/>
                  </a:cubicBezTo>
                  <a:cubicBezTo>
                    <a:pt x="984" y="399"/>
                    <a:pt x="986" y="392"/>
                    <a:pt x="984" y="393"/>
                  </a:cubicBezTo>
                  <a:cubicBezTo>
                    <a:pt x="981" y="395"/>
                    <a:pt x="984" y="401"/>
                    <a:pt x="980" y="402"/>
                  </a:cubicBezTo>
                  <a:cubicBezTo>
                    <a:pt x="976" y="402"/>
                    <a:pt x="980" y="406"/>
                    <a:pt x="978" y="410"/>
                  </a:cubicBezTo>
                  <a:cubicBezTo>
                    <a:pt x="977" y="415"/>
                    <a:pt x="979" y="422"/>
                    <a:pt x="981" y="426"/>
                  </a:cubicBezTo>
                  <a:cubicBezTo>
                    <a:pt x="983" y="431"/>
                    <a:pt x="978" y="453"/>
                    <a:pt x="980" y="457"/>
                  </a:cubicBezTo>
                  <a:cubicBezTo>
                    <a:pt x="982" y="461"/>
                    <a:pt x="977" y="478"/>
                    <a:pt x="979" y="480"/>
                  </a:cubicBezTo>
                  <a:cubicBezTo>
                    <a:pt x="982" y="483"/>
                    <a:pt x="980" y="475"/>
                    <a:pt x="984" y="475"/>
                  </a:cubicBezTo>
                  <a:cubicBezTo>
                    <a:pt x="988" y="474"/>
                    <a:pt x="988" y="479"/>
                    <a:pt x="991" y="481"/>
                  </a:cubicBezTo>
                  <a:cubicBezTo>
                    <a:pt x="994" y="482"/>
                    <a:pt x="992" y="473"/>
                    <a:pt x="990" y="473"/>
                  </a:cubicBezTo>
                  <a:cubicBezTo>
                    <a:pt x="987" y="474"/>
                    <a:pt x="985" y="468"/>
                    <a:pt x="984" y="464"/>
                  </a:cubicBezTo>
                  <a:cubicBezTo>
                    <a:pt x="983" y="460"/>
                    <a:pt x="986" y="456"/>
                    <a:pt x="986" y="451"/>
                  </a:cubicBezTo>
                  <a:cubicBezTo>
                    <a:pt x="986" y="446"/>
                    <a:pt x="992" y="446"/>
                    <a:pt x="996" y="450"/>
                  </a:cubicBezTo>
                  <a:cubicBezTo>
                    <a:pt x="1000" y="453"/>
                    <a:pt x="1000" y="451"/>
                    <a:pt x="999" y="448"/>
                  </a:cubicBezTo>
                  <a:cubicBezTo>
                    <a:pt x="997" y="446"/>
                    <a:pt x="993" y="427"/>
                    <a:pt x="990" y="420"/>
                  </a:cubicBezTo>
                  <a:close/>
                  <a:moveTo>
                    <a:pt x="242" y="16"/>
                  </a:moveTo>
                  <a:cubicBezTo>
                    <a:pt x="246" y="18"/>
                    <a:pt x="233" y="18"/>
                    <a:pt x="231" y="20"/>
                  </a:cubicBezTo>
                  <a:cubicBezTo>
                    <a:pt x="230" y="22"/>
                    <a:pt x="222" y="21"/>
                    <a:pt x="224" y="24"/>
                  </a:cubicBezTo>
                  <a:cubicBezTo>
                    <a:pt x="225" y="27"/>
                    <a:pt x="237" y="27"/>
                    <a:pt x="237" y="25"/>
                  </a:cubicBezTo>
                  <a:cubicBezTo>
                    <a:pt x="237" y="23"/>
                    <a:pt x="243" y="25"/>
                    <a:pt x="243" y="23"/>
                  </a:cubicBezTo>
                  <a:cubicBezTo>
                    <a:pt x="244" y="20"/>
                    <a:pt x="246" y="18"/>
                    <a:pt x="253" y="18"/>
                  </a:cubicBezTo>
                  <a:cubicBezTo>
                    <a:pt x="260" y="17"/>
                    <a:pt x="260" y="15"/>
                    <a:pt x="253" y="12"/>
                  </a:cubicBezTo>
                  <a:cubicBezTo>
                    <a:pt x="247" y="9"/>
                    <a:pt x="239" y="13"/>
                    <a:pt x="242" y="16"/>
                  </a:cubicBezTo>
                  <a:close/>
                  <a:moveTo>
                    <a:pt x="232" y="208"/>
                  </a:moveTo>
                  <a:cubicBezTo>
                    <a:pt x="238" y="214"/>
                    <a:pt x="244" y="205"/>
                    <a:pt x="247" y="205"/>
                  </a:cubicBezTo>
                  <a:cubicBezTo>
                    <a:pt x="250" y="204"/>
                    <a:pt x="245" y="201"/>
                    <a:pt x="240" y="200"/>
                  </a:cubicBezTo>
                  <a:cubicBezTo>
                    <a:pt x="235" y="198"/>
                    <a:pt x="227" y="204"/>
                    <a:pt x="232" y="208"/>
                  </a:cubicBezTo>
                  <a:close/>
                  <a:moveTo>
                    <a:pt x="1371" y="249"/>
                  </a:moveTo>
                  <a:cubicBezTo>
                    <a:pt x="1369" y="248"/>
                    <a:pt x="1361" y="243"/>
                    <a:pt x="1359" y="240"/>
                  </a:cubicBezTo>
                  <a:cubicBezTo>
                    <a:pt x="1357" y="237"/>
                    <a:pt x="1348" y="236"/>
                    <a:pt x="1348" y="237"/>
                  </a:cubicBezTo>
                  <a:cubicBezTo>
                    <a:pt x="1348" y="239"/>
                    <a:pt x="1345" y="237"/>
                    <a:pt x="1344" y="236"/>
                  </a:cubicBezTo>
                  <a:cubicBezTo>
                    <a:pt x="1344" y="234"/>
                    <a:pt x="1334" y="234"/>
                    <a:pt x="1334" y="235"/>
                  </a:cubicBezTo>
                  <a:cubicBezTo>
                    <a:pt x="1334" y="237"/>
                    <a:pt x="1336" y="237"/>
                    <a:pt x="1338" y="239"/>
                  </a:cubicBezTo>
                  <a:cubicBezTo>
                    <a:pt x="1339" y="241"/>
                    <a:pt x="1336" y="242"/>
                    <a:pt x="1337" y="244"/>
                  </a:cubicBezTo>
                  <a:cubicBezTo>
                    <a:pt x="1337" y="246"/>
                    <a:pt x="1333" y="243"/>
                    <a:pt x="1331" y="242"/>
                  </a:cubicBezTo>
                  <a:cubicBezTo>
                    <a:pt x="1330" y="241"/>
                    <a:pt x="1331" y="236"/>
                    <a:pt x="1331" y="234"/>
                  </a:cubicBezTo>
                  <a:cubicBezTo>
                    <a:pt x="1332" y="231"/>
                    <a:pt x="1328" y="232"/>
                    <a:pt x="1328" y="230"/>
                  </a:cubicBezTo>
                  <a:cubicBezTo>
                    <a:pt x="1328" y="227"/>
                    <a:pt x="1317" y="222"/>
                    <a:pt x="1312" y="220"/>
                  </a:cubicBezTo>
                  <a:cubicBezTo>
                    <a:pt x="1308" y="218"/>
                    <a:pt x="1302" y="217"/>
                    <a:pt x="1300" y="214"/>
                  </a:cubicBezTo>
                  <a:cubicBezTo>
                    <a:pt x="1299" y="212"/>
                    <a:pt x="1291" y="212"/>
                    <a:pt x="1288" y="209"/>
                  </a:cubicBezTo>
                  <a:cubicBezTo>
                    <a:pt x="1285" y="205"/>
                    <a:pt x="1271" y="200"/>
                    <a:pt x="1265" y="199"/>
                  </a:cubicBezTo>
                  <a:cubicBezTo>
                    <a:pt x="1259" y="199"/>
                    <a:pt x="1261" y="196"/>
                    <a:pt x="1258" y="196"/>
                  </a:cubicBezTo>
                  <a:cubicBezTo>
                    <a:pt x="1255" y="197"/>
                    <a:pt x="1243" y="196"/>
                    <a:pt x="1239" y="196"/>
                  </a:cubicBezTo>
                  <a:cubicBezTo>
                    <a:pt x="1235" y="195"/>
                    <a:pt x="1234" y="198"/>
                    <a:pt x="1232" y="197"/>
                  </a:cubicBezTo>
                  <a:cubicBezTo>
                    <a:pt x="1229" y="196"/>
                    <a:pt x="1215" y="191"/>
                    <a:pt x="1213" y="192"/>
                  </a:cubicBezTo>
                  <a:cubicBezTo>
                    <a:pt x="1211" y="194"/>
                    <a:pt x="1212" y="197"/>
                    <a:pt x="1210" y="198"/>
                  </a:cubicBezTo>
                  <a:cubicBezTo>
                    <a:pt x="1209" y="198"/>
                    <a:pt x="1210" y="200"/>
                    <a:pt x="1214" y="204"/>
                  </a:cubicBezTo>
                  <a:cubicBezTo>
                    <a:pt x="1218" y="208"/>
                    <a:pt x="1216" y="210"/>
                    <a:pt x="1212" y="212"/>
                  </a:cubicBezTo>
                  <a:cubicBezTo>
                    <a:pt x="1209" y="213"/>
                    <a:pt x="1203" y="210"/>
                    <a:pt x="1201" y="208"/>
                  </a:cubicBezTo>
                  <a:cubicBezTo>
                    <a:pt x="1200" y="205"/>
                    <a:pt x="1195" y="206"/>
                    <a:pt x="1193" y="203"/>
                  </a:cubicBezTo>
                  <a:cubicBezTo>
                    <a:pt x="1192" y="199"/>
                    <a:pt x="1195" y="198"/>
                    <a:pt x="1197" y="200"/>
                  </a:cubicBezTo>
                  <a:cubicBezTo>
                    <a:pt x="1200" y="202"/>
                    <a:pt x="1203" y="201"/>
                    <a:pt x="1203" y="198"/>
                  </a:cubicBezTo>
                  <a:cubicBezTo>
                    <a:pt x="1204" y="196"/>
                    <a:pt x="1197" y="194"/>
                    <a:pt x="1193" y="194"/>
                  </a:cubicBezTo>
                  <a:cubicBezTo>
                    <a:pt x="1189" y="194"/>
                    <a:pt x="1187" y="199"/>
                    <a:pt x="1184" y="201"/>
                  </a:cubicBezTo>
                  <a:cubicBezTo>
                    <a:pt x="1180" y="204"/>
                    <a:pt x="1165" y="201"/>
                    <a:pt x="1164" y="199"/>
                  </a:cubicBezTo>
                  <a:cubicBezTo>
                    <a:pt x="1162" y="198"/>
                    <a:pt x="1141" y="199"/>
                    <a:pt x="1139" y="201"/>
                  </a:cubicBezTo>
                  <a:cubicBezTo>
                    <a:pt x="1137" y="202"/>
                    <a:pt x="1139" y="208"/>
                    <a:pt x="1138" y="208"/>
                  </a:cubicBezTo>
                  <a:cubicBezTo>
                    <a:pt x="1137" y="209"/>
                    <a:pt x="1135" y="202"/>
                    <a:pt x="1135" y="200"/>
                  </a:cubicBezTo>
                  <a:cubicBezTo>
                    <a:pt x="1135" y="199"/>
                    <a:pt x="1133" y="198"/>
                    <a:pt x="1129" y="198"/>
                  </a:cubicBezTo>
                  <a:cubicBezTo>
                    <a:pt x="1126" y="198"/>
                    <a:pt x="1123" y="198"/>
                    <a:pt x="1125" y="196"/>
                  </a:cubicBezTo>
                  <a:cubicBezTo>
                    <a:pt x="1127" y="195"/>
                    <a:pt x="1124" y="193"/>
                    <a:pt x="1126" y="191"/>
                  </a:cubicBezTo>
                  <a:cubicBezTo>
                    <a:pt x="1129" y="189"/>
                    <a:pt x="1121" y="183"/>
                    <a:pt x="1113" y="180"/>
                  </a:cubicBezTo>
                  <a:cubicBezTo>
                    <a:pt x="1106" y="177"/>
                    <a:pt x="1088" y="179"/>
                    <a:pt x="1083" y="180"/>
                  </a:cubicBezTo>
                  <a:cubicBezTo>
                    <a:pt x="1078" y="181"/>
                    <a:pt x="1069" y="181"/>
                    <a:pt x="1064" y="181"/>
                  </a:cubicBezTo>
                  <a:cubicBezTo>
                    <a:pt x="1060" y="181"/>
                    <a:pt x="1063" y="179"/>
                    <a:pt x="1062" y="177"/>
                  </a:cubicBezTo>
                  <a:cubicBezTo>
                    <a:pt x="1061" y="175"/>
                    <a:pt x="1053" y="172"/>
                    <a:pt x="1052" y="174"/>
                  </a:cubicBezTo>
                  <a:cubicBezTo>
                    <a:pt x="1051" y="176"/>
                    <a:pt x="1049" y="174"/>
                    <a:pt x="1049" y="173"/>
                  </a:cubicBezTo>
                  <a:cubicBezTo>
                    <a:pt x="1049" y="172"/>
                    <a:pt x="1042" y="169"/>
                    <a:pt x="1039" y="170"/>
                  </a:cubicBezTo>
                  <a:cubicBezTo>
                    <a:pt x="1036" y="170"/>
                    <a:pt x="1035" y="167"/>
                    <a:pt x="1038" y="167"/>
                  </a:cubicBezTo>
                  <a:cubicBezTo>
                    <a:pt x="1041" y="167"/>
                    <a:pt x="1047" y="168"/>
                    <a:pt x="1044" y="164"/>
                  </a:cubicBezTo>
                  <a:cubicBezTo>
                    <a:pt x="1042" y="160"/>
                    <a:pt x="1020" y="159"/>
                    <a:pt x="1018" y="160"/>
                  </a:cubicBezTo>
                  <a:cubicBezTo>
                    <a:pt x="1016" y="160"/>
                    <a:pt x="1018" y="163"/>
                    <a:pt x="1014" y="167"/>
                  </a:cubicBezTo>
                  <a:cubicBezTo>
                    <a:pt x="1009" y="172"/>
                    <a:pt x="1005" y="169"/>
                    <a:pt x="1005" y="167"/>
                  </a:cubicBezTo>
                  <a:cubicBezTo>
                    <a:pt x="1006" y="165"/>
                    <a:pt x="1011" y="165"/>
                    <a:pt x="1011" y="163"/>
                  </a:cubicBezTo>
                  <a:cubicBezTo>
                    <a:pt x="1011" y="161"/>
                    <a:pt x="1004" y="162"/>
                    <a:pt x="1002" y="160"/>
                  </a:cubicBezTo>
                  <a:cubicBezTo>
                    <a:pt x="1001" y="158"/>
                    <a:pt x="1004" y="157"/>
                    <a:pt x="1007" y="158"/>
                  </a:cubicBezTo>
                  <a:cubicBezTo>
                    <a:pt x="1010" y="159"/>
                    <a:pt x="1015" y="159"/>
                    <a:pt x="1015" y="158"/>
                  </a:cubicBezTo>
                  <a:cubicBezTo>
                    <a:pt x="1015" y="157"/>
                    <a:pt x="1012" y="156"/>
                    <a:pt x="1007" y="156"/>
                  </a:cubicBezTo>
                  <a:cubicBezTo>
                    <a:pt x="1003" y="155"/>
                    <a:pt x="991" y="152"/>
                    <a:pt x="985" y="153"/>
                  </a:cubicBezTo>
                  <a:cubicBezTo>
                    <a:pt x="979" y="153"/>
                    <a:pt x="976" y="150"/>
                    <a:pt x="973" y="150"/>
                  </a:cubicBezTo>
                  <a:cubicBezTo>
                    <a:pt x="969" y="150"/>
                    <a:pt x="969" y="152"/>
                    <a:pt x="971" y="154"/>
                  </a:cubicBezTo>
                  <a:cubicBezTo>
                    <a:pt x="973" y="156"/>
                    <a:pt x="968" y="157"/>
                    <a:pt x="964" y="156"/>
                  </a:cubicBezTo>
                  <a:cubicBezTo>
                    <a:pt x="960" y="156"/>
                    <a:pt x="954" y="158"/>
                    <a:pt x="957" y="161"/>
                  </a:cubicBezTo>
                  <a:cubicBezTo>
                    <a:pt x="959" y="164"/>
                    <a:pt x="961" y="160"/>
                    <a:pt x="963" y="161"/>
                  </a:cubicBezTo>
                  <a:cubicBezTo>
                    <a:pt x="965" y="162"/>
                    <a:pt x="958" y="164"/>
                    <a:pt x="961" y="166"/>
                  </a:cubicBezTo>
                  <a:cubicBezTo>
                    <a:pt x="964" y="167"/>
                    <a:pt x="963" y="170"/>
                    <a:pt x="963" y="171"/>
                  </a:cubicBezTo>
                  <a:cubicBezTo>
                    <a:pt x="963" y="173"/>
                    <a:pt x="959" y="173"/>
                    <a:pt x="957" y="171"/>
                  </a:cubicBezTo>
                  <a:cubicBezTo>
                    <a:pt x="955" y="169"/>
                    <a:pt x="952" y="171"/>
                    <a:pt x="949" y="171"/>
                  </a:cubicBezTo>
                  <a:cubicBezTo>
                    <a:pt x="946" y="170"/>
                    <a:pt x="943" y="172"/>
                    <a:pt x="947" y="172"/>
                  </a:cubicBezTo>
                  <a:cubicBezTo>
                    <a:pt x="950" y="173"/>
                    <a:pt x="952" y="175"/>
                    <a:pt x="947" y="176"/>
                  </a:cubicBezTo>
                  <a:cubicBezTo>
                    <a:pt x="942" y="176"/>
                    <a:pt x="943" y="171"/>
                    <a:pt x="940" y="172"/>
                  </a:cubicBezTo>
                  <a:cubicBezTo>
                    <a:pt x="938" y="172"/>
                    <a:pt x="931" y="170"/>
                    <a:pt x="928" y="170"/>
                  </a:cubicBezTo>
                  <a:cubicBezTo>
                    <a:pt x="925" y="170"/>
                    <a:pt x="923" y="172"/>
                    <a:pt x="919" y="173"/>
                  </a:cubicBezTo>
                  <a:cubicBezTo>
                    <a:pt x="914" y="173"/>
                    <a:pt x="908" y="171"/>
                    <a:pt x="907" y="168"/>
                  </a:cubicBezTo>
                  <a:cubicBezTo>
                    <a:pt x="905" y="166"/>
                    <a:pt x="904" y="165"/>
                    <a:pt x="902" y="168"/>
                  </a:cubicBezTo>
                  <a:cubicBezTo>
                    <a:pt x="900" y="171"/>
                    <a:pt x="900" y="176"/>
                    <a:pt x="898" y="176"/>
                  </a:cubicBezTo>
                  <a:cubicBezTo>
                    <a:pt x="896" y="176"/>
                    <a:pt x="895" y="181"/>
                    <a:pt x="893" y="182"/>
                  </a:cubicBezTo>
                  <a:cubicBezTo>
                    <a:pt x="891" y="184"/>
                    <a:pt x="890" y="181"/>
                    <a:pt x="888" y="181"/>
                  </a:cubicBezTo>
                  <a:cubicBezTo>
                    <a:pt x="885" y="181"/>
                    <a:pt x="876" y="172"/>
                    <a:pt x="876" y="170"/>
                  </a:cubicBezTo>
                  <a:cubicBezTo>
                    <a:pt x="875" y="167"/>
                    <a:pt x="870" y="163"/>
                    <a:pt x="868" y="162"/>
                  </a:cubicBezTo>
                  <a:cubicBezTo>
                    <a:pt x="867" y="161"/>
                    <a:pt x="870" y="160"/>
                    <a:pt x="872" y="162"/>
                  </a:cubicBezTo>
                  <a:cubicBezTo>
                    <a:pt x="873" y="163"/>
                    <a:pt x="876" y="163"/>
                    <a:pt x="877" y="162"/>
                  </a:cubicBezTo>
                  <a:cubicBezTo>
                    <a:pt x="879" y="162"/>
                    <a:pt x="879" y="157"/>
                    <a:pt x="876" y="157"/>
                  </a:cubicBezTo>
                  <a:cubicBezTo>
                    <a:pt x="873" y="157"/>
                    <a:pt x="874" y="154"/>
                    <a:pt x="875" y="154"/>
                  </a:cubicBezTo>
                  <a:cubicBezTo>
                    <a:pt x="877" y="153"/>
                    <a:pt x="872" y="149"/>
                    <a:pt x="874" y="148"/>
                  </a:cubicBezTo>
                  <a:cubicBezTo>
                    <a:pt x="876" y="148"/>
                    <a:pt x="875" y="146"/>
                    <a:pt x="872" y="145"/>
                  </a:cubicBezTo>
                  <a:cubicBezTo>
                    <a:pt x="870" y="145"/>
                    <a:pt x="867" y="143"/>
                    <a:pt x="867" y="142"/>
                  </a:cubicBezTo>
                  <a:cubicBezTo>
                    <a:pt x="867" y="140"/>
                    <a:pt x="856" y="140"/>
                    <a:pt x="856" y="142"/>
                  </a:cubicBezTo>
                  <a:cubicBezTo>
                    <a:pt x="857" y="144"/>
                    <a:pt x="852" y="143"/>
                    <a:pt x="853" y="141"/>
                  </a:cubicBezTo>
                  <a:cubicBezTo>
                    <a:pt x="854" y="140"/>
                    <a:pt x="849" y="140"/>
                    <a:pt x="844" y="139"/>
                  </a:cubicBezTo>
                  <a:cubicBezTo>
                    <a:pt x="839" y="137"/>
                    <a:pt x="839" y="134"/>
                    <a:pt x="837" y="134"/>
                  </a:cubicBezTo>
                  <a:cubicBezTo>
                    <a:pt x="835" y="133"/>
                    <a:pt x="836" y="139"/>
                    <a:pt x="833" y="137"/>
                  </a:cubicBezTo>
                  <a:cubicBezTo>
                    <a:pt x="830" y="136"/>
                    <a:pt x="828" y="139"/>
                    <a:pt x="829" y="142"/>
                  </a:cubicBezTo>
                  <a:cubicBezTo>
                    <a:pt x="830" y="145"/>
                    <a:pt x="829" y="145"/>
                    <a:pt x="829" y="148"/>
                  </a:cubicBezTo>
                  <a:cubicBezTo>
                    <a:pt x="829" y="150"/>
                    <a:pt x="827" y="149"/>
                    <a:pt x="824" y="148"/>
                  </a:cubicBezTo>
                  <a:cubicBezTo>
                    <a:pt x="821" y="147"/>
                    <a:pt x="821" y="151"/>
                    <a:pt x="814" y="149"/>
                  </a:cubicBezTo>
                  <a:cubicBezTo>
                    <a:pt x="808" y="147"/>
                    <a:pt x="805" y="149"/>
                    <a:pt x="804" y="147"/>
                  </a:cubicBezTo>
                  <a:cubicBezTo>
                    <a:pt x="802" y="145"/>
                    <a:pt x="800" y="145"/>
                    <a:pt x="800" y="146"/>
                  </a:cubicBezTo>
                  <a:cubicBezTo>
                    <a:pt x="800" y="148"/>
                    <a:pt x="790" y="147"/>
                    <a:pt x="789" y="145"/>
                  </a:cubicBezTo>
                  <a:cubicBezTo>
                    <a:pt x="788" y="142"/>
                    <a:pt x="791" y="142"/>
                    <a:pt x="792" y="141"/>
                  </a:cubicBezTo>
                  <a:cubicBezTo>
                    <a:pt x="794" y="140"/>
                    <a:pt x="790" y="139"/>
                    <a:pt x="785" y="140"/>
                  </a:cubicBezTo>
                  <a:cubicBezTo>
                    <a:pt x="779" y="140"/>
                    <a:pt x="776" y="137"/>
                    <a:pt x="770" y="137"/>
                  </a:cubicBezTo>
                  <a:cubicBezTo>
                    <a:pt x="764" y="138"/>
                    <a:pt x="752" y="139"/>
                    <a:pt x="750" y="140"/>
                  </a:cubicBezTo>
                  <a:cubicBezTo>
                    <a:pt x="748" y="141"/>
                    <a:pt x="751" y="144"/>
                    <a:pt x="749" y="144"/>
                  </a:cubicBezTo>
                  <a:cubicBezTo>
                    <a:pt x="746" y="144"/>
                    <a:pt x="748" y="139"/>
                    <a:pt x="747" y="136"/>
                  </a:cubicBezTo>
                  <a:cubicBezTo>
                    <a:pt x="747" y="134"/>
                    <a:pt x="743" y="133"/>
                    <a:pt x="743" y="135"/>
                  </a:cubicBezTo>
                  <a:cubicBezTo>
                    <a:pt x="744" y="137"/>
                    <a:pt x="737" y="138"/>
                    <a:pt x="735" y="137"/>
                  </a:cubicBezTo>
                  <a:cubicBezTo>
                    <a:pt x="733" y="135"/>
                    <a:pt x="730" y="133"/>
                    <a:pt x="726" y="132"/>
                  </a:cubicBezTo>
                  <a:cubicBezTo>
                    <a:pt x="721" y="131"/>
                    <a:pt x="715" y="136"/>
                    <a:pt x="717" y="137"/>
                  </a:cubicBezTo>
                  <a:cubicBezTo>
                    <a:pt x="718" y="139"/>
                    <a:pt x="721" y="137"/>
                    <a:pt x="722" y="138"/>
                  </a:cubicBezTo>
                  <a:cubicBezTo>
                    <a:pt x="722" y="140"/>
                    <a:pt x="712" y="140"/>
                    <a:pt x="712" y="141"/>
                  </a:cubicBezTo>
                  <a:cubicBezTo>
                    <a:pt x="712" y="143"/>
                    <a:pt x="702" y="145"/>
                    <a:pt x="699" y="146"/>
                  </a:cubicBezTo>
                  <a:cubicBezTo>
                    <a:pt x="692" y="147"/>
                    <a:pt x="690" y="147"/>
                    <a:pt x="686" y="150"/>
                  </a:cubicBezTo>
                  <a:cubicBezTo>
                    <a:pt x="683" y="153"/>
                    <a:pt x="685" y="147"/>
                    <a:pt x="688" y="144"/>
                  </a:cubicBezTo>
                  <a:cubicBezTo>
                    <a:pt x="691" y="141"/>
                    <a:pt x="694" y="142"/>
                    <a:pt x="696" y="140"/>
                  </a:cubicBezTo>
                  <a:cubicBezTo>
                    <a:pt x="697" y="138"/>
                    <a:pt x="700" y="138"/>
                    <a:pt x="705" y="137"/>
                  </a:cubicBezTo>
                  <a:cubicBezTo>
                    <a:pt x="709" y="137"/>
                    <a:pt x="709" y="134"/>
                    <a:pt x="711" y="133"/>
                  </a:cubicBezTo>
                  <a:cubicBezTo>
                    <a:pt x="713" y="132"/>
                    <a:pt x="718" y="130"/>
                    <a:pt x="719" y="128"/>
                  </a:cubicBezTo>
                  <a:cubicBezTo>
                    <a:pt x="720" y="126"/>
                    <a:pt x="731" y="122"/>
                    <a:pt x="733" y="122"/>
                  </a:cubicBezTo>
                  <a:cubicBezTo>
                    <a:pt x="735" y="123"/>
                    <a:pt x="736" y="118"/>
                    <a:pt x="737" y="118"/>
                  </a:cubicBezTo>
                  <a:cubicBezTo>
                    <a:pt x="738" y="118"/>
                    <a:pt x="744" y="115"/>
                    <a:pt x="747" y="114"/>
                  </a:cubicBezTo>
                  <a:cubicBezTo>
                    <a:pt x="749" y="113"/>
                    <a:pt x="750" y="111"/>
                    <a:pt x="750" y="109"/>
                  </a:cubicBezTo>
                  <a:cubicBezTo>
                    <a:pt x="750" y="108"/>
                    <a:pt x="747" y="108"/>
                    <a:pt x="747" y="107"/>
                  </a:cubicBezTo>
                  <a:cubicBezTo>
                    <a:pt x="746" y="105"/>
                    <a:pt x="748" y="106"/>
                    <a:pt x="751" y="105"/>
                  </a:cubicBezTo>
                  <a:cubicBezTo>
                    <a:pt x="753" y="104"/>
                    <a:pt x="751" y="101"/>
                    <a:pt x="749" y="102"/>
                  </a:cubicBezTo>
                  <a:cubicBezTo>
                    <a:pt x="747" y="102"/>
                    <a:pt x="750" y="100"/>
                    <a:pt x="748" y="98"/>
                  </a:cubicBezTo>
                  <a:cubicBezTo>
                    <a:pt x="746" y="96"/>
                    <a:pt x="743" y="99"/>
                    <a:pt x="743" y="97"/>
                  </a:cubicBezTo>
                  <a:cubicBezTo>
                    <a:pt x="743" y="94"/>
                    <a:pt x="743" y="92"/>
                    <a:pt x="741" y="90"/>
                  </a:cubicBezTo>
                  <a:cubicBezTo>
                    <a:pt x="740" y="89"/>
                    <a:pt x="737" y="93"/>
                    <a:pt x="734" y="90"/>
                  </a:cubicBezTo>
                  <a:cubicBezTo>
                    <a:pt x="731" y="88"/>
                    <a:pt x="723" y="87"/>
                    <a:pt x="723" y="88"/>
                  </a:cubicBezTo>
                  <a:cubicBezTo>
                    <a:pt x="723" y="89"/>
                    <a:pt x="718" y="86"/>
                    <a:pt x="718" y="87"/>
                  </a:cubicBezTo>
                  <a:cubicBezTo>
                    <a:pt x="717" y="88"/>
                    <a:pt x="710" y="88"/>
                    <a:pt x="708" y="87"/>
                  </a:cubicBezTo>
                  <a:cubicBezTo>
                    <a:pt x="706" y="87"/>
                    <a:pt x="703" y="88"/>
                    <a:pt x="702" y="90"/>
                  </a:cubicBezTo>
                  <a:cubicBezTo>
                    <a:pt x="702" y="93"/>
                    <a:pt x="694" y="92"/>
                    <a:pt x="692" y="91"/>
                  </a:cubicBezTo>
                  <a:cubicBezTo>
                    <a:pt x="691" y="91"/>
                    <a:pt x="698" y="85"/>
                    <a:pt x="698" y="84"/>
                  </a:cubicBezTo>
                  <a:cubicBezTo>
                    <a:pt x="698" y="83"/>
                    <a:pt x="686" y="84"/>
                    <a:pt x="685" y="83"/>
                  </a:cubicBezTo>
                  <a:cubicBezTo>
                    <a:pt x="684" y="82"/>
                    <a:pt x="678" y="81"/>
                    <a:pt x="675" y="81"/>
                  </a:cubicBezTo>
                  <a:cubicBezTo>
                    <a:pt x="673" y="82"/>
                    <a:pt x="675" y="81"/>
                    <a:pt x="678" y="81"/>
                  </a:cubicBezTo>
                  <a:cubicBezTo>
                    <a:pt x="680" y="80"/>
                    <a:pt x="683" y="78"/>
                    <a:pt x="685" y="78"/>
                  </a:cubicBezTo>
                  <a:cubicBezTo>
                    <a:pt x="688" y="77"/>
                    <a:pt x="687" y="76"/>
                    <a:pt x="686" y="75"/>
                  </a:cubicBezTo>
                  <a:cubicBezTo>
                    <a:pt x="685" y="73"/>
                    <a:pt x="682" y="74"/>
                    <a:pt x="679" y="73"/>
                  </a:cubicBezTo>
                  <a:cubicBezTo>
                    <a:pt x="677" y="72"/>
                    <a:pt x="673" y="71"/>
                    <a:pt x="671" y="71"/>
                  </a:cubicBezTo>
                  <a:cubicBezTo>
                    <a:pt x="669" y="71"/>
                    <a:pt x="666" y="72"/>
                    <a:pt x="660" y="73"/>
                  </a:cubicBezTo>
                  <a:cubicBezTo>
                    <a:pt x="655" y="74"/>
                    <a:pt x="654" y="78"/>
                    <a:pt x="652" y="80"/>
                  </a:cubicBezTo>
                  <a:cubicBezTo>
                    <a:pt x="649" y="81"/>
                    <a:pt x="644" y="86"/>
                    <a:pt x="646" y="87"/>
                  </a:cubicBezTo>
                  <a:cubicBezTo>
                    <a:pt x="648" y="87"/>
                    <a:pt x="647" y="89"/>
                    <a:pt x="648" y="90"/>
                  </a:cubicBezTo>
                  <a:cubicBezTo>
                    <a:pt x="648" y="92"/>
                    <a:pt x="646" y="92"/>
                    <a:pt x="643" y="92"/>
                  </a:cubicBezTo>
                  <a:cubicBezTo>
                    <a:pt x="640" y="91"/>
                    <a:pt x="631" y="91"/>
                    <a:pt x="631" y="93"/>
                  </a:cubicBezTo>
                  <a:cubicBezTo>
                    <a:pt x="631" y="95"/>
                    <a:pt x="636" y="96"/>
                    <a:pt x="636" y="97"/>
                  </a:cubicBezTo>
                  <a:cubicBezTo>
                    <a:pt x="636" y="98"/>
                    <a:pt x="632" y="97"/>
                    <a:pt x="630" y="96"/>
                  </a:cubicBezTo>
                  <a:cubicBezTo>
                    <a:pt x="628" y="95"/>
                    <a:pt x="624" y="96"/>
                    <a:pt x="623" y="98"/>
                  </a:cubicBezTo>
                  <a:cubicBezTo>
                    <a:pt x="622" y="100"/>
                    <a:pt x="619" y="99"/>
                    <a:pt x="618" y="99"/>
                  </a:cubicBezTo>
                  <a:cubicBezTo>
                    <a:pt x="617" y="98"/>
                    <a:pt x="614" y="100"/>
                    <a:pt x="613" y="99"/>
                  </a:cubicBezTo>
                  <a:cubicBezTo>
                    <a:pt x="611" y="98"/>
                    <a:pt x="616" y="96"/>
                    <a:pt x="615" y="95"/>
                  </a:cubicBezTo>
                  <a:cubicBezTo>
                    <a:pt x="614" y="93"/>
                    <a:pt x="608" y="94"/>
                    <a:pt x="607" y="97"/>
                  </a:cubicBezTo>
                  <a:cubicBezTo>
                    <a:pt x="607" y="99"/>
                    <a:pt x="603" y="95"/>
                    <a:pt x="602" y="96"/>
                  </a:cubicBezTo>
                  <a:cubicBezTo>
                    <a:pt x="601" y="96"/>
                    <a:pt x="599" y="97"/>
                    <a:pt x="597" y="98"/>
                  </a:cubicBezTo>
                  <a:cubicBezTo>
                    <a:pt x="594" y="99"/>
                    <a:pt x="590" y="97"/>
                    <a:pt x="589" y="99"/>
                  </a:cubicBezTo>
                  <a:cubicBezTo>
                    <a:pt x="588" y="101"/>
                    <a:pt x="594" y="102"/>
                    <a:pt x="594" y="102"/>
                  </a:cubicBezTo>
                  <a:cubicBezTo>
                    <a:pt x="594" y="103"/>
                    <a:pt x="581" y="103"/>
                    <a:pt x="580" y="104"/>
                  </a:cubicBezTo>
                  <a:cubicBezTo>
                    <a:pt x="580" y="106"/>
                    <a:pt x="576" y="106"/>
                    <a:pt x="570" y="106"/>
                  </a:cubicBezTo>
                  <a:cubicBezTo>
                    <a:pt x="565" y="106"/>
                    <a:pt x="567" y="109"/>
                    <a:pt x="563" y="109"/>
                  </a:cubicBezTo>
                  <a:cubicBezTo>
                    <a:pt x="559" y="110"/>
                    <a:pt x="557" y="110"/>
                    <a:pt x="555" y="113"/>
                  </a:cubicBezTo>
                  <a:cubicBezTo>
                    <a:pt x="554" y="115"/>
                    <a:pt x="550" y="115"/>
                    <a:pt x="549" y="113"/>
                  </a:cubicBezTo>
                  <a:cubicBezTo>
                    <a:pt x="548" y="112"/>
                    <a:pt x="544" y="114"/>
                    <a:pt x="546" y="114"/>
                  </a:cubicBezTo>
                  <a:cubicBezTo>
                    <a:pt x="548" y="115"/>
                    <a:pt x="546" y="117"/>
                    <a:pt x="545" y="116"/>
                  </a:cubicBezTo>
                  <a:cubicBezTo>
                    <a:pt x="543" y="116"/>
                    <a:pt x="540" y="119"/>
                    <a:pt x="542" y="118"/>
                  </a:cubicBezTo>
                  <a:cubicBezTo>
                    <a:pt x="544" y="118"/>
                    <a:pt x="545" y="120"/>
                    <a:pt x="544" y="121"/>
                  </a:cubicBezTo>
                  <a:cubicBezTo>
                    <a:pt x="543" y="123"/>
                    <a:pt x="538" y="120"/>
                    <a:pt x="537" y="121"/>
                  </a:cubicBezTo>
                  <a:cubicBezTo>
                    <a:pt x="536" y="122"/>
                    <a:pt x="539" y="124"/>
                    <a:pt x="541" y="123"/>
                  </a:cubicBezTo>
                  <a:cubicBezTo>
                    <a:pt x="543" y="123"/>
                    <a:pt x="545" y="125"/>
                    <a:pt x="545" y="126"/>
                  </a:cubicBezTo>
                  <a:cubicBezTo>
                    <a:pt x="545" y="128"/>
                    <a:pt x="540" y="125"/>
                    <a:pt x="539" y="126"/>
                  </a:cubicBezTo>
                  <a:cubicBezTo>
                    <a:pt x="538" y="128"/>
                    <a:pt x="540" y="128"/>
                    <a:pt x="542" y="129"/>
                  </a:cubicBezTo>
                  <a:cubicBezTo>
                    <a:pt x="544" y="129"/>
                    <a:pt x="543" y="130"/>
                    <a:pt x="545" y="131"/>
                  </a:cubicBezTo>
                  <a:cubicBezTo>
                    <a:pt x="545" y="132"/>
                    <a:pt x="545" y="132"/>
                    <a:pt x="545" y="132"/>
                  </a:cubicBezTo>
                  <a:cubicBezTo>
                    <a:pt x="546" y="133"/>
                    <a:pt x="544" y="134"/>
                    <a:pt x="544" y="135"/>
                  </a:cubicBezTo>
                  <a:cubicBezTo>
                    <a:pt x="544" y="137"/>
                    <a:pt x="542" y="137"/>
                    <a:pt x="542" y="136"/>
                  </a:cubicBezTo>
                  <a:cubicBezTo>
                    <a:pt x="542" y="135"/>
                    <a:pt x="536" y="134"/>
                    <a:pt x="534" y="136"/>
                  </a:cubicBezTo>
                  <a:cubicBezTo>
                    <a:pt x="533" y="137"/>
                    <a:pt x="532" y="138"/>
                    <a:pt x="530" y="137"/>
                  </a:cubicBezTo>
                  <a:cubicBezTo>
                    <a:pt x="529" y="135"/>
                    <a:pt x="524" y="137"/>
                    <a:pt x="519" y="137"/>
                  </a:cubicBezTo>
                  <a:cubicBezTo>
                    <a:pt x="513" y="138"/>
                    <a:pt x="501" y="138"/>
                    <a:pt x="498" y="139"/>
                  </a:cubicBezTo>
                  <a:cubicBezTo>
                    <a:pt x="495" y="140"/>
                    <a:pt x="492" y="144"/>
                    <a:pt x="495" y="147"/>
                  </a:cubicBezTo>
                  <a:cubicBezTo>
                    <a:pt x="498" y="150"/>
                    <a:pt x="495" y="151"/>
                    <a:pt x="495" y="153"/>
                  </a:cubicBezTo>
                  <a:cubicBezTo>
                    <a:pt x="495" y="155"/>
                    <a:pt x="502" y="158"/>
                    <a:pt x="506" y="159"/>
                  </a:cubicBezTo>
                  <a:cubicBezTo>
                    <a:pt x="510" y="159"/>
                    <a:pt x="513" y="164"/>
                    <a:pt x="511" y="167"/>
                  </a:cubicBezTo>
                  <a:cubicBezTo>
                    <a:pt x="508" y="169"/>
                    <a:pt x="502" y="166"/>
                    <a:pt x="497" y="162"/>
                  </a:cubicBezTo>
                  <a:cubicBezTo>
                    <a:pt x="492" y="159"/>
                    <a:pt x="482" y="157"/>
                    <a:pt x="479" y="157"/>
                  </a:cubicBezTo>
                  <a:cubicBezTo>
                    <a:pt x="475" y="158"/>
                    <a:pt x="477" y="154"/>
                    <a:pt x="473" y="154"/>
                  </a:cubicBezTo>
                  <a:cubicBezTo>
                    <a:pt x="468" y="155"/>
                    <a:pt x="465" y="159"/>
                    <a:pt x="468" y="159"/>
                  </a:cubicBezTo>
                  <a:cubicBezTo>
                    <a:pt x="471" y="159"/>
                    <a:pt x="472" y="158"/>
                    <a:pt x="471" y="160"/>
                  </a:cubicBezTo>
                  <a:cubicBezTo>
                    <a:pt x="469" y="161"/>
                    <a:pt x="472" y="161"/>
                    <a:pt x="475" y="162"/>
                  </a:cubicBezTo>
                  <a:cubicBezTo>
                    <a:pt x="479" y="164"/>
                    <a:pt x="472" y="166"/>
                    <a:pt x="469" y="164"/>
                  </a:cubicBezTo>
                  <a:cubicBezTo>
                    <a:pt x="465" y="161"/>
                    <a:pt x="461" y="163"/>
                    <a:pt x="460" y="165"/>
                  </a:cubicBezTo>
                  <a:cubicBezTo>
                    <a:pt x="459" y="167"/>
                    <a:pt x="464" y="173"/>
                    <a:pt x="471" y="174"/>
                  </a:cubicBezTo>
                  <a:cubicBezTo>
                    <a:pt x="477" y="175"/>
                    <a:pt x="475" y="177"/>
                    <a:pt x="478" y="178"/>
                  </a:cubicBezTo>
                  <a:cubicBezTo>
                    <a:pt x="481" y="179"/>
                    <a:pt x="479" y="180"/>
                    <a:pt x="477" y="180"/>
                  </a:cubicBezTo>
                  <a:cubicBezTo>
                    <a:pt x="475" y="180"/>
                    <a:pt x="471" y="177"/>
                    <a:pt x="467" y="175"/>
                  </a:cubicBezTo>
                  <a:cubicBezTo>
                    <a:pt x="464" y="174"/>
                    <a:pt x="456" y="176"/>
                    <a:pt x="454" y="174"/>
                  </a:cubicBezTo>
                  <a:cubicBezTo>
                    <a:pt x="452" y="172"/>
                    <a:pt x="455" y="170"/>
                    <a:pt x="453" y="169"/>
                  </a:cubicBezTo>
                  <a:cubicBezTo>
                    <a:pt x="452" y="167"/>
                    <a:pt x="453" y="164"/>
                    <a:pt x="455" y="161"/>
                  </a:cubicBezTo>
                  <a:cubicBezTo>
                    <a:pt x="457" y="158"/>
                    <a:pt x="455" y="152"/>
                    <a:pt x="452" y="151"/>
                  </a:cubicBezTo>
                  <a:cubicBezTo>
                    <a:pt x="449" y="150"/>
                    <a:pt x="449" y="153"/>
                    <a:pt x="450" y="154"/>
                  </a:cubicBezTo>
                  <a:cubicBezTo>
                    <a:pt x="450" y="155"/>
                    <a:pt x="450" y="160"/>
                    <a:pt x="448" y="163"/>
                  </a:cubicBezTo>
                  <a:cubicBezTo>
                    <a:pt x="445" y="166"/>
                    <a:pt x="438" y="166"/>
                    <a:pt x="438" y="168"/>
                  </a:cubicBezTo>
                  <a:cubicBezTo>
                    <a:pt x="438" y="170"/>
                    <a:pt x="433" y="171"/>
                    <a:pt x="435" y="173"/>
                  </a:cubicBezTo>
                  <a:cubicBezTo>
                    <a:pt x="436" y="174"/>
                    <a:pt x="443" y="181"/>
                    <a:pt x="444" y="184"/>
                  </a:cubicBezTo>
                  <a:cubicBezTo>
                    <a:pt x="445" y="186"/>
                    <a:pt x="438" y="193"/>
                    <a:pt x="439" y="197"/>
                  </a:cubicBezTo>
                  <a:cubicBezTo>
                    <a:pt x="440" y="201"/>
                    <a:pt x="438" y="203"/>
                    <a:pt x="440" y="205"/>
                  </a:cubicBezTo>
                  <a:cubicBezTo>
                    <a:pt x="441" y="207"/>
                    <a:pt x="444" y="205"/>
                    <a:pt x="446" y="206"/>
                  </a:cubicBezTo>
                  <a:cubicBezTo>
                    <a:pt x="448" y="207"/>
                    <a:pt x="451" y="205"/>
                    <a:pt x="455" y="204"/>
                  </a:cubicBezTo>
                  <a:cubicBezTo>
                    <a:pt x="460" y="203"/>
                    <a:pt x="468" y="208"/>
                    <a:pt x="471" y="210"/>
                  </a:cubicBezTo>
                  <a:cubicBezTo>
                    <a:pt x="474" y="211"/>
                    <a:pt x="472" y="213"/>
                    <a:pt x="474" y="216"/>
                  </a:cubicBezTo>
                  <a:cubicBezTo>
                    <a:pt x="475" y="218"/>
                    <a:pt x="470" y="218"/>
                    <a:pt x="470" y="222"/>
                  </a:cubicBezTo>
                  <a:cubicBezTo>
                    <a:pt x="470" y="225"/>
                    <a:pt x="479" y="227"/>
                    <a:pt x="479" y="228"/>
                  </a:cubicBezTo>
                  <a:cubicBezTo>
                    <a:pt x="480" y="229"/>
                    <a:pt x="473" y="228"/>
                    <a:pt x="470" y="227"/>
                  </a:cubicBezTo>
                  <a:cubicBezTo>
                    <a:pt x="467" y="226"/>
                    <a:pt x="467" y="223"/>
                    <a:pt x="466" y="222"/>
                  </a:cubicBezTo>
                  <a:cubicBezTo>
                    <a:pt x="466" y="221"/>
                    <a:pt x="468" y="218"/>
                    <a:pt x="468" y="216"/>
                  </a:cubicBezTo>
                  <a:cubicBezTo>
                    <a:pt x="469" y="214"/>
                    <a:pt x="465" y="213"/>
                    <a:pt x="464" y="211"/>
                  </a:cubicBezTo>
                  <a:cubicBezTo>
                    <a:pt x="463" y="210"/>
                    <a:pt x="461" y="207"/>
                    <a:pt x="459" y="208"/>
                  </a:cubicBezTo>
                  <a:cubicBezTo>
                    <a:pt x="457" y="208"/>
                    <a:pt x="449" y="209"/>
                    <a:pt x="447" y="211"/>
                  </a:cubicBezTo>
                  <a:cubicBezTo>
                    <a:pt x="445" y="213"/>
                    <a:pt x="447" y="219"/>
                    <a:pt x="449" y="222"/>
                  </a:cubicBezTo>
                  <a:cubicBezTo>
                    <a:pt x="450" y="225"/>
                    <a:pt x="442" y="229"/>
                    <a:pt x="442" y="232"/>
                  </a:cubicBezTo>
                  <a:cubicBezTo>
                    <a:pt x="442" y="234"/>
                    <a:pt x="439" y="235"/>
                    <a:pt x="436" y="237"/>
                  </a:cubicBezTo>
                  <a:cubicBezTo>
                    <a:pt x="432" y="239"/>
                    <a:pt x="428" y="240"/>
                    <a:pt x="428" y="244"/>
                  </a:cubicBezTo>
                  <a:cubicBezTo>
                    <a:pt x="429" y="247"/>
                    <a:pt x="424" y="245"/>
                    <a:pt x="421" y="244"/>
                  </a:cubicBezTo>
                  <a:cubicBezTo>
                    <a:pt x="419" y="242"/>
                    <a:pt x="416" y="244"/>
                    <a:pt x="412" y="244"/>
                  </a:cubicBezTo>
                  <a:cubicBezTo>
                    <a:pt x="408" y="244"/>
                    <a:pt x="408" y="241"/>
                    <a:pt x="406" y="242"/>
                  </a:cubicBezTo>
                  <a:cubicBezTo>
                    <a:pt x="403" y="243"/>
                    <a:pt x="401" y="241"/>
                    <a:pt x="402" y="239"/>
                  </a:cubicBezTo>
                  <a:cubicBezTo>
                    <a:pt x="402" y="237"/>
                    <a:pt x="406" y="238"/>
                    <a:pt x="406" y="240"/>
                  </a:cubicBezTo>
                  <a:cubicBezTo>
                    <a:pt x="406" y="241"/>
                    <a:pt x="408" y="241"/>
                    <a:pt x="411" y="239"/>
                  </a:cubicBezTo>
                  <a:cubicBezTo>
                    <a:pt x="413" y="238"/>
                    <a:pt x="412" y="241"/>
                    <a:pt x="415" y="241"/>
                  </a:cubicBezTo>
                  <a:cubicBezTo>
                    <a:pt x="419" y="242"/>
                    <a:pt x="417" y="240"/>
                    <a:pt x="419" y="240"/>
                  </a:cubicBezTo>
                  <a:cubicBezTo>
                    <a:pt x="422" y="240"/>
                    <a:pt x="422" y="239"/>
                    <a:pt x="421" y="238"/>
                  </a:cubicBezTo>
                  <a:cubicBezTo>
                    <a:pt x="420" y="237"/>
                    <a:pt x="423" y="236"/>
                    <a:pt x="425" y="235"/>
                  </a:cubicBezTo>
                  <a:cubicBezTo>
                    <a:pt x="427" y="234"/>
                    <a:pt x="426" y="231"/>
                    <a:pt x="427" y="231"/>
                  </a:cubicBezTo>
                  <a:cubicBezTo>
                    <a:pt x="429" y="230"/>
                    <a:pt x="428" y="228"/>
                    <a:pt x="429" y="228"/>
                  </a:cubicBezTo>
                  <a:cubicBezTo>
                    <a:pt x="431" y="228"/>
                    <a:pt x="432" y="225"/>
                    <a:pt x="433" y="225"/>
                  </a:cubicBezTo>
                  <a:cubicBezTo>
                    <a:pt x="435" y="225"/>
                    <a:pt x="436" y="223"/>
                    <a:pt x="435" y="222"/>
                  </a:cubicBezTo>
                  <a:cubicBezTo>
                    <a:pt x="434" y="220"/>
                    <a:pt x="435" y="217"/>
                    <a:pt x="437" y="216"/>
                  </a:cubicBezTo>
                  <a:cubicBezTo>
                    <a:pt x="438" y="216"/>
                    <a:pt x="439" y="214"/>
                    <a:pt x="437" y="213"/>
                  </a:cubicBezTo>
                  <a:cubicBezTo>
                    <a:pt x="436" y="212"/>
                    <a:pt x="431" y="209"/>
                    <a:pt x="431" y="206"/>
                  </a:cubicBezTo>
                  <a:cubicBezTo>
                    <a:pt x="431" y="204"/>
                    <a:pt x="430" y="200"/>
                    <a:pt x="431" y="198"/>
                  </a:cubicBezTo>
                  <a:cubicBezTo>
                    <a:pt x="431" y="196"/>
                    <a:pt x="431" y="193"/>
                    <a:pt x="431" y="191"/>
                  </a:cubicBezTo>
                  <a:cubicBezTo>
                    <a:pt x="430" y="188"/>
                    <a:pt x="432" y="186"/>
                    <a:pt x="433" y="182"/>
                  </a:cubicBezTo>
                  <a:cubicBezTo>
                    <a:pt x="433" y="178"/>
                    <a:pt x="428" y="174"/>
                    <a:pt x="426" y="173"/>
                  </a:cubicBezTo>
                  <a:cubicBezTo>
                    <a:pt x="424" y="172"/>
                    <a:pt x="425" y="170"/>
                    <a:pt x="429" y="167"/>
                  </a:cubicBezTo>
                  <a:cubicBezTo>
                    <a:pt x="432" y="164"/>
                    <a:pt x="432" y="155"/>
                    <a:pt x="432" y="153"/>
                  </a:cubicBezTo>
                  <a:cubicBezTo>
                    <a:pt x="432" y="151"/>
                    <a:pt x="425" y="150"/>
                    <a:pt x="422" y="150"/>
                  </a:cubicBezTo>
                  <a:cubicBezTo>
                    <a:pt x="419" y="150"/>
                    <a:pt x="409" y="150"/>
                    <a:pt x="407" y="149"/>
                  </a:cubicBezTo>
                  <a:cubicBezTo>
                    <a:pt x="404" y="149"/>
                    <a:pt x="403" y="151"/>
                    <a:pt x="402" y="154"/>
                  </a:cubicBezTo>
                  <a:cubicBezTo>
                    <a:pt x="401" y="156"/>
                    <a:pt x="398" y="160"/>
                    <a:pt x="397" y="165"/>
                  </a:cubicBezTo>
                  <a:cubicBezTo>
                    <a:pt x="395" y="170"/>
                    <a:pt x="389" y="172"/>
                    <a:pt x="386" y="173"/>
                  </a:cubicBezTo>
                  <a:cubicBezTo>
                    <a:pt x="383" y="174"/>
                    <a:pt x="382" y="178"/>
                    <a:pt x="383" y="180"/>
                  </a:cubicBezTo>
                  <a:cubicBezTo>
                    <a:pt x="384" y="182"/>
                    <a:pt x="386" y="181"/>
                    <a:pt x="387" y="181"/>
                  </a:cubicBezTo>
                  <a:cubicBezTo>
                    <a:pt x="389" y="182"/>
                    <a:pt x="387" y="187"/>
                    <a:pt x="386" y="188"/>
                  </a:cubicBezTo>
                  <a:cubicBezTo>
                    <a:pt x="386" y="188"/>
                    <a:pt x="388" y="190"/>
                    <a:pt x="386" y="192"/>
                  </a:cubicBezTo>
                  <a:cubicBezTo>
                    <a:pt x="384" y="193"/>
                    <a:pt x="382" y="196"/>
                    <a:pt x="383" y="197"/>
                  </a:cubicBezTo>
                  <a:cubicBezTo>
                    <a:pt x="384" y="198"/>
                    <a:pt x="390" y="199"/>
                    <a:pt x="393" y="201"/>
                  </a:cubicBezTo>
                  <a:cubicBezTo>
                    <a:pt x="395" y="202"/>
                    <a:pt x="394" y="205"/>
                    <a:pt x="396" y="207"/>
                  </a:cubicBezTo>
                  <a:cubicBezTo>
                    <a:pt x="398" y="210"/>
                    <a:pt x="400" y="208"/>
                    <a:pt x="401" y="210"/>
                  </a:cubicBezTo>
                  <a:cubicBezTo>
                    <a:pt x="402" y="211"/>
                    <a:pt x="398" y="217"/>
                    <a:pt x="396" y="218"/>
                  </a:cubicBezTo>
                  <a:cubicBezTo>
                    <a:pt x="394" y="218"/>
                    <a:pt x="388" y="211"/>
                    <a:pt x="386" y="210"/>
                  </a:cubicBezTo>
                  <a:cubicBezTo>
                    <a:pt x="384" y="208"/>
                    <a:pt x="377" y="206"/>
                    <a:pt x="373" y="204"/>
                  </a:cubicBezTo>
                  <a:cubicBezTo>
                    <a:pt x="370" y="202"/>
                    <a:pt x="367" y="203"/>
                    <a:pt x="363" y="200"/>
                  </a:cubicBezTo>
                  <a:cubicBezTo>
                    <a:pt x="359" y="197"/>
                    <a:pt x="355" y="196"/>
                    <a:pt x="348" y="196"/>
                  </a:cubicBezTo>
                  <a:cubicBezTo>
                    <a:pt x="340" y="196"/>
                    <a:pt x="336" y="194"/>
                    <a:pt x="333" y="195"/>
                  </a:cubicBezTo>
                  <a:cubicBezTo>
                    <a:pt x="331" y="195"/>
                    <a:pt x="332" y="192"/>
                    <a:pt x="327" y="190"/>
                  </a:cubicBezTo>
                  <a:cubicBezTo>
                    <a:pt x="323" y="188"/>
                    <a:pt x="320" y="186"/>
                    <a:pt x="317" y="187"/>
                  </a:cubicBezTo>
                  <a:cubicBezTo>
                    <a:pt x="315" y="188"/>
                    <a:pt x="316" y="193"/>
                    <a:pt x="320" y="194"/>
                  </a:cubicBezTo>
                  <a:cubicBezTo>
                    <a:pt x="324" y="194"/>
                    <a:pt x="322" y="196"/>
                    <a:pt x="326" y="196"/>
                  </a:cubicBezTo>
                  <a:cubicBezTo>
                    <a:pt x="330" y="196"/>
                    <a:pt x="331" y="197"/>
                    <a:pt x="331" y="200"/>
                  </a:cubicBezTo>
                  <a:cubicBezTo>
                    <a:pt x="331" y="202"/>
                    <a:pt x="333" y="205"/>
                    <a:pt x="334" y="206"/>
                  </a:cubicBezTo>
                  <a:cubicBezTo>
                    <a:pt x="336" y="208"/>
                    <a:pt x="335" y="211"/>
                    <a:pt x="332" y="211"/>
                  </a:cubicBezTo>
                  <a:cubicBezTo>
                    <a:pt x="329" y="211"/>
                    <a:pt x="325" y="211"/>
                    <a:pt x="326" y="214"/>
                  </a:cubicBezTo>
                  <a:cubicBezTo>
                    <a:pt x="328" y="216"/>
                    <a:pt x="326" y="216"/>
                    <a:pt x="322" y="215"/>
                  </a:cubicBezTo>
                  <a:cubicBezTo>
                    <a:pt x="319" y="214"/>
                    <a:pt x="321" y="212"/>
                    <a:pt x="322" y="210"/>
                  </a:cubicBezTo>
                  <a:cubicBezTo>
                    <a:pt x="324" y="209"/>
                    <a:pt x="319" y="208"/>
                    <a:pt x="317" y="207"/>
                  </a:cubicBezTo>
                  <a:cubicBezTo>
                    <a:pt x="315" y="206"/>
                    <a:pt x="307" y="212"/>
                    <a:pt x="305" y="213"/>
                  </a:cubicBezTo>
                  <a:cubicBezTo>
                    <a:pt x="303" y="214"/>
                    <a:pt x="297" y="212"/>
                    <a:pt x="292" y="213"/>
                  </a:cubicBezTo>
                  <a:cubicBezTo>
                    <a:pt x="286" y="214"/>
                    <a:pt x="286" y="219"/>
                    <a:pt x="284" y="218"/>
                  </a:cubicBezTo>
                  <a:cubicBezTo>
                    <a:pt x="282" y="218"/>
                    <a:pt x="276" y="219"/>
                    <a:pt x="273" y="218"/>
                  </a:cubicBezTo>
                  <a:cubicBezTo>
                    <a:pt x="271" y="216"/>
                    <a:pt x="273" y="215"/>
                    <a:pt x="275" y="215"/>
                  </a:cubicBezTo>
                  <a:cubicBezTo>
                    <a:pt x="278" y="216"/>
                    <a:pt x="279" y="215"/>
                    <a:pt x="277" y="213"/>
                  </a:cubicBezTo>
                  <a:cubicBezTo>
                    <a:pt x="276" y="211"/>
                    <a:pt x="279" y="209"/>
                    <a:pt x="279" y="208"/>
                  </a:cubicBezTo>
                  <a:cubicBezTo>
                    <a:pt x="279" y="206"/>
                    <a:pt x="270" y="210"/>
                    <a:pt x="268" y="211"/>
                  </a:cubicBezTo>
                  <a:cubicBezTo>
                    <a:pt x="266" y="212"/>
                    <a:pt x="268" y="215"/>
                    <a:pt x="266" y="215"/>
                  </a:cubicBezTo>
                  <a:cubicBezTo>
                    <a:pt x="265" y="216"/>
                    <a:pt x="265" y="214"/>
                    <a:pt x="263" y="213"/>
                  </a:cubicBezTo>
                  <a:cubicBezTo>
                    <a:pt x="261" y="213"/>
                    <a:pt x="247" y="216"/>
                    <a:pt x="244" y="219"/>
                  </a:cubicBezTo>
                  <a:cubicBezTo>
                    <a:pt x="242" y="222"/>
                    <a:pt x="237" y="222"/>
                    <a:pt x="237" y="223"/>
                  </a:cubicBezTo>
                  <a:cubicBezTo>
                    <a:pt x="237" y="225"/>
                    <a:pt x="230" y="225"/>
                    <a:pt x="228" y="226"/>
                  </a:cubicBezTo>
                  <a:cubicBezTo>
                    <a:pt x="225" y="227"/>
                    <a:pt x="227" y="232"/>
                    <a:pt x="226" y="235"/>
                  </a:cubicBezTo>
                  <a:cubicBezTo>
                    <a:pt x="225" y="237"/>
                    <a:pt x="215" y="236"/>
                    <a:pt x="212" y="236"/>
                  </a:cubicBezTo>
                  <a:cubicBezTo>
                    <a:pt x="209" y="237"/>
                    <a:pt x="208" y="231"/>
                    <a:pt x="206" y="230"/>
                  </a:cubicBezTo>
                  <a:cubicBezTo>
                    <a:pt x="204" y="230"/>
                    <a:pt x="205" y="227"/>
                    <a:pt x="206" y="225"/>
                  </a:cubicBezTo>
                  <a:cubicBezTo>
                    <a:pt x="207" y="224"/>
                    <a:pt x="208" y="225"/>
                    <a:pt x="211" y="223"/>
                  </a:cubicBezTo>
                  <a:cubicBezTo>
                    <a:pt x="214" y="221"/>
                    <a:pt x="217" y="224"/>
                    <a:pt x="219" y="223"/>
                  </a:cubicBezTo>
                  <a:cubicBezTo>
                    <a:pt x="220" y="221"/>
                    <a:pt x="214" y="218"/>
                    <a:pt x="214" y="215"/>
                  </a:cubicBezTo>
                  <a:cubicBezTo>
                    <a:pt x="213" y="212"/>
                    <a:pt x="207" y="211"/>
                    <a:pt x="203" y="212"/>
                  </a:cubicBezTo>
                  <a:cubicBezTo>
                    <a:pt x="200" y="213"/>
                    <a:pt x="196" y="212"/>
                    <a:pt x="193" y="211"/>
                  </a:cubicBezTo>
                  <a:cubicBezTo>
                    <a:pt x="191" y="210"/>
                    <a:pt x="191" y="213"/>
                    <a:pt x="195" y="214"/>
                  </a:cubicBezTo>
                  <a:cubicBezTo>
                    <a:pt x="199" y="215"/>
                    <a:pt x="197" y="218"/>
                    <a:pt x="197" y="220"/>
                  </a:cubicBezTo>
                  <a:cubicBezTo>
                    <a:pt x="198" y="222"/>
                    <a:pt x="196" y="226"/>
                    <a:pt x="194" y="229"/>
                  </a:cubicBezTo>
                  <a:cubicBezTo>
                    <a:pt x="192" y="232"/>
                    <a:pt x="194" y="232"/>
                    <a:pt x="197" y="232"/>
                  </a:cubicBezTo>
                  <a:cubicBezTo>
                    <a:pt x="200" y="231"/>
                    <a:pt x="200" y="236"/>
                    <a:pt x="200" y="239"/>
                  </a:cubicBezTo>
                  <a:cubicBezTo>
                    <a:pt x="200" y="242"/>
                    <a:pt x="197" y="243"/>
                    <a:pt x="197" y="245"/>
                  </a:cubicBezTo>
                  <a:cubicBezTo>
                    <a:pt x="197" y="247"/>
                    <a:pt x="195" y="244"/>
                    <a:pt x="194" y="245"/>
                  </a:cubicBezTo>
                  <a:cubicBezTo>
                    <a:pt x="193" y="246"/>
                    <a:pt x="192" y="244"/>
                    <a:pt x="191" y="242"/>
                  </a:cubicBezTo>
                  <a:cubicBezTo>
                    <a:pt x="191" y="240"/>
                    <a:pt x="186" y="242"/>
                    <a:pt x="183" y="241"/>
                  </a:cubicBezTo>
                  <a:cubicBezTo>
                    <a:pt x="181" y="240"/>
                    <a:pt x="180" y="241"/>
                    <a:pt x="178" y="243"/>
                  </a:cubicBezTo>
                  <a:cubicBezTo>
                    <a:pt x="177" y="245"/>
                    <a:pt x="173" y="246"/>
                    <a:pt x="171" y="246"/>
                  </a:cubicBezTo>
                  <a:cubicBezTo>
                    <a:pt x="169" y="247"/>
                    <a:pt x="165" y="251"/>
                    <a:pt x="163" y="252"/>
                  </a:cubicBezTo>
                  <a:cubicBezTo>
                    <a:pt x="161" y="253"/>
                    <a:pt x="161" y="256"/>
                    <a:pt x="164" y="259"/>
                  </a:cubicBezTo>
                  <a:cubicBezTo>
                    <a:pt x="167" y="262"/>
                    <a:pt x="167" y="264"/>
                    <a:pt x="167" y="265"/>
                  </a:cubicBezTo>
                  <a:cubicBezTo>
                    <a:pt x="167" y="267"/>
                    <a:pt x="159" y="266"/>
                    <a:pt x="158" y="265"/>
                  </a:cubicBezTo>
                  <a:cubicBezTo>
                    <a:pt x="156" y="263"/>
                    <a:pt x="151" y="262"/>
                    <a:pt x="149" y="263"/>
                  </a:cubicBezTo>
                  <a:cubicBezTo>
                    <a:pt x="147" y="263"/>
                    <a:pt x="143" y="257"/>
                    <a:pt x="140" y="257"/>
                  </a:cubicBezTo>
                  <a:cubicBezTo>
                    <a:pt x="138" y="257"/>
                    <a:pt x="136" y="260"/>
                    <a:pt x="135" y="262"/>
                  </a:cubicBezTo>
                  <a:cubicBezTo>
                    <a:pt x="134" y="263"/>
                    <a:pt x="136" y="264"/>
                    <a:pt x="138" y="266"/>
                  </a:cubicBezTo>
                  <a:cubicBezTo>
                    <a:pt x="139" y="269"/>
                    <a:pt x="143" y="269"/>
                    <a:pt x="145" y="269"/>
                  </a:cubicBezTo>
                  <a:cubicBezTo>
                    <a:pt x="148" y="269"/>
                    <a:pt x="147" y="273"/>
                    <a:pt x="146" y="274"/>
                  </a:cubicBezTo>
                  <a:cubicBezTo>
                    <a:pt x="145" y="276"/>
                    <a:pt x="141" y="277"/>
                    <a:pt x="140" y="275"/>
                  </a:cubicBezTo>
                  <a:cubicBezTo>
                    <a:pt x="139" y="274"/>
                    <a:pt x="134" y="275"/>
                    <a:pt x="134" y="273"/>
                  </a:cubicBezTo>
                  <a:cubicBezTo>
                    <a:pt x="134" y="271"/>
                    <a:pt x="130" y="268"/>
                    <a:pt x="126" y="269"/>
                  </a:cubicBezTo>
                  <a:cubicBezTo>
                    <a:pt x="123" y="270"/>
                    <a:pt x="122" y="267"/>
                    <a:pt x="122" y="264"/>
                  </a:cubicBezTo>
                  <a:cubicBezTo>
                    <a:pt x="122" y="261"/>
                    <a:pt x="120" y="260"/>
                    <a:pt x="120" y="259"/>
                  </a:cubicBezTo>
                  <a:cubicBezTo>
                    <a:pt x="120" y="257"/>
                    <a:pt x="119" y="255"/>
                    <a:pt x="121" y="253"/>
                  </a:cubicBezTo>
                  <a:cubicBezTo>
                    <a:pt x="122" y="252"/>
                    <a:pt x="121" y="250"/>
                    <a:pt x="121" y="248"/>
                  </a:cubicBezTo>
                  <a:cubicBezTo>
                    <a:pt x="121" y="246"/>
                    <a:pt x="118" y="244"/>
                    <a:pt x="115" y="244"/>
                  </a:cubicBezTo>
                  <a:cubicBezTo>
                    <a:pt x="112" y="244"/>
                    <a:pt x="113" y="241"/>
                    <a:pt x="110" y="240"/>
                  </a:cubicBezTo>
                  <a:cubicBezTo>
                    <a:pt x="108" y="240"/>
                    <a:pt x="103" y="235"/>
                    <a:pt x="102" y="234"/>
                  </a:cubicBezTo>
                  <a:cubicBezTo>
                    <a:pt x="102" y="232"/>
                    <a:pt x="98" y="232"/>
                    <a:pt x="99" y="231"/>
                  </a:cubicBezTo>
                  <a:cubicBezTo>
                    <a:pt x="101" y="230"/>
                    <a:pt x="104" y="231"/>
                    <a:pt x="106" y="233"/>
                  </a:cubicBezTo>
                  <a:cubicBezTo>
                    <a:pt x="108" y="235"/>
                    <a:pt x="111" y="237"/>
                    <a:pt x="117" y="238"/>
                  </a:cubicBezTo>
                  <a:cubicBezTo>
                    <a:pt x="123" y="239"/>
                    <a:pt x="125" y="241"/>
                    <a:pt x="131" y="242"/>
                  </a:cubicBezTo>
                  <a:cubicBezTo>
                    <a:pt x="137" y="244"/>
                    <a:pt x="141" y="244"/>
                    <a:pt x="150" y="246"/>
                  </a:cubicBezTo>
                  <a:cubicBezTo>
                    <a:pt x="159" y="247"/>
                    <a:pt x="171" y="238"/>
                    <a:pt x="173" y="235"/>
                  </a:cubicBezTo>
                  <a:cubicBezTo>
                    <a:pt x="176" y="233"/>
                    <a:pt x="172" y="228"/>
                    <a:pt x="172" y="226"/>
                  </a:cubicBezTo>
                  <a:cubicBezTo>
                    <a:pt x="172" y="224"/>
                    <a:pt x="168" y="224"/>
                    <a:pt x="168" y="222"/>
                  </a:cubicBezTo>
                  <a:cubicBezTo>
                    <a:pt x="167" y="221"/>
                    <a:pt x="165" y="218"/>
                    <a:pt x="161" y="218"/>
                  </a:cubicBezTo>
                  <a:cubicBezTo>
                    <a:pt x="158" y="218"/>
                    <a:pt x="157" y="214"/>
                    <a:pt x="154" y="215"/>
                  </a:cubicBezTo>
                  <a:cubicBezTo>
                    <a:pt x="152" y="215"/>
                    <a:pt x="150" y="213"/>
                    <a:pt x="143" y="209"/>
                  </a:cubicBezTo>
                  <a:cubicBezTo>
                    <a:pt x="136" y="204"/>
                    <a:pt x="126" y="200"/>
                    <a:pt x="124" y="201"/>
                  </a:cubicBezTo>
                  <a:cubicBezTo>
                    <a:pt x="122" y="202"/>
                    <a:pt x="121" y="203"/>
                    <a:pt x="120" y="201"/>
                  </a:cubicBezTo>
                  <a:cubicBezTo>
                    <a:pt x="119" y="199"/>
                    <a:pt x="116" y="199"/>
                    <a:pt x="114" y="201"/>
                  </a:cubicBezTo>
                  <a:cubicBezTo>
                    <a:pt x="112" y="202"/>
                    <a:pt x="110" y="199"/>
                    <a:pt x="107" y="200"/>
                  </a:cubicBezTo>
                  <a:cubicBezTo>
                    <a:pt x="103" y="201"/>
                    <a:pt x="101" y="199"/>
                    <a:pt x="102" y="198"/>
                  </a:cubicBezTo>
                  <a:cubicBezTo>
                    <a:pt x="103" y="196"/>
                    <a:pt x="108" y="197"/>
                    <a:pt x="108" y="196"/>
                  </a:cubicBezTo>
                  <a:cubicBezTo>
                    <a:pt x="108" y="194"/>
                    <a:pt x="106" y="196"/>
                    <a:pt x="103" y="193"/>
                  </a:cubicBezTo>
                  <a:cubicBezTo>
                    <a:pt x="99" y="191"/>
                    <a:pt x="98" y="193"/>
                    <a:pt x="97" y="195"/>
                  </a:cubicBezTo>
                  <a:cubicBezTo>
                    <a:pt x="96" y="196"/>
                    <a:pt x="94" y="196"/>
                    <a:pt x="92" y="194"/>
                  </a:cubicBezTo>
                  <a:cubicBezTo>
                    <a:pt x="92" y="194"/>
                    <a:pt x="92" y="194"/>
                    <a:pt x="91" y="194"/>
                  </a:cubicBezTo>
                  <a:cubicBezTo>
                    <a:pt x="91" y="197"/>
                    <a:pt x="89" y="197"/>
                    <a:pt x="87" y="197"/>
                  </a:cubicBezTo>
                  <a:cubicBezTo>
                    <a:pt x="85" y="196"/>
                    <a:pt x="83" y="200"/>
                    <a:pt x="81" y="200"/>
                  </a:cubicBezTo>
                  <a:cubicBezTo>
                    <a:pt x="78" y="200"/>
                    <a:pt x="76" y="203"/>
                    <a:pt x="75" y="205"/>
                  </a:cubicBezTo>
                  <a:cubicBezTo>
                    <a:pt x="75" y="207"/>
                    <a:pt x="72" y="206"/>
                    <a:pt x="72" y="207"/>
                  </a:cubicBezTo>
                  <a:cubicBezTo>
                    <a:pt x="72" y="208"/>
                    <a:pt x="72" y="210"/>
                    <a:pt x="71" y="211"/>
                  </a:cubicBezTo>
                  <a:cubicBezTo>
                    <a:pt x="70" y="213"/>
                    <a:pt x="71" y="213"/>
                    <a:pt x="72" y="216"/>
                  </a:cubicBezTo>
                  <a:cubicBezTo>
                    <a:pt x="73" y="218"/>
                    <a:pt x="76" y="218"/>
                    <a:pt x="77" y="219"/>
                  </a:cubicBezTo>
                  <a:cubicBezTo>
                    <a:pt x="78" y="219"/>
                    <a:pt x="83" y="223"/>
                    <a:pt x="83" y="225"/>
                  </a:cubicBezTo>
                  <a:cubicBezTo>
                    <a:pt x="83" y="226"/>
                    <a:pt x="79" y="230"/>
                    <a:pt x="78" y="231"/>
                  </a:cubicBezTo>
                  <a:cubicBezTo>
                    <a:pt x="76" y="232"/>
                    <a:pt x="75" y="234"/>
                    <a:pt x="75" y="235"/>
                  </a:cubicBezTo>
                  <a:cubicBezTo>
                    <a:pt x="76" y="237"/>
                    <a:pt x="80" y="243"/>
                    <a:pt x="83" y="247"/>
                  </a:cubicBezTo>
                  <a:cubicBezTo>
                    <a:pt x="86" y="252"/>
                    <a:pt x="82" y="250"/>
                    <a:pt x="80" y="252"/>
                  </a:cubicBezTo>
                  <a:cubicBezTo>
                    <a:pt x="79" y="254"/>
                    <a:pt x="81" y="257"/>
                    <a:pt x="82" y="258"/>
                  </a:cubicBezTo>
                  <a:cubicBezTo>
                    <a:pt x="82" y="260"/>
                    <a:pt x="80" y="260"/>
                    <a:pt x="80" y="261"/>
                  </a:cubicBezTo>
                  <a:cubicBezTo>
                    <a:pt x="80" y="262"/>
                    <a:pt x="84" y="262"/>
                    <a:pt x="84" y="263"/>
                  </a:cubicBezTo>
                  <a:cubicBezTo>
                    <a:pt x="84" y="264"/>
                    <a:pt x="81" y="266"/>
                    <a:pt x="83" y="267"/>
                  </a:cubicBezTo>
                  <a:cubicBezTo>
                    <a:pt x="84" y="269"/>
                    <a:pt x="87" y="269"/>
                    <a:pt x="87" y="272"/>
                  </a:cubicBezTo>
                  <a:cubicBezTo>
                    <a:pt x="87" y="274"/>
                    <a:pt x="82" y="274"/>
                    <a:pt x="82" y="276"/>
                  </a:cubicBezTo>
                  <a:cubicBezTo>
                    <a:pt x="82" y="278"/>
                    <a:pt x="89" y="281"/>
                    <a:pt x="92" y="284"/>
                  </a:cubicBezTo>
                  <a:cubicBezTo>
                    <a:pt x="95" y="288"/>
                    <a:pt x="95" y="289"/>
                    <a:pt x="94" y="291"/>
                  </a:cubicBezTo>
                  <a:cubicBezTo>
                    <a:pt x="93" y="294"/>
                    <a:pt x="84" y="298"/>
                    <a:pt x="82" y="302"/>
                  </a:cubicBezTo>
                  <a:cubicBezTo>
                    <a:pt x="80" y="306"/>
                    <a:pt x="73" y="309"/>
                    <a:pt x="70" y="312"/>
                  </a:cubicBezTo>
                  <a:cubicBezTo>
                    <a:pt x="69" y="313"/>
                    <a:pt x="67" y="315"/>
                    <a:pt x="66" y="317"/>
                  </a:cubicBezTo>
                  <a:cubicBezTo>
                    <a:pt x="68" y="316"/>
                    <a:pt x="69" y="316"/>
                    <a:pt x="70" y="316"/>
                  </a:cubicBezTo>
                  <a:cubicBezTo>
                    <a:pt x="71" y="315"/>
                    <a:pt x="73" y="319"/>
                    <a:pt x="75" y="321"/>
                  </a:cubicBezTo>
                  <a:cubicBezTo>
                    <a:pt x="77" y="322"/>
                    <a:pt x="80" y="321"/>
                    <a:pt x="82" y="322"/>
                  </a:cubicBezTo>
                  <a:cubicBezTo>
                    <a:pt x="83" y="324"/>
                    <a:pt x="81" y="324"/>
                    <a:pt x="78" y="323"/>
                  </a:cubicBezTo>
                  <a:cubicBezTo>
                    <a:pt x="75" y="323"/>
                    <a:pt x="74" y="325"/>
                    <a:pt x="70" y="326"/>
                  </a:cubicBezTo>
                  <a:cubicBezTo>
                    <a:pt x="67" y="327"/>
                    <a:pt x="67" y="328"/>
                    <a:pt x="66" y="329"/>
                  </a:cubicBezTo>
                  <a:cubicBezTo>
                    <a:pt x="68" y="332"/>
                    <a:pt x="66" y="332"/>
                    <a:pt x="65" y="334"/>
                  </a:cubicBezTo>
                  <a:cubicBezTo>
                    <a:pt x="63" y="337"/>
                    <a:pt x="62" y="337"/>
                    <a:pt x="62" y="339"/>
                  </a:cubicBezTo>
                  <a:cubicBezTo>
                    <a:pt x="62" y="340"/>
                    <a:pt x="62" y="341"/>
                    <a:pt x="62" y="343"/>
                  </a:cubicBezTo>
                  <a:cubicBezTo>
                    <a:pt x="63" y="345"/>
                    <a:pt x="63" y="346"/>
                    <a:pt x="64" y="347"/>
                  </a:cubicBezTo>
                  <a:cubicBezTo>
                    <a:pt x="65" y="349"/>
                    <a:pt x="63" y="349"/>
                    <a:pt x="62" y="350"/>
                  </a:cubicBezTo>
                  <a:cubicBezTo>
                    <a:pt x="61" y="351"/>
                    <a:pt x="62" y="353"/>
                    <a:pt x="63" y="354"/>
                  </a:cubicBezTo>
                  <a:cubicBezTo>
                    <a:pt x="65" y="356"/>
                    <a:pt x="65" y="358"/>
                    <a:pt x="64" y="359"/>
                  </a:cubicBezTo>
                  <a:cubicBezTo>
                    <a:pt x="63" y="360"/>
                    <a:pt x="65" y="362"/>
                    <a:pt x="67" y="364"/>
                  </a:cubicBezTo>
                  <a:cubicBezTo>
                    <a:pt x="68" y="365"/>
                    <a:pt x="68" y="368"/>
                    <a:pt x="69" y="369"/>
                  </a:cubicBezTo>
                  <a:cubicBezTo>
                    <a:pt x="70" y="370"/>
                    <a:pt x="71" y="371"/>
                    <a:pt x="73" y="370"/>
                  </a:cubicBezTo>
                  <a:cubicBezTo>
                    <a:pt x="75" y="370"/>
                    <a:pt x="76" y="371"/>
                    <a:pt x="77" y="372"/>
                  </a:cubicBezTo>
                  <a:cubicBezTo>
                    <a:pt x="78" y="374"/>
                    <a:pt x="79" y="373"/>
                    <a:pt x="81" y="372"/>
                  </a:cubicBezTo>
                  <a:cubicBezTo>
                    <a:pt x="83" y="371"/>
                    <a:pt x="88" y="374"/>
                    <a:pt x="89" y="374"/>
                  </a:cubicBezTo>
                  <a:cubicBezTo>
                    <a:pt x="90" y="375"/>
                    <a:pt x="89" y="378"/>
                    <a:pt x="90" y="380"/>
                  </a:cubicBezTo>
                  <a:cubicBezTo>
                    <a:pt x="90" y="382"/>
                    <a:pt x="88" y="384"/>
                    <a:pt x="90" y="386"/>
                  </a:cubicBezTo>
                  <a:cubicBezTo>
                    <a:pt x="92" y="387"/>
                    <a:pt x="92" y="390"/>
                    <a:pt x="94" y="391"/>
                  </a:cubicBezTo>
                  <a:cubicBezTo>
                    <a:pt x="96" y="392"/>
                    <a:pt x="97" y="395"/>
                    <a:pt x="99" y="395"/>
                  </a:cubicBezTo>
                  <a:cubicBezTo>
                    <a:pt x="100" y="395"/>
                    <a:pt x="103" y="398"/>
                    <a:pt x="103" y="399"/>
                  </a:cubicBezTo>
                  <a:cubicBezTo>
                    <a:pt x="104" y="401"/>
                    <a:pt x="101" y="402"/>
                    <a:pt x="99" y="403"/>
                  </a:cubicBezTo>
                  <a:cubicBezTo>
                    <a:pt x="98" y="404"/>
                    <a:pt x="95" y="401"/>
                    <a:pt x="93" y="402"/>
                  </a:cubicBezTo>
                  <a:cubicBezTo>
                    <a:pt x="92" y="403"/>
                    <a:pt x="94" y="406"/>
                    <a:pt x="95" y="410"/>
                  </a:cubicBezTo>
                  <a:cubicBezTo>
                    <a:pt x="96" y="413"/>
                    <a:pt x="96" y="414"/>
                    <a:pt x="98" y="414"/>
                  </a:cubicBezTo>
                  <a:cubicBezTo>
                    <a:pt x="100" y="414"/>
                    <a:pt x="101" y="413"/>
                    <a:pt x="102" y="412"/>
                  </a:cubicBezTo>
                  <a:cubicBezTo>
                    <a:pt x="103" y="411"/>
                    <a:pt x="106" y="412"/>
                    <a:pt x="107" y="412"/>
                  </a:cubicBezTo>
                  <a:cubicBezTo>
                    <a:pt x="108" y="411"/>
                    <a:pt x="113" y="411"/>
                    <a:pt x="114" y="412"/>
                  </a:cubicBezTo>
                  <a:cubicBezTo>
                    <a:pt x="115" y="414"/>
                    <a:pt x="116" y="417"/>
                    <a:pt x="115" y="418"/>
                  </a:cubicBezTo>
                  <a:cubicBezTo>
                    <a:pt x="114" y="420"/>
                    <a:pt x="116" y="421"/>
                    <a:pt x="117" y="423"/>
                  </a:cubicBezTo>
                  <a:cubicBezTo>
                    <a:pt x="118" y="425"/>
                    <a:pt x="121" y="424"/>
                    <a:pt x="123" y="424"/>
                  </a:cubicBezTo>
                  <a:cubicBezTo>
                    <a:pt x="124" y="425"/>
                    <a:pt x="127" y="429"/>
                    <a:pt x="126" y="431"/>
                  </a:cubicBezTo>
                  <a:cubicBezTo>
                    <a:pt x="126" y="432"/>
                    <a:pt x="128" y="433"/>
                    <a:pt x="129" y="432"/>
                  </a:cubicBezTo>
                  <a:cubicBezTo>
                    <a:pt x="130" y="432"/>
                    <a:pt x="132" y="433"/>
                    <a:pt x="133" y="434"/>
                  </a:cubicBezTo>
                  <a:cubicBezTo>
                    <a:pt x="134" y="435"/>
                    <a:pt x="136" y="434"/>
                    <a:pt x="137" y="434"/>
                  </a:cubicBezTo>
                  <a:cubicBezTo>
                    <a:pt x="139" y="433"/>
                    <a:pt x="141" y="432"/>
                    <a:pt x="142" y="433"/>
                  </a:cubicBezTo>
                  <a:cubicBezTo>
                    <a:pt x="142" y="434"/>
                    <a:pt x="145" y="437"/>
                    <a:pt x="145" y="438"/>
                  </a:cubicBezTo>
                  <a:cubicBezTo>
                    <a:pt x="145" y="438"/>
                    <a:pt x="150" y="438"/>
                    <a:pt x="152" y="439"/>
                  </a:cubicBezTo>
                  <a:cubicBezTo>
                    <a:pt x="154" y="440"/>
                    <a:pt x="156" y="439"/>
                    <a:pt x="159" y="440"/>
                  </a:cubicBezTo>
                  <a:cubicBezTo>
                    <a:pt x="161" y="442"/>
                    <a:pt x="163" y="442"/>
                    <a:pt x="163" y="443"/>
                  </a:cubicBezTo>
                  <a:cubicBezTo>
                    <a:pt x="163" y="445"/>
                    <a:pt x="161" y="446"/>
                    <a:pt x="161" y="447"/>
                  </a:cubicBezTo>
                  <a:cubicBezTo>
                    <a:pt x="161" y="447"/>
                    <a:pt x="163" y="448"/>
                    <a:pt x="163" y="449"/>
                  </a:cubicBezTo>
                  <a:cubicBezTo>
                    <a:pt x="163" y="450"/>
                    <a:pt x="160" y="450"/>
                    <a:pt x="160" y="451"/>
                  </a:cubicBezTo>
                  <a:cubicBezTo>
                    <a:pt x="160" y="452"/>
                    <a:pt x="161" y="453"/>
                    <a:pt x="162" y="454"/>
                  </a:cubicBezTo>
                  <a:cubicBezTo>
                    <a:pt x="162" y="455"/>
                    <a:pt x="160" y="458"/>
                    <a:pt x="160" y="459"/>
                  </a:cubicBezTo>
                  <a:cubicBezTo>
                    <a:pt x="160" y="460"/>
                    <a:pt x="155" y="459"/>
                    <a:pt x="154" y="459"/>
                  </a:cubicBezTo>
                  <a:cubicBezTo>
                    <a:pt x="152" y="459"/>
                    <a:pt x="149" y="463"/>
                    <a:pt x="147" y="463"/>
                  </a:cubicBezTo>
                  <a:cubicBezTo>
                    <a:pt x="146" y="463"/>
                    <a:pt x="147" y="465"/>
                    <a:pt x="147" y="467"/>
                  </a:cubicBezTo>
                  <a:cubicBezTo>
                    <a:pt x="151" y="466"/>
                    <a:pt x="155" y="466"/>
                    <a:pt x="156" y="466"/>
                  </a:cubicBezTo>
                  <a:cubicBezTo>
                    <a:pt x="156" y="468"/>
                    <a:pt x="147" y="472"/>
                    <a:pt x="146" y="472"/>
                  </a:cubicBezTo>
                  <a:cubicBezTo>
                    <a:pt x="144" y="473"/>
                    <a:pt x="149" y="475"/>
                    <a:pt x="149" y="477"/>
                  </a:cubicBezTo>
                  <a:cubicBezTo>
                    <a:pt x="149" y="478"/>
                    <a:pt x="143" y="479"/>
                    <a:pt x="144" y="481"/>
                  </a:cubicBezTo>
                  <a:cubicBezTo>
                    <a:pt x="144" y="484"/>
                    <a:pt x="142" y="485"/>
                    <a:pt x="139" y="485"/>
                  </a:cubicBezTo>
                  <a:cubicBezTo>
                    <a:pt x="137" y="485"/>
                    <a:pt x="136" y="487"/>
                    <a:pt x="137" y="487"/>
                  </a:cubicBezTo>
                  <a:cubicBezTo>
                    <a:pt x="139" y="487"/>
                    <a:pt x="139" y="491"/>
                    <a:pt x="144" y="492"/>
                  </a:cubicBezTo>
                  <a:cubicBezTo>
                    <a:pt x="149" y="493"/>
                    <a:pt x="154" y="498"/>
                    <a:pt x="159" y="503"/>
                  </a:cubicBezTo>
                  <a:cubicBezTo>
                    <a:pt x="159" y="503"/>
                    <a:pt x="160" y="504"/>
                    <a:pt x="161" y="504"/>
                  </a:cubicBezTo>
                  <a:cubicBezTo>
                    <a:pt x="162" y="504"/>
                    <a:pt x="163" y="503"/>
                    <a:pt x="164" y="503"/>
                  </a:cubicBezTo>
                  <a:cubicBezTo>
                    <a:pt x="166" y="503"/>
                    <a:pt x="171" y="504"/>
                    <a:pt x="173" y="506"/>
                  </a:cubicBezTo>
                  <a:cubicBezTo>
                    <a:pt x="176" y="508"/>
                    <a:pt x="185" y="505"/>
                    <a:pt x="186" y="507"/>
                  </a:cubicBezTo>
                  <a:cubicBezTo>
                    <a:pt x="187" y="508"/>
                    <a:pt x="189" y="510"/>
                    <a:pt x="191" y="510"/>
                  </a:cubicBezTo>
                  <a:cubicBezTo>
                    <a:pt x="193" y="510"/>
                    <a:pt x="194" y="514"/>
                    <a:pt x="196" y="513"/>
                  </a:cubicBezTo>
                  <a:cubicBezTo>
                    <a:pt x="197" y="512"/>
                    <a:pt x="203" y="512"/>
                    <a:pt x="204" y="512"/>
                  </a:cubicBezTo>
                  <a:cubicBezTo>
                    <a:pt x="205" y="512"/>
                    <a:pt x="205" y="513"/>
                    <a:pt x="207" y="513"/>
                  </a:cubicBezTo>
                  <a:cubicBezTo>
                    <a:pt x="208" y="513"/>
                    <a:pt x="208" y="518"/>
                    <a:pt x="209" y="518"/>
                  </a:cubicBezTo>
                  <a:cubicBezTo>
                    <a:pt x="210" y="517"/>
                    <a:pt x="214" y="521"/>
                    <a:pt x="217" y="521"/>
                  </a:cubicBezTo>
                  <a:cubicBezTo>
                    <a:pt x="219" y="522"/>
                    <a:pt x="222" y="526"/>
                    <a:pt x="223" y="525"/>
                  </a:cubicBezTo>
                  <a:cubicBezTo>
                    <a:pt x="224" y="525"/>
                    <a:pt x="226" y="527"/>
                    <a:pt x="226" y="525"/>
                  </a:cubicBezTo>
                  <a:cubicBezTo>
                    <a:pt x="227" y="524"/>
                    <a:pt x="231" y="525"/>
                    <a:pt x="232" y="522"/>
                  </a:cubicBezTo>
                  <a:cubicBezTo>
                    <a:pt x="227" y="516"/>
                    <a:pt x="222" y="510"/>
                    <a:pt x="222" y="508"/>
                  </a:cubicBezTo>
                  <a:cubicBezTo>
                    <a:pt x="223" y="504"/>
                    <a:pt x="224" y="501"/>
                    <a:pt x="219" y="497"/>
                  </a:cubicBezTo>
                  <a:cubicBezTo>
                    <a:pt x="214" y="492"/>
                    <a:pt x="220" y="490"/>
                    <a:pt x="223" y="485"/>
                  </a:cubicBezTo>
                  <a:cubicBezTo>
                    <a:pt x="227" y="481"/>
                    <a:pt x="233" y="479"/>
                    <a:pt x="238" y="476"/>
                  </a:cubicBezTo>
                  <a:cubicBezTo>
                    <a:pt x="237" y="476"/>
                    <a:pt x="236" y="475"/>
                    <a:pt x="235" y="475"/>
                  </a:cubicBezTo>
                  <a:cubicBezTo>
                    <a:pt x="232" y="473"/>
                    <a:pt x="231" y="472"/>
                    <a:pt x="233" y="471"/>
                  </a:cubicBezTo>
                  <a:cubicBezTo>
                    <a:pt x="236" y="471"/>
                    <a:pt x="235" y="469"/>
                    <a:pt x="232" y="466"/>
                  </a:cubicBezTo>
                  <a:cubicBezTo>
                    <a:pt x="230" y="463"/>
                    <a:pt x="229" y="461"/>
                    <a:pt x="227" y="461"/>
                  </a:cubicBezTo>
                  <a:cubicBezTo>
                    <a:pt x="226" y="461"/>
                    <a:pt x="224" y="460"/>
                    <a:pt x="221" y="461"/>
                  </a:cubicBezTo>
                  <a:cubicBezTo>
                    <a:pt x="219" y="462"/>
                    <a:pt x="220" y="459"/>
                    <a:pt x="220" y="457"/>
                  </a:cubicBezTo>
                  <a:cubicBezTo>
                    <a:pt x="220" y="454"/>
                    <a:pt x="216" y="454"/>
                    <a:pt x="215" y="453"/>
                  </a:cubicBezTo>
                  <a:cubicBezTo>
                    <a:pt x="215" y="452"/>
                    <a:pt x="217" y="449"/>
                    <a:pt x="217" y="448"/>
                  </a:cubicBezTo>
                  <a:cubicBezTo>
                    <a:pt x="218" y="448"/>
                    <a:pt x="220" y="447"/>
                    <a:pt x="220" y="446"/>
                  </a:cubicBezTo>
                  <a:cubicBezTo>
                    <a:pt x="220" y="445"/>
                    <a:pt x="216" y="444"/>
                    <a:pt x="218" y="442"/>
                  </a:cubicBezTo>
                  <a:cubicBezTo>
                    <a:pt x="219" y="439"/>
                    <a:pt x="222" y="439"/>
                    <a:pt x="222" y="437"/>
                  </a:cubicBezTo>
                  <a:cubicBezTo>
                    <a:pt x="222" y="434"/>
                    <a:pt x="224" y="432"/>
                    <a:pt x="226" y="434"/>
                  </a:cubicBezTo>
                  <a:cubicBezTo>
                    <a:pt x="229" y="436"/>
                    <a:pt x="230" y="441"/>
                    <a:pt x="233" y="439"/>
                  </a:cubicBezTo>
                  <a:cubicBezTo>
                    <a:pt x="236" y="438"/>
                    <a:pt x="234" y="436"/>
                    <a:pt x="234" y="434"/>
                  </a:cubicBezTo>
                  <a:cubicBezTo>
                    <a:pt x="233" y="433"/>
                    <a:pt x="233" y="431"/>
                    <a:pt x="236" y="430"/>
                  </a:cubicBezTo>
                  <a:cubicBezTo>
                    <a:pt x="239" y="429"/>
                    <a:pt x="238" y="426"/>
                    <a:pt x="240" y="426"/>
                  </a:cubicBezTo>
                  <a:cubicBezTo>
                    <a:pt x="243" y="426"/>
                    <a:pt x="247" y="423"/>
                    <a:pt x="249" y="422"/>
                  </a:cubicBezTo>
                  <a:cubicBezTo>
                    <a:pt x="250" y="422"/>
                    <a:pt x="253" y="420"/>
                    <a:pt x="255" y="421"/>
                  </a:cubicBezTo>
                  <a:cubicBezTo>
                    <a:pt x="256" y="421"/>
                    <a:pt x="258" y="423"/>
                    <a:pt x="259" y="421"/>
                  </a:cubicBezTo>
                  <a:cubicBezTo>
                    <a:pt x="260" y="418"/>
                    <a:pt x="264" y="419"/>
                    <a:pt x="265" y="421"/>
                  </a:cubicBezTo>
                  <a:cubicBezTo>
                    <a:pt x="265" y="422"/>
                    <a:pt x="272" y="422"/>
                    <a:pt x="274" y="423"/>
                  </a:cubicBezTo>
                  <a:cubicBezTo>
                    <a:pt x="276" y="425"/>
                    <a:pt x="281" y="428"/>
                    <a:pt x="281" y="429"/>
                  </a:cubicBezTo>
                  <a:cubicBezTo>
                    <a:pt x="281" y="431"/>
                    <a:pt x="283" y="433"/>
                    <a:pt x="283" y="430"/>
                  </a:cubicBezTo>
                  <a:cubicBezTo>
                    <a:pt x="283" y="428"/>
                    <a:pt x="285" y="428"/>
                    <a:pt x="287" y="430"/>
                  </a:cubicBezTo>
                  <a:cubicBezTo>
                    <a:pt x="290" y="432"/>
                    <a:pt x="294" y="431"/>
                    <a:pt x="295" y="429"/>
                  </a:cubicBezTo>
                  <a:cubicBezTo>
                    <a:pt x="296" y="428"/>
                    <a:pt x="301" y="426"/>
                    <a:pt x="303" y="427"/>
                  </a:cubicBezTo>
                  <a:cubicBezTo>
                    <a:pt x="305" y="428"/>
                    <a:pt x="305" y="429"/>
                    <a:pt x="307" y="427"/>
                  </a:cubicBezTo>
                  <a:cubicBezTo>
                    <a:pt x="310" y="425"/>
                    <a:pt x="315" y="426"/>
                    <a:pt x="315" y="428"/>
                  </a:cubicBezTo>
                  <a:cubicBezTo>
                    <a:pt x="316" y="430"/>
                    <a:pt x="319" y="430"/>
                    <a:pt x="321" y="430"/>
                  </a:cubicBezTo>
                  <a:cubicBezTo>
                    <a:pt x="323" y="430"/>
                    <a:pt x="323" y="433"/>
                    <a:pt x="325" y="433"/>
                  </a:cubicBezTo>
                  <a:cubicBezTo>
                    <a:pt x="326" y="432"/>
                    <a:pt x="326" y="428"/>
                    <a:pt x="327" y="429"/>
                  </a:cubicBezTo>
                  <a:cubicBezTo>
                    <a:pt x="329" y="429"/>
                    <a:pt x="331" y="431"/>
                    <a:pt x="333" y="431"/>
                  </a:cubicBezTo>
                  <a:cubicBezTo>
                    <a:pt x="336" y="431"/>
                    <a:pt x="338" y="431"/>
                    <a:pt x="338" y="428"/>
                  </a:cubicBezTo>
                  <a:cubicBezTo>
                    <a:pt x="338" y="426"/>
                    <a:pt x="338" y="423"/>
                    <a:pt x="336" y="423"/>
                  </a:cubicBezTo>
                  <a:cubicBezTo>
                    <a:pt x="335" y="423"/>
                    <a:pt x="333" y="421"/>
                    <a:pt x="331" y="421"/>
                  </a:cubicBezTo>
                  <a:cubicBezTo>
                    <a:pt x="329" y="421"/>
                    <a:pt x="326" y="417"/>
                    <a:pt x="329" y="417"/>
                  </a:cubicBezTo>
                  <a:cubicBezTo>
                    <a:pt x="331" y="416"/>
                    <a:pt x="334" y="414"/>
                    <a:pt x="333" y="412"/>
                  </a:cubicBezTo>
                  <a:cubicBezTo>
                    <a:pt x="333" y="411"/>
                    <a:pt x="332" y="407"/>
                    <a:pt x="335" y="407"/>
                  </a:cubicBezTo>
                  <a:cubicBezTo>
                    <a:pt x="338" y="406"/>
                    <a:pt x="344" y="406"/>
                    <a:pt x="343" y="405"/>
                  </a:cubicBezTo>
                  <a:cubicBezTo>
                    <a:pt x="343" y="404"/>
                    <a:pt x="337" y="403"/>
                    <a:pt x="336" y="402"/>
                  </a:cubicBezTo>
                  <a:cubicBezTo>
                    <a:pt x="335" y="400"/>
                    <a:pt x="335" y="396"/>
                    <a:pt x="336" y="395"/>
                  </a:cubicBezTo>
                  <a:cubicBezTo>
                    <a:pt x="337" y="394"/>
                    <a:pt x="341" y="395"/>
                    <a:pt x="343" y="395"/>
                  </a:cubicBezTo>
                  <a:cubicBezTo>
                    <a:pt x="345" y="394"/>
                    <a:pt x="350" y="396"/>
                    <a:pt x="352" y="393"/>
                  </a:cubicBezTo>
                  <a:cubicBezTo>
                    <a:pt x="355" y="391"/>
                    <a:pt x="361" y="391"/>
                    <a:pt x="365" y="391"/>
                  </a:cubicBezTo>
                  <a:cubicBezTo>
                    <a:pt x="368" y="391"/>
                    <a:pt x="370" y="389"/>
                    <a:pt x="373" y="388"/>
                  </a:cubicBezTo>
                  <a:cubicBezTo>
                    <a:pt x="375" y="388"/>
                    <a:pt x="382" y="387"/>
                    <a:pt x="384" y="386"/>
                  </a:cubicBezTo>
                  <a:cubicBezTo>
                    <a:pt x="386" y="386"/>
                    <a:pt x="396" y="384"/>
                    <a:pt x="396" y="382"/>
                  </a:cubicBezTo>
                  <a:cubicBezTo>
                    <a:pt x="396" y="381"/>
                    <a:pt x="404" y="379"/>
                    <a:pt x="406" y="380"/>
                  </a:cubicBezTo>
                  <a:cubicBezTo>
                    <a:pt x="408" y="381"/>
                    <a:pt x="410" y="382"/>
                    <a:pt x="412" y="381"/>
                  </a:cubicBezTo>
                  <a:cubicBezTo>
                    <a:pt x="414" y="380"/>
                    <a:pt x="418" y="382"/>
                    <a:pt x="417" y="384"/>
                  </a:cubicBezTo>
                  <a:cubicBezTo>
                    <a:pt x="417" y="386"/>
                    <a:pt x="419" y="388"/>
                    <a:pt x="419" y="390"/>
                  </a:cubicBezTo>
                  <a:cubicBezTo>
                    <a:pt x="419" y="392"/>
                    <a:pt x="417" y="392"/>
                    <a:pt x="418" y="393"/>
                  </a:cubicBezTo>
                  <a:cubicBezTo>
                    <a:pt x="419" y="395"/>
                    <a:pt x="424" y="394"/>
                    <a:pt x="425" y="392"/>
                  </a:cubicBezTo>
                  <a:cubicBezTo>
                    <a:pt x="427" y="390"/>
                    <a:pt x="428" y="393"/>
                    <a:pt x="428" y="394"/>
                  </a:cubicBezTo>
                  <a:cubicBezTo>
                    <a:pt x="428" y="395"/>
                    <a:pt x="431" y="396"/>
                    <a:pt x="431" y="395"/>
                  </a:cubicBezTo>
                  <a:cubicBezTo>
                    <a:pt x="431" y="393"/>
                    <a:pt x="433" y="394"/>
                    <a:pt x="434" y="395"/>
                  </a:cubicBezTo>
                  <a:cubicBezTo>
                    <a:pt x="435" y="396"/>
                    <a:pt x="439" y="394"/>
                    <a:pt x="439" y="396"/>
                  </a:cubicBezTo>
                  <a:cubicBezTo>
                    <a:pt x="439" y="397"/>
                    <a:pt x="434" y="399"/>
                    <a:pt x="436" y="401"/>
                  </a:cubicBezTo>
                  <a:cubicBezTo>
                    <a:pt x="438" y="403"/>
                    <a:pt x="439" y="398"/>
                    <a:pt x="442" y="399"/>
                  </a:cubicBezTo>
                  <a:cubicBezTo>
                    <a:pt x="444" y="400"/>
                    <a:pt x="448" y="396"/>
                    <a:pt x="450" y="396"/>
                  </a:cubicBezTo>
                  <a:cubicBezTo>
                    <a:pt x="453" y="395"/>
                    <a:pt x="456" y="393"/>
                    <a:pt x="458" y="392"/>
                  </a:cubicBezTo>
                  <a:cubicBezTo>
                    <a:pt x="460" y="390"/>
                    <a:pt x="465" y="391"/>
                    <a:pt x="463" y="392"/>
                  </a:cubicBezTo>
                  <a:cubicBezTo>
                    <a:pt x="462" y="394"/>
                    <a:pt x="460" y="396"/>
                    <a:pt x="465" y="398"/>
                  </a:cubicBezTo>
                  <a:cubicBezTo>
                    <a:pt x="471" y="400"/>
                    <a:pt x="477" y="411"/>
                    <a:pt x="480" y="416"/>
                  </a:cubicBezTo>
                  <a:cubicBezTo>
                    <a:pt x="484" y="421"/>
                    <a:pt x="487" y="430"/>
                    <a:pt x="489" y="430"/>
                  </a:cubicBezTo>
                  <a:cubicBezTo>
                    <a:pt x="490" y="430"/>
                    <a:pt x="491" y="426"/>
                    <a:pt x="493" y="425"/>
                  </a:cubicBezTo>
                  <a:cubicBezTo>
                    <a:pt x="496" y="425"/>
                    <a:pt x="497" y="429"/>
                    <a:pt x="500" y="429"/>
                  </a:cubicBezTo>
                  <a:cubicBezTo>
                    <a:pt x="502" y="430"/>
                    <a:pt x="505" y="431"/>
                    <a:pt x="507" y="431"/>
                  </a:cubicBezTo>
                  <a:cubicBezTo>
                    <a:pt x="509" y="430"/>
                    <a:pt x="514" y="428"/>
                    <a:pt x="515" y="428"/>
                  </a:cubicBezTo>
                  <a:cubicBezTo>
                    <a:pt x="517" y="429"/>
                    <a:pt x="519" y="429"/>
                    <a:pt x="521" y="433"/>
                  </a:cubicBezTo>
                  <a:cubicBezTo>
                    <a:pt x="522" y="436"/>
                    <a:pt x="524" y="437"/>
                    <a:pt x="526" y="437"/>
                  </a:cubicBezTo>
                  <a:cubicBezTo>
                    <a:pt x="527" y="437"/>
                    <a:pt x="527" y="438"/>
                    <a:pt x="527" y="440"/>
                  </a:cubicBezTo>
                  <a:cubicBezTo>
                    <a:pt x="527" y="441"/>
                    <a:pt x="530" y="443"/>
                    <a:pt x="531" y="443"/>
                  </a:cubicBezTo>
                  <a:cubicBezTo>
                    <a:pt x="533" y="443"/>
                    <a:pt x="537" y="443"/>
                    <a:pt x="538" y="442"/>
                  </a:cubicBezTo>
                  <a:cubicBezTo>
                    <a:pt x="539" y="441"/>
                    <a:pt x="540" y="441"/>
                    <a:pt x="541" y="442"/>
                  </a:cubicBezTo>
                  <a:cubicBezTo>
                    <a:pt x="541" y="444"/>
                    <a:pt x="543" y="446"/>
                    <a:pt x="544" y="446"/>
                  </a:cubicBezTo>
                  <a:cubicBezTo>
                    <a:pt x="546" y="446"/>
                    <a:pt x="549" y="448"/>
                    <a:pt x="549" y="446"/>
                  </a:cubicBezTo>
                  <a:cubicBezTo>
                    <a:pt x="549" y="445"/>
                    <a:pt x="553" y="445"/>
                    <a:pt x="554" y="444"/>
                  </a:cubicBezTo>
                  <a:cubicBezTo>
                    <a:pt x="556" y="444"/>
                    <a:pt x="561" y="443"/>
                    <a:pt x="562" y="441"/>
                  </a:cubicBezTo>
                  <a:cubicBezTo>
                    <a:pt x="563" y="439"/>
                    <a:pt x="567" y="439"/>
                    <a:pt x="568" y="437"/>
                  </a:cubicBezTo>
                  <a:cubicBezTo>
                    <a:pt x="569" y="436"/>
                    <a:pt x="572" y="435"/>
                    <a:pt x="573" y="434"/>
                  </a:cubicBezTo>
                  <a:cubicBezTo>
                    <a:pt x="574" y="432"/>
                    <a:pt x="578" y="433"/>
                    <a:pt x="579" y="432"/>
                  </a:cubicBezTo>
                  <a:cubicBezTo>
                    <a:pt x="579" y="430"/>
                    <a:pt x="583" y="430"/>
                    <a:pt x="584" y="431"/>
                  </a:cubicBezTo>
                  <a:cubicBezTo>
                    <a:pt x="586" y="431"/>
                    <a:pt x="594" y="433"/>
                    <a:pt x="596" y="432"/>
                  </a:cubicBezTo>
                  <a:cubicBezTo>
                    <a:pt x="597" y="432"/>
                    <a:pt x="597" y="437"/>
                    <a:pt x="598" y="437"/>
                  </a:cubicBezTo>
                  <a:cubicBezTo>
                    <a:pt x="599" y="437"/>
                    <a:pt x="604" y="441"/>
                    <a:pt x="605" y="440"/>
                  </a:cubicBezTo>
                  <a:cubicBezTo>
                    <a:pt x="606" y="439"/>
                    <a:pt x="609" y="438"/>
                    <a:pt x="611" y="439"/>
                  </a:cubicBezTo>
                  <a:cubicBezTo>
                    <a:pt x="614" y="441"/>
                    <a:pt x="616" y="442"/>
                    <a:pt x="617" y="441"/>
                  </a:cubicBezTo>
                  <a:cubicBezTo>
                    <a:pt x="618" y="439"/>
                    <a:pt x="623" y="438"/>
                    <a:pt x="624" y="437"/>
                  </a:cubicBezTo>
                  <a:cubicBezTo>
                    <a:pt x="624" y="437"/>
                    <a:pt x="625" y="434"/>
                    <a:pt x="624" y="433"/>
                  </a:cubicBezTo>
                  <a:cubicBezTo>
                    <a:pt x="623" y="432"/>
                    <a:pt x="621" y="428"/>
                    <a:pt x="621" y="426"/>
                  </a:cubicBezTo>
                  <a:cubicBezTo>
                    <a:pt x="621" y="424"/>
                    <a:pt x="624" y="424"/>
                    <a:pt x="624" y="422"/>
                  </a:cubicBezTo>
                  <a:cubicBezTo>
                    <a:pt x="625" y="420"/>
                    <a:pt x="628" y="420"/>
                    <a:pt x="629" y="419"/>
                  </a:cubicBezTo>
                  <a:cubicBezTo>
                    <a:pt x="630" y="418"/>
                    <a:pt x="630" y="416"/>
                    <a:pt x="631" y="417"/>
                  </a:cubicBezTo>
                  <a:cubicBezTo>
                    <a:pt x="633" y="417"/>
                    <a:pt x="637" y="418"/>
                    <a:pt x="637" y="419"/>
                  </a:cubicBezTo>
                  <a:cubicBezTo>
                    <a:pt x="638" y="420"/>
                    <a:pt x="641" y="420"/>
                    <a:pt x="642" y="420"/>
                  </a:cubicBezTo>
                  <a:cubicBezTo>
                    <a:pt x="644" y="420"/>
                    <a:pt x="647" y="422"/>
                    <a:pt x="648" y="422"/>
                  </a:cubicBezTo>
                  <a:cubicBezTo>
                    <a:pt x="650" y="423"/>
                    <a:pt x="655" y="423"/>
                    <a:pt x="656" y="425"/>
                  </a:cubicBezTo>
                  <a:cubicBezTo>
                    <a:pt x="657" y="426"/>
                    <a:pt x="656" y="430"/>
                    <a:pt x="657" y="432"/>
                  </a:cubicBezTo>
                  <a:cubicBezTo>
                    <a:pt x="658" y="433"/>
                    <a:pt x="661" y="436"/>
                    <a:pt x="662" y="436"/>
                  </a:cubicBezTo>
                  <a:cubicBezTo>
                    <a:pt x="663" y="435"/>
                    <a:pt x="668" y="438"/>
                    <a:pt x="669" y="438"/>
                  </a:cubicBezTo>
                  <a:cubicBezTo>
                    <a:pt x="671" y="437"/>
                    <a:pt x="674" y="435"/>
                    <a:pt x="675" y="435"/>
                  </a:cubicBezTo>
                  <a:cubicBezTo>
                    <a:pt x="676" y="435"/>
                    <a:pt x="681" y="434"/>
                    <a:pt x="682" y="434"/>
                  </a:cubicBezTo>
                  <a:cubicBezTo>
                    <a:pt x="684" y="434"/>
                    <a:pt x="689" y="436"/>
                    <a:pt x="690" y="436"/>
                  </a:cubicBezTo>
                  <a:cubicBezTo>
                    <a:pt x="690" y="435"/>
                    <a:pt x="695" y="436"/>
                    <a:pt x="696" y="437"/>
                  </a:cubicBezTo>
                  <a:cubicBezTo>
                    <a:pt x="697" y="439"/>
                    <a:pt x="703" y="439"/>
                    <a:pt x="703" y="440"/>
                  </a:cubicBezTo>
                  <a:cubicBezTo>
                    <a:pt x="703" y="442"/>
                    <a:pt x="706" y="443"/>
                    <a:pt x="707" y="445"/>
                  </a:cubicBezTo>
                  <a:cubicBezTo>
                    <a:pt x="708" y="447"/>
                    <a:pt x="716" y="446"/>
                    <a:pt x="717" y="447"/>
                  </a:cubicBezTo>
                  <a:cubicBezTo>
                    <a:pt x="718" y="448"/>
                    <a:pt x="728" y="448"/>
                    <a:pt x="728" y="447"/>
                  </a:cubicBezTo>
                  <a:cubicBezTo>
                    <a:pt x="728" y="446"/>
                    <a:pt x="737" y="445"/>
                    <a:pt x="738" y="444"/>
                  </a:cubicBezTo>
                  <a:cubicBezTo>
                    <a:pt x="740" y="443"/>
                    <a:pt x="744" y="443"/>
                    <a:pt x="745" y="442"/>
                  </a:cubicBezTo>
                  <a:cubicBezTo>
                    <a:pt x="745" y="440"/>
                    <a:pt x="749" y="439"/>
                    <a:pt x="751" y="437"/>
                  </a:cubicBezTo>
                  <a:cubicBezTo>
                    <a:pt x="753" y="436"/>
                    <a:pt x="761" y="436"/>
                    <a:pt x="761" y="438"/>
                  </a:cubicBezTo>
                  <a:cubicBezTo>
                    <a:pt x="762" y="440"/>
                    <a:pt x="766" y="440"/>
                    <a:pt x="768" y="439"/>
                  </a:cubicBezTo>
                  <a:cubicBezTo>
                    <a:pt x="770" y="439"/>
                    <a:pt x="775" y="440"/>
                    <a:pt x="776" y="441"/>
                  </a:cubicBezTo>
                  <a:cubicBezTo>
                    <a:pt x="776" y="443"/>
                    <a:pt x="782" y="444"/>
                    <a:pt x="783" y="443"/>
                  </a:cubicBezTo>
                  <a:cubicBezTo>
                    <a:pt x="785" y="443"/>
                    <a:pt x="789" y="440"/>
                    <a:pt x="791" y="439"/>
                  </a:cubicBezTo>
                  <a:cubicBezTo>
                    <a:pt x="793" y="439"/>
                    <a:pt x="795" y="437"/>
                    <a:pt x="795" y="436"/>
                  </a:cubicBezTo>
                  <a:cubicBezTo>
                    <a:pt x="794" y="434"/>
                    <a:pt x="798" y="429"/>
                    <a:pt x="798" y="427"/>
                  </a:cubicBezTo>
                  <a:cubicBezTo>
                    <a:pt x="799" y="426"/>
                    <a:pt x="802" y="420"/>
                    <a:pt x="803" y="420"/>
                  </a:cubicBezTo>
                  <a:cubicBezTo>
                    <a:pt x="805" y="419"/>
                    <a:pt x="807" y="417"/>
                    <a:pt x="807" y="416"/>
                  </a:cubicBezTo>
                  <a:cubicBezTo>
                    <a:pt x="807" y="414"/>
                    <a:pt x="806" y="410"/>
                    <a:pt x="805" y="410"/>
                  </a:cubicBezTo>
                  <a:cubicBezTo>
                    <a:pt x="803" y="410"/>
                    <a:pt x="801" y="410"/>
                    <a:pt x="804" y="406"/>
                  </a:cubicBezTo>
                  <a:cubicBezTo>
                    <a:pt x="807" y="401"/>
                    <a:pt x="813" y="403"/>
                    <a:pt x="814" y="403"/>
                  </a:cubicBezTo>
                  <a:cubicBezTo>
                    <a:pt x="815" y="403"/>
                    <a:pt x="823" y="401"/>
                    <a:pt x="826" y="402"/>
                  </a:cubicBezTo>
                  <a:cubicBezTo>
                    <a:pt x="829" y="403"/>
                    <a:pt x="831" y="401"/>
                    <a:pt x="835" y="403"/>
                  </a:cubicBezTo>
                  <a:cubicBezTo>
                    <a:pt x="839" y="405"/>
                    <a:pt x="844" y="404"/>
                    <a:pt x="845" y="406"/>
                  </a:cubicBezTo>
                  <a:cubicBezTo>
                    <a:pt x="846" y="408"/>
                    <a:pt x="851" y="409"/>
                    <a:pt x="850" y="412"/>
                  </a:cubicBezTo>
                  <a:cubicBezTo>
                    <a:pt x="849" y="415"/>
                    <a:pt x="853" y="413"/>
                    <a:pt x="854" y="419"/>
                  </a:cubicBezTo>
                  <a:cubicBezTo>
                    <a:pt x="855" y="425"/>
                    <a:pt x="858" y="426"/>
                    <a:pt x="859" y="429"/>
                  </a:cubicBezTo>
                  <a:cubicBezTo>
                    <a:pt x="859" y="432"/>
                    <a:pt x="863" y="437"/>
                    <a:pt x="863" y="438"/>
                  </a:cubicBezTo>
                  <a:cubicBezTo>
                    <a:pt x="862" y="440"/>
                    <a:pt x="862" y="443"/>
                    <a:pt x="866" y="443"/>
                  </a:cubicBezTo>
                  <a:cubicBezTo>
                    <a:pt x="870" y="443"/>
                    <a:pt x="873" y="446"/>
                    <a:pt x="874" y="446"/>
                  </a:cubicBezTo>
                  <a:cubicBezTo>
                    <a:pt x="874" y="445"/>
                    <a:pt x="879" y="447"/>
                    <a:pt x="882" y="449"/>
                  </a:cubicBezTo>
                  <a:cubicBezTo>
                    <a:pt x="884" y="452"/>
                    <a:pt x="888" y="451"/>
                    <a:pt x="887" y="453"/>
                  </a:cubicBezTo>
                  <a:cubicBezTo>
                    <a:pt x="887" y="456"/>
                    <a:pt x="889" y="458"/>
                    <a:pt x="889" y="460"/>
                  </a:cubicBezTo>
                  <a:cubicBezTo>
                    <a:pt x="889" y="462"/>
                    <a:pt x="894" y="464"/>
                    <a:pt x="897" y="463"/>
                  </a:cubicBezTo>
                  <a:cubicBezTo>
                    <a:pt x="900" y="463"/>
                    <a:pt x="903" y="464"/>
                    <a:pt x="904" y="461"/>
                  </a:cubicBezTo>
                  <a:cubicBezTo>
                    <a:pt x="905" y="459"/>
                    <a:pt x="910" y="460"/>
                    <a:pt x="912" y="459"/>
                  </a:cubicBezTo>
                  <a:cubicBezTo>
                    <a:pt x="913" y="457"/>
                    <a:pt x="918" y="456"/>
                    <a:pt x="918" y="460"/>
                  </a:cubicBezTo>
                  <a:cubicBezTo>
                    <a:pt x="918" y="465"/>
                    <a:pt x="921" y="466"/>
                    <a:pt x="918" y="467"/>
                  </a:cubicBezTo>
                  <a:cubicBezTo>
                    <a:pt x="916" y="468"/>
                    <a:pt x="915" y="475"/>
                    <a:pt x="914" y="477"/>
                  </a:cubicBezTo>
                  <a:cubicBezTo>
                    <a:pt x="913" y="480"/>
                    <a:pt x="910" y="481"/>
                    <a:pt x="909" y="483"/>
                  </a:cubicBezTo>
                  <a:cubicBezTo>
                    <a:pt x="909" y="486"/>
                    <a:pt x="906" y="486"/>
                    <a:pt x="906" y="489"/>
                  </a:cubicBezTo>
                  <a:cubicBezTo>
                    <a:pt x="906" y="491"/>
                    <a:pt x="901" y="490"/>
                    <a:pt x="898" y="489"/>
                  </a:cubicBezTo>
                  <a:cubicBezTo>
                    <a:pt x="896" y="487"/>
                    <a:pt x="894" y="492"/>
                    <a:pt x="892" y="492"/>
                  </a:cubicBezTo>
                  <a:cubicBezTo>
                    <a:pt x="890" y="492"/>
                    <a:pt x="890" y="496"/>
                    <a:pt x="891" y="497"/>
                  </a:cubicBezTo>
                  <a:cubicBezTo>
                    <a:pt x="891" y="499"/>
                    <a:pt x="890" y="501"/>
                    <a:pt x="891" y="504"/>
                  </a:cubicBezTo>
                  <a:cubicBezTo>
                    <a:pt x="892" y="506"/>
                    <a:pt x="891" y="508"/>
                    <a:pt x="892" y="512"/>
                  </a:cubicBezTo>
                  <a:cubicBezTo>
                    <a:pt x="895" y="510"/>
                    <a:pt x="897" y="508"/>
                    <a:pt x="898" y="508"/>
                  </a:cubicBezTo>
                  <a:cubicBezTo>
                    <a:pt x="901" y="508"/>
                    <a:pt x="904" y="513"/>
                    <a:pt x="908" y="513"/>
                  </a:cubicBezTo>
                  <a:cubicBezTo>
                    <a:pt x="911" y="513"/>
                    <a:pt x="926" y="503"/>
                    <a:pt x="926" y="502"/>
                  </a:cubicBezTo>
                  <a:cubicBezTo>
                    <a:pt x="926" y="500"/>
                    <a:pt x="935" y="492"/>
                    <a:pt x="939" y="487"/>
                  </a:cubicBezTo>
                  <a:cubicBezTo>
                    <a:pt x="943" y="483"/>
                    <a:pt x="949" y="476"/>
                    <a:pt x="951" y="471"/>
                  </a:cubicBezTo>
                  <a:cubicBezTo>
                    <a:pt x="952" y="468"/>
                    <a:pt x="958" y="462"/>
                    <a:pt x="960" y="460"/>
                  </a:cubicBezTo>
                  <a:cubicBezTo>
                    <a:pt x="961" y="458"/>
                    <a:pt x="962" y="457"/>
                    <a:pt x="965" y="452"/>
                  </a:cubicBezTo>
                  <a:cubicBezTo>
                    <a:pt x="967" y="446"/>
                    <a:pt x="967" y="432"/>
                    <a:pt x="968" y="431"/>
                  </a:cubicBezTo>
                  <a:cubicBezTo>
                    <a:pt x="969" y="430"/>
                    <a:pt x="968" y="427"/>
                    <a:pt x="970" y="426"/>
                  </a:cubicBezTo>
                  <a:cubicBezTo>
                    <a:pt x="971" y="424"/>
                    <a:pt x="970" y="422"/>
                    <a:pt x="973" y="420"/>
                  </a:cubicBezTo>
                  <a:cubicBezTo>
                    <a:pt x="975" y="418"/>
                    <a:pt x="974" y="416"/>
                    <a:pt x="974" y="415"/>
                  </a:cubicBezTo>
                  <a:cubicBezTo>
                    <a:pt x="973" y="413"/>
                    <a:pt x="974" y="410"/>
                    <a:pt x="973" y="408"/>
                  </a:cubicBezTo>
                  <a:cubicBezTo>
                    <a:pt x="973" y="407"/>
                    <a:pt x="973" y="407"/>
                    <a:pt x="974" y="406"/>
                  </a:cubicBezTo>
                  <a:cubicBezTo>
                    <a:pt x="976" y="405"/>
                    <a:pt x="973" y="403"/>
                    <a:pt x="971" y="402"/>
                  </a:cubicBezTo>
                  <a:cubicBezTo>
                    <a:pt x="969" y="401"/>
                    <a:pt x="967" y="400"/>
                    <a:pt x="967" y="398"/>
                  </a:cubicBezTo>
                  <a:cubicBezTo>
                    <a:pt x="966" y="396"/>
                    <a:pt x="963" y="393"/>
                    <a:pt x="960" y="393"/>
                  </a:cubicBezTo>
                  <a:cubicBezTo>
                    <a:pt x="958" y="394"/>
                    <a:pt x="953" y="392"/>
                    <a:pt x="953" y="394"/>
                  </a:cubicBezTo>
                  <a:cubicBezTo>
                    <a:pt x="954" y="395"/>
                    <a:pt x="953" y="397"/>
                    <a:pt x="952" y="396"/>
                  </a:cubicBezTo>
                  <a:cubicBezTo>
                    <a:pt x="950" y="396"/>
                    <a:pt x="950" y="397"/>
                    <a:pt x="948" y="399"/>
                  </a:cubicBezTo>
                  <a:cubicBezTo>
                    <a:pt x="947" y="402"/>
                    <a:pt x="941" y="402"/>
                    <a:pt x="944" y="400"/>
                  </a:cubicBezTo>
                  <a:cubicBezTo>
                    <a:pt x="946" y="398"/>
                    <a:pt x="943" y="397"/>
                    <a:pt x="943" y="395"/>
                  </a:cubicBezTo>
                  <a:cubicBezTo>
                    <a:pt x="944" y="393"/>
                    <a:pt x="946" y="390"/>
                    <a:pt x="943" y="392"/>
                  </a:cubicBezTo>
                  <a:cubicBezTo>
                    <a:pt x="940" y="393"/>
                    <a:pt x="940" y="397"/>
                    <a:pt x="938" y="398"/>
                  </a:cubicBezTo>
                  <a:cubicBezTo>
                    <a:pt x="936" y="398"/>
                    <a:pt x="937" y="391"/>
                    <a:pt x="937" y="389"/>
                  </a:cubicBezTo>
                  <a:cubicBezTo>
                    <a:pt x="938" y="388"/>
                    <a:pt x="933" y="389"/>
                    <a:pt x="928" y="389"/>
                  </a:cubicBezTo>
                  <a:cubicBezTo>
                    <a:pt x="923" y="389"/>
                    <a:pt x="924" y="385"/>
                    <a:pt x="928" y="383"/>
                  </a:cubicBezTo>
                  <a:cubicBezTo>
                    <a:pt x="933" y="381"/>
                    <a:pt x="932" y="379"/>
                    <a:pt x="934" y="378"/>
                  </a:cubicBezTo>
                  <a:cubicBezTo>
                    <a:pt x="936" y="377"/>
                    <a:pt x="941" y="374"/>
                    <a:pt x="944" y="372"/>
                  </a:cubicBezTo>
                  <a:cubicBezTo>
                    <a:pt x="947" y="370"/>
                    <a:pt x="948" y="368"/>
                    <a:pt x="949" y="366"/>
                  </a:cubicBezTo>
                  <a:cubicBezTo>
                    <a:pt x="949" y="364"/>
                    <a:pt x="955" y="362"/>
                    <a:pt x="960" y="358"/>
                  </a:cubicBezTo>
                  <a:cubicBezTo>
                    <a:pt x="965" y="353"/>
                    <a:pt x="968" y="351"/>
                    <a:pt x="969" y="349"/>
                  </a:cubicBezTo>
                  <a:cubicBezTo>
                    <a:pt x="970" y="346"/>
                    <a:pt x="978" y="343"/>
                    <a:pt x="978" y="341"/>
                  </a:cubicBezTo>
                  <a:cubicBezTo>
                    <a:pt x="978" y="339"/>
                    <a:pt x="987" y="334"/>
                    <a:pt x="993" y="333"/>
                  </a:cubicBezTo>
                  <a:cubicBezTo>
                    <a:pt x="999" y="332"/>
                    <a:pt x="1009" y="334"/>
                    <a:pt x="1010" y="335"/>
                  </a:cubicBezTo>
                  <a:cubicBezTo>
                    <a:pt x="1012" y="337"/>
                    <a:pt x="1013" y="336"/>
                    <a:pt x="1015" y="335"/>
                  </a:cubicBezTo>
                  <a:cubicBezTo>
                    <a:pt x="1016" y="334"/>
                    <a:pt x="1018" y="335"/>
                    <a:pt x="1022" y="335"/>
                  </a:cubicBezTo>
                  <a:cubicBezTo>
                    <a:pt x="1026" y="336"/>
                    <a:pt x="1027" y="333"/>
                    <a:pt x="1030" y="334"/>
                  </a:cubicBezTo>
                  <a:cubicBezTo>
                    <a:pt x="1032" y="335"/>
                    <a:pt x="1035" y="335"/>
                    <a:pt x="1036" y="332"/>
                  </a:cubicBezTo>
                  <a:cubicBezTo>
                    <a:pt x="1038" y="329"/>
                    <a:pt x="1046" y="330"/>
                    <a:pt x="1048" y="331"/>
                  </a:cubicBezTo>
                  <a:cubicBezTo>
                    <a:pt x="1050" y="332"/>
                    <a:pt x="1051" y="334"/>
                    <a:pt x="1054" y="332"/>
                  </a:cubicBezTo>
                  <a:cubicBezTo>
                    <a:pt x="1057" y="330"/>
                    <a:pt x="1057" y="334"/>
                    <a:pt x="1059" y="335"/>
                  </a:cubicBezTo>
                  <a:cubicBezTo>
                    <a:pt x="1062" y="335"/>
                    <a:pt x="1060" y="338"/>
                    <a:pt x="1058" y="337"/>
                  </a:cubicBezTo>
                  <a:cubicBezTo>
                    <a:pt x="1056" y="337"/>
                    <a:pt x="1053" y="339"/>
                    <a:pt x="1055" y="340"/>
                  </a:cubicBezTo>
                  <a:cubicBezTo>
                    <a:pt x="1058" y="342"/>
                    <a:pt x="1061" y="339"/>
                    <a:pt x="1063" y="339"/>
                  </a:cubicBezTo>
                  <a:cubicBezTo>
                    <a:pt x="1066" y="339"/>
                    <a:pt x="1069" y="339"/>
                    <a:pt x="1072" y="337"/>
                  </a:cubicBezTo>
                  <a:cubicBezTo>
                    <a:pt x="1075" y="336"/>
                    <a:pt x="1076" y="339"/>
                    <a:pt x="1078" y="337"/>
                  </a:cubicBezTo>
                  <a:cubicBezTo>
                    <a:pt x="1079" y="336"/>
                    <a:pt x="1084" y="335"/>
                    <a:pt x="1086" y="335"/>
                  </a:cubicBezTo>
                  <a:cubicBezTo>
                    <a:pt x="1088" y="335"/>
                    <a:pt x="1086" y="333"/>
                    <a:pt x="1083" y="333"/>
                  </a:cubicBezTo>
                  <a:cubicBezTo>
                    <a:pt x="1079" y="333"/>
                    <a:pt x="1079" y="331"/>
                    <a:pt x="1082" y="326"/>
                  </a:cubicBezTo>
                  <a:cubicBezTo>
                    <a:pt x="1085" y="321"/>
                    <a:pt x="1090" y="319"/>
                    <a:pt x="1094" y="316"/>
                  </a:cubicBezTo>
                  <a:cubicBezTo>
                    <a:pt x="1097" y="313"/>
                    <a:pt x="1100" y="314"/>
                    <a:pt x="1100" y="312"/>
                  </a:cubicBezTo>
                  <a:cubicBezTo>
                    <a:pt x="1100" y="310"/>
                    <a:pt x="1101" y="305"/>
                    <a:pt x="1104" y="305"/>
                  </a:cubicBezTo>
                  <a:cubicBezTo>
                    <a:pt x="1107" y="305"/>
                    <a:pt x="1113" y="306"/>
                    <a:pt x="1117" y="304"/>
                  </a:cubicBezTo>
                  <a:cubicBezTo>
                    <a:pt x="1121" y="301"/>
                    <a:pt x="1121" y="305"/>
                    <a:pt x="1123" y="306"/>
                  </a:cubicBezTo>
                  <a:cubicBezTo>
                    <a:pt x="1124" y="306"/>
                    <a:pt x="1127" y="302"/>
                    <a:pt x="1128" y="304"/>
                  </a:cubicBezTo>
                  <a:cubicBezTo>
                    <a:pt x="1130" y="305"/>
                    <a:pt x="1126" y="308"/>
                    <a:pt x="1125" y="311"/>
                  </a:cubicBezTo>
                  <a:cubicBezTo>
                    <a:pt x="1123" y="315"/>
                    <a:pt x="1127" y="313"/>
                    <a:pt x="1129" y="314"/>
                  </a:cubicBezTo>
                  <a:cubicBezTo>
                    <a:pt x="1131" y="315"/>
                    <a:pt x="1126" y="317"/>
                    <a:pt x="1127" y="317"/>
                  </a:cubicBezTo>
                  <a:cubicBezTo>
                    <a:pt x="1127" y="318"/>
                    <a:pt x="1131" y="318"/>
                    <a:pt x="1137" y="313"/>
                  </a:cubicBezTo>
                  <a:cubicBezTo>
                    <a:pt x="1142" y="308"/>
                    <a:pt x="1147" y="307"/>
                    <a:pt x="1150" y="307"/>
                  </a:cubicBezTo>
                  <a:cubicBezTo>
                    <a:pt x="1153" y="307"/>
                    <a:pt x="1151" y="304"/>
                    <a:pt x="1152" y="299"/>
                  </a:cubicBezTo>
                  <a:cubicBezTo>
                    <a:pt x="1152" y="294"/>
                    <a:pt x="1162" y="293"/>
                    <a:pt x="1165" y="294"/>
                  </a:cubicBezTo>
                  <a:cubicBezTo>
                    <a:pt x="1169" y="296"/>
                    <a:pt x="1169" y="297"/>
                    <a:pt x="1165" y="296"/>
                  </a:cubicBezTo>
                  <a:cubicBezTo>
                    <a:pt x="1162" y="295"/>
                    <a:pt x="1159" y="298"/>
                    <a:pt x="1159" y="302"/>
                  </a:cubicBezTo>
                  <a:cubicBezTo>
                    <a:pt x="1159" y="306"/>
                    <a:pt x="1156" y="308"/>
                    <a:pt x="1158" y="309"/>
                  </a:cubicBezTo>
                  <a:cubicBezTo>
                    <a:pt x="1159" y="311"/>
                    <a:pt x="1156" y="311"/>
                    <a:pt x="1156" y="313"/>
                  </a:cubicBezTo>
                  <a:cubicBezTo>
                    <a:pt x="1155" y="314"/>
                    <a:pt x="1156" y="316"/>
                    <a:pt x="1153" y="316"/>
                  </a:cubicBezTo>
                  <a:cubicBezTo>
                    <a:pt x="1151" y="317"/>
                    <a:pt x="1143" y="318"/>
                    <a:pt x="1143" y="321"/>
                  </a:cubicBezTo>
                  <a:cubicBezTo>
                    <a:pt x="1142" y="324"/>
                    <a:pt x="1138" y="324"/>
                    <a:pt x="1136" y="328"/>
                  </a:cubicBezTo>
                  <a:cubicBezTo>
                    <a:pt x="1134" y="332"/>
                    <a:pt x="1126" y="334"/>
                    <a:pt x="1121" y="342"/>
                  </a:cubicBezTo>
                  <a:cubicBezTo>
                    <a:pt x="1116" y="349"/>
                    <a:pt x="1108" y="349"/>
                    <a:pt x="1108" y="351"/>
                  </a:cubicBezTo>
                  <a:cubicBezTo>
                    <a:pt x="1108" y="352"/>
                    <a:pt x="1102" y="352"/>
                    <a:pt x="1101" y="352"/>
                  </a:cubicBezTo>
                  <a:cubicBezTo>
                    <a:pt x="1099" y="353"/>
                    <a:pt x="1102" y="357"/>
                    <a:pt x="1098" y="362"/>
                  </a:cubicBezTo>
                  <a:cubicBezTo>
                    <a:pt x="1093" y="367"/>
                    <a:pt x="1090" y="374"/>
                    <a:pt x="1090" y="381"/>
                  </a:cubicBezTo>
                  <a:cubicBezTo>
                    <a:pt x="1091" y="387"/>
                    <a:pt x="1093" y="407"/>
                    <a:pt x="1095" y="410"/>
                  </a:cubicBezTo>
                  <a:cubicBezTo>
                    <a:pt x="1097" y="414"/>
                    <a:pt x="1096" y="422"/>
                    <a:pt x="1097" y="424"/>
                  </a:cubicBezTo>
                  <a:cubicBezTo>
                    <a:pt x="1099" y="426"/>
                    <a:pt x="1098" y="429"/>
                    <a:pt x="1099" y="430"/>
                  </a:cubicBezTo>
                  <a:cubicBezTo>
                    <a:pt x="1101" y="431"/>
                    <a:pt x="1105" y="425"/>
                    <a:pt x="1108" y="423"/>
                  </a:cubicBezTo>
                  <a:cubicBezTo>
                    <a:pt x="1111" y="420"/>
                    <a:pt x="1110" y="419"/>
                    <a:pt x="1112" y="418"/>
                  </a:cubicBezTo>
                  <a:cubicBezTo>
                    <a:pt x="1114" y="417"/>
                    <a:pt x="1113" y="411"/>
                    <a:pt x="1114" y="410"/>
                  </a:cubicBezTo>
                  <a:cubicBezTo>
                    <a:pt x="1114" y="408"/>
                    <a:pt x="1118" y="408"/>
                    <a:pt x="1119" y="406"/>
                  </a:cubicBezTo>
                  <a:cubicBezTo>
                    <a:pt x="1120" y="405"/>
                    <a:pt x="1123" y="405"/>
                    <a:pt x="1125" y="405"/>
                  </a:cubicBezTo>
                  <a:cubicBezTo>
                    <a:pt x="1127" y="404"/>
                    <a:pt x="1125" y="400"/>
                    <a:pt x="1124" y="398"/>
                  </a:cubicBezTo>
                  <a:cubicBezTo>
                    <a:pt x="1124" y="396"/>
                    <a:pt x="1129" y="393"/>
                    <a:pt x="1132" y="391"/>
                  </a:cubicBezTo>
                  <a:cubicBezTo>
                    <a:pt x="1135" y="389"/>
                    <a:pt x="1139" y="392"/>
                    <a:pt x="1142" y="389"/>
                  </a:cubicBezTo>
                  <a:cubicBezTo>
                    <a:pt x="1145" y="386"/>
                    <a:pt x="1142" y="383"/>
                    <a:pt x="1140" y="381"/>
                  </a:cubicBezTo>
                  <a:cubicBezTo>
                    <a:pt x="1139" y="380"/>
                    <a:pt x="1144" y="372"/>
                    <a:pt x="1146" y="371"/>
                  </a:cubicBezTo>
                  <a:cubicBezTo>
                    <a:pt x="1149" y="371"/>
                    <a:pt x="1150" y="373"/>
                    <a:pt x="1152" y="371"/>
                  </a:cubicBezTo>
                  <a:cubicBezTo>
                    <a:pt x="1155" y="369"/>
                    <a:pt x="1150" y="365"/>
                    <a:pt x="1148" y="366"/>
                  </a:cubicBezTo>
                  <a:cubicBezTo>
                    <a:pt x="1147" y="366"/>
                    <a:pt x="1146" y="360"/>
                    <a:pt x="1150" y="357"/>
                  </a:cubicBezTo>
                  <a:cubicBezTo>
                    <a:pt x="1154" y="354"/>
                    <a:pt x="1152" y="353"/>
                    <a:pt x="1150" y="352"/>
                  </a:cubicBezTo>
                  <a:cubicBezTo>
                    <a:pt x="1147" y="352"/>
                    <a:pt x="1147" y="353"/>
                    <a:pt x="1145" y="353"/>
                  </a:cubicBezTo>
                  <a:cubicBezTo>
                    <a:pt x="1143" y="353"/>
                    <a:pt x="1141" y="349"/>
                    <a:pt x="1144" y="344"/>
                  </a:cubicBezTo>
                  <a:cubicBezTo>
                    <a:pt x="1147" y="340"/>
                    <a:pt x="1150" y="341"/>
                    <a:pt x="1151" y="337"/>
                  </a:cubicBezTo>
                  <a:cubicBezTo>
                    <a:pt x="1151" y="334"/>
                    <a:pt x="1156" y="329"/>
                    <a:pt x="1157" y="327"/>
                  </a:cubicBezTo>
                  <a:cubicBezTo>
                    <a:pt x="1158" y="325"/>
                    <a:pt x="1162" y="327"/>
                    <a:pt x="1164" y="327"/>
                  </a:cubicBezTo>
                  <a:cubicBezTo>
                    <a:pt x="1165" y="326"/>
                    <a:pt x="1165" y="330"/>
                    <a:pt x="1167" y="328"/>
                  </a:cubicBezTo>
                  <a:cubicBezTo>
                    <a:pt x="1169" y="326"/>
                    <a:pt x="1172" y="320"/>
                    <a:pt x="1175" y="320"/>
                  </a:cubicBezTo>
                  <a:cubicBezTo>
                    <a:pt x="1178" y="320"/>
                    <a:pt x="1176" y="325"/>
                    <a:pt x="1176" y="327"/>
                  </a:cubicBezTo>
                  <a:cubicBezTo>
                    <a:pt x="1177" y="330"/>
                    <a:pt x="1179" y="327"/>
                    <a:pt x="1184" y="323"/>
                  </a:cubicBezTo>
                  <a:cubicBezTo>
                    <a:pt x="1189" y="320"/>
                    <a:pt x="1201" y="320"/>
                    <a:pt x="1204" y="322"/>
                  </a:cubicBezTo>
                  <a:cubicBezTo>
                    <a:pt x="1208" y="323"/>
                    <a:pt x="1208" y="327"/>
                    <a:pt x="1210" y="327"/>
                  </a:cubicBezTo>
                  <a:cubicBezTo>
                    <a:pt x="1213" y="326"/>
                    <a:pt x="1210" y="323"/>
                    <a:pt x="1213" y="322"/>
                  </a:cubicBezTo>
                  <a:cubicBezTo>
                    <a:pt x="1216" y="321"/>
                    <a:pt x="1221" y="318"/>
                    <a:pt x="1225" y="315"/>
                  </a:cubicBezTo>
                  <a:cubicBezTo>
                    <a:pt x="1229" y="313"/>
                    <a:pt x="1228" y="315"/>
                    <a:pt x="1230" y="312"/>
                  </a:cubicBezTo>
                  <a:cubicBezTo>
                    <a:pt x="1232" y="310"/>
                    <a:pt x="1234" y="311"/>
                    <a:pt x="1234" y="309"/>
                  </a:cubicBezTo>
                  <a:cubicBezTo>
                    <a:pt x="1235" y="308"/>
                    <a:pt x="1240" y="305"/>
                    <a:pt x="1248" y="303"/>
                  </a:cubicBezTo>
                  <a:cubicBezTo>
                    <a:pt x="1255" y="301"/>
                    <a:pt x="1265" y="296"/>
                    <a:pt x="1265" y="295"/>
                  </a:cubicBezTo>
                  <a:cubicBezTo>
                    <a:pt x="1264" y="293"/>
                    <a:pt x="1268" y="293"/>
                    <a:pt x="1268" y="294"/>
                  </a:cubicBezTo>
                  <a:cubicBezTo>
                    <a:pt x="1268" y="296"/>
                    <a:pt x="1271" y="295"/>
                    <a:pt x="1275" y="296"/>
                  </a:cubicBezTo>
                  <a:cubicBezTo>
                    <a:pt x="1279" y="297"/>
                    <a:pt x="1281" y="298"/>
                    <a:pt x="1284" y="295"/>
                  </a:cubicBezTo>
                  <a:cubicBezTo>
                    <a:pt x="1287" y="292"/>
                    <a:pt x="1283" y="291"/>
                    <a:pt x="1284" y="289"/>
                  </a:cubicBezTo>
                  <a:cubicBezTo>
                    <a:pt x="1284" y="286"/>
                    <a:pt x="1278" y="284"/>
                    <a:pt x="1279" y="281"/>
                  </a:cubicBezTo>
                  <a:cubicBezTo>
                    <a:pt x="1280" y="279"/>
                    <a:pt x="1275" y="272"/>
                    <a:pt x="1274" y="274"/>
                  </a:cubicBezTo>
                  <a:cubicBezTo>
                    <a:pt x="1272" y="275"/>
                    <a:pt x="1269" y="272"/>
                    <a:pt x="1269" y="271"/>
                  </a:cubicBezTo>
                  <a:cubicBezTo>
                    <a:pt x="1269" y="269"/>
                    <a:pt x="1269" y="266"/>
                    <a:pt x="1266" y="268"/>
                  </a:cubicBezTo>
                  <a:cubicBezTo>
                    <a:pt x="1264" y="269"/>
                    <a:pt x="1260" y="269"/>
                    <a:pt x="1259" y="266"/>
                  </a:cubicBezTo>
                  <a:cubicBezTo>
                    <a:pt x="1259" y="264"/>
                    <a:pt x="1264" y="263"/>
                    <a:pt x="1267" y="264"/>
                  </a:cubicBezTo>
                  <a:cubicBezTo>
                    <a:pt x="1271" y="266"/>
                    <a:pt x="1270" y="267"/>
                    <a:pt x="1272" y="268"/>
                  </a:cubicBezTo>
                  <a:cubicBezTo>
                    <a:pt x="1274" y="269"/>
                    <a:pt x="1278" y="269"/>
                    <a:pt x="1281" y="267"/>
                  </a:cubicBezTo>
                  <a:cubicBezTo>
                    <a:pt x="1283" y="266"/>
                    <a:pt x="1290" y="264"/>
                    <a:pt x="1292" y="262"/>
                  </a:cubicBezTo>
                  <a:cubicBezTo>
                    <a:pt x="1293" y="260"/>
                    <a:pt x="1291" y="259"/>
                    <a:pt x="1294" y="258"/>
                  </a:cubicBezTo>
                  <a:cubicBezTo>
                    <a:pt x="1296" y="257"/>
                    <a:pt x="1294" y="254"/>
                    <a:pt x="1292" y="253"/>
                  </a:cubicBezTo>
                  <a:cubicBezTo>
                    <a:pt x="1290" y="252"/>
                    <a:pt x="1291" y="249"/>
                    <a:pt x="1293" y="249"/>
                  </a:cubicBezTo>
                  <a:cubicBezTo>
                    <a:pt x="1295" y="249"/>
                    <a:pt x="1295" y="247"/>
                    <a:pt x="1296" y="247"/>
                  </a:cubicBezTo>
                  <a:cubicBezTo>
                    <a:pt x="1297" y="246"/>
                    <a:pt x="1298" y="248"/>
                    <a:pt x="1300" y="246"/>
                  </a:cubicBezTo>
                  <a:cubicBezTo>
                    <a:pt x="1303" y="245"/>
                    <a:pt x="1300" y="248"/>
                    <a:pt x="1299" y="251"/>
                  </a:cubicBezTo>
                  <a:cubicBezTo>
                    <a:pt x="1298" y="253"/>
                    <a:pt x="1302" y="255"/>
                    <a:pt x="1302" y="256"/>
                  </a:cubicBezTo>
                  <a:cubicBezTo>
                    <a:pt x="1302" y="257"/>
                    <a:pt x="1308" y="258"/>
                    <a:pt x="1310" y="256"/>
                  </a:cubicBezTo>
                  <a:cubicBezTo>
                    <a:pt x="1313" y="255"/>
                    <a:pt x="1322" y="258"/>
                    <a:pt x="1323" y="260"/>
                  </a:cubicBezTo>
                  <a:cubicBezTo>
                    <a:pt x="1324" y="263"/>
                    <a:pt x="1325" y="265"/>
                    <a:pt x="1329" y="267"/>
                  </a:cubicBezTo>
                  <a:cubicBezTo>
                    <a:pt x="1332" y="269"/>
                    <a:pt x="1336" y="268"/>
                    <a:pt x="1337" y="270"/>
                  </a:cubicBezTo>
                  <a:cubicBezTo>
                    <a:pt x="1337" y="272"/>
                    <a:pt x="1339" y="273"/>
                    <a:pt x="1341" y="272"/>
                  </a:cubicBezTo>
                  <a:cubicBezTo>
                    <a:pt x="1343" y="272"/>
                    <a:pt x="1344" y="274"/>
                    <a:pt x="1346" y="273"/>
                  </a:cubicBezTo>
                  <a:cubicBezTo>
                    <a:pt x="1347" y="271"/>
                    <a:pt x="1348" y="274"/>
                    <a:pt x="1350" y="272"/>
                  </a:cubicBezTo>
                  <a:cubicBezTo>
                    <a:pt x="1352" y="270"/>
                    <a:pt x="1346" y="269"/>
                    <a:pt x="1347" y="268"/>
                  </a:cubicBezTo>
                  <a:cubicBezTo>
                    <a:pt x="1347" y="266"/>
                    <a:pt x="1349" y="269"/>
                    <a:pt x="1351" y="269"/>
                  </a:cubicBezTo>
                  <a:cubicBezTo>
                    <a:pt x="1352" y="268"/>
                    <a:pt x="1350" y="265"/>
                    <a:pt x="1351" y="265"/>
                  </a:cubicBezTo>
                  <a:cubicBezTo>
                    <a:pt x="1353" y="264"/>
                    <a:pt x="1352" y="257"/>
                    <a:pt x="1350" y="257"/>
                  </a:cubicBezTo>
                  <a:cubicBezTo>
                    <a:pt x="1349" y="256"/>
                    <a:pt x="1350" y="254"/>
                    <a:pt x="1353" y="256"/>
                  </a:cubicBezTo>
                  <a:cubicBezTo>
                    <a:pt x="1355" y="258"/>
                    <a:pt x="1360" y="258"/>
                    <a:pt x="1362" y="258"/>
                  </a:cubicBezTo>
                  <a:cubicBezTo>
                    <a:pt x="1364" y="258"/>
                    <a:pt x="1362" y="256"/>
                    <a:pt x="1360" y="255"/>
                  </a:cubicBezTo>
                  <a:cubicBezTo>
                    <a:pt x="1358" y="255"/>
                    <a:pt x="1360" y="253"/>
                    <a:pt x="1362" y="255"/>
                  </a:cubicBezTo>
                  <a:cubicBezTo>
                    <a:pt x="1363" y="256"/>
                    <a:pt x="1366" y="257"/>
                    <a:pt x="1366" y="255"/>
                  </a:cubicBezTo>
                  <a:cubicBezTo>
                    <a:pt x="1366" y="254"/>
                    <a:pt x="1368" y="251"/>
                    <a:pt x="1370" y="251"/>
                  </a:cubicBezTo>
                  <a:cubicBezTo>
                    <a:pt x="1373" y="251"/>
                    <a:pt x="1373" y="249"/>
                    <a:pt x="1371" y="249"/>
                  </a:cubicBezTo>
                  <a:close/>
                  <a:moveTo>
                    <a:pt x="708" y="405"/>
                  </a:moveTo>
                  <a:cubicBezTo>
                    <a:pt x="701" y="411"/>
                    <a:pt x="688" y="412"/>
                    <a:pt x="688" y="417"/>
                  </a:cubicBezTo>
                  <a:cubicBezTo>
                    <a:pt x="688" y="422"/>
                    <a:pt x="671" y="425"/>
                    <a:pt x="670" y="422"/>
                  </a:cubicBezTo>
                  <a:cubicBezTo>
                    <a:pt x="669" y="420"/>
                    <a:pt x="682" y="420"/>
                    <a:pt x="685" y="413"/>
                  </a:cubicBezTo>
                  <a:cubicBezTo>
                    <a:pt x="688" y="406"/>
                    <a:pt x="701" y="402"/>
                    <a:pt x="707" y="392"/>
                  </a:cubicBezTo>
                  <a:cubicBezTo>
                    <a:pt x="711" y="386"/>
                    <a:pt x="714" y="375"/>
                    <a:pt x="717" y="376"/>
                  </a:cubicBezTo>
                  <a:cubicBezTo>
                    <a:pt x="719" y="377"/>
                    <a:pt x="715" y="398"/>
                    <a:pt x="708" y="405"/>
                  </a:cubicBezTo>
                  <a:close/>
                  <a:moveTo>
                    <a:pt x="738" y="125"/>
                  </a:moveTo>
                  <a:cubicBezTo>
                    <a:pt x="737" y="127"/>
                    <a:pt x="732" y="127"/>
                    <a:pt x="733" y="129"/>
                  </a:cubicBezTo>
                  <a:cubicBezTo>
                    <a:pt x="736" y="132"/>
                    <a:pt x="748" y="130"/>
                    <a:pt x="748" y="127"/>
                  </a:cubicBezTo>
                  <a:cubicBezTo>
                    <a:pt x="748" y="123"/>
                    <a:pt x="739" y="123"/>
                    <a:pt x="738" y="125"/>
                  </a:cubicBezTo>
                  <a:close/>
                  <a:moveTo>
                    <a:pt x="305" y="8"/>
                  </a:moveTo>
                  <a:cubicBezTo>
                    <a:pt x="311" y="8"/>
                    <a:pt x="309" y="4"/>
                    <a:pt x="313" y="5"/>
                  </a:cubicBezTo>
                  <a:cubicBezTo>
                    <a:pt x="317" y="5"/>
                    <a:pt x="322" y="5"/>
                    <a:pt x="320" y="3"/>
                  </a:cubicBezTo>
                  <a:cubicBezTo>
                    <a:pt x="318" y="0"/>
                    <a:pt x="304" y="1"/>
                    <a:pt x="306" y="3"/>
                  </a:cubicBezTo>
                  <a:cubicBezTo>
                    <a:pt x="307" y="5"/>
                    <a:pt x="295" y="4"/>
                    <a:pt x="295" y="5"/>
                  </a:cubicBezTo>
                  <a:cubicBezTo>
                    <a:pt x="295" y="6"/>
                    <a:pt x="299" y="8"/>
                    <a:pt x="305" y="8"/>
                  </a:cubicBezTo>
                  <a:close/>
                  <a:moveTo>
                    <a:pt x="276" y="24"/>
                  </a:moveTo>
                  <a:cubicBezTo>
                    <a:pt x="276" y="20"/>
                    <a:pt x="263" y="24"/>
                    <a:pt x="266" y="25"/>
                  </a:cubicBezTo>
                  <a:cubicBezTo>
                    <a:pt x="268" y="26"/>
                    <a:pt x="276" y="28"/>
                    <a:pt x="276" y="24"/>
                  </a:cubicBezTo>
                  <a:close/>
                  <a:moveTo>
                    <a:pt x="306" y="21"/>
                  </a:moveTo>
                  <a:cubicBezTo>
                    <a:pt x="307" y="23"/>
                    <a:pt x="305" y="23"/>
                    <a:pt x="300" y="23"/>
                  </a:cubicBezTo>
                  <a:cubicBezTo>
                    <a:pt x="296" y="23"/>
                    <a:pt x="293" y="25"/>
                    <a:pt x="296" y="28"/>
                  </a:cubicBezTo>
                  <a:cubicBezTo>
                    <a:pt x="299" y="30"/>
                    <a:pt x="311" y="29"/>
                    <a:pt x="313" y="26"/>
                  </a:cubicBezTo>
                  <a:cubicBezTo>
                    <a:pt x="315" y="23"/>
                    <a:pt x="321" y="26"/>
                    <a:pt x="322" y="23"/>
                  </a:cubicBezTo>
                  <a:cubicBezTo>
                    <a:pt x="323" y="20"/>
                    <a:pt x="306" y="19"/>
                    <a:pt x="306" y="21"/>
                  </a:cubicBezTo>
                  <a:close/>
                  <a:moveTo>
                    <a:pt x="347" y="16"/>
                  </a:moveTo>
                  <a:cubicBezTo>
                    <a:pt x="349" y="14"/>
                    <a:pt x="344" y="14"/>
                    <a:pt x="343" y="12"/>
                  </a:cubicBezTo>
                  <a:cubicBezTo>
                    <a:pt x="343" y="10"/>
                    <a:pt x="330" y="9"/>
                    <a:pt x="330" y="12"/>
                  </a:cubicBezTo>
                  <a:cubicBezTo>
                    <a:pt x="331" y="14"/>
                    <a:pt x="321" y="17"/>
                    <a:pt x="324" y="19"/>
                  </a:cubicBezTo>
                  <a:cubicBezTo>
                    <a:pt x="330" y="23"/>
                    <a:pt x="345" y="18"/>
                    <a:pt x="347" y="16"/>
                  </a:cubicBezTo>
                  <a:close/>
                  <a:moveTo>
                    <a:pt x="309" y="12"/>
                  </a:moveTo>
                  <a:cubicBezTo>
                    <a:pt x="310" y="7"/>
                    <a:pt x="302" y="11"/>
                    <a:pt x="295" y="9"/>
                  </a:cubicBezTo>
                  <a:cubicBezTo>
                    <a:pt x="289" y="6"/>
                    <a:pt x="286" y="6"/>
                    <a:pt x="290" y="10"/>
                  </a:cubicBezTo>
                  <a:cubicBezTo>
                    <a:pt x="292" y="12"/>
                    <a:pt x="279" y="13"/>
                    <a:pt x="281" y="15"/>
                  </a:cubicBezTo>
                  <a:cubicBezTo>
                    <a:pt x="286" y="19"/>
                    <a:pt x="309" y="17"/>
                    <a:pt x="309" y="12"/>
                  </a:cubicBezTo>
                  <a:close/>
                  <a:moveTo>
                    <a:pt x="274" y="144"/>
                  </a:moveTo>
                  <a:cubicBezTo>
                    <a:pt x="274" y="147"/>
                    <a:pt x="273" y="148"/>
                    <a:pt x="268" y="148"/>
                  </a:cubicBezTo>
                  <a:cubicBezTo>
                    <a:pt x="264" y="148"/>
                    <a:pt x="270" y="151"/>
                    <a:pt x="271" y="154"/>
                  </a:cubicBezTo>
                  <a:cubicBezTo>
                    <a:pt x="271" y="156"/>
                    <a:pt x="266" y="154"/>
                    <a:pt x="266" y="159"/>
                  </a:cubicBezTo>
                  <a:cubicBezTo>
                    <a:pt x="266" y="163"/>
                    <a:pt x="257" y="159"/>
                    <a:pt x="256" y="164"/>
                  </a:cubicBezTo>
                  <a:cubicBezTo>
                    <a:pt x="255" y="169"/>
                    <a:pt x="260" y="168"/>
                    <a:pt x="264" y="169"/>
                  </a:cubicBezTo>
                  <a:cubicBezTo>
                    <a:pt x="268" y="169"/>
                    <a:pt x="263" y="172"/>
                    <a:pt x="265" y="174"/>
                  </a:cubicBezTo>
                  <a:cubicBezTo>
                    <a:pt x="268" y="177"/>
                    <a:pt x="270" y="176"/>
                    <a:pt x="269" y="172"/>
                  </a:cubicBezTo>
                  <a:cubicBezTo>
                    <a:pt x="267" y="168"/>
                    <a:pt x="279" y="173"/>
                    <a:pt x="275" y="176"/>
                  </a:cubicBezTo>
                  <a:cubicBezTo>
                    <a:pt x="271" y="179"/>
                    <a:pt x="281" y="182"/>
                    <a:pt x="285" y="182"/>
                  </a:cubicBezTo>
                  <a:cubicBezTo>
                    <a:pt x="290" y="182"/>
                    <a:pt x="306" y="186"/>
                    <a:pt x="306" y="182"/>
                  </a:cubicBezTo>
                  <a:cubicBezTo>
                    <a:pt x="306" y="180"/>
                    <a:pt x="300" y="178"/>
                    <a:pt x="295" y="172"/>
                  </a:cubicBezTo>
                  <a:cubicBezTo>
                    <a:pt x="290" y="167"/>
                    <a:pt x="287" y="159"/>
                    <a:pt x="292" y="155"/>
                  </a:cubicBezTo>
                  <a:cubicBezTo>
                    <a:pt x="298" y="151"/>
                    <a:pt x="293" y="150"/>
                    <a:pt x="299" y="146"/>
                  </a:cubicBezTo>
                  <a:cubicBezTo>
                    <a:pt x="304" y="142"/>
                    <a:pt x="301" y="138"/>
                    <a:pt x="306" y="137"/>
                  </a:cubicBezTo>
                  <a:cubicBezTo>
                    <a:pt x="311" y="137"/>
                    <a:pt x="305" y="133"/>
                    <a:pt x="310" y="132"/>
                  </a:cubicBezTo>
                  <a:cubicBezTo>
                    <a:pt x="315" y="131"/>
                    <a:pt x="316" y="126"/>
                    <a:pt x="315" y="124"/>
                  </a:cubicBezTo>
                  <a:cubicBezTo>
                    <a:pt x="314" y="122"/>
                    <a:pt x="320" y="124"/>
                    <a:pt x="323" y="121"/>
                  </a:cubicBezTo>
                  <a:cubicBezTo>
                    <a:pt x="325" y="119"/>
                    <a:pt x="332" y="120"/>
                    <a:pt x="333" y="116"/>
                  </a:cubicBezTo>
                  <a:cubicBezTo>
                    <a:pt x="335" y="112"/>
                    <a:pt x="363" y="103"/>
                    <a:pt x="378" y="100"/>
                  </a:cubicBezTo>
                  <a:cubicBezTo>
                    <a:pt x="394" y="96"/>
                    <a:pt x="404" y="90"/>
                    <a:pt x="399" y="85"/>
                  </a:cubicBezTo>
                  <a:cubicBezTo>
                    <a:pt x="393" y="81"/>
                    <a:pt x="378" y="87"/>
                    <a:pt x="374" y="90"/>
                  </a:cubicBezTo>
                  <a:cubicBezTo>
                    <a:pt x="370" y="93"/>
                    <a:pt x="365" y="91"/>
                    <a:pt x="361" y="93"/>
                  </a:cubicBezTo>
                  <a:cubicBezTo>
                    <a:pt x="357" y="95"/>
                    <a:pt x="349" y="97"/>
                    <a:pt x="345" y="95"/>
                  </a:cubicBezTo>
                  <a:cubicBezTo>
                    <a:pt x="341" y="92"/>
                    <a:pt x="336" y="98"/>
                    <a:pt x="333" y="97"/>
                  </a:cubicBezTo>
                  <a:cubicBezTo>
                    <a:pt x="330" y="97"/>
                    <a:pt x="327" y="101"/>
                    <a:pt x="323" y="100"/>
                  </a:cubicBezTo>
                  <a:cubicBezTo>
                    <a:pt x="320" y="100"/>
                    <a:pt x="313" y="103"/>
                    <a:pt x="313" y="105"/>
                  </a:cubicBezTo>
                  <a:cubicBezTo>
                    <a:pt x="312" y="107"/>
                    <a:pt x="307" y="106"/>
                    <a:pt x="307" y="109"/>
                  </a:cubicBezTo>
                  <a:cubicBezTo>
                    <a:pt x="307" y="111"/>
                    <a:pt x="302" y="113"/>
                    <a:pt x="300" y="111"/>
                  </a:cubicBezTo>
                  <a:cubicBezTo>
                    <a:pt x="297" y="109"/>
                    <a:pt x="295" y="113"/>
                    <a:pt x="298" y="116"/>
                  </a:cubicBezTo>
                  <a:cubicBezTo>
                    <a:pt x="301" y="120"/>
                    <a:pt x="292" y="120"/>
                    <a:pt x="293" y="122"/>
                  </a:cubicBezTo>
                  <a:cubicBezTo>
                    <a:pt x="295" y="124"/>
                    <a:pt x="290" y="125"/>
                    <a:pt x="291" y="127"/>
                  </a:cubicBezTo>
                  <a:cubicBezTo>
                    <a:pt x="292" y="129"/>
                    <a:pt x="288" y="130"/>
                    <a:pt x="284" y="130"/>
                  </a:cubicBezTo>
                  <a:cubicBezTo>
                    <a:pt x="280" y="131"/>
                    <a:pt x="279" y="136"/>
                    <a:pt x="283" y="136"/>
                  </a:cubicBezTo>
                  <a:cubicBezTo>
                    <a:pt x="288" y="136"/>
                    <a:pt x="280" y="137"/>
                    <a:pt x="281" y="141"/>
                  </a:cubicBezTo>
                  <a:cubicBezTo>
                    <a:pt x="281" y="144"/>
                    <a:pt x="274" y="142"/>
                    <a:pt x="274" y="144"/>
                  </a:cubicBezTo>
                  <a:close/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208" name="Group 207">
              <a:extLst>
                <a:ext uri="{FF2B5EF4-FFF2-40B4-BE49-F238E27FC236}">
                  <a16:creationId xmlns:a16="http://schemas.microsoft.com/office/drawing/2014/main" id="{2780527C-2773-45AF-BFC0-428E07C24C92}"/>
                </a:ext>
              </a:extLst>
            </p:cNvPr>
            <p:cNvGrpSpPr/>
            <p:nvPr userDrawn="1"/>
          </p:nvGrpSpPr>
          <p:grpSpPr>
            <a:xfrm>
              <a:off x="2235200" y="1676289"/>
              <a:ext cx="8248805" cy="4068623"/>
              <a:chOff x="1785409" y="1960529"/>
              <a:chExt cx="6680161" cy="3294909"/>
            </a:xfrm>
            <a:grpFill/>
          </p:grpSpPr>
          <p:sp>
            <p:nvSpPr>
              <p:cNvPr id="209" name="Freeform 5">
                <a:extLst>
                  <a:ext uri="{FF2B5EF4-FFF2-40B4-BE49-F238E27FC236}">
                    <a16:creationId xmlns:a16="http://schemas.microsoft.com/office/drawing/2014/main" id="{99561CFB-789B-4A23-B9C8-6022C6FB95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9291" y="4409753"/>
                <a:ext cx="235888" cy="234634"/>
              </a:xfrm>
              <a:custGeom>
                <a:avLst/>
                <a:gdLst>
                  <a:gd name="T0" fmla="*/ 38 w 102"/>
                  <a:gd name="T1" fmla="*/ 98 h 102"/>
                  <a:gd name="T2" fmla="*/ 43 w 102"/>
                  <a:gd name="T3" fmla="*/ 95 h 102"/>
                  <a:gd name="T4" fmla="*/ 47 w 102"/>
                  <a:gd name="T5" fmla="*/ 101 h 102"/>
                  <a:gd name="T6" fmla="*/ 57 w 102"/>
                  <a:gd name="T7" fmla="*/ 101 h 102"/>
                  <a:gd name="T8" fmla="*/ 62 w 102"/>
                  <a:gd name="T9" fmla="*/ 95 h 102"/>
                  <a:gd name="T10" fmla="*/ 62 w 102"/>
                  <a:gd name="T11" fmla="*/ 42 h 102"/>
                  <a:gd name="T12" fmla="*/ 70 w 102"/>
                  <a:gd name="T13" fmla="*/ 39 h 102"/>
                  <a:gd name="T14" fmla="*/ 70 w 102"/>
                  <a:gd name="T15" fmla="*/ 12 h 102"/>
                  <a:gd name="T16" fmla="*/ 78 w 102"/>
                  <a:gd name="T17" fmla="*/ 11 h 102"/>
                  <a:gd name="T18" fmla="*/ 87 w 102"/>
                  <a:gd name="T19" fmla="*/ 8 h 102"/>
                  <a:gd name="T20" fmla="*/ 91 w 102"/>
                  <a:gd name="T21" fmla="*/ 11 h 102"/>
                  <a:gd name="T22" fmla="*/ 97 w 102"/>
                  <a:gd name="T23" fmla="*/ 8 h 102"/>
                  <a:gd name="T24" fmla="*/ 102 w 102"/>
                  <a:gd name="T25" fmla="*/ 7 h 102"/>
                  <a:gd name="T26" fmla="*/ 102 w 102"/>
                  <a:gd name="T27" fmla="*/ 5 h 102"/>
                  <a:gd name="T28" fmla="*/ 85 w 102"/>
                  <a:gd name="T29" fmla="*/ 6 h 102"/>
                  <a:gd name="T30" fmla="*/ 72 w 102"/>
                  <a:gd name="T31" fmla="*/ 7 h 102"/>
                  <a:gd name="T32" fmla="*/ 55 w 102"/>
                  <a:gd name="T33" fmla="*/ 7 h 102"/>
                  <a:gd name="T34" fmla="*/ 52 w 102"/>
                  <a:gd name="T35" fmla="*/ 4 h 102"/>
                  <a:gd name="T36" fmla="*/ 24 w 102"/>
                  <a:gd name="T37" fmla="*/ 4 h 102"/>
                  <a:gd name="T38" fmla="*/ 17 w 102"/>
                  <a:gd name="T39" fmla="*/ 2 h 102"/>
                  <a:gd name="T40" fmla="*/ 9 w 102"/>
                  <a:gd name="T41" fmla="*/ 2 h 102"/>
                  <a:gd name="T42" fmla="*/ 6 w 102"/>
                  <a:gd name="T43" fmla="*/ 0 h 102"/>
                  <a:gd name="T44" fmla="*/ 3 w 102"/>
                  <a:gd name="T45" fmla="*/ 2 h 102"/>
                  <a:gd name="T46" fmla="*/ 0 w 102"/>
                  <a:gd name="T47" fmla="*/ 3 h 102"/>
                  <a:gd name="T48" fmla="*/ 5 w 102"/>
                  <a:gd name="T49" fmla="*/ 13 h 102"/>
                  <a:gd name="T50" fmla="*/ 13 w 102"/>
                  <a:gd name="T51" fmla="*/ 30 h 102"/>
                  <a:gd name="T52" fmla="*/ 21 w 102"/>
                  <a:gd name="T53" fmla="*/ 46 h 102"/>
                  <a:gd name="T54" fmla="*/ 21 w 102"/>
                  <a:gd name="T55" fmla="*/ 60 h 102"/>
                  <a:gd name="T56" fmla="*/ 24 w 102"/>
                  <a:gd name="T57" fmla="*/ 72 h 102"/>
                  <a:gd name="T58" fmla="*/ 30 w 102"/>
                  <a:gd name="T59" fmla="*/ 92 h 102"/>
                  <a:gd name="T60" fmla="*/ 35 w 102"/>
                  <a:gd name="T61" fmla="*/ 98 h 102"/>
                  <a:gd name="T62" fmla="*/ 38 w 102"/>
                  <a:gd name="T63" fmla="*/ 98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2" h="102">
                    <a:moveTo>
                      <a:pt x="38" y="98"/>
                    </a:moveTo>
                    <a:cubicBezTo>
                      <a:pt x="38" y="96"/>
                      <a:pt x="41" y="93"/>
                      <a:pt x="43" y="95"/>
                    </a:cubicBezTo>
                    <a:cubicBezTo>
                      <a:pt x="44" y="98"/>
                      <a:pt x="44" y="101"/>
                      <a:pt x="47" y="101"/>
                    </a:cubicBezTo>
                    <a:cubicBezTo>
                      <a:pt x="50" y="101"/>
                      <a:pt x="56" y="102"/>
                      <a:pt x="57" y="101"/>
                    </a:cubicBezTo>
                    <a:cubicBezTo>
                      <a:pt x="58" y="99"/>
                      <a:pt x="62" y="98"/>
                      <a:pt x="62" y="95"/>
                    </a:cubicBezTo>
                    <a:cubicBezTo>
                      <a:pt x="62" y="93"/>
                      <a:pt x="62" y="44"/>
                      <a:pt x="62" y="42"/>
                    </a:cubicBezTo>
                    <a:cubicBezTo>
                      <a:pt x="62" y="40"/>
                      <a:pt x="70" y="42"/>
                      <a:pt x="70" y="39"/>
                    </a:cubicBezTo>
                    <a:cubicBezTo>
                      <a:pt x="70" y="36"/>
                      <a:pt x="70" y="12"/>
                      <a:pt x="70" y="12"/>
                    </a:cubicBezTo>
                    <a:cubicBezTo>
                      <a:pt x="70" y="12"/>
                      <a:pt x="76" y="11"/>
                      <a:pt x="78" y="11"/>
                    </a:cubicBezTo>
                    <a:cubicBezTo>
                      <a:pt x="80" y="10"/>
                      <a:pt x="86" y="7"/>
                      <a:pt x="87" y="8"/>
                    </a:cubicBezTo>
                    <a:cubicBezTo>
                      <a:pt x="89" y="9"/>
                      <a:pt x="90" y="12"/>
                      <a:pt x="91" y="11"/>
                    </a:cubicBezTo>
                    <a:cubicBezTo>
                      <a:pt x="92" y="10"/>
                      <a:pt x="95" y="8"/>
                      <a:pt x="97" y="8"/>
                    </a:cubicBezTo>
                    <a:cubicBezTo>
                      <a:pt x="98" y="8"/>
                      <a:pt x="100" y="7"/>
                      <a:pt x="102" y="7"/>
                    </a:cubicBezTo>
                    <a:cubicBezTo>
                      <a:pt x="102" y="6"/>
                      <a:pt x="102" y="5"/>
                      <a:pt x="102" y="5"/>
                    </a:cubicBezTo>
                    <a:cubicBezTo>
                      <a:pt x="102" y="3"/>
                      <a:pt x="87" y="5"/>
                      <a:pt x="85" y="6"/>
                    </a:cubicBezTo>
                    <a:cubicBezTo>
                      <a:pt x="83" y="7"/>
                      <a:pt x="75" y="8"/>
                      <a:pt x="72" y="7"/>
                    </a:cubicBezTo>
                    <a:cubicBezTo>
                      <a:pt x="70" y="6"/>
                      <a:pt x="55" y="7"/>
                      <a:pt x="55" y="7"/>
                    </a:cubicBezTo>
                    <a:cubicBezTo>
                      <a:pt x="52" y="4"/>
                      <a:pt x="52" y="4"/>
                      <a:pt x="52" y="4"/>
                    </a:cubicBezTo>
                    <a:cubicBezTo>
                      <a:pt x="52" y="4"/>
                      <a:pt x="27" y="4"/>
                      <a:pt x="24" y="4"/>
                    </a:cubicBezTo>
                    <a:cubicBezTo>
                      <a:pt x="21" y="4"/>
                      <a:pt x="19" y="4"/>
                      <a:pt x="17" y="2"/>
                    </a:cubicBezTo>
                    <a:cubicBezTo>
                      <a:pt x="15" y="0"/>
                      <a:pt x="12" y="0"/>
                      <a:pt x="9" y="2"/>
                    </a:cubicBezTo>
                    <a:cubicBezTo>
                      <a:pt x="7" y="3"/>
                      <a:pt x="8" y="0"/>
                      <a:pt x="6" y="0"/>
                    </a:cubicBezTo>
                    <a:cubicBezTo>
                      <a:pt x="4" y="0"/>
                      <a:pt x="3" y="2"/>
                      <a:pt x="3" y="2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5"/>
                      <a:pt x="2" y="10"/>
                      <a:pt x="5" y="13"/>
                    </a:cubicBezTo>
                    <a:cubicBezTo>
                      <a:pt x="8" y="17"/>
                      <a:pt x="11" y="24"/>
                      <a:pt x="13" y="30"/>
                    </a:cubicBezTo>
                    <a:cubicBezTo>
                      <a:pt x="15" y="35"/>
                      <a:pt x="20" y="42"/>
                      <a:pt x="21" y="46"/>
                    </a:cubicBezTo>
                    <a:cubicBezTo>
                      <a:pt x="22" y="51"/>
                      <a:pt x="20" y="57"/>
                      <a:pt x="21" y="60"/>
                    </a:cubicBezTo>
                    <a:cubicBezTo>
                      <a:pt x="23" y="63"/>
                      <a:pt x="23" y="68"/>
                      <a:pt x="24" y="72"/>
                    </a:cubicBezTo>
                    <a:cubicBezTo>
                      <a:pt x="25" y="77"/>
                      <a:pt x="25" y="88"/>
                      <a:pt x="30" y="92"/>
                    </a:cubicBezTo>
                    <a:cubicBezTo>
                      <a:pt x="31" y="94"/>
                      <a:pt x="33" y="96"/>
                      <a:pt x="35" y="98"/>
                    </a:cubicBezTo>
                    <a:cubicBezTo>
                      <a:pt x="37" y="99"/>
                      <a:pt x="38" y="99"/>
                      <a:pt x="38" y="98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0" name="Freeform 6">
                <a:extLst>
                  <a:ext uri="{FF2B5EF4-FFF2-40B4-BE49-F238E27FC236}">
                    <a16:creationId xmlns:a16="http://schemas.microsoft.com/office/drawing/2014/main" id="{7A0DF6EB-2359-465E-97D9-31DDB91769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5180" y="4383404"/>
                <a:ext cx="149312" cy="129237"/>
              </a:xfrm>
              <a:custGeom>
                <a:avLst/>
                <a:gdLst>
                  <a:gd name="T0" fmla="*/ 43 w 65"/>
                  <a:gd name="T1" fmla="*/ 2 h 56"/>
                  <a:gd name="T2" fmla="*/ 42 w 65"/>
                  <a:gd name="T3" fmla="*/ 0 h 56"/>
                  <a:gd name="T4" fmla="*/ 35 w 65"/>
                  <a:gd name="T5" fmla="*/ 0 h 56"/>
                  <a:gd name="T6" fmla="*/ 31 w 65"/>
                  <a:gd name="T7" fmla="*/ 4 h 56"/>
                  <a:gd name="T8" fmla="*/ 23 w 65"/>
                  <a:gd name="T9" fmla="*/ 10 h 56"/>
                  <a:gd name="T10" fmla="*/ 15 w 65"/>
                  <a:gd name="T11" fmla="*/ 19 h 56"/>
                  <a:gd name="T12" fmla="*/ 5 w 65"/>
                  <a:gd name="T13" fmla="*/ 17 h 56"/>
                  <a:gd name="T14" fmla="*/ 0 w 65"/>
                  <a:gd name="T15" fmla="*/ 18 h 56"/>
                  <a:gd name="T16" fmla="*/ 5 w 65"/>
                  <a:gd name="T17" fmla="*/ 22 h 56"/>
                  <a:gd name="T18" fmla="*/ 9 w 65"/>
                  <a:gd name="T19" fmla="*/ 32 h 56"/>
                  <a:gd name="T20" fmla="*/ 18 w 65"/>
                  <a:gd name="T21" fmla="*/ 37 h 56"/>
                  <a:gd name="T22" fmla="*/ 21 w 65"/>
                  <a:gd name="T23" fmla="*/ 44 h 56"/>
                  <a:gd name="T24" fmla="*/ 26 w 65"/>
                  <a:gd name="T25" fmla="*/ 49 h 56"/>
                  <a:gd name="T26" fmla="*/ 32 w 65"/>
                  <a:gd name="T27" fmla="*/ 53 h 56"/>
                  <a:gd name="T28" fmla="*/ 40 w 65"/>
                  <a:gd name="T29" fmla="*/ 54 h 56"/>
                  <a:gd name="T30" fmla="*/ 49 w 65"/>
                  <a:gd name="T31" fmla="*/ 56 h 56"/>
                  <a:gd name="T32" fmla="*/ 57 w 65"/>
                  <a:gd name="T33" fmla="*/ 48 h 56"/>
                  <a:gd name="T34" fmla="*/ 59 w 65"/>
                  <a:gd name="T35" fmla="*/ 40 h 56"/>
                  <a:gd name="T36" fmla="*/ 63 w 65"/>
                  <a:gd name="T37" fmla="*/ 34 h 56"/>
                  <a:gd name="T38" fmla="*/ 61 w 65"/>
                  <a:gd name="T39" fmla="*/ 28 h 56"/>
                  <a:gd name="T40" fmla="*/ 63 w 65"/>
                  <a:gd name="T41" fmla="*/ 20 h 56"/>
                  <a:gd name="T42" fmla="*/ 63 w 65"/>
                  <a:gd name="T43" fmla="*/ 8 h 56"/>
                  <a:gd name="T44" fmla="*/ 53 w 65"/>
                  <a:gd name="T45" fmla="*/ 5 h 56"/>
                  <a:gd name="T46" fmla="*/ 43 w 65"/>
                  <a:gd name="T47" fmla="*/ 2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65" h="56">
                    <a:moveTo>
                      <a:pt x="43" y="2"/>
                    </a:moveTo>
                    <a:cubicBezTo>
                      <a:pt x="42" y="0"/>
                      <a:pt x="42" y="0"/>
                      <a:pt x="42" y="0"/>
                    </a:cubicBezTo>
                    <a:cubicBezTo>
                      <a:pt x="35" y="0"/>
                      <a:pt x="35" y="0"/>
                      <a:pt x="35" y="0"/>
                    </a:cubicBezTo>
                    <a:cubicBezTo>
                      <a:pt x="31" y="1"/>
                      <a:pt x="31" y="2"/>
                      <a:pt x="31" y="4"/>
                    </a:cubicBezTo>
                    <a:cubicBezTo>
                      <a:pt x="31" y="5"/>
                      <a:pt x="26" y="9"/>
                      <a:pt x="23" y="10"/>
                    </a:cubicBezTo>
                    <a:cubicBezTo>
                      <a:pt x="20" y="11"/>
                      <a:pt x="17" y="18"/>
                      <a:pt x="15" y="19"/>
                    </a:cubicBezTo>
                    <a:cubicBezTo>
                      <a:pt x="13" y="20"/>
                      <a:pt x="6" y="17"/>
                      <a:pt x="5" y="17"/>
                    </a:cubicBezTo>
                    <a:cubicBezTo>
                      <a:pt x="4" y="17"/>
                      <a:pt x="2" y="17"/>
                      <a:pt x="0" y="18"/>
                    </a:cubicBezTo>
                    <a:cubicBezTo>
                      <a:pt x="2" y="20"/>
                      <a:pt x="4" y="22"/>
                      <a:pt x="5" y="22"/>
                    </a:cubicBezTo>
                    <a:cubicBezTo>
                      <a:pt x="6" y="22"/>
                      <a:pt x="7" y="31"/>
                      <a:pt x="9" y="32"/>
                    </a:cubicBezTo>
                    <a:cubicBezTo>
                      <a:pt x="12" y="33"/>
                      <a:pt x="18" y="36"/>
                      <a:pt x="18" y="37"/>
                    </a:cubicBezTo>
                    <a:cubicBezTo>
                      <a:pt x="18" y="39"/>
                      <a:pt x="21" y="41"/>
                      <a:pt x="21" y="44"/>
                    </a:cubicBezTo>
                    <a:cubicBezTo>
                      <a:pt x="21" y="46"/>
                      <a:pt x="24" y="49"/>
                      <a:pt x="26" y="49"/>
                    </a:cubicBezTo>
                    <a:cubicBezTo>
                      <a:pt x="32" y="49"/>
                      <a:pt x="32" y="51"/>
                      <a:pt x="32" y="53"/>
                    </a:cubicBezTo>
                    <a:cubicBezTo>
                      <a:pt x="32" y="54"/>
                      <a:pt x="39" y="53"/>
                      <a:pt x="40" y="54"/>
                    </a:cubicBezTo>
                    <a:cubicBezTo>
                      <a:pt x="41" y="55"/>
                      <a:pt x="47" y="55"/>
                      <a:pt x="49" y="56"/>
                    </a:cubicBezTo>
                    <a:cubicBezTo>
                      <a:pt x="52" y="53"/>
                      <a:pt x="56" y="49"/>
                      <a:pt x="57" y="48"/>
                    </a:cubicBezTo>
                    <a:cubicBezTo>
                      <a:pt x="59" y="45"/>
                      <a:pt x="57" y="41"/>
                      <a:pt x="59" y="40"/>
                    </a:cubicBezTo>
                    <a:cubicBezTo>
                      <a:pt x="61" y="39"/>
                      <a:pt x="65" y="34"/>
                      <a:pt x="63" y="34"/>
                    </a:cubicBezTo>
                    <a:cubicBezTo>
                      <a:pt x="62" y="33"/>
                      <a:pt x="63" y="30"/>
                      <a:pt x="61" y="28"/>
                    </a:cubicBezTo>
                    <a:cubicBezTo>
                      <a:pt x="59" y="25"/>
                      <a:pt x="63" y="24"/>
                      <a:pt x="63" y="20"/>
                    </a:cubicBezTo>
                    <a:cubicBezTo>
                      <a:pt x="63" y="17"/>
                      <a:pt x="64" y="9"/>
                      <a:pt x="63" y="8"/>
                    </a:cubicBezTo>
                    <a:cubicBezTo>
                      <a:pt x="62" y="7"/>
                      <a:pt x="57" y="7"/>
                      <a:pt x="53" y="5"/>
                    </a:cubicBezTo>
                    <a:cubicBezTo>
                      <a:pt x="50" y="3"/>
                      <a:pt x="43" y="2"/>
                      <a:pt x="43" y="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1" name="Freeform 7">
                <a:extLst>
                  <a:ext uri="{FF2B5EF4-FFF2-40B4-BE49-F238E27FC236}">
                    <a16:creationId xmlns:a16="http://schemas.microsoft.com/office/drawing/2014/main" id="{45CDC157-C2FE-4B36-9285-7BBC2F5373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82330" y="4424810"/>
                <a:ext cx="165624" cy="178171"/>
              </a:xfrm>
              <a:custGeom>
                <a:avLst/>
                <a:gdLst>
                  <a:gd name="T0" fmla="*/ 66 w 72"/>
                  <a:gd name="T1" fmla="*/ 31 h 77"/>
                  <a:gd name="T2" fmla="*/ 61 w 72"/>
                  <a:gd name="T3" fmla="*/ 26 h 77"/>
                  <a:gd name="T4" fmla="*/ 58 w 72"/>
                  <a:gd name="T5" fmla="*/ 19 h 77"/>
                  <a:gd name="T6" fmla="*/ 49 w 72"/>
                  <a:gd name="T7" fmla="*/ 14 h 77"/>
                  <a:gd name="T8" fmla="*/ 45 w 72"/>
                  <a:gd name="T9" fmla="*/ 4 h 77"/>
                  <a:gd name="T10" fmla="*/ 40 w 72"/>
                  <a:gd name="T11" fmla="*/ 0 h 77"/>
                  <a:gd name="T12" fmla="*/ 35 w 72"/>
                  <a:gd name="T13" fmla="*/ 1 h 77"/>
                  <a:gd name="T14" fmla="*/ 29 w 72"/>
                  <a:gd name="T15" fmla="*/ 4 h 77"/>
                  <a:gd name="T16" fmla="*/ 25 w 72"/>
                  <a:gd name="T17" fmla="*/ 1 h 77"/>
                  <a:gd name="T18" fmla="*/ 16 w 72"/>
                  <a:gd name="T19" fmla="*/ 4 h 77"/>
                  <a:gd name="T20" fmla="*/ 8 w 72"/>
                  <a:gd name="T21" fmla="*/ 5 h 77"/>
                  <a:gd name="T22" fmla="*/ 8 w 72"/>
                  <a:gd name="T23" fmla="*/ 32 h 77"/>
                  <a:gd name="T24" fmla="*/ 0 w 72"/>
                  <a:gd name="T25" fmla="*/ 35 h 77"/>
                  <a:gd name="T26" fmla="*/ 0 w 72"/>
                  <a:gd name="T27" fmla="*/ 59 h 77"/>
                  <a:gd name="T28" fmla="*/ 4 w 72"/>
                  <a:gd name="T29" fmla="*/ 62 h 77"/>
                  <a:gd name="T30" fmla="*/ 7 w 72"/>
                  <a:gd name="T31" fmla="*/ 71 h 77"/>
                  <a:gd name="T32" fmla="*/ 5 w 72"/>
                  <a:gd name="T33" fmla="*/ 72 h 77"/>
                  <a:gd name="T34" fmla="*/ 7 w 72"/>
                  <a:gd name="T35" fmla="*/ 76 h 77"/>
                  <a:gd name="T36" fmla="*/ 15 w 72"/>
                  <a:gd name="T37" fmla="*/ 76 h 77"/>
                  <a:gd name="T38" fmla="*/ 22 w 72"/>
                  <a:gd name="T39" fmla="*/ 67 h 77"/>
                  <a:gd name="T40" fmla="*/ 27 w 72"/>
                  <a:gd name="T41" fmla="*/ 63 h 77"/>
                  <a:gd name="T42" fmla="*/ 37 w 72"/>
                  <a:gd name="T43" fmla="*/ 66 h 77"/>
                  <a:gd name="T44" fmla="*/ 45 w 72"/>
                  <a:gd name="T45" fmla="*/ 62 h 77"/>
                  <a:gd name="T46" fmla="*/ 48 w 72"/>
                  <a:gd name="T47" fmla="*/ 57 h 77"/>
                  <a:gd name="T48" fmla="*/ 55 w 72"/>
                  <a:gd name="T49" fmla="*/ 52 h 77"/>
                  <a:gd name="T50" fmla="*/ 58 w 72"/>
                  <a:gd name="T51" fmla="*/ 46 h 77"/>
                  <a:gd name="T52" fmla="*/ 64 w 72"/>
                  <a:gd name="T53" fmla="*/ 41 h 77"/>
                  <a:gd name="T54" fmla="*/ 69 w 72"/>
                  <a:gd name="T55" fmla="*/ 38 h 77"/>
                  <a:gd name="T56" fmla="*/ 72 w 72"/>
                  <a:gd name="T57" fmla="*/ 35 h 77"/>
                  <a:gd name="T58" fmla="*/ 72 w 72"/>
                  <a:gd name="T59" fmla="*/ 35 h 77"/>
                  <a:gd name="T60" fmla="*/ 66 w 72"/>
                  <a:gd name="T61" fmla="*/ 31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72" h="77">
                    <a:moveTo>
                      <a:pt x="66" y="31"/>
                    </a:moveTo>
                    <a:cubicBezTo>
                      <a:pt x="64" y="31"/>
                      <a:pt x="61" y="28"/>
                      <a:pt x="61" y="26"/>
                    </a:cubicBezTo>
                    <a:cubicBezTo>
                      <a:pt x="61" y="23"/>
                      <a:pt x="58" y="21"/>
                      <a:pt x="58" y="19"/>
                    </a:cubicBezTo>
                    <a:cubicBezTo>
                      <a:pt x="58" y="18"/>
                      <a:pt x="52" y="15"/>
                      <a:pt x="49" y="14"/>
                    </a:cubicBezTo>
                    <a:cubicBezTo>
                      <a:pt x="47" y="13"/>
                      <a:pt x="46" y="4"/>
                      <a:pt x="45" y="4"/>
                    </a:cubicBezTo>
                    <a:cubicBezTo>
                      <a:pt x="44" y="4"/>
                      <a:pt x="42" y="2"/>
                      <a:pt x="40" y="0"/>
                    </a:cubicBezTo>
                    <a:cubicBezTo>
                      <a:pt x="38" y="0"/>
                      <a:pt x="36" y="1"/>
                      <a:pt x="35" y="1"/>
                    </a:cubicBezTo>
                    <a:cubicBezTo>
                      <a:pt x="33" y="1"/>
                      <a:pt x="30" y="3"/>
                      <a:pt x="29" y="4"/>
                    </a:cubicBezTo>
                    <a:cubicBezTo>
                      <a:pt x="28" y="5"/>
                      <a:pt x="27" y="2"/>
                      <a:pt x="25" y="1"/>
                    </a:cubicBezTo>
                    <a:cubicBezTo>
                      <a:pt x="24" y="0"/>
                      <a:pt x="18" y="3"/>
                      <a:pt x="16" y="4"/>
                    </a:cubicBezTo>
                    <a:cubicBezTo>
                      <a:pt x="14" y="4"/>
                      <a:pt x="8" y="5"/>
                      <a:pt x="8" y="5"/>
                    </a:cubicBezTo>
                    <a:cubicBezTo>
                      <a:pt x="8" y="5"/>
                      <a:pt x="8" y="29"/>
                      <a:pt x="8" y="32"/>
                    </a:cubicBezTo>
                    <a:cubicBezTo>
                      <a:pt x="8" y="35"/>
                      <a:pt x="0" y="33"/>
                      <a:pt x="0" y="35"/>
                    </a:cubicBezTo>
                    <a:cubicBezTo>
                      <a:pt x="0" y="36"/>
                      <a:pt x="0" y="47"/>
                      <a:pt x="0" y="59"/>
                    </a:cubicBezTo>
                    <a:cubicBezTo>
                      <a:pt x="2" y="60"/>
                      <a:pt x="4" y="61"/>
                      <a:pt x="4" y="62"/>
                    </a:cubicBezTo>
                    <a:cubicBezTo>
                      <a:pt x="5" y="64"/>
                      <a:pt x="7" y="69"/>
                      <a:pt x="7" y="71"/>
                    </a:cubicBezTo>
                    <a:cubicBezTo>
                      <a:pt x="6" y="72"/>
                      <a:pt x="5" y="71"/>
                      <a:pt x="5" y="72"/>
                    </a:cubicBezTo>
                    <a:cubicBezTo>
                      <a:pt x="5" y="74"/>
                      <a:pt x="4" y="76"/>
                      <a:pt x="7" y="76"/>
                    </a:cubicBezTo>
                    <a:cubicBezTo>
                      <a:pt x="9" y="76"/>
                      <a:pt x="13" y="77"/>
                      <a:pt x="15" y="76"/>
                    </a:cubicBezTo>
                    <a:cubicBezTo>
                      <a:pt x="16" y="74"/>
                      <a:pt x="22" y="69"/>
                      <a:pt x="22" y="67"/>
                    </a:cubicBezTo>
                    <a:cubicBezTo>
                      <a:pt x="22" y="65"/>
                      <a:pt x="23" y="60"/>
                      <a:pt x="27" y="63"/>
                    </a:cubicBezTo>
                    <a:cubicBezTo>
                      <a:pt x="32" y="66"/>
                      <a:pt x="32" y="66"/>
                      <a:pt x="37" y="66"/>
                    </a:cubicBezTo>
                    <a:cubicBezTo>
                      <a:pt x="42" y="66"/>
                      <a:pt x="44" y="66"/>
                      <a:pt x="45" y="62"/>
                    </a:cubicBezTo>
                    <a:cubicBezTo>
                      <a:pt x="46" y="59"/>
                      <a:pt x="45" y="57"/>
                      <a:pt x="48" y="57"/>
                    </a:cubicBezTo>
                    <a:cubicBezTo>
                      <a:pt x="51" y="57"/>
                      <a:pt x="55" y="54"/>
                      <a:pt x="55" y="52"/>
                    </a:cubicBezTo>
                    <a:cubicBezTo>
                      <a:pt x="55" y="49"/>
                      <a:pt x="56" y="46"/>
                      <a:pt x="58" y="46"/>
                    </a:cubicBezTo>
                    <a:cubicBezTo>
                      <a:pt x="60" y="46"/>
                      <a:pt x="64" y="44"/>
                      <a:pt x="64" y="41"/>
                    </a:cubicBezTo>
                    <a:cubicBezTo>
                      <a:pt x="65" y="39"/>
                      <a:pt x="68" y="40"/>
                      <a:pt x="69" y="38"/>
                    </a:cubicBezTo>
                    <a:cubicBezTo>
                      <a:pt x="70" y="38"/>
                      <a:pt x="71" y="36"/>
                      <a:pt x="72" y="35"/>
                    </a:cubicBezTo>
                    <a:cubicBezTo>
                      <a:pt x="72" y="35"/>
                      <a:pt x="72" y="35"/>
                      <a:pt x="72" y="35"/>
                    </a:cubicBezTo>
                    <a:cubicBezTo>
                      <a:pt x="72" y="33"/>
                      <a:pt x="72" y="31"/>
                      <a:pt x="66" y="3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2" name="Freeform 8">
                <a:extLst>
                  <a:ext uri="{FF2B5EF4-FFF2-40B4-BE49-F238E27FC236}">
                    <a16:creationId xmlns:a16="http://schemas.microsoft.com/office/drawing/2014/main" id="{C81324F5-201D-4284-8888-95FF9B0882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78067" y="4580396"/>
                <a:ext cx="25095" cy="28859"/>
              </a:xfrm>
              <a:custGeom>
                <a:avLst/>
                <a:gdLst>
                  <a:gd name="T0" fmla="*/ 5 w 11"/>
                  <a:gd name="T1" fmla="*/ 0 h 13"/>
                  <a:gd name="T2" fmla="*/ 0 w 11"/>
                  <a:gd name="T3" fmla="*/ 5 h 13"/>
                  <a:gd name="T4" fmla="*/ 5 w 11"/>
                  <a:gd name="T5" fmla="*/ 13 h 13"/>
                  <a:gd name="T6" fmla="*/ 9 w 11"/>
                  <a:gd name="T7" fmla="*/ 11 h 13"/>
                  <a:gd name="T8" fmla="*/ 11 w 11"/>
                  <a:gd name="T9" fmla="*/ 9 h 13"/>
                  <a:gd name="T10" fmla="*/ 10 w 11"/>
                  <a:gd name="T11" fmla="*/ 2 h 13"/>
                  <a:gd name="T12" fmla="*/ 5 w 11"/>
                  <a:gd name="T13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" h="13">
                    <a:moveTo>
                      <a:pt x="5" y="0"/>
                    </a:moveTo>
                    <a:cubicBezTo>
                      <a:pt x="3" y="0"/>
                      <a:pt x="0" y="4"/>
                      <a:pt x="0" y="5"/>
                    </a:cubicBezTo>
                    <a:cubicBezTo>
                      <a:pt x="0" y="6"/>
                      <a:pt x="2" y="13"/>
                      <a:pt x="5" y="13"/>
                    </a:cubicBezTo>
                    <a:cubicBezTo>
                      <a:pt x="7" y="13"/>
                      <a:pt x="9" y="13"/>
                      <a:pt x="9" y="11"/>
                    </a:cubicBezTo>
                    <a:cubicBezTo>
                      <a:pt x="9" y="10"/>
                      <a:pt x="10" y="9"/>
                      <a:pt x="11" y="9"/>
                    </a:cubicBezTo>
                    <a:cubicBezTo>
                      <a:pt x="10" y="7"/>
                      <a:pt x="10" y="4"/>
                      <a:pt x="10" y="2"/>
                    </a:cubicBezTo>
                    <a:cubicBezTo>
                      <a:pt x="8" y="1"/>
                      <a:pt x="7" y="0"/>
                      <a:pt x="5" y="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3" name="Freeform 9">
                <a:extLst>
                  <a:ext uri="{FF2B5EF4-FFF2-40B4-BE49-F238E27FC236}">
                    <a16:creationId xmlns:a16="http://schemas.microsoft.com/office/drawing/2014/main" id="{5ADC209C-A8E7-4A30-B5BC-49FCA0BFA0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11567" y="4633094"/>
                <a:ext cx="41406" cy="43915"/>
              </a:xfrm>
              <a:custGeom>
                <a:avLst/>
                <a:gdLst>
                  <a:gd name="T0" fmla="*/ 13 w 18"/>
                  <a:gd name="T1" fmla="*/ 2 h 19"/>
                  <a:gd name="T2" fmla="*/ 5 w 18"/>
                  <a:gd name="T3" fmla="*/ 5 h 19"/>
                  <a:gd name="T4" fmla="*/ 0 w 18"/>
                  <a:gd name="T5" fmla="*/ 12 h 19"/>
                  <a:gd name="T6" fmla="*/ 5 w 18"/>
                  <a:gd name="T7" fmla="*/ 19 h 19"/>
                  <a:gd name="T8" fmla="*/ 8 w 18"/>
                  <a:gd name="T9" fmla="*/ 19 h 19"/>
                  <a:gd name="T10" fmla="*/ 10 w 18"/>
                  <a:gd name="T11" fmla="*/ 15 h 19"/>
                  <a:gd name="T12" fmla="*/ 15 w 18"/>
                  <a:gd name="T13" fmla="*/ 13 h 19"/>
                  <a:gd name="T14" fmla="*/ 18 w 18"/>
                  <a:gd name="T15" fmla="*/ 8 h 19"/>
                  <a:gd name="T16" fmla="*/ 13 w 18"/>
                  <a:gd name="T17" fmla="*/ 2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" h="19">
                    <a:moveTo>
                      <a:pt x="13" y="2"/>
                    </a:moveTo>
                    <a:cubicBezTo>
                      <a:pt x="12" y="0"/>
                      <a:pt x="5" y="3"/>
                      <a:pt x="5" y="5"/>
                    </a:cubicBezTo>
                    <a:cubicBezTo>
                      <a:pt x="4" y="7"/>
                      <a:pt x="0" y="12"/>
                      <a:pt x="0" y="12"/>
                    </a:cubicBezTo>
                    <a:cubicBezTo>
                      <a:pt x="5" y="19"/>
                      <a:pt x="5" y="19"/>
                      <a:pt x="5" y="19"/>
                    </a:cubicBezTo>
                    <a:cubicBezTo>
                      <a:pt x="8" y="19"/>
                      <a:pt x="8" y="19"/>
                      <a:pt x="8" y="19"/>
                    </a:cubicBezTo>
                    <a:cubicBezTo>
                      <a:pt x="8" y="19"/>
                      <a:pt x="9" y="17"/>
                      <a:pt x="10" y="15"/>
                    </a:cubicBezTo>
                    <a:cubicBezTo>
                      <a:pt x="11" y="13"/>
                      <a:pt x="15" y="15"/>
                      <a:pt x="15" y="13"/>
                    </a:cubicBezTo>
                    <a:cubicBezTo>
                      <a:pt x="15" y="11"/>
                      <a:pt x="18" y="10"/>
                      <a:pt x="18" y="8"/>
                    </a:cubicBezTo>
                    <a:cubicBezTo>
                      <a:pt x="18" y="6"/>
                      <a:pt x="14" y="3"/>
                      <a:pt x="13" y="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4" name="Freeform 10">
                <a:extLst>
                  <a:ext uri="{FF2B5EF4-FFF2-40B4-BE49-F238E27FC236}">
                    <a16:creationId xmlns:a16="http://schemas.microsoft.com/office/drawing/2014/main" id="{1E35FBEE-6A9F-4128-8E85-379AA616F4B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20849" y="4506367"/>
                <a:ext cx="297370" cy="259728"/>
              </a:xfrm>
              <a:custGeom>
                <a:avLst/>
                <a:gdLst>
                  <a:gd name="T0" fmla="*/ 123 w 129"/>
                  <a:gd name="T1" fmla="*/ 42 h 113"/>
                  <a:gd name="T2" fmla="*/ 123 w 129"/>
                  <a:gd name="T3" fmla="*/ 41 h 113"/>
                  <a:gd name="T4" fmla="*/ 121 w 129"/>
                  <a:gd name="T5" fmla="*/ 43 h 113"/>
                  <a:gd name="T6" fmla="*/ 117 w 129"/>
                  <a:gd name="T7" fmla="*/ 45 h 113"/>
                  <a:gd name="T8" fmla="*/ 112 w 129"/>
                  <a:gd name="T9" fmla="*/ 37 h 113"/>
                  <a:gd name="T10" fmla="*/ 117 w 129"/>
                  <a:gd name="T11" fmla="*/ 32 h 113"/>
                  <a:gd name="T12" fmla="*/ 122 w 129"/>
                  <a:gd name="T13" fmla="*/ 34 h 113"/>
                  <a:gd name="T14" fmla="*/ 122 w 129"/>
                  <a:gd name="T15" fmla="*/ 33 h 113"/>
                  <a:gd name="T16" fmla="*/ 121 w 129"/>
                  <a:gd name="T17" fmla="*/ 18 h 113"/>
                  <a:gd name="T18" fmla="*/ 116 w 129"/>
                  <a:gd name="T19" fmla="*/ 3 h 113"/>
                  <a:gd name="T20" fmla="*/ 107 w 129"/>
                  <a:gd name="T21" fmla="*/ 1 h 113"/>
                  <a:gd name="T22" fmla="*/ 99 w 129"/>
                  <a:gd name="T23" fmla="*/ 0 h 113"/>
                  <a:gd name="T24" fmla="*/ 96 w 129"/>
                  <a:gd name="T25" fmla="*/ 3 h 113"/>
                  <a:gd name="T26" fmla="*/ 91 w 129"/>
                  <a:gd name="T27" fmla="*/ 6 h 113"/>
                  <a:gd name="T28" fmla="*/ 85 w 129"/>
                  <a:gd name="T29" fmla="*/ 11 h 113"/>
                  <a:gd name="T30" fmla="*/ 82 w 129"/>
                  <a:gd name="T31" fmla="*/ 17 h 113"/>
                  <a:gd name="T32" fmla="*/ 75 w 129"/>
                  <a:gd name="T33" fmla="*/ 22 h 113"/>
                  <a:gd name="T34" fmla="*/ 72 w 129"/>
                  <a:gd name="T35" fmla="*/ 27 h 113"/>
                  <a:gd name="T36" fmla="*/ 64 w 129"/>
                  <a:gd name="T37" fmla="*/ 31 h 113"/>
                  <a:gd name="T38" fmla="*/ 54 w 129"/>
                  <a:gd name="T39" fmla="*/ 28 h 113"/>
                  <a:gd name="T40" fmla="*/ 49 w 129"/>
                  <a:gd name="T41" fmla="*/ 32 h 113"/>
                  <a:gd name="T42" fmla="*/ 42 w 129"/>
                  <a:gd name="T43" fmla="*/ 41 h 113"/>
                  <a:gd name="T44" fmla="*/ 34 w 129"/>
                  <a:gd name="T45" fmla="*/ 41 h 113"/>
                  <a:gd name="T46" fmla="*/ 32 w 129"/>
                  <a:gd name="T47" fmla="*/ 37 h 113"/>
                  <a:gd name="T48" fmla="*/ 34 w 129"/>
                  <a:gd name="T49" fmla="*/ 36 h 113"/>
                  <a:gd name="T50" fmla="*/ 31 w 129"/>
                  <a:gd name="T51" fmla="*/ 27 h 113"/>
                  <a:gd name="T52" fmla="*/ 27 w 129"/>
                  <a:gd name="T53" fmla="*/ 24 h 113"/>
                  <a:gd name="T54" fmla="*/ 27 w 129"/>
                  <a:gd name="T55" fmla="*/ 53 h 113"/>
                  <a:gd name="T56" fmla="*/ 22 w 129"/>
                  <a:gd name="T57" fmla="*/ 59 h 113"/>
                  <a:gd name="T58" fmla="*/ 12 w 129"/>
                  <a:gd name="T59" fmla="*/ 59 h 113"/>
                  <a:gd name="T60" fmla="*/ 8 w 129"/>
                  <a:gd name="T61" fmla="*/ 53 h 113"/>
                  <a:gd name="T62" fmla="*/ 3 w 129"/>
                  <a:gd name="T63" fmla="*/ 56 h 113"/>
                  <a:gd name="T64" fmla="*/ 0 w 129"/>
                  <a:gd name="T65" fmla="*/ 56 h 113"/>
                  <a:gd name="T66" fmla="*/ 6 w 129"/>
                  <a:gd name="T67" fmla="*/ 69 h 113"/>
                  <a:gd name="T68" fmla="*/ 13 w 129"/>
                  <a:gd name="T69" fmla="*/ 85 h 113"/>
                  <a:gd name="T70" fmla="*/ 13 w 129"/>
                  <a:gd name="T71" fmla="*/ 93 h 113"/>
                  <a:gd name="T72" fmla="*/ 14 w 129"/>
                  <a:gd name="T73" fmla="*/ 99 h 113"/>
                  <a:gd name="T74" fmla="*/ 16 w 129"/>
                  <a:gd name="T75" fmla="*/ 106 h 113"/>
                  <a:gd name="T76" fmla="*/ 20 w 129"/>
                  <a:gd name="T77" fmla="*/ 108 h 113"/>
                  <a:gd name="T78" fmla="*/ 24 w 129"/>
                  <a:gd name="T79" fmla="*/ 112 h 113"/>
                  <a:gd name="T80" fmla="*/ 29 w 129"/>
                  <a:gd name="T81" fmla="*/ 111 h 113"/>
                  <a:gd name="T82" fmla="*/ 39 w 129"/>
                  <a:gd name="T83" fmla="*/ 109 h 113"/>
                  <a:gd name="T84" fmla="*/ 46 w 129"/>
                  <a:gd name="T85" fmla="*/ 106 h 113"/>
                  <a:gd name="T86" fmla="*/ 58 w 129"/>
                  <a:gd name="T87" fmla="*/ 106 h 113"/>
                  <a:gd name="T88" fmla="*/ 66 w 129"/>
                  <a:gd name="T89" fmla="*/ 105 h 113"/>
                  <a:gd name="T90" fmla="*/ 71 w 129"/>
                  <a:gd name="T91" fmla="*/ 104 h 113"/>
                  <a:gd name="T92" fmla="*/ 78 w 129"/>
                  <a:gd name="T93" fmla="*/ 101 h 113"/>
                  <a:gd name="T94" fmla="*/ 94 w 129"/>
                  <a:gd name="T95" fmla="*/ 91 h 113"/>
                  <a:gd name="T96" fmla="*/ 113 w 129"/>
                  <a:gd name="T97" fmla="*/ 67 h 113"/>
                  <a:gd name="T98" fmla="*/ 125 w 129"/>
                  <a:gd name="T99" fmla="*/ 55 h 113"/>
                  <a:gd name="T100" fmla="*/ 129 w 129"/>
                  <a:gd name="T101" fmla="*/ 41 h 113"/>
                  <a:gd name="T102" fmla="*/ 123 w 129"/>
                  <a:gd name="T103" fmla="*/ 42 h 113"/>
                  <a:gd name="T104" fmla="*/ 98 w 129"/>
                  <a:gd name="T105" fmla="*/ 68 h 113"/>
                  <a:gd name="T106" fmla="*/ 93 w 129"/>
                  <a:gd name="T107" fmla="*/ 70 h 113"/>
                  <a:gd name="T108" fmla="*/ 91 w 129"/>
                  <a:gd name="T109" fmla="*/ 74 h 113"/>
                  <a:gd name="T110" fmla="*/ 88 w 129"/>
                  <a:gd name="T111" fmla="*/ 74 h 113"/>
                  <a:gd name="T112" fmla="*/ 83 w 129"/>
                  <a:gd name="T113" fmla="*/ 67 h 113"/>
                  <a:gd name="T114" fmla="*/ 88 w 129"/>
                  <a:gd name="T115" fmla="*/ 60 h 113"/>
                  <a:gd name="T116" fmla="*/ 96 w 129"/>
                  <a:gd name="T117" fmla="*/ 57 h 113"/>
                  <a:gd name="T118" fmla="*/ 101 w 129"/>
                  <a:gd name="T119" fmla="*/ 63 h 113"/>
                  <a:gd name="T120" fmla="*/ 98 w 129"/>
                  <a:gd name="T121" fmla="*/ 68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29" h="113">
                    <a:moveTo>
                      <a:pt x="123" y="42"/>
                    </a:moveTo>
                    <a:cubicBezTo>
                      <a:pt x="123" y="42"/>
                      <a:pt x="123" y="41"/>
                      <a:pt x="123" y="41"/>
                    </a:cubicBezTo>
                    <a:cubicBezTo>
                      <a:pt x="122" y="41"/>
                      <a:pt x="121" y="42"/>
                      <a:pt x="121" y="43"/>
                    </a:cubicBezTo>
                    <a:cubicBezTo>
                      <a:pt x="121" y="45"/>
                      <a:pt x="119" y="45"/>
                      <a:pt x="117" y="45"/>
                    </a:cubicBezTo>
                    <a:cubicBezTo>
                      <a:pt x="114" y="45"/>
                      <a:pt x="112" y="38"/>
                      <a:pt x="112" y="37"/>
                    </a:cubicBezTo>
                    <a:cubicBezTo>
                      <a:pt x="112" y="36"/>
                      <a:pt x="115" y="32"/>
                      <a:pt x="117" y="32"/>
                    </a:cubicBezTo>
                    <a:cubicBezTo>
                      <a:pt x="119" y="32"/>
                      <a:pt x="120" y="33"/>
                      <a:pt x="122" y="34"/>
                    </a:cubicBezTo>
                    <a:cubicBezTo>
                      <a:pt x="122" y="33"/>
                      <a:pt x="122" y="33"/>
                      <a:pt x="122" y="33"/>
                    </a:cubicBezTo>
                    <a:cubicBezTo>
                      <a:pt x="122" y="31"/>
                      <a:pt x="123" y="19"/>
                      <a:pt x="121" y="18"/>
                    </a:cubicBezTo>
                    <a:cubicBezTo>
                      <a:pt x="119" y="17"/>
                      <a:pt x="117" y="4"/>
                      <a:pt x="116" y="3"/>
                    </a:cubicBezTo>
                    <a:cubicBezTo>
                      <a:pt x="115" y="2"/>
                      <a:pt x="108" y="2"/>
                      <a:pt x="107" y="1"/>
                    </a:cubicBezTo>
                    <a:cubicBezTo>
                      <a:pt x="106" y="0"/>
                      <a:pt x="99" y="1"/>
                      <a:pt x="99" y="0"/>
                    </a:cubicBezTo>
                    <a:cubicBezTo>
                      <a:pt x="98" y="1"/>
                      <a:pt x="97" y="3"/>
                      <a:pt x="96" y="3"/>
                    </a:cubicBezTo>
                    <a:cubicBezTo>
                      <a:pt x="95" y="5"/>
                      <a:pt x="92" y="4"/>
                      <a:pt x="91" y="6"/>
                    </a:cubicBezTo>
                    <a:cubicBezTo>
                      <a:pt x="91" y="9"/>
                      <a:pt x="87" y="11"/>
                      <a:pt x="85" y="11"/>
                    </a:cubicBezTo>
                    <a:cubicBezTo>
                      <a:pt x="83" y="11"/>
                      <a:pt x="82" y="14"/>
                      <a:pt x="82" y="17"/>
                    </a:cubicBezTo>
                    <a:cubicBezTo>
                      <a:pt x="82" y="19"/>
                      <a:pt x="78" y="22"/>
                      <a:pt x="75" y="22"/>
                    </a:cubicBezTo>
                    <a:cubicBezTo>
                      <a:pt x="72" y="22"/>
                      <a:pt x="73" y="24"/>
                      <a:pt x="72" y="27"/>
                    </a:cubicBezTo>
                    <a:cubicBezTo>
                      <a:pt x="71" y="31"/>
                      <a:pt x="69" y="31"/>
                      <a:pt x="64" y="31"/>
                    </a:cubicBezTo>
                    <a:cubicBezTo>
                      <a:pt x="59" y="31"/>
                      <a:pt x="59" y="31"/>
                      <a:pt x="54" y="28"/>
                    </a:cubicBezTo>
                    <a:cubicBezTo>
                      <a:pt x="50" y="25"/>
                      <a:pt x="49" y="30"/>
                      <a:pt x="49" y="32"/>
                    </a:cubicBezTo>
                    <a:cubicBezTo>
                      <a:pt x="49" y="34"/>
                      <a:pt x="43" y="39"/>
                      <a:pt x="42" y="41"/>
                    </a:cubicBezTo>
                    <a:cubicBezTo>
                      <a:pt x="40" y="42"/>
                      <a:pt x="36" y="41"/>
                      <a:pt x="34" y="41"/>
                    </a:cubicBezTo>
                    <a:cubicBezTo>
                      <a:pt x="31" y="41"/>
                      <a:pt x="32" y="39"/>
                      <a:pt x="32" y="37"/>
                    </a:cubicBezTo>
                    <a:cubicBezTo>
                      <a:pt x="32" y="36"/>
                      <a:pt x="33" y="37"/>
                      <a:pt x="34" y="36"/>
                    </a:cubicBezTo>
                    <a:cubicBezTo>
                      <a:pt x="34" y="34"/>
                      <a:pt x="32" y="29"/>
                      <a:pt x="31" y="27"/>
                    </a:cubicBezTo>
                    <a:cubicBezTo>
                      <a:pt x="31" y="26"/>
                      <a:pt x="29" y="25"/>
                      <a:pt x="27" y="24"/>
                    </a:cubicBezTo>
                    <a:cubicBezTo>
                      <a:pt x="27" y="38"/>
                      <a:pt x="27" y="52"/>
                      <a:pt x="27" y="53"/>
                    </a:cubicBezTo>
                    <a:cubicBezTo>
                      <a:pt x="27" y="56"/>
                      <a:pt x="23" y="57"/>
                      <a:pt x="22" y="59"/>
                    </a:cubicBezTo>
                    <a:cubicBezTo>
                      <a:pt x="21" y="60"/>
                      <a:pt x="15" y="59"/>
                      <a:pt x="12" y="59"/>
                    </a:cubicBezTo>
                    <a:cubicBezTo>
                      <a:pt x="9" y="59"/>
                      <a:pt x="9" y="56"/>
                      <a:pt x="8" y="53"/>
                    </a:cubicBezTo>
                    <a:cubicBezTo>
                      <a:pt x="6" y="51"/>
                      <a:pt x="3" y="54"/>
                      <a:pt x="3" y="56"/>
                    </a:cubicBezTo>
                    <a:cubicBezTo>
                      <a:pt x="3" y="57"/>
                      <a:pt x="2" y="57"/>
                      <a:pt x="0" y="56"/>
                    </a:cubicBezTo>
                    <a:cubicBezTo>
                      <a:pt x="2" y="61"/>
                      <a:pt x="5" y="65"/>
                      <a:pt x="6" y="69"/>
                    </a:cubicBezTo>
                    <a:cubicBezTo>
                      <a:pt x="8" y="76"/>
                      <a:pt x="12" y="81"/>
                      <a:pt x="13" y="85"/>
                    </a:cubicBezTo>
                    <a:cubicBezTo>
                      <a:pt x="15" y="89"/>
                      <a:pt x="16" y="92"/>
                      <a:pt x="13" y="93"/>
                    </a:cubicBezTo>
                    <a:cubicBezTo>
                      <a:pt x="11" y="93"/>
                      <a:pt x="11" y="95"/>
                      <a:pt x="14" y="99"/>
                    </a:cubicBezTo>
                    <a:cubicBezTo>
                      <a:pt x="16" y="103"/>
                      <a:pt x="14" y="106"/>
                      <a:pt x="16" y="106"/>
                    </a:cubicBezTo>
                    <a:cubicBezTo>
                      <a:pt x="18" y="107"/>
                      <a:pt x="18" y="108"/>
                      <a:pt x="20" y="108"/>
                    </a:cubicBezTo>
                    <a:cubicBezTo>
                      <a:pt x="21" y="108"/>
                      <a:pt x="23" y="110"/>
                      <a:pt x="24" y="112"/>
                    </a:cubicBezTo>
                    <a:cubicBezTo>
                      <a:pt x="25" y="113"/>
                      <a:pt x="28" y="113"/>
                      <a:pt x="29" y="111"/>
                    </a:cubicBezTo>
                    <a:cubicBezTo>
                      <a:pt x="30" y="109"/>
                      <a:pt x="34" y="109"/>
                      <a:pt x="39" y="109"/>
                    </a:cubicBezTo>
                    <a:cubicBezTo>
                      <a:pt x="43" y="109"/>
                      <a:pt x="42" y="107"/>
                      <a:pt x="46" y="106"/>
                    </a:cubicBezTo>
                    <a:cubicBezTo>
                      <a:pt x="50" y="105"/>
                      <a:pt x="55" y="104"/>
                      <a:pt x="58" y="106"/>
                    </a:cubicBezTo>
                    <a:cubicBezTo>
                      <a:pt x="62" y="107"/>
                      <a:pt x="64" y="106"/>
                      <a:pt x="66" y="105"/>
                    </a:cubicBezTo>
                    <a:cubicBezTo>
                      <a:pt x="68" y="104"/>
                      <a:pt x="71" y="106"/>
                      <a:pt x="71" y="104"/>
                    </a:cubicBezTo>
                    <a:cubicBezTo>
                      <a:pt x="71" y="101"/>
                      <a:pt x="75" y="101"/>
                      <a:pt x="78" y="101"/>
                    </a:cubicBezTo>
                    <a:cubicBezTo>
                      <a:pt x="81" y="101"/>
                      <a:pt x="88" y="96"/>
                      <a:pt x="94" y="91"/>
                    </a:cubicBezTo>
                    <a:cubicBezTo>
                      <a:pt x="100" y="85"/>
                      <a:pt x="110" y="73"/>
                      <a:pt x="113" y="67"/>
                    </a:cubicBezTo>
                    <a:cubicBezTo>
                      <a:pt x="117" y="62"/>
                      <a:pt x="122" y="57"/>
                      <a:pt x="125" y="55"/>
                    </a:cubicBezTo>
                    <a:cubicBezTo>
                      <a:pt x="127" y="53"/>
                      <a:pt x="128" y="46"/>
                      <a:pt x="129" y="41"/>
                    </a:cubicBezTo>
                    <a:cubicBezTo>
                      <a:pt x="126" y="41"/>
                      <a:pt x="123" y="42"/>
                      <a:pt x="123" y="42"/>
                    </a:cubicBezTo>
                    <a:close/>
                    <a:moveTo>
                      <a:pt x="98" y="68"/>
                    </a:moveTo>
                    <a:cubicBezTo>
                      <a:pt x="98" y="70"/>
                      <a:pt x="94" y="68"/>
                      <a:pt x="93" y="70"/>
                    </a:cubicBezTo>
                    <a:cubicBezTo>
                      <a:pt x="92" y="72"/>
                      <a:pt x="91" y="74"/>
                      <a:pt x="91" y="74"/>
                    </a:cubicBezTo>
                    <a:cubicBezTo>
                      <a:pt x="88" y="74"/>
                      <a:pt x="88" y="74"/>
                      <a:pt x="88" y="74"/>
                    </a:cubicBezTo>
                    <a:cubicBezTo>
                      <a:pt x="83" y="67"/>
                      <a:pt x="83" y="67"/>
                      <a:pt x="83" y="67"/>
                    </a:cubicBezTo>
                    <a:cubicBezTo>
                      <a:pt x="83" y="67"/>
                      <a:pt x="87" y="62"/>
                      <a:pt x="88" y="60"/>
                    </a:cubicBezTo>
                    <a:cubicBezTo>
                      <a:pt x="88" y="58"/>
                      <a:pt x="95" y="55"/>
                      <a:pt x="96" y="57"/>
                    </a:cubicBezTo>
                    <a:cubicBezTo>
                      <a:pt x="97" y="58"/>
                      <a:pt x="101" y="61"/>
                      <a:pt x="101" y="63"/>
                    </a:cubicBezTo>
                    <a:cubicBezTo>
                      <a:pt x="101" y="65"/>
                      <a:pt x="98" y="66"/>
                      <a:pt x="98" y="68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5" name="Freeform 11">
                <a:extLst>
                  <a:ext uri="{FF2B5EF4-FFF2-40B4-BE49-F238E27FC236}">
                    <a16:creationId xmlns:a16="http://schemas.microsoft.com/office/drawing/2014/main" id="{D1198E76-B30B-433B-AF07-FB3ECE541C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9291" y="4197704"/>
                <a:ext cx="217068" cy="229615"/>
              </a:xfrm>
              <a:custGeom>
                <a:avLst/>
                <a:gdLst>
                  <a:gd name="T0" fmla="*/ 6 w 94"/>
                  <a:gd name="T1" fmla="*/ 92 h 100"/>
                  <a:gd name="T2" fmla="*/ 9 w 94"/>
                  <a:gd name="T3" fmla="*/ 94 h 100"/>
                  <a:gd name="T4" fmla="*/ 17 w 94"/>
                  <a:gd name="T5" fmla="*/ 94 h 100"/>
                  <a:gd name="T6" fmla="*/ 24 w 94"/>
                  <a:gd name="T7" fmla="*/ 96 h 100"/>
                  <a:gd name="T8" fmla="*/ 52 w 94"/>
                  <a:gd name="T9" fmla="*/ 96 h 100"/>
                  <a:gd name="T10" fmla="*/ 55 w 94"/>
                  <a:gd name="T11" fmla="*/ 99 h 100"/>
                  <a:gd name="T12" fmla="*/ 72 w 94"/>
                  <a:gd name="T13" fmla="*/ 99 h 100"/>
                  <a:gd name="T14" fmla="*/ 85 w 94"/>
                  <a:gd name="T15" fmla="*/ 98 h 100"/>
                  <a:gd name="T16" fmla="*/ 87 w 94"/>
                  <a:gd name="T17" fmla="*/ 97 h 100"/>
                  <a:gd name="T18" fmla="*/ 78 w 94"/>
                  <a:gd name="T19" fmla="*/ 85 h 100"/>
                  <a:gd name="T20" fmla="*/ 79 w 94"/>
                  <a:gd name="T21" fmla="*/ 58 h 100"/>
                  <a:gd name="T22" fmla="*/ 91 w 94"/>
                  <a:gd name="T23" fmla="*/ 59 h 100"/>
                  <a:gd name="T24" fmla="*/ 93 w 94"/>
                  <a:gd name="T25" fmla="*/ 57 h 100"/>
                  <a:gd name="T26" fmla="*/ 94 w 94"/>
                  <a:gd name="T27" fmla="*/ 41 h 100"/>
                  <a:gd name="T28" fmla="*/ 92 w 94"/>
                  <a:gd name="T29" fmla="*/ 40 h 100"/>
                  <a:gd name="T30" fmla="*/ 85 w 94"/>
                  <a:gd name="T31" fmla="*/ 41 h 100"/>
                  <a:gd name="T32" fmla="*/ 81 w 94"/>
                  <a:gd name="T33" fmla="*/ 43 h 100"/>
                  <a:gd name="T34" fmla="*/ 81 w 94"/>
                  <a:gd name="T35" fmla="*/ 37 h 100"/>
                  <a:gd name="T36" fmla="*/ 77 w 94"/>
                  <a:gd name="T37" fmla="*/ 30 h 100"/>
                  <a:gd name="T38" fmla="*/ 78 w 94"/>
                  <a:gd name="T39" fmla="*/ 19 h 100"/>
                  <a:gd name="T40" fmla="*/ 77 w 94"/>
                  <a:gd name="T41" fmla="*/ 13 h 100"/>
                  <a:gd name="T42" fmla="*/ 71 w 94"/>
                  <a:gd name="T43" fmla="*/ 12 h 100"/>
                  <a:gd name="T44" fmla="*/ 67 w 94"/>
                  <a:gd name="T45" fmla="*/ 10 h 100"/>
                  <a:gd name="T46" fmla="*/ 61 w 94"/>
                  <a:gd name="T47" fmla="*/ 10 h 100"/>
                  <a:gd name="T48" fmla="*/ 58 w 94"/>
                  <a:gd name="T49" fmla="*/ 17 h 100"/>
                  <a:gd name="T50" fmla="*/ 48 w 94"/>
                  <a:gd name="T51" fmla="*/ 18 h 100"/>
                  <a:gd name="T52" fmla="*/ 42 w 94"/>
                  <a:gd name="T53" fmla="*/ 13 h 100"/>
                  <a:gd name="T54" fmla="*/ 38 w 94"/>
                  <a:gd name="T55" fmla="*/ 7 h 100"/>
                  <a:gd name="T56" fmla="*/ 37 w 94"/>
                  <a:gd name="T57" fmla="*/ 1 h 100"/>
                  <a:gd name="T58" fmla="*/ 11 w 94"/>
                  <a:gd name="T59" fmla="*/ 1 h 100"/>
                  <a:gd name="T60" fmla="*/ 6 w 94"/>
                  <a:gd name="T61" fmla="*/ 3 h 100"/>
                  <a:gd name="T62" fmla="*/ 13 w 94"/>
                  <a:gd name="T63" fmla="*/ 20 h 100"/>
                  <a:gd name="T64" fmla="*/ 12 w 94"/>
                  <a:gd name="T65" fmla="*/ 28 h 100"/>
                  <a:gd name="T66" fmla="*/ 17 w 94"/>
                  <a:gd name="T67" fmla="*/ 45 h 100"/>
                  <a:gd name="T68" fmla="*/ 11 w 94"/>
                  <a:gd name="T69" fmla="*/ 57 h 100"/>
                  <a:gd name="T70" fmla="*/ 6 w 94"/>
                  <a:gd name="T71" fmla="*/ 72 h 100"/>
                  <a:gd name="T72" fmla="*/ 1 w 94"/>
                  <a:gd name="T73" fmla="*/ 83 h 100"/>
                  <a:gd name="T74" fmla="*/ 0 w 94"/>
                  <a:gd name="T75" fmla="*/ 94 h 100"/>
                  <a:gd name="T76" fmla="*/ 0 w 94"/>
                  <a:gd name="T77" fmla="*/ 95 h 100"/>
                  <a:gd name="T78" fmla="*/ 3 w 94"/>
                  <a:gd name="T79" fmla="*/ 94 h 100"/>
                  <a:gd name="T80" fmla="*/ 6 w 94"/>
                  <a:gd name="T81" fmla="*/ 92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94" h="100">
                    <a:moveTo>
                      <a:pt x="6" y="92"/>
                    </a:moveTo>
                    <a:cubicBezTo>
                      <a:pt x="8" y="92"/>
                      <a:pt x="7" y="95"/>
                      <a:pt x="9" y="94"/>
                    </a:cubicBezTo>
                    <a:cubicBezTo>
                      <a:pt x="12" y="92"/>
                      <a:pt x="15" y="92"/>
                      <a:pt x="17" y="94"/>
                    </a:cubicBezTo>
                    <a:cubicBezTo>
                      <a:pt x="19" y="96"/>
                      <a:pt x="21" y="96"/>
                      <a:pt x="24" y="96"/>
                    </a:cubicBezTo>
                    <a:cubicBezTo>
                      <a:pt x="27" y="96"/>
                      <a:pt x="52" y="96"/>
                      <a:pt x="52" y="96"/>
                    </a:cubicBezTo>
                    <a:cubicBezTo>
                      <a:pt x="55" y="99"/>
                      <a:pt x="55" y="99"/>
                      <a:pt x="55" y="99"/>
                    </a:cubicBezTo>
                    <a:cubicBezTo>
                      <a:pt x="55" y="99"/>
                      <a:pt x="70" y="98"/>
                      <a:pt x="72" y="99"/>
                    </a:cubicBezTo>
                    <a:cubicBezTo>
                      <a:pt x="75" y="100"/>
                      <a:pt x="83" y="99"/>
                      <a:pt x="85" y="98"/>
                    </a:cubicBezTo>
                    <a:cubicBezTo>
                      <a:pt x="85" y="98"/>
                      <a:pt x="86" y="98"/>
                      <a:pt x="87" y="97"/>
                    </a:cubicBezTo>
                    <a:cubicBezTo>
                      <a:pt x="78" y="85"/>
                      <a:pt x="78" y="85"/>
                      <a:pt x="78" y="85"/>
                    </a:cubicBezTo>
                    <a:cubicBezTo>
                      <a:pt x="79" y="58"/>
                      <a:pt x="79" y="58"/>
                      <a:pt x="79" y="58"/>
                    </a:cubicBezTo>
                    <a:cubicBezTo>
                      <a:pt x="91" y="59"/>
                      <a:pt x="91" y="59"/>
                      <a:pt x="91" y="59"/>
                    </a:cubicBezTo>
                    <a:cubicBezTo>
                      <a:pt x="93" y="57"/>
                      <a:pt x="93" y="57"/>
                      <a:pt x="93" y="57"/>
                    </a:cubicBezTo>
                    <a:cubicBezTo>
                      <a:pt x="94" y="41"/>
                      <a:pt x="94" y="41"/>
                      <a:pt x="94" y="41"/>
                    </a:cubicBezTo>
                    <a:cubicBezTo>
                      <a:pt x="94" y="40"/>
                      <a:pt x="93" y="40"/>
                      <a:pt x="92" y="40"/>
                    </a:cubicBezTo>
                    <a:cubicBezTo>
                      <a:pt x="90" y="42"/>
                      <a:pt x="88" y="41"/>
                      <a:pt x="85" y="41"/>
                    </a:cubicBezTo>
                    <a:cubicBezTo>
                      <a:pt x="83" y="41"/>
                      <a:pt x="82" y="44"/>
                      <a:pt x="81" y="43"/>
                    </a:cubicBezTo>
                    <a:cubicBezTo>
                      <a:pt x="79" y="43"/>
                      <a:pt x="81" y="39"/>
                      <a:pt x="81" y="37"/>
                    </a:cubicBezTo>
                    <a:cubicBezTo>
                      <a:pt x="81" y="35"/>
                      <a:pt x="79" y="32"/>
                      <a:pt x="77" y="30"/>
                    </a:cubicBezTo>
                    <a:cubicBezTo>
                      <a:pt x="75" y="29"/>
                      <a:pt x="79" y="20"/>
                      <a:pt x="78" y="19"/>
                    </a:cubicBezTo>
                    <a:cubicBezTo>
                      <a:pt x="77" y="18"/>
                      <a:pt x="77" y="15"/>
                      <a:pt x="77" y="13"/>
                    </a:cubicBezTo>
                    <a:cubicBezTo>
                      <a:pt x="77" y="10"/>
                      <a:pt x="75" y="12"/>
                      <a:pt x="71" y="12"/>
                    </a:cubicBezTo>
                    <a:cubicBezTo>
                      <a:pt x="68" y="12"/>
                      <a:pt x="67" y="10"/>
                      <a:pt x="67" y="10"/>
                    </a:cubicBezTo>
                    <a:cubicBezTo>
                      <a:pt x="67" y="10"/>
                      <a:pt x="63" y="9"/>
                      <a:pt x="61" y="10"/>
                    </a:cubicBezTo>
                    <a:cubicBezTo>
                      <a:pt x="59" y="11"/>
                      <a:pt x="59" y="17"/>
                      <a:pt x="58" y="17"/>
                    </a:cubicBezTo>
                    <a:cubicBezTo>
                      <a:pt x="56" y="17"/>
                      <a:pt x="52" y="17"/>
                      <a:pt x="48" y="18"/>
                    </a:cubicBezTo>
                    <a:cubicBezTo>
                      <a:pt x="45" y="19"/>
                      <a:pt x="43" y="18"/>
                      <a:pt x="42" y="13"/>
                    </a:cubicBezTo>
                    <a:cubicBezTo>
                      <a:pt x="40" y="9"/>
                      <a:pt x="38" y="10"/>
                      <a:pt x="38" y="7"/>
                    </a:cubicBezTo>
                    <a:cubicBezTo>
                      <a:pt x="39" y="4"/>
                      <a:pt x="37" y="1"/>
                      <a:pt x="37" y="1"/>
                    </a:cubicBezTo>
                    <a:cubicBezTo>
                      <a:pt x="37" y="1"/>
                      <a:pt x="13" y="0"/>
                      <a:pt x="11" y="1"/>
                    </a:cubicBezTo>
                    <a:cubicBezTo>
                      <a:pt x="10" y="1"/>
                      <a:pt x="8" y="2"/>
                      <a:pt x="6" y="3"/>
                    </a:cubicBezTo>
                    <a:cubicBezTo>
                      <a:pt x="8" y="8"/>
                      <a:pt x="12" y="18"/>
                      <a:pt x="13" y="20"/>
                    </a:cubicBezTo>
                    <a:cubicBezTo>
                      <a:pt x="15" y="22"/>
                      <a:pt x="12" y="24"/>
                      <a:pt x="12" y="28"/>
                    </a:cubicBezTo>
                    <a:cubicBezTo>
                      <a:pt x="12" y="32"/>
                      <a:pt x="17" y="40"/>
                      <a:pt x="17" y="45"/>
                    </a:cubicBezTo>
                    <a:cubicBezTo>
                      <a:pt x="18" y="50"/>
                      <a:pt x="14" y="53"/>
                      <a:pt x="11" y="57"/>
                    </a:cubicBezTo>
                    <a:cubicBezTo>
                      <a:pt x="9" y="60"/>
                      <a:pt x="6" y="68"/>
                      <a:pt x="6" y="72"/>
                    </a:cubicBezTo>
                    <a:cubicBezTo>
                      <a:pt x="6" y="77"/>
                      <a:pt x="1" y="81"/>
                      <a:pt x="1" y="83"/>
                    </a:cubicBezTo>
                    <a:cubicBezTo>
                      <a:pt x="2" y="86"/>
                      <a:pt x="1" y="92"/>
                      <a:pt x="0" y="94"/>
                    </a:cubicBezTo>
                    <a:cubicBezTo>
                      <a:pt x="0" y="94"/>
                      <a:pt x="0" y="95"/>
                      <a:pt x="0" y="95"/>
                    </a:cubicBezTo>
                    <a:cubicBezTo>
                      <a:pt x="3" y="94"/>
                      <a:pt x="3" y="94"/>
                      <a:pt x="3" y="94"/>
                    </a:cubicBezTo>
                    <a:cubicBezTo>
                      <a:pt x="3" y="94"/>
                      <a:pt x="4" y="92"/>
                      <a:pt x="6" y="9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6" name="Freeform 12">
                <a:extLst>
                  <a:ext uri="{FF2B5EF4-FFF2-40B4-BE49-F238E27FC236}">
                    <a16:creationId xmlns:a16="http://schemas.microsoft.com/office/drawing/2014/main" id="{0A37CE45-017D-42DB-B62E-4BDC5504EB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9972" y="4240365"/>
                <a:ext cx="213303" cy="189464"/>
              </a:xfrm>
              <a:custGeom>
                <a:avLst/>
                <a:gdLst>
                  <a:gd name="T0" fmla="*/ 71 w 93"/>
                  <a:gd name="T1" fmla="*/ 3 h 82"/>
                  <a:gd name="T2" fmla="*/ 65 w 93"/>
                  <a:gd name="T3" fmla="*/ 0 h 82"/>
                  <a:gd name="T4" fmla="*/ 56 w 93"/>
                  <a:gd name="T5" fmla="*/ 1 h 82"/>
                  <a:gd name="T6" fmla="*/ 54 w 93"/>
                  <a:gd name="T7" fmla="*/ 7 h 82"/>
                  <a:gd name="T8" fmla="*/ 52 w 93"/>
                  <a:gd name="T9" fmla="*/ 11 h 82"/>
                  <a:gd name="T10" fmla="*/ 52 w 93"/>
                  <a:gd name="T11" fmla="*/ 20 h 82"/>
                  <a:gd name="T12" fmla="*/ 50 w 93"/>
                  <a:gd name="T13" fmla="*/ 28 h 82"/>
                  <a:gd name="T14" fmla="*/ 56 w 93"/>
                  <a:gd name="T15" fmla="*/ 34 h 82"/>
                  <a:gd name="T16" fmla="*/ 61 w 93"/>
                  <a:gd name="T17" fmla="*/ 32 h 82"/>
                  <a:gd name="T18" fmla="*/ 62 w 93"/>
                  <a:gd name="T19" fmla="*/ 38 h 82"/>
                  <a:gd name="T20" fmla="*/ 61 w 93"/>
                  <a:gd name="T21" fmla="*/ 41 h 82"/>
                  <a:gd name="T22" fmla="*/ 55 w 93"/>
                  <a:gd name="T23" fmla="*/ 41 h 82"/>
                  <a:gd name="T24" fmla="*/ 52 w 93"/>
                  <a:gd name="T25" fmla="*/ 35 h 82"/>
                  <a:gd name="T26" fmla="*/ 46 w 93"/>
                  <a:gd name="T27" fmla="*/ 33 h 82"/>
                  <a:gd name="T28" fmla="*/ 41 w 93"/>
                  <a:gd name="T29" fmla="*/ 29 h 82"/>
                  <a:gd name="T30" fmla="*/ 39 w 93"/>
                  <a:gd name="T31" fmla="*/ 30 h 82"/>
                  <a:gd name="T32" fmla="*/ 35 w 93"/>
                  <a:gd name="T33" fmla="*/ 31 h 82"/>
                  <a:gd name="T34" fmla="*/ 28 w 93"/>
                  <a:gd name="T35" fmla="*/ 29 h 82"/>
                  <a:gd name="T36" fmla="*/ 26 w 93"/>
                  <a:gd name="T37" fmla="*/ 25 h 82"/>
                  <a:gd name="T38" fmla="*/ 21 w 93"/>
                  <a:gd name="T39" fmla="*/ 25 h 82"/>
                  <a:gd name="T40" fmla="*/ 19 w 93"/>
                  <a:gd name="T41" fmla="*/ 24 h 82"/>
                  <a:gd name="T42" fmla="*/ 16 w 93"/>
                  <a:gd name="T43" fmla="*/ 22 h 82"/>
                  <a:gd name="T44" fmla="*/ 15 w 93"/>
                  <a:gd name="T45" fmla="*/ 38 h 82"/>
                  <a:gd name="T46" fmla="*/ 13 w 93"/>
                  <a:gd name="T47" fmla="*/ 40 h 82"/>
                  <a:gd name="T48" fmla="*/ 1 w 93"/>
                  <a:gd name="T49" fmla="*/ 39 h 82"/>
                  <a:gd name="T50" fmla="*/ 0 w 93"/>
                  <a:gd name="T51" fmla="*/ 66 h 82"/>
                  <a:gd name="T52" fmla="*/ 9 w 93"/>
                  <a:gd name="T53" fmla="*/ 78 h 82"/>
                  <a:gd name="T54" fmla="*/ 24 w 93"/>
                  <a:gd name="T55" fmla="*/ 78 h 82"/>
                  <a:gd name="T56" fmla="*/ 24 w 93"/>
                  <a:gd name="T57" fmla="*/ 80 h 82"/>
                  <a:gd name="T58" fmla="*/ 29 w 93"/>
                  <a:gd name="T59" fmla="*/ 79 h 82"/>
                  <a:gd name="T60" fmla="*/ 39 w 93"/>
                  <a:gd name="T61" fmla="*/ 81 h 82"/>
                  <a:gd name="T62" fmla="*/ 47 w 93"/>
                  <a:gd name="T63" fmla="*/ 72 h 82"/>
                  <a:gd name="T64" fmla="*/ 55 w 93"/>
                  <a:gd name="T65" fmla="*/ 66 h 82"/>
                  <a:gd name="T66" fmla="*/ 59 w 93"/>
                  <a:gd name="T67" fmla="*/ 62 h 82"/>
                  <a:gd name="T68" fmla="*/ 66 w 93"/>
                  <a:gd name="T69" fmla="*/ 62 h 82"/>
                  <a:gd name="T70" fmla="*/ 66 w 93"/>
                  <a:gd name="T71" fmla="*/ 62 h 82"/>
                  <a:gd name="T72" fmla="*/ 65 w 93"/>
                  <a:gd name="T73" fmla="*/ 56 h 82"/>
                  <a:gd name="T74" fmla="*/ 87 w 93"/>
                  <a:gd name="T75" fmla="*/ 48 h 82"/>
                  <a:gd name="T76" fmla="*/ 86 w 93"/>
                  <a:gd name="T77" fmla="*/ 44 h 82"/>
                  <a:gd name="T78" fmla="*/ 87 w 93"/>
                  <a:gd name="T79" fmla="*/ 36 h 82"/>
                  <a:gd name="T80" fmla="*/ 90 w 93"/>
                  <a:gd name="T81" fmla="*/ 34 h 82"/>
                  <a:gd name="T82" fmla="*/ 90 w 93"/>
                  <a:gd name="T83" fmla="*/ 21 h 82"/>
                  <a:gd name="T84" fmla="*/ 93 w 93"/>
                  <a:gd name="T85" fmla="*/ 19 h 82"/>
                  <a:gd name="T86" fmla="*/ 89 w 93"/>
                  <a:gd name="T87" fmla="*/ 11 h 82"/>
                  <a:gd name="T88" fmla="*/ 79 w 93"/>
                  <a:gd name="T89" fmla="*/ 6 h 82"/>
                  <a:gd name="T90" fmla="*/ 71 w 93"/>
                  <a:gd name="T91" fmla="*/ 3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93" h="82">
                    <a:moveTo>
                      <a:pt x="71" y="3"/>
                    </a:moveTo>
                    <a:cubicBezTo>
                      <a:pt x="70" y="3"/>
                      <a:pt x="68" y="2"/>
                      <a:pt x="65" y="0"/>
                    </a:cubicBezTo>
                    <a:cubicBezTo>
                      <a:pt x="64" y="2"/>
                      <a:pt x="58" y="1"/>
                      <a:pt x="56" y="1"/>
                    </a:cubicBezTo>
                    <a:cubicBezTo>
                      <a:pt x="53" y="1"/>
                      <a:pt x="55" y="5"/>
                      <a:pt x="54" y="7"/>
                    </a:cubicBezTo>
                    <a:cubicBezTo>
                      <a:pt x="52" y="8"/>
                      <a:pt x="51" y="10"/>
                      <a:pt x="52" y="11"/>
                    </a:cubicBezTo>
                    <a:cubicBezTo>
                      <a:pt x="54" y="12"/>
                      <a:pt x="52" y="18"/>
                      <a:pt x="52" y="20"/>
                    </a:cubicBezTo>
                    <a:cubicBezTo>
                      <a:pt x="52" y="22"/>
                      <a:pt x="49" y="27"/>
                      <a:pt x="50" y="28"/>
                    </a:cubicBezTo>
                    <a:cubicBezTo>
                      <a:pt x="51" y="28"/>
                      <a:pt x="53" y="33"/>
                      <a:pt x="56" y="34"/>
                    </a:cubicBezTo>
                    <a:cubicBezTo>
                      <a:pt x="58" y="35"/>
                      <a:pt x="60" y="32"/>
                      <a:pt x="61" y="32"/>
                    </a:cubicBezTo>
                    <a:cubicBezTo>
                      <a:pt x="62" y="32"/>
                      <a:pt x="62" y="35"/>
                      <a:pt x="62" y="38"/>
                    </a:cubicBezTo>
                    <a:cubicBezTo>
                      <a:pt x="62" y="40"/>
                      <a:pt x="61" y="41"/>
                      <a:pt x="61" y="41"/>
                    </a:cubicBezTo>
                    <a:cubicBezTo>
                      <a:pt x="61" y="41"/>
                      <a:pt x="57" y="43"/>
                      <a:pt x="55" y="41"/>
                    </a:cubicBezTo>
                    <a:cubicBezTo>
                      <a:pt x="53" y="40"/>
                      <a:pt x="52" y="36"/>
                      <a:pt x="52" y="35"/>
                    </a:cubicBezTo>
                    <a:cubicBezTo>
                      <a:pt x="52" y="33"/>
                      <a:pt x="47" y="33"/>
                      <a:pt x="46" y="33"/>
                    </a:cubicBezTo>
                    <a:cubicBezTo>
                      <a:pt x="44" y="33"/>
                      <a:pt x="42" y="30"/>
                      <a:pt x="41" y="29"/>
                    </a:cubicBezTo>
                    <a:cubicBezTo>
                      <a:pt x="41" y="27"/>
                      <a:pt x="39" y="29"/>
                      <a:pt x="39" y="30"/>
                    </a:cubicBezTo>
                    <a:cubicBezTo>
                      <a:pt x="39" y="31"/>
                      <a:pt x="37" y="31"/>
                      <a:pt x="35" y="31"/>
                    </a:cubicBezTo>
                    <a:cubicBezTo>
                      <a:pt x="33" y="31"/>
                      <a:pt x="30" y="28"/>
                      <a:pt x="28" y="29"/>
                    </a:cubicBezTo>
                    <a:cubicBezTo>
                      <a:pt x="27" y="30"/>
                      <a:pt x="25" y="26"/>
                      <a:pt x="26" y="25"/>
                    </a:cubicBezTo>
                    <a:cubicBezTo>
                      <a:pt x="26" y="24"/>
                      <a:pt x="22" y="25"/>
                      <a:pt x="21" y="25"/>
                    </a:cubicBezTo>
                    <a:cubicBezTo>
                      <a:pt x="19" y="26"/>
                      <a:pt x="19" y="24"/>
                      <a:pt x="19" y="24"/>
                    </a:cubicBezTo>
                    <a:cubicBezTo>
                      <a:pt x="19" y="24"/>
                      <a:pt x="18" y="22"/>
                      <a:pt x="16" y="22"/>
                    </a:cubicBezTo>
                    <a:cubicBezTo>
                      <a:pt x="15" y="38"/>
                      <a:pt x="15" y="38"/>
                      <a:pt x="15" y="38"/>
                    </a:cubicBezTo>
                    <a:cubicBezTo>
                      <a:pt x="13" y="40"/>
                      <a:pt x="13" y="40"/>
                      <a:pt x="13" y="40"/>
                    </a:cubicBezTo>
                    <a:cubicBezTo>
                      <a:pt x="1" y="39"/>
                      <a:pt x="1" y="39"/>
                      <a:pt x="1" y="39"/>
                    </a:cubicBezTo>
                    <a:cubicBezTo>
                      <a:pt x="0" y="66"/>
                      <a:pt x="0" y="66"/>
                      <a:pt x="0" y="66"/>
                    </a:cubicBezTo>
                    <a:cubicBezTo>
                      <a:pt x="9" y="78"/>
                      <a:pt x="9" y="78"/>
                      <a:pt x="9" y="78"/>
                    </a:cubicBezTo>
                    <a:cubicBezTo>
                      <a:pt x="14" y="77"/>
                      <a:pt x="24" y="76"/>
                      <a:pt x="24" y="78"/>
                    </a:cubicBezTo>
                    <a:cubicBezTo>
                      <a:pt x="24" y="78"/>
                      <a:pt x="24" y="79"/>
                      <a:pt x="24" y="80"/>
                    </a:cubicBezTo>
                    <a:cubicBezTo>
                      <a:pt x="26" y="79"/>
                      <a:pt x="28" y="79"/>
                      <a:pt x="29" y="79"/>
                    </a:cubicBezTo>
                    <a:cubicBezTo>
                      <a:pt x="30" y="79"/>
                      <a:pt x="37" y="82"/>
                      <a:pt x="39" y="81"/>
                    </a:cubicBezTo>
                    <a:cubicBezTo>
                      <a:pt x="41" y="80"/>
                      <a:pt x="44" y="73"/>
                      <a:pt x="47" y="72"/>
                    </a:cubicBezTo>
                    <a:cubicBezTo>
                      <a:pt x="50" y="71"/>
                      <a:pt x="55" y="67"/>
                      <a:pt x="55" y="66"/>
                    </a:cubicBezTo>
                    <a:cubicBezTo>
                      <a:pt x="55" y="64"/>
                      <a:pt x="55" y="63"/>
                      <a:pt x="59" y="62"/>
                    </a:cubicBezTo>
                    <a:cubicBezTo>
                      <a:pt x="66" y="62"/>
                      <a:pt x="66" y="62"/>
                      <a:pt x="66" y="62"/>
                    </a:cubicBezTo>
                    <a:cubicBezTo>
                      <a:pt x="66" y="62"/>
                      <a:pt x="66" y="62"/>
                      <a:pt x="66" y="62"/>
                    </a:cubicBezTo>
                    <a:cubicBezTo>
                      <a:pt x="65" y="56"/>
                      <a:pt x="65" y="56"/>
                      <a:pt x="65" y="56"/>
                    </a:cubicBezTo>
                    <a:cubicBezTo>
                      <a:pt x="65" y="56"/>
                      <a:pt x="86" y="48"/>
                      <a:pt x="87" y="48"/>
                    </a:cubicBezTo>
                    <a:cubicBezTo>
                      <a:pt x="86" y="46"/>
                      <a:pt x="85" y="44"/>
                      <a:pt x="86" y="44"/>
                    </a:cubicBezTo>
                    <a:cubicBezTo>
                      <a:pt x="86" y="44"/>
                      <a:pt x="87" y="38"/>
                      <a:pt x="87" y="36"/>
                    </a:cubicBezTo>
                    <a:cubicBezTo>
                      <a:pt x="87" y="35"/>
                      <a:pt x="92" y="36"/>
                      <a:pt x="90" y="34"/>
                    </a:cubicBezTo>
                    <a:cubicBezTo>
                      <a:pt x="88" y="33"/>
                      <a:pt x="89" y="23"/>
                      <a:pt x="90" y="21"/>
                    </a:cubicBezTo>
                    <a:cubicBezTo>
                      <a:pt x="91" y="19"/>
                      <a:pt x="93" y="21"/>
                      <a:pt x="93" y="19"/>
                    </a:cubicBezTo>
                    <a:cubicBezTo>
                      <a:pt x="93" y="18"/>
                      <a:pt x="90" y="12"/>
                      <a:pt x="89" y="11"/>
                    </a:cubicBezTo>
                    <a:cubicBezTo>
                      <a:pt x="88" y="10"/>
                      <a:pt x="81" y="7"/>
                      <a:pt x="79" y="6"/>
                    </a:cubicBezTo>
                    <a:cubicBezTo>
                      <a:pt x="77" y="6"/>
                      <a:pt x="73" y="3"/>
                      <a:pt x="71" y="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7" name="Freeform 13">
                <a:extLst>
                  <a:ext uri="{FF2B5EF4-FFF2-40B4-BE49-F238E27FC236}">
                    <a16:creationId xmlns:a16="http://schemas.microsoft.com/office/drawing/2014/main" id="{B558557B-871C-467C-9ECB-FC9F291A5C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6699" y="4107364"/>
                <a:ext cx="36387" cy="32623"/>
              </a:xfrm>
              <a:custGeom>
                <a:avLst/>
                <a:gdLst>
                  <a:gd name="T0" fmla="*/ 13 w 16"/>
                  <a:gd name="T1" fmla="*/ 0 h 14"/>
                  <a:gd name="T2" fmla="*/ 8 w 16"/>
                  <a:gd name="T3" fmla="*/ 2 h 14"/>
                  <a:gd name="T4" fmla="*/ 4 w 16"/>
                  <a:gd name="T5" fmla="*/ 2 h 14"/>
                  <a:gd name="T6" fmla="*/ 3 w 16"/>
                  <a:gd name="T7" fmla="*/ 3 h 14"/>
                  <a:gd name="T8" fmla="*/ 2 w 16"/>
                  <a:gd name="T9" fmla="*/ 8 h 14"/>
                  <a:gd name="T10" fmla="*/ 0 w 16"/>
                  <a:gd name="T11" fmla="*/ 11 h 14"/>
                  <a:gd name="T12" fmla="*/ 2 w 16"/>
                  <a:gd name="T13" fmla="*/ 13 h 14"/>
                  <a:gd name="T14" fmla="*/ 4 w 16"/>
                  <a:gd name="T15" fmla="*/ 13 h 14"/>
                  <a:gd name="T16" fmla="*/ 8 w 16"/>
                  <a:gd name="T17" fmla="*/ 11 h 14"/>
                  <a:gd name="T18" fmla="*/ 15 w 16"/>
                  <a:gd name="T19" fmla="*/ 9 h 14"/>
                  <a:gd name="T20" fmla="*/ 14 w 16"/>
                  <a:gd name="T21" fmla="*/ 4 h 14"/>
                  <a:gd name="T22" fmla="*/ 13 w 16"/>
                  <a:gd name="T23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6" h="14">
                    <a:moveTo>
                      <a:pt x="13" y="0"/>
                    </a:moveTo>
                    <a:cubicBezTo>
                      <a:pt x="11" y="1"/>
                      <a:pt x="9" y="1"/>
                      <a:pt x="8" y="2"/>
                    </a:cubicBezTo>
                    <a:cubicBezTo>
                      <a:pt x="7" y="2"/>
                      <a:pt x="7" y="3"/>
                      <a:pt x="4" y="2"/>
                    </a:cubicBezTo>
                    <a:cubicBezTo>
                      <a:pt x="4" y="3"/>
                      <a:pt x="4" y="3"/>
                      <a:pt x="3" y="3"/>
                    </a:cubicBezTo>
                    <a:cubicBezTo>
                      <a:pt x="1" y="4"/>
                      <a:pt x="2" y="8"/>
                      <a:pt x="2" y="8"/>
                    </a:cubicBezTo>
                    <a:cubicBezTo>
                      <a:pt x="2" y="8"/>
                      <a:pt x="0" y="8"/>
                      <a:pt x="0" y="11"/>
                    </a:cubicBezTo>
                    <a:cubicBezTo>
                      <a:pt x="0" y="12"/>
                      <a:pt x="1" y="13"/>
                      <a:pt x="2" y="13"/>
                    </a:cubicBezTo>
                    <a:cubicBezTo>
                      <a:pt x="3" y="13"/>
                      <a:pt x="4" y="13"/>
                      <a:pt x="4" y="13"/>
                    </a:cubicBezTo>
                    <a:cubicBezTo>
                      <a:pt x="9" y="14"/>
                      <a:pt x="8" y="11"/>
                      <a:pt x="8" y="11"/>
                    </a:cubicBezTo>
                    <a:cubicBezTo>
                      <a:pt x="8" y="11"/>
                      <a:pt x="15" y="11"/>
                      <a:pt x="15" y="9"/>
                    </a:cubicBezTo>
                    <a:cubicBezTo>
                      <a:pt x="16" y="7"/>
                      <a:pt x="14" y="4"/>
                      <a:pt x="14" y="4"/>
                    </a:cubicBezTo>
                    <a:lnTo>
                      <a:pt x="13" y="0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8" name="Freeform 14">
                <a:extLst>
                  <a:ext uri="{FF2B5EF4-FFF2-40B4-BE49-F238E27FC236}">
                    <a16:creationId xmlns:a16="http://schemas.microsoft.com/office/drawing/2014/main" id="{D15AE1B2-A2E5-4BDD-97B9-8E3F8F6B6C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0041" y="3857674"/>
                <a:ext cx="190718" cy="258473"/>
              </a:xfrm>
              <a:custGeom>
                <a:avLst/>
                <a:gdLst>
                  <a:gd name="T0" fmla="*/ 19 w 83"/>
                  <a:gd name="T1" fmla="*/ 21 h 112"/>
                  <a:gd name="T2" fmla="*/ 25 w 83"/>
                  <a:gd name="T3" fmla="*/ 26 h 112"/>
                  <a:gd name="T4" fmla="*/ 41 w 83"/>
                  <a:gd name="T5" fmla="*/ 32 h 112"/>
                  <a:gd name="T6" fmla="*/ 52 w 83"/>
                  <a:gd name="T7" fmla="*/ 34 h 112"/>
                  <a:gd name="T8" fmla="*/ 55 w 83"/>
                  <a:gd name="T9" fmla="*/ 36 h 112"/>
                  <a:gd name="T10" fmla="*/ 33 w 83"/>
                  <a:gd name="T11" fmla="*/ 58 h 112"/>
                  <a:gd name="T12" fmla="*/ 24 w 83"/>
                  <a:gd name="T13" fmla="*/ 59 h 112"/>
                  <a:gd name="T14" fmla="*/ 14 w 83"/>
                  <a:gd name="T15" fmla="*/ 65 h 112"/>
                  <a:gd name="T16" fmla="*/ 7 w 83"/>
                  <a:gd name="T17" fmla="*/ 66 h 112"/>
                  <a:gd name="T18" fmla="*/ 4 w 83"/>
                  <a:gd name="T19" fmla="*/ 71 h 112"/>
                  <a:gd name="T20" fmla="*/ 0 w 83"/>
                  <a:gd name="T21" fmla="*/ 77 h 112"/>
                  <a:gd name="T22" fmla="*/ 0 w 83"/>
                  <a:gd name="T23" fmla="*/ 106 h 112"/>
                  <a:gd name="T24" fmla="*/ 4 w 83"/>
                  <a:gd name="T25" fmla="*/ 112 h 112"/>
                  <a:gd name="T26" fmla="*/ 22 w 83"/>
                  <a:gd name="T27" fmla="*/ 93 h 112"/>
                  <a:gd name="T28" fmla="*/ 36 w 83"/>
                  <a:gd name="T29" fmla="*/ 83 h 112"/>
                  <a:gd name="T30" fmla="*/ 56 w 83"/>
                  <a:gd name="T31" fmla="*/ 63 h 112"/>
                  <a:gd name="T32" fmla="*/ 65 w 83"/>
                  <a:gd name="T33" fmla="*/ 48 h 112"/>
                  <a:gd name="T34" fmla="*/ 73 w 83"/>
                  <a:gd name="T35" fmla="*/ 36 h 112"/>
                  <a:gd name="T36" fmla="*/ 80 w 83"/>
                  <a:gd name="T37" fmla="*/ 20 h 112"/>
                  <a:gd name="T38" fmla="*/ 83 w 83"/>
                  <a:gd name="T39" fmla="*/ 6 h 112"/>
                  <a:gd name="T40" fmla="*/ 78 w 83"/>
                  <a:gd name="T41" fmla="*/ 3 h 112"/>
                  <a:gd name="T42" fmla="*/ 60 w 83"/>
                  <a:gd name="T43" fmla="*/ 8 h 112"/>
                  <a:gd name="T44" fmla="*/ 47 w 83"/>
                  <a:gd name="T45" fmla="*/ 11 h 112"/>
                  <a:gd name="T46" fmla="*/ 36 w 83"/>
                  <a:gd name="T47" fmla="*/ 13 h 112"/>
                  <a:gd name="T48" fmla="*/ 23 w 83"/>
                  <a:gd name="T49" fmla="*/ 12 h 112"/>
                  <a:gd name="T50" fmla="*/ 19 w 83"/>
                  <a:gd name="T51" fmla="*/ 7 h 112"/>
                  <a:gd name="T52" fmla="*/ 14 w 83"/>
                  <a:gd name="T53" fmla="*/ 14 h 112"/>
                  <a:gd name="T54" fmla="*/ 19 w 83"/>
                  <a:gd name="T55" fmla="*/ 21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83" h="112">
                    <a:moveTo>
                      <a:pt x="19" y="21"/>
                    </a:moveTo>
                    <a:cubicBezTo>
                      <a:pt x="21" y="22"/>
                      <a:pt x="23" y="26"/>
                      <a:pt x="25" y="26"/>
                    </a:cubicBezTo>
                    <a:cubicBezTo>
                      <a:pt x="26" y="27"/>
                      <a:pt x="35" y="30"/>
                      <a:pt x="41" y="32"/>
                    </a:cubicBezTo>
                    <a:cubicBezTo>
                      <a:pt x="47" y="34"/>
                      <a:pt x="50" y="34"/>
                      <a:pt x="52" y="34"/>
                    </a:cubicBezTo>
                    <a:cubicBezTo>
                      <a:pt x="54" y="34"/>
                      <a:pt x="56" y="35"/>
                      <a:pt x="55" y="36"/>
                    </a:cubicBezTo>
                    <a:cubicBezTo>
                      <a:pt x="53" y="37"/>
                      <a:pt x="36" y="55"/>
                      <a:pt x="33" y="58"/>
                    </a:cubicBezTo>
                    <a:cubicBezTo>
                      <a:pt x="31" y="60"/>
                      <a:pt x="30" y="59"/>
                      <a:pt x="24" y="59"/>
                    </a:cubicBezTo>
                    <a:cubicBezTo>
                      <a:pt x="19" y="59"/>
                      <a:pt x="15" y="65"/>
                      <a:pt x="14" y="65"/>
                    </a:cubicBezTo>
                    <a:cubicBezTo>
                      <a:pt x="13" y="65"/>
                      <a:pt x="10" y="65"/>
                      <a:pt x="7" y="66"/>
                    </a:cubicBezTo>
                    <a:cubicBezTo>
                      <a:pt x="4" y="71"/>
                      <a:pt x="4" y="71"/>
                      <a:pt x="4" y="71"/>
                    </a:cubicBezTo>
                    <a:cubicBezTo>
                      <a:pt x="0" y="77"/>
                      <a:pt x="0" y="77"/>
                      <a:pt x="0" y="77"/>
                    </a:cubicBezTo>
                    <a:cubicBezTo>
                      <a:pt x="0" y="106"/>
                      <a:pt x="0" y="106"/>
                      <a:pt x="0" y="106"/>
                    </a:cubicBezTo>
                    <a:cubicBezTo>
                      <a:pt x="4" y="112"/>
                      <a:pt x="4" y="112"/>
                      <a:pt x="4" y="112"/>
                    </a:cubicBezTo>
                    <a:cubicBezTo>
                      <a:pt x="7" y="108"/>
                      <a:pt x="16" y="100"/>
                      <a:pt x="22" y="93"/>
                    </a:cubicBezTo>
                    <a:cubicBezTo>
                      <a:pt x="29" y="86"/>
                      <a:pt x="32" y="85"/>
                      <a:pt x="36" y="83"/>
                    </a:cubicBezTo>
                    <a:cubicBezTo>
                      <a:pt x="40" y="81"/>
                      <a:pt x="50" y="71"/>
                      <a:pt x="56" y="63"/>
                    </a:cubicBezTo>
                    <a:cubicBezTo>
                      <a:pt x="60" y="58"/>
                      <a:pt x="65" y="52"/>
                      <a:pt x="65" y="48"/>
                    </a:cubicBezTo>
                    <a:cubicBezTo>
                      <a:pt x="66" y="44"/>
                      <a:pt x="70" y="39"/>
                      <a:pt x="73" y="36"/>
                    </a:cubicBezTo>
                    <a:cubicBezTo>
                      <a:pt x="75" y="32"/>
                      <a:pt x="80" y="23"/>
                      <a:pt x="80" y="20"/>
                    </a:cubicBezTo>
                    <a:cubicBezTo>
                      <a:pt x="80" y="17"/>
                      <a:pt x="83" y="11"/>
                      <a:pt x="83" y="6"/>
                    </a:cubicBezTo>
                    <a:cubicBezTo>
                      <a:pt x="83" y="1"/>
                      <a:pt x="79" y="0"/>
                      <a:pt x="78" y="3"/>
                    </a:cubicBezTo>
                    <a:cubicBezTo>
                      <a:pt x="76" y="6"/>
                      <a:pt x="66" y="8"/>
                      <a:pt x="60" y="8"/>
                    </a:cubicBezTo>
                    <a:cubicBezTo>
                      <a:pt x="53" y="8"/>
                      <a:pt x="49" y="9"/>
                      <a:pt x="47" y="11"/>
                    </a:cubicBezTo>
                    <a:cubicBezTo>
                      <a:pt x="44" y="13"/>
                      <a:pt x="38" y="10"/>
                      <a:pt x="36" y="13"/>
                    </a:cubicBezTo>
                    <a:cubicBezTo>
                      <a:pt x="34" y="15"/>
                      <a:pt x="26" y="17"/>
                      <a:pt x="23" y="12"/>
                    </a:cubicBezTo>
                    <a:cubicBezTo>
                      <a:pt x="22" y="9"/>
                      <a:pt x="20" y="8"/>
                      <a:pt x="19" y="7"/>
                    </a:cubicBezTo>
                    <a:cubicBezTo>
                      <a:pt x="17" y="9"/>
                      <a:pt x="14" y="13"/>
                      <a:pt x="14" y="14"/>
                    </a:cubicBezTo>
                    <a:cubicBezTo>
                      <a:pt x="15" y="16"/>
                      <a:pt x="18" y="21"/>
                      <a:pt x="19" y="2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9" name="Freeform 15">
                <a:extLst>
                  <a:ext uri="{FF2B5EF4-FFF2-40B4-BE49-F238E27FC236}">
                    <a16:creationId xmlns:a16="http://schemas.microsoft.com/office/drawing/2014/main" id="{D1D4A05E-89F8-4735-8323-CF681D6459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78807" y="3385897"/>
                <a:ext cx="223341" cy="179426"/>
              </a:xfrm>
              <a:custGeom>
                <a:avLst/>
                <a:gdLst>
                  <a:gd name="T0" fmla="*/ 36 w 97"/>
                  <a:gd name="T1" fmla="*/ 78 h 78"/>
                  <a:gd name="T2" fmla="*/ 36 w 97"/>
                  <a:gd name="T3" fmla="*/ 67 h 78"/>
                  <a:gd name="T4" fmla="*/ 49 w 97"/>
                  <a:gd name="T5" fmla="*/ 58 h 78"/>
                  <a:gd name="T6" fmla="*/ 54 w 97"/>
                  <a:gd name="T7" fmla="*/ 57 h 78"/>
                  <a:gd name="T8" fmla="*/ 61 w 97"/>
                  <a:gd name="T9" fmla="*/ 55 h 78"/>
                  <a:gd name="T10" fmla="*/ 65 w 97"/>
                  <a:gd name="T11" fmla="*/ 50 h 78"/>
                  <a:gd name="T12" fmla="*/ 71 w 97"/>
                  <a:gd name="T13" fmla="*/ 48 h 78"/>
                  <a:gd name="T14" fmla="*/ 75 w 97"/>
                  <a:gd name="T15" fmla="*/ 46 h 78"/>
                  <a:gd name="T16" fmla="*/ 76 w 97"/>
                  <a:gd name="T17" fmla="*/ 41 h 78"/>
                  <a:gd name="T18" fmla="*/ 78 w 97"/>
                  <a:gd name="T19" fmla="*/ 39 h 78"/>
                  <a:gd name="T20" fmla="*/ 83 w 97"/>
                  <a:gd name="T21" fmla="*/ 36 h 78"/>
                  <a:gd name="T22" fmla="*/ 95 w 97"/>
                  <a:gd name="T23" fmla="*/ 35 h 78"/>
                  <a:gd name="T24" fmla="*/ 97 w 97"/>
                  <a:gd name="T25" fmla="*/ 32 h 78"/>
                  <a:gd name="T26" fmla="*/ 94 w 97"/>
                  <a:gd name="T27" fmla="*/ 27 h 78"/>
                  <a:gd name="T28" fmla="*/ 93 w 97"/>
                  <a:gd name="T29" fmla="*/ 19 h 78"/>
                  <a:gd name="T30" fmla="*/ 91 w 97"/>
                  <a:gd name="T31" fmla="*/ 11 h 78"/>
                  <a:gd name="T32" fmla="*/ 89 w 97"/>
                  <a:gd name="T33" fmla="*/ 9 h 78"/>
                  <a:gd name="T34" fmla="*/ 80 w 97"/>
                  <a:gd name="T35" fmla="*/ 6 h 78"/>
                  <a:gd name="T36" fmla="*/ 66 w 97"/>
                  <a:gd name="T37" fmla="*/ 5 h 78"/>
                  <a:gd name="T38" fmla="*/ 59 w 97"/>
                  <a:gd name="T39" fmla="*/ 2 h 78"/>
                  <a:gd name="T40" fmla="*/ 50 w 97"/>
                  <a:gd name="T41" fmla="*/ 18 h 78"/>
                  <a:gd name="T42" fmla="*/ 38 w 97"/>
                  <a:gd name="T43" fmla="*/ 24 h 78"/>
                  <a:gd name="T44" fmla="*/ 32 w 97"/>
                  <a:gd name="T45" fmla="*/ 31 h 78"/>
                  <a:gd name="T46" fmla="*/ 27 w 97"/>
                  <a:gd name="T47" fmla="*/ 38 h 78"/>
                  <a:gd name="T48" fmla="*/ 27 w 97"/>
                  <a:gd name="T49" fmla="*/ 51 h 78"/>
                  <a:gd name="T50" fmla="*/ 18 w 97"/>
                  <a:gd name="T51" fmla="*/ 64 h 78"/>
                  <a:gd name="T52" fmla="*/ 6 w 97"/>
                  <a:gd name="T53" fmla="*/ 72 h 78"/>
                  <a:gd name="T54" fmla="*/ 0 w 97"/>
                  <a:gd name="T55" fmla="*/ 75 h 78"/>
                  <a:gd name="T56" fmla="*/ 30 w 97"/>
                  <a:gd name="T57" fmla="*/ 75 h 78"/>
                  <a:gd name="T58" fmla="*/ 36 w 97"/>
                  <a:gd name="T59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97" h="78">
                    <a:moveTo>
                      <a:pt x="36" y="78"/>
                    </a:moveTo>
                    <a:cubicBezTo>
                      <a:pt x="36" y="72"/>
                      <a:pt x="36" y="67"/>
                      <a:pt x="36" y="67"/>
                    </a:cubicBezTo>
                    <a:cubicBezTo>
                      <a:pt x="36" y="66"/>
                      <a:pt x="47" y="59"/>
                      <a:pt x="49" y="58"/>
                    </a:cubicBezTo>
                    <a:cubicBezTo>
                      <a:pt x="50" y="57"/>
                      <a:pt x="54" y="59"/>
                      <a:pt x="54" y="57"/>
                    </a:cubicBezTo>
                    <a:cubicBezTo>
                      <a:pt x="54" y="55"/>
                      <a:pt x="58" y="56"/>
                      <a:pt x="61" y="55"/>
                    </a:cubicBezTo>
                    <a:cubicBezTo>
                      <a:pt x="63" y="55"/>
                      <a:pt x="65" y="53"/>
                      <a:pt x="65" y="50"/>
                    </a:cubicBezTo>
                    <a:cubicBezTo>
                      <a:pt x="65" y="48"/>
                      <a:pt x="69" y="49"/>
                      <a:pt x="71" y="48"/>
                    </a:cubicBezTo>
                    <a:cubicBezTo>
                      <a:pt x="73" y="48"/>
                      <a:pt x="73" y="46"/>
                      <a:pt x="75" y="46"/>
                    </a:cubicBezTo>
                    <a:cubicBezTo>
                      <a:pt x="76" y="46"/>
                      <a:pt x="76" y="44"/>
                      <a:pt x="76" y="41"/>
                    </a:cubicBezTo>
                    <a:cubicBezTo>
                      <a:pt x="76" y="38"/>
                      <a:pt x="76" y="39"/>
                      <a:pt x="78" y="39"/>
                    </a:cubicBezTo>
                    <a:cubicBezTo>
                      <a:pt x="81" y="39"/>
                      <a:pt x="83" y="38"/>
                      <a:pt x="83" y="36"/>
                    </a:cubicBezTo>
                    <a:cubicBezTo>
                      <a:pt x="83" y="34"/>
                      <a:pt x="93" y="35"/>
                      <a:pt x="95" y="35"/>
                    </a:cubicBezTo>
                    <a:cubicBezTo>
                      <a:pt x="97" y="35"/>
                      <a:pt x="97" y="34"/>
                      <a:pt x="97" y="32"/>
                    </a:cubicBezTo>
                    <a:cubicBezTo>
                      <a:pt x="97" y="31"/>
                      <a:pt x="95" y="27"/>
                      <a:pt x="94" y="27"/>
                    </a:cubicBezTo>
                    <a:cubicBezTo>
                      <a:pt x="92" y="27"/>
                      <a:pt x="93" y="23"/>
                      <a:pt x="93" y="19"/>
                    </a:cubicBezTo>
                    <a:cubicBezTo>
                      <a:pt x="93" y="16"/>
                      <a:pt x="93" y="13"/>
                      <a:pt x="91" y="11"/>
                    </a:cubicBezTo>
                    <a:cubicBezTo>
                      <a:pt x="90" y="11"/>
                      <a:pt x="90" y="10"/>
                      <a:pt x="89" y="9"/>
                    </a:cubicBezTo>
                    <a:cubicBezTo>
                      <a:pt x="87" y="9"/>
                      <a:pt x="83" y="6"/>
                      <a:pt x="80" y="6"/>
                    </a:cubicBezTo>
                    <a:cubicBezTo>
                      <a:pt x="76" y="6"/>
                      <a:pt x="69" y="8"/>
                      <a:pt x="66" y="5"/>
                    </a:cubicBezTo>
                    <a:cubicBezTo>
                      <a:pt x="63" y="2"/>
                      <a:pt x="61" y="0"/>
                      <a:pt x="59" y="2"/>
                    </a:cubicBezTo>
                    <a:cubicBezTo>
                      <a:pt x="57" y="3"/>
                      <a:pt x="53" y="14"/>
                      <a:pt x="50" y="18"/>
                    </a:cubicBezTo>
                    <a:cubicBezTo>
                      <a:pt x="48" y="21"/>
                      <a:pt x="41" y="24"/>
                      <a:pt x="38" y="24"/>
                    </a:cubicBezTo>
                    <a:cubicBezTo>
                      <a:pt x="35" y="24"/>
                      <a:pt x="34" y="29"/>
                      <a:pt x="32" y="31"/>
                    </a:cubicBezTo>
                    <a:cubicBezTo>
                      <a:pt x="29" y="33"/>
                      <a:pt x="30" y="36"/>
                      <a:pt x="27" y="38"/>
                    </a:cubicBezTo>
                    <a:cubicBezTo>
                      <a:pt x="24" y="41"/>
                      <a:pt x="26" y="48"/>
                      <a:pt x="27" y="51"/>
                    </a:cubicBezTo>
                    <a:cubicBezTo>
                      <a:pt x="29" y="53"/>
                      <a:pt x="22" y="61"/>
                      <a:pt x="18" y="64"/>
                    </a:cubicBezTo>
                    <a:cubicBezTo>
                      <a:pt x="14" y="66"/>
                      <a:pt x="12" y="71"/>
                      <a:pt x="6" y="72"/>
                    </a:cubicBezTo>
                    <a:cubicBezTo>
                      <a:pt x="4" y="72"/>
                      <a:pt x="2" y="73"/>
                      <a:pt x="0" y="75"/>
                    </a:cubicBezTo>
                    <a:cubicBezTo>
                      <a:pt x="10" y="75"/>
                      <a:pt x="25" y="75"/>
                      <a:pt x="30" y="75"/>
                    </a:cubicBezTo>
                    <a:cubicBezTo>
                      <a:pt x="36" y="75"/>
                      <a:pt x="35" y="76"/>
                      <a:pt x="36" y="78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0" name="Freeform 16">
                <a:extLst>
                  <a:ext uri="{FF2B5EF4-FFF2-40B4-BE49-F238E27FC236}">
                    <a16:creationId xmlns:a16="http://schemas.microsoft.com/office/drawing/2014/main" id="{C20E01FC-2900-482D-8CCA-BE89728DCD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8989" y="3355784"/>
                <a:ext cx="80302" cy="149312"/>
              </a:xfrm>
              <a:custGeom>
                <a:avLst/>
                <a:gdLst>
                  <a:gd name="T0" fmla="*/ 10 w 35"/>
                  <a:gd name="T1" fmla="*/ 16 h 65"/>
                  <a:gd name="T2" fmla="*/ 7 w 35"/>
                  <a:gd name="T3" fmla="*/ 25 h 65"/>
                  <a:gd name="T4" fmla="*/ 2 w 35"/>
                  <a:gd name="T5" fmla="*/ 30 h 65"/>
                  <a:gd name="T6" fmla="*/ 5 w 35"/>
                  <a:gd name="T7" fmla="*/ 39 h 65"/>
                  <a:gd name="T8" fmla="*/ 9 w 35"/>
                  <a:gd name="T9" fmla="*/ 44 h 65"/>
                  <a:gd name="T10" fmla="*/ 15 w 35"/>
                  <a:gd name="T11" fmla="*/ 49 h 65"/>
                  <a:gd name="T12" fmla="*/ 19 w 35"/>
                  <a:gd name="T13" fmla="*/ 63 h 65"/>
                  <a:gd name="T14" fmla="*/ 19 w 35"/>
                  <a:gd name="T15" fmla="*/ 65 h 65"/>
                  <a:gd name="T16" fmla="*/ 23 w 35"/>
                  <a:gd name="T17" fmla="*/ 62 h 65"/>
                  <a:gd name="T18" fmla="*/ 24 w 35"/>
                  <a:gd name="T19" fmla="*/ 56 h 65"/>
                  <a:gd name="T20" fmla="*/ 25 w 35"/>
                  <a:gd name="T21" fmla="*/ 52 h 65"/>
                  <a:gd name="T22" fmla="*/ 31 w 35"/>
                  <a:gd name="T23" fmla="*/ 46 h 65"/>
                  <a:gd name="T24" fmla="*/ 34 w 35"/>
                  <a:gd name="T25" fmla="*/ 44 h 65"/>
                  <a:gd name="T26" fmla="*/ 35 w 35"/>
                  <a:gd name="T27" fmla="*/ 39 h 65"/>
                  <a:gd name="T28" fmla="*/ 32 w 35"/>
                  <a:gd name="T29" fmla="*/ 36 h 65"/>
                  <a:gd name="T30" fmla="*/ 28 w 35"/>
                  <a:gd name="T31" fmla="*/ 33 h 65"/>
                  <a:gd name="T32" fmla="*/ 22 w 35"/>
                  <a:gd name="T33" fmla="*/ 31 h 65"/>
                  <a:gd name="T34" fmla="*/ 28 w 35"/>
                  <a:gd name="T35" fmla="*/ 25 h 65"/>
                  <a:gd name="T36" fmla="*/ 29 w 35"/>
                  <a:gd name="T37" fmla="*/ 14 h 65"/>
                  <a:gd name="T38" fmla="*/ 30 w 35"/>
                  <a:gd name="T39" fmla="*/ 7 h 65"/>
                  <a:gd name="T40" fmla="*/ 29 w 35"/>
                  <a:gd name="T41" fmla="*/ 4 h 65"/>
                  <a:gd name="T42" fmla="*/ 25 w 35"/>
                  <a:gd name="T43" fmla="*/ 3 h 65"/>
                  <a:gd name="T44" fmla="*/ 14 w 35"/>
                  <a:gd name="T45" fmla="*/ 2 h 65"/>
                  <a:gd name="T46" fmla="*/ 10 w 35"/>
                  <a:gd name="T47" fmla="*/ 4 h 65"/>
                  <a:gd name="T48" fmla="*/ 10 w 35"/>
                  <a:gd name="T49" fmla="*/ 16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35" h="65">
                    <a:moveTo>
                      <a:pt x="10" y="16"/>
                    </a:moveTo>
                    <a:cubicBezTo>
                      <a:pt x="12" y="19"/>
                      <a:pt x="9" y="24"/>
                      <a:pt x="7" y="25"/>
                    </a:cubicBezTo>
                    <a:cubicBezTo>
                      <a:pt x="5" y="26"/>
                      <a:pt x="4" y="30"/>
                      <a:pt x="2" y="30"/>
                    </a:cubicBezTo>
                    <a:cubicBezTo>
                      <a:pt x="0" y="30"/>
                      <a:pt x="2" y="37"/>
                      <a:pt x="5" y="39"/>
                    </a:cubicBezTo>
                    <a:cubicBezTo>
                      <a:pt x="9" y="40"/>
                      <a:pt x="9" y="42"/>
                      <a:pt x="9" y="44"/>
                    </a:cubicBezTo>
                    <a:cubicBezTo>
                      <a:pt x="9" y="45"/>
                      <a:pt x="13" y="47"/>
                      <a:pt x="15" y="49"/>
                    </a:cubicBezTo>
                    <a:cubicBezTo>
                      <a:pt x="16" y="50"/>
                      <a:pt x="19" y="59"/>
                      <a:pt x="19" y="63"/>
                    </a:cubicBezTo>
                    <a:cubicBezTo>
                      <a:pt x="19" y="64"/>
                      <a:pt x="19" y="64"/>
                      <a:pt x="19" y="65"/>
                    </a:cubicBezTo>
                    <a:cubicBezTo>
                      <a:pt x="21" y="64"/>
                      <a:pt x="22" y="63"/>
                      <a:pt x="23" y="62"/>
                    </a:cubicBezTo>
                    <a:cubicBezTo>
                      <a:pt x="24" y="60"/>
                      <a:pt x="25" y="56"/>
                      <a:pt x="24" y="56"/>
                    </a:cubicBezTo>
                    <a:cubicBezTo>
                      <a:pt x="24" y="55"/>
                      <a:pt x="24" y="53"/>
                      <a:pt x="25" y="52"/>
                    </a:cubicBezTo>
                    <a:cubicBezTo>
                      <a:pt x="26" y="51"/>
                      <a:pt x="30" y="47"/>
                      <a:pt x="31" y="46"/>
                    </a:cubicBezTo>
                    <a:cubicBezTo>
                      <a:pt x="32" y="46"/>
                      <a:pt x="35" y="46"/>
                      <a:pt x="34" y="44"/>
                    </a:cubicBezTo>
                    <a:cubicBezTo>
                      <a:pt x="34" y="43"/>
                      <a:pt x="35" y="41"/>
                      <a:pt x="35" y="39"/>
                    </a:cubicBezTo>
                    <a:cubicBezTo>
                      <a:pt x="33" y="38"/>
                      <a:pt x="32" y="37"/>
                      <a:pt x="32" y="36"/>
                    </a:cubicBezTo>
                    <a:cubicBezTo>
                      <a:pt x="32" y="35"/>
                      <a:pt x="29" y="32"/>
                      <a:pt x="28" y="33"/>
                    </a:cubicBezTo>
                    <a:cubicBezTo>
                      <a:pt x="27" y="35"/>
                      <a:pt x="23" y="34"/>
                      <a:pt x="22" y="31"/>
                    </a:cubicBezTo>
                    <a:cubicBezTo>
                      <a:pt x="21" y="28"/>
                      <a:pt x="25" y="28"/>
                      <a:pt x="28" y="25"/>
                    </a:cubicBezTo>
                    <a:cubicBezTo>
                      <a:pt x="32" y="22"/>
                      <a:pt x="32" y="17"/>
                      <a:pt x="29" y="14"/>
                    </a:cubicBezTo>
                    <a:cubicBezTo>
                      <a:pt x="25" y="11"/>
                      <a:pt x="27" y="10"/>
                      <a:pt x="30" y="7"/>
                    </a:cubicBezTo>
                    <a:cubicBezTo>
                      <a:pt x="32" y="5"/>
                      <a:pt x="30" y="3"/>
                      <a:pt x="29" y="4"/>
                    </a:cubicBezTo>
                    <a:cubicBezTo>
                      <a:pt x="28" y="5"/>
                      <a:pt x="25" y="6"/>
                      <a:pt x="25" y="3"/>
                    </a:cubicBezTo>
                    <a:cubicBezTo>
                      <a:pt x="25" y="0"/>
                      <a:pt x="17" y="0"/>
                      <a:pt x="14" y="2"/>
                    </a:cubicBezTo>
                    <a:cubicBezTo>
                      <a:pt x="13" y="3"/>
                      <a:pt x="11" y="4"/>
                      <a:pt x="10" y="4"/>
                    </a:cubicBezTo>
                    <a:cubicBezTo>
                      <a:pt x="9" y="8"/>
                      <a:pt x="8" y="14"/>
                      <a:pt x="10" y="16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1" name="Freeform 17">
                <a:extLst>
                  <a:ext uri="{FF2B5EF4-FFF2-40B4-BE49-F238E27FC236}">
                    <a16:creationId xmlns:a16="http://schemas.microsoft.com/office/drawing/2014/main" id="{571FE884-4A1E-403B-B184-759F9539A0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61619" y="3360803"/>
                <a:ext cx="385201" cy="370144"/>
              </a:xfrm>
              <a:custGeom>
                <a:avLst/>
                <a:gdLst>
                  <a:gd name="T0" fmla="*/ 57 w 167"/>
                  <a:gd name="T1" fmla="*/ 30 h 161"/>
                  <a:gd name="T2" fmla="*/ 58 w 167"/>
                  <a:gd name="T3" fmla="*/ 38 h 161"/>
                  <a:gd name="T4" fmla="*/ 61 w 167"/>
                  <a:gd name="T5" fmla="*/ 43 h 161"/>
                  <a:gd name="T6" fmla="*/ 59 w 167"/>
                  <a:gd name="T7" fmla="*/ 46 h 161"/>
                  <a:gd name="T8" fmla="*/ 47 w 167"/>
                  <a:gd name="T9" fmla="*/ 47 h 161"/>
                  <a:gd name="T10" fmla="*/ 42 w 167"/>
                  <a:gd name="T11" fmla="*/ 50 h 161"/>
                  <a:gd name="T12" fmla="*/ 40 w 167"/>
                  <a:gd name="T13" fmla="*/ 52 h 161"/>
                  <a:gd name="T14" fmla="*/ 39 w 167"/>
                  <a:gd name="T15" fmla="*/ 57 h 161"/>
                  <a:gd name="T16" fmla="*/ 35 w 167"/>
                  <a:gd name="T17" fmla="*/ 59 h 161"/>
                  <a:gd name="T18" fmla="*/ 29 w 167"/>
                  <a:gd name="T19" fmla="*/ 61 h 161"/>
                  <a:gd name="T20" fmla="*/ 25 w 167"/>
                  <a:gd name="T21" fmla="*/ 66 h 161"/>
                  <a:gd name="T22" fmla="*/ 18 w 167"/>
                  <a:gd name="T23" fmla="*/ 68 h 161"/>
                  <a:gd name="T24" fmla="*/ 13 w 167"/>
                  <a:gd name="T25" fmla="*/ 69 h 161"/>
                  <a:gd name="T26" fmla="*/ 0 w 167"/>
                  <a:gd name="T27" fmla="*/ 78 h 161"/>
                  <a:gd name="T28" fmla="*/ 0 w 167"/>
                  <a:gd name="T29" fmla="*/ 89 h 161"/>
                  <a:gd name="T30" fmla="*/ 1 w 167"/>
                  <a:gd name="T31" fmla="*/ 90 h 161"/>
                  <a:gd name="T32" fmla="*/ 79 w 167"/>
                  <a:gd name="T33" fmla="*/ 142 h 161"/>
                  <a:gd name="T34" fmla="*/ 85 w 167"/>
                  <a:gd name="T35" fmla="*/ 149 h 161"/>
                  <a:gd name="T36" fmla="*/ 94 w 167"/>
                  <a:gd name="T37" fmla="*/ 152 h 161"/>
                  <a:gd name="T38" fmla="*/ 98 w 167"/>
                  <a:gd name="T39" fmla="*/ 161 h 161"/>
                  <a:gd name="T40" fmla="*/ 105 w 167"/>
                  <a:gd name="T41" fmla="*/ 159 h 161"/>
                  <a:gd name="T42" fmla="*/ 118 w 167"/>
                  <a:gd name="T43" fmla="*/ 155 h 161"/>
                  <a:gd name="T44" fmla="*/ 133 w 167"/>
                  <a:gd name="T45" fmla="*/ 143 h 161"/>
                  <a:gd name="T46" fmla="*/ 167 w 167"/>
                  <a:gd name="T47" fmla="*/ 122 h 161"/>
                  <a:gd name="T48" fmla="*/ 167 w 167"/>
                  <a:gd name="T49" fmla="*/ 122 h 161"/>
                  <a:gd name="T50" fmla="*/ 163 w 167"/>
                  <a:gd name="T51" fmla="*/ 115 h 161"/>
                  <a:gd name="T52" fmla="*/ 157 w 167"/>
                  <a:gd name="T53" fmla="*/ 113 h 161"/>
                  <a:gd name="T54" fmla="*/ 152 w 167"/>
                  <a:gd name="T55" fmla="*/ 110 h 161"/>
                  <a:gd name="T56" fmla="*/ 151 w 167"/>
                  <a:gd name="T57" fmla="*/ 104 h 161"/>
                  <a:gd name="T58" fmla="*/ 147 w 167"/>
                  <a:gd name="T59" fmla="*/ 99 h 161"/>
                  <a:gd name="T60" fmla="*/ 151 w 167"/>
                  <a:gd name="T61" fmla="*/ 95 h 161"/>
                  <a:gd name="T62" fmla="*/ 149 w 167"/>
                  <a:gd name="T63" fmla="*/ 91 h 161"/>
                  <a:gd name="T64" fmla="*/ 149 w 167"/>
                  <a:gd name="T65" fmla="*/ 86 h 161"/>
                  <a:gd name="T66" fmla="*/ 150 w 167"/>
                  <a:gd name="T67" fmla="*/ 80 h 161"/>
                  <a:gd name="T68" fmla="*/ 150 w 167"/>
                  <a:gd name="T69" fmla="*/ 72 h 161"/>
                  <a:gd name="T70" fmla="*/ 147 w 167"/>
                  <a:gd name="T71" fmla="*/ 65 h 161"/>
                  <a:gd name="T72" fmla="*/ 148 w 167"/>
                  <a:gd name="T73" fmla="*/ 63 h 161"/>
                  <a:gd name="T74" fmla="*/ 148 w 167"/>
                  <a:gd name="T75" fmla="*/ 61 h 161"/>
                  <a:gd name="T76" fmla="*/ 144 w 167"/>
                  <a:gd name="T77" fmla="*/ 47 h 161"/>
                  <a:gd name="T78" fmla="*/ 138 w 167"/>
                  <a:gd name="T79" fmla="*/ 42 h 161"/>
                  <a:gd name="T80" fmla="*/ 134 w 167"/>
                  <a:gd name="T81" fmla="*/ 37 h 161"/>
                  <a:gd name="T82" fmla="*/ 131 w 167"/>
                  <a:gd name="T83" fmla="*/ 28 h 161"/>
                  <a:gd name="T84" fmla="*/ 136 w 167"/>
                  <a:gd name="T85" fmla="*/ 23 h 161"/>
                  <a:gd name="T86" fmla="*/ 139 w 167"/>
                  <a:gd name="T87" fmla="*/ 14 h 161"/>
                  <a:gd name="T88" fmla="*/ 139 w 167"/>
                  <a:gd name="T89" fmla="*/ 2 h 161"/>
                  <a:gd name="T90" fmla="*/ 131 w 167"/>
                  <a:gd name="T91" fmla="*/ 0 h 161"/>
                  <a:gd name="T92" fmla="*/ 123 w 167"/>
                  <a:gd name="T93" fmla="*/ 1 h 161"/>
                  <a:gd name="T94" fmla="*/ 112 w 167"/>
                  <a:gd name="T95" fmla="*/ 3 h 161"/>
                  <a:gd name="T96" fmla="*/ 82 w 167"/>
                  <a:gd name="T97" fmla="*/ 5 h 161"/>
                  <a:gd name="T98" fmla="*/ 69 w 167"/>
                  <a:gd name="T99" fmla="*/ 12 h 161"/>
                  <a:gd name="T100" fmla="*/ 56 w 167"/>
                  <a:gd name="T101" fmla="*/ 18 h 161"/>
                  <a:gd name="T102" fmla="*/ 53 w 167"/>
                  <a:gd name="T103" fmla="*/ 20 h 161"/>
                  <a:gd name="T104" fmla="*/ 55 w 167"/>
                  <a:gd name="T105" fmla="*/ 22 h 161"/>
                  <a:gd name="T106" fmla="*/ 57 w 167"/>
                  <a:gd name="T107" fmla="*/ 30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67" h="161">
                    <a:moveTo>
                      <a:pt x="57" y="30"/>
                    </a:moveTo>
                    <a:cubicBezTo>
                      <a:pt x="57" y="34"/>
                      <a:pt x="56" y="38"/>
                      <a:pt x="58" y="38"/>
                    </a:cubicBezTo>
                    <a:cubicBezTo>
                      <a:pt x="59" y="38"/>
                      <a:pt x="61" y="42"/>
                      <a:pt x="61" y="43"/>
                    </a:cubicBezTo>
                    <a:cubicBezTo>
                      <a:pt x="61" y="45"/>
                      <a:pt x="61" y="46"/>
                      <a:pt x="59" y="46"/>
                    </a:cubicBezTo>
                    <a:cubicBezTo>
                      <a:pt x="57" y="46"/>
                      <a:pt x="47" y="45"/>
                      <a:pt x="47" y="47"/>
                    </a:cubicBezTo>
                    <a:cubicBezTo>
                      <a:pt x="47" y="49"/>
                      <a:pt x="45" y="50"/>
                      <a:pt x="42" y="50"/>
                    </a:cubicBezTo>
                    <a:cubicBezTo>
                      <a:pt x="40" y="50"/>
                      <a:pt x="40" y="49"/>
                      <a:pt x="40" y="52"/>
                    </a:cubicBezTo>
                    <a:cubicBezTo>
                      <a:pt x="40" y="55"/>
                      <a:pt x="40" y="57"/>
                      <a:pt x="39" y="57"/>
                    </a:cubicBezTo>
                    <a:cubicBezTo>
                      <a:pt x="37" y="57"/>
                      <a:pt x="37" y="59"/>
                      <a:pt x="35" y="59"/>
                    </a:cubicBezTo>
                    <a:cubicBezTo>
                      <a:pt x="33" y="60"/>
                      <a:pt x="29" y="59"/>
                      <a:pt x="29" y="61"/>
                    </a:cubicBezTo>
                    <a:cubicBezTo>
                      <a:pt x="29" y="64"/>
                      <a:pt x="27" y="66"/>
                      <a:pt x="25" y="66"/>
                    </a:cubicBezTo>
                    <a:cubicBezTo>
                      <a:pt x="22" y="67"/>
                      <a:pt x="18" y="66"/>
                      <a:pt x="18" y="68"/>
                    </a:cubicBezTo>
                    <a:cubicBezTo>
                      <a:pt x="18" y="70"/>
                      <a:pt x="14" y="68"/>
                      <a:pt x="13" y="69"/>
                    </a:cubicBezTo>
                    <a:cubicBezTo>
                      <a:pt x="11" y="70"/>
                      <a:pt x="0" y="77"/>
                      <a:pt x="0" y="78"/>
                    </a:cubicBezTo>
                    <a:cubicBezTo>
                      <a:pt x="0" y="78"/>
                      <a:pt x="0" y="83"/>
                      <a:pt x="0" y="89"/>
                    </a:cubicBezTo>
                    <a:cubicBezTo>
                      <a:pt x="0" y="89"/>
                      <a:pt x="1" y="90"/>
                      <a:pt x="1" y="90"/>
                    </a:cubicBezTo>
                    <a:cubicBezTo>
                      <a:pt x="5" y="92"/>
                      <a:pt x="77" y="140"/>
                      <a:pt x="79" y="142"/>
                    </a:cubicBezTo>
                    <a:cubicBezTo>
                      <a:pt x="82" y="144"/>
                      <a:pt x="85" y="149"/>
                      <a:pt x="85" y="149"/>
                    </a:cubicBezTo>
                    <a:cubicBezTo>
                      <a:pt x="85" y="149"/>
                      <a:pt x="90" y="150"/>
                      <a:pt x="94" y="152"/>
                    </a:cubicBezTo>
                    <a:cubicBezTo>
                      <a:pt x="98" y="155"/>
                      <a:pt x="98" y="161"/>
                      <a:pt x="98" y="161"/>
                    </a:cubicBezTo>
                    <a:cubicBezTo>
                      <a:pt x="98" y="161"/>
                      <a:pt x="103" y="160"/>
                      <a:pt x="105" y="159"/>
                    </a:cubicBezTo>
                    <a:cubicBezTo>
                      <a:pt x="108" y="158"/>
                      <a:pt x="118" y="155"/>
                      <a:pt x="118" y="155"/>
                    </a:cubicBezTo>
                    <a:cubicBezTo>
                      <a:pt x="133" y="143"/>
                      <a:pt x="133" y="143"/>
                      <a:pt x="133" y="143"/>
                    </a:cubicBezTo>
                    <a:cubicBezTo>
                      <a:pt x="167" y="122"/>
                      <a:pt x="167" y="122"/>
                      <a:pt x="167" y="122"/>
                    </a:cubicBezTo>
                    <a:cubicBezTo>
                      <a:pt x="167" y="122"/>
                      <a:pt x="167" y="122"/>
                      <a:pt x="167" y="122"/>
                    </a:cubicBezTo>
                    <a:cubicBezTo>
                      <a:pt x="166" y="118"/>
                      <a:pt x="165" y="115"/>
                      <a:pt x="163" y="115"/>
                    </a:cubicBezTo>
                    <a:cubicBezTo>
                      <a:pt x="161" y="115"/>
                      <a:pt x="160" y="113"/>
                      <a:pt x="157" y="113"/>
                    </a:cubicBezTo>
                    <a:cubicBezTo>
                      <a:pt x="155" y="113"/>
                      <a:pt x="152" y="112"/>
                      <a:pt x="152" y="110"/>
                    </a:cubicBezTo>
                    <a:cubicBezTo>
                      <a:pt x="151" y="108"/>
                      <a:pt x="152" y="106"/>
                      <a:pt x="151" y="104"/>
                    </a:cubicBezTo>
                    <a:cubicBezTo>
                      <a:pt x="149" y="101"/>
                      <a:pt x="147" y="100"/>
                      <a:pt x="147" y="99"/>
                    </a:cubicBezTo>
                    <a:cubicBezTo>
                      <a:pt x="147" y="97"/>
                      <a:pt x="150" y="95"/>
                      <a:pt x="151" y="95"/>
                    </a:cubicBezTo>
                    <a:cubicBezTo>
                      <a:pt x="151" y="94"/>
                      <a:pt x="149" y="92"/>
                      <a:pt x="149" y="91"/>
                    </a:cubicBezTo>
                    <a:cubicBezTo>
                      <a:pt x="149" y="90"/>
                      <a:pt x="148" y="87"/>
                      <a:pt x="149" y="86"/>
                    </a:cubicBezTo>
                    <a:cubicBezTo>
                      <a:pt x="151" y="84"/>
                      <a:pt x="151" y="83"/>
                      <a:pt x="150" y="80"/>
                    </a:cubicBezTo>
                    <a:cubicBezTo>
                      <a:pt x="149" y="78"/>
                      <a:pt x="152" y="75"/>
                      <a:pt x="150" y="72"/>
                    </a:cubicBezTo>
                    <a:cubicBezTo>
                      <a:pt x="149" y="69"/>
                      <a:pt x="146" y="66"/>
                      <a:pt x="147" y="65"/>
                    </a:cubicBezTo>
                    <a:cubicBezTo>
                      <a:pt x="147" y="64"/>
                      <a:pt x="147" y="64"/>
                      <a:pt x="148" y="63"/>
                    </a:cubicBezTo>
                    <a:cubicBezTo>
                      <a:pt x="148" y="62"/>
                      <a:pt x="148" y="62"/>
                      <a:pt x="148" y="61"/>
                    </a:cubicBezTo>
                    <a:cubicBezTo>
                      <a:pt x="148" y="57"/>
                      <a:pt x="145" y="48"/>
                      <a:pt x="144" y="47"/>
                    </a:cubicBezTo>
                    <a:cubicBezTo>
                      <a:pt x="142" y="45"/>
                      <a:pt x="138" y="43"/>
                      <a:pt x="138" y="42"/>
                    </a:cubicBezTo>
                    <a:cubicBezTo>
                      <a:pt x="138" y="40"/>
                      <a:pt x="138" y="38"/>
                      <a:pt x="134" y="37"/>
                    </a:cubicBezTo>
                    <a:cubicBezTo>
                      <a:pt x="131" y="35"/>
                      <a:pt x="129" y="28"/>
                      <a:pt x="131" y="28"/>
                    </a:cubicBezTo>
                    <a:cubicBezTo>
                      <a:pt x="133" y="28"/>
                      <a:pt x="134" y="24"/>
                      <a:pt x="136" y="23"/>
                    </a:cubicBezTo>
                    <a:cubicBezTo>
                      <a:pt x="138" y="22"/>
                      <a:pt x="141" y="17"/>
                      <a:pt x="139" y="14"/>
                    </a:cubicBezTo>
                    <a:cubicBezTo>
                      <a:pt x="137" y="12"/>
                      <a:pt x="138" y="6"/>
                      <a:pt x="139" y="2"/>
                    </a:cubicBezTo>
                    <a:cubicBezTo>
                      <a:pt x="136" y="2"/>
                      <a:pt x="132" y="0"/>
                      <a:pt x="131" y="0"/>
                    </a:cubicBezTo>
                    <a:cubicBezTo>
                      <a:pt x="130" y="0"/>
                      <a:pt x="126" y="1"/>
                      <a:pt x="123" y="1"/>
                    </a:cubicBezTo>
                    <a:cubicBezTo>
                      <a:pt x="120" y="1"/>
                      <a:pt x="114" y="5"/>
                      <a:pt x="112" y="3"/>
                    </a:cubicBezTo>
                    <a:cubicBezTo>
                      <a:pt x="110" y="1"/>
                      <a:pt x="88" y="5"/>
                      <a:pt x="82" y="5"/>
                    </a:cubicBezTo>
                    <a:cubicBezTo>
                      <a:pt x="75" y="5"/>
                      <a:pt x="73" y="12"/>
                      <a:pt x="69" y="12"/>
                    </a:cubicBezTo>
                    <a:cubicBezTo>
                      <a:pt x="65" y="12"/>
                      <a:pt x="60" y="15"/>
                      <a:pt x="56" y="18"/>
                    </a:cubicBezTo>
                    <a:cubicBezTo>
                      <a:pt x="56" y="19"/>
                      <a:pt x="55" y="20"/>
                      <a:pt x="53" y="20"/>
                    </a:cubicBezTo>
                    <a:cubicBezTo>
                      <a:pt x="54" y="21"/>
                      <a:pt x="54" y="22"/>
                      <a:pt x="55" y="22"/>
                    </a:cubicBezTo>
                    <a:cubicBezTo>
                      <a:pt x="57" y="24"/>
                      <a:pt x="57" y="27"/>
                      <a:pt x="57" y="3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2" name="Freeform 18">
                <a:extLst>
                  <a:ext uri="{FF2B5EF4-FFF2-40B4-BE49-F238E27FC236}">
                    <a16:creationId xmlns:a16="http://schemas.microsoft.com/office/drawing/2014/main" id="{D03776E1-C0F0-4B1C-B8D0-6EEE18F6D9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97886" y="3446124"/>
                <a:ext cx="283568" cy="271021"/>
              </a:xfrm>
              <a:custGeom>
                <a:avLst/>
                <a:gdLst>
                  <a:gd name="T0" fmla="*/ 14 w 123"/>
                  <a:gd name="T1" fmla="*/ 7 h 118"/>
                  <a:gd name="T2" fmla="*/ 8 w 123"/>
                  <a:gd name="T3" fmla="*/ 13 h 118"/>
                  <a:gd name="T4" fmla="*/ 7 w 123"/>
                  <a:gd name="T5" fmla="*/ 17 h 118"/>
                  <a:gd name="T6" fmla="*/ 6 w 123"/>
                  <a:gd name="T7" fmla="*/ 23 h 118"/>
                  <a:gd name="T8" fmla="*/ 1 w 123"/>
                  <a:gd name="T9" fmla="*/ 28 h 118"/>
                  <a:gd name="T10" fmla="*/ 4 w 123"/>
                  <a:gd name="T11" fmla="*/ 35 h 118"/>
                  <a:gd name="T12" fmla="*/ 4 w 123"/>
                  <a:gd name="T13" fmla="*/ 43 h 118"/>
                  <a:gd name="T14" fmla="*/ 3 w 123"/>
                  <a:gd name="T15" fmla="*/ 49 h 118"/>
                  <a:gd name="T16" fmla="*/ 3 w 123"/>
                  <a:gd name="T17" fmla="*/ 54 h 118"/>
                  <a:gd name="T18" fmla="*/ 5 w 123"/>
                  <a:gd name="T19" fmla="*/ 58 h 118"/>
                  <a:gd name="T20" fmla="*/ 1 w 123"/>
                  <a:gd name="T21" fmla="*/ 62 h 118"/>
                  <a:gd name="T22" fmla="*/ 5 w 123"/>
                  <a:gd name="T23" fmla="*/ 67 h 118"/>
                  <a:gd name="T24" fmla="*/ 6 w 123"/>
                  <a:gd name="T25" fmla="*/ 73 h 118"/>
                  <a:gd name="T26" fmla="*/ 11 w 123"/>
                  <a:gd name="T27" fmla="*/ 76 h 118"/>
                  <a:gd name="T28" fmla="*/ 17 w 123"/>
                  <a:gd name="T29" fmla="*/ 78 h 118"/>
                  <a:gd name="T30" fmla="*/ 21 w 123"/>
                  <a:gd name="T31" fmla="*/ 85 h 118"/>
                  <a:gd name="T32" fmla="*/ 33 w 123"/>
                  <a:gd name="T33" fmla="*/ 87 h 118"/>
                  <a:gd name="T34" fmla="*/ 38 w 123"/>
                  <a:gd name="T35" fmla="*/ 92 h 118"/>
                  <a:gd name="T36" fmla="*/ 52 w 123"/>
                  <a:gd name="T37" fmla="*/ 85 h 118"/>
                  <a:gd name="T38" fmla="*/ 113 w 123"/>
                  <a:gd name="T39" fmla="*/ 118 h 118"/>
                  <a:gd name="T40" fmla="*/ 113 w 123"/>
                  <a:gd name="T41" fmla="*/ 113 h 118"/>
                  <a:gd name="T42" fmla="*/ 120 w 123"/>
                  <a:gd name="T43" fmla="*/ 113 h 118"/>
                  <a:gd name="T44" fmla="*/ 120 w 123"/>
                  <a:gd name="T45" fmla="*/ 35 h 118"/>
                  <a:gd name="T46" fmla="*/ 120 w 123"/>
                  <a:gd name="T47" fmla="*/ 23 h 118"/>
                  <a:gd name="T48" fmla="*/ 121 w 123"/>
                  <a:gd name="T49" fmla="*/ 13 h 118"/>
                  <a:gd name="T50" fmla="*/ 122 w 123"/>
                  <a:gd name="T51" fmla="*/ 11 h 118"/>
                  <a:gd name="T52" fmla="*/ 122 w 123"/>
                  <a:gd name="T53" fmla="*/ 10 h 118"/>
                  <a:gd name="T54" fmla="*/ 111 w 123"/>
                  <a:gd name="T55" fmla="*/ 8 h 118"/>
                  <a:gd name="T56" fmla="*/ 99 w 123"/>
                  <a:gd name="T57" fmla="*/ 1 h 118"/>
                  <a:gd name="T58" fmla="*/ 81 w 123"/>
                  <a:gd name="T59" fmla="*/ 10 h 118"/>
                  <a:gd name="T60" fmla="*/ 82 w 123"/>
                  <a:gd name="T61" fmla="*/ 21 h 118"/>
                  <a:gd name="T62" fmla="*/ 70 w 123"/>
                  <a:gd name="T63" fmla="*/ 21 h 118"/>
                  <a:gd name="T64" fmla="*/ 55 w 123"/>
                  <a:gd name="T65" fmla="*/ 16 h 118"/>
                  <a:gd name="T66" fmla="*/ 47 w 123"/>
                  <a:gd name="T67" fmla="*/ 10 h 118"/>
                  <a:gd name="T68" fmla="*/ 42 w 123"/>
                  <a:gd name="T69" fmla="*/ 5 h 118"/>
                  <a:gd name="T70" fmla="*/ 27 w 123"/>
                  <a:gd name="T71" fmla="*/ 2 h 118"/>
                  <a:gd name="T72" fmla="*/ 18 w 123"/>
                  <a:gd name="T73" fmla="*/ 0 h 118"/>
                  <a:gd name="T74" fmla="*/ 17 w 123"/>
                  <a:gd name="T75" fmla="*/ 5 h 118"/>
                  <a:gd name="T76" fmla="*/ 14 w 123"/>
                  <a:gd name="T77" fmla="*/ 7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23" h="118">
                    <a:moveTo>
                      <a:pt x="14" y="7"/>
                    </a:moveTo>
                    <a:cubicBezTo>
                      <a:pt x="13" y="8"/>
                      <a:pt x="9" y="12"/>
                      <a:pt x="8" y="13"/>
                    </a:cubicBezTo>
                    <a:cubicBezTo>
                      <a:pt x="7" y="14"/>
                      <a:pt x="7" y="16"/>
                      <a:pt x="7" y="17"/>
                    </a:cubicBezTo>
                    <a:cubicBezTo>
                      <a:pt x="8" y="17"/>
                      <a:pt x="7" y="21"/>
                      <a:pt x="6" y="23"/>
                    </a:cubicBezTo>
                    <a:cubicBezTo>
                      <a:pt x="5" y="25"/>
                      <a:pt x="1" y="26"/>
                      <a:pt x="1" y="28"/>
                    </a:cubicBezTo>
                    <a:cubicBezTo>
                      <a:pt x="0" y="29"/>
                      <a:pt x="3" y="32"/>
                      <a:pt x="4" y="35"/>
                    </a:cubicBezTo>
                    <a:cubicBezTo>
                      <a:pt x="6" y="38"/>
                      <a:pt x="3" y="41"/>
                      <a:pt x="4" y="43"/>
                    </a:cubicBezTo>
                    <a:cubicBezTo>
                      <a:pt x="5" y="46"/>
                      <a:pt x="5" y="47"/>
                      <a:pt x="3" y="49"/>
                    </a:cubicBezTo>
                    <a:cubicBezTo>
                      <a:pt x="2" y="50"/>
                      <a:pt x="3" y="53"/>
                      <a:pt x="3" y="54"/>
                    </a:cubicBezTo>
                    <a:cubicBezTo>
                      <a:pt x="3" y="55"/>
                      <a:pt x="5" y="57"/>
                      <a:pt x="5" y="58"/>
                    </a:cubicBezTo>
                    <a:cubicBezTo>
                      <a:pt x="4" y="58"/>
                      <a:pt x="1" y="60"/>
                      <a:pt x="1" y="62"/>
                    </a:cubicBezTo>
                    <a:cubicBezTo>
                      <a:pt x="1" y="63"/>
                      <a:pt x="3" y="64"/>
                      <a:pt x="5" y="67"/>
                    </a:cubicBezTo>
                    <a:cubicBezTo>
                      <a:pt x="6" y="69"/>
                      <a:pt x="5" y="71"/>
                      <a:pt x="6" y="73"/>
                    </a:cubicBezTo>
                    <a:cubicBezTo>
                      <a:pt x="6" y="75"/>
                      <a:pt x="9" y="76"/>
                      <a:pt x="11" y="76"/>
                    </a:cubicBezTo>
                    <a:cubicBezTo>
                      <a:pt x="14" y="76"/>
                      <a:pt x="15" y="78"/>
                      <a:pt x="17" y="78"/>
                    </a:cubicBezTo>
                    <a:cubicBezTo>
                      <a:pt x="19" y="78"/>
                      <a:pt x="20" y="81"/>
                      <a:pt x="21" y="85"/>
                    </a:cubicBezTo>
                    <a:cubicBezTo>
                      <a:pt x="22" y="85"/>
                      <a:pt x="30" y="85"/>
                      <a:pt x="33" y="87"/>
                    </a:cubicBezTo>
                    <a:cubicBezTo>
                      <a:pt x="36" y="89"/>
                      <a:pt x="38" y="92"/>
                      <a:pt x="38" y="92"/>
                    </a:cubicBezTo>
                    <a:cubicBezTo>
                      <a:pt x="52" y="85"/>
                      <a:pt x="52" y="85"/>
                      <a:pt x="52" y="85"/>
                    </a:cubicBezTo>
                    <a:cubicBezTo>
                      <a:pt x="113" y="118"/>
                      <a:pt x="113" y="118"/>
                      <a:pt x="113" y="118"/>
                    </a:cubicBezTo>
                    <a:cubicBezTo>
                      <a:pt x="113" y="113"/>
                      <a:pt x="113" y="113"/>
                      <a:pt x="113" y="113"/>
                    </a:cubicBezTo>
                    <a:cubicBezTo>
                      <a:pt x="120" y="113"/>
                      <a:pt x="120" y="113"/>
                      <a:pt x="120" y="113"/>
                    </a:cubicBezTo>
                    <a:cubicBezTo>
                      <a:pt x="120" y="113"/>
                      <a:pt x="120" y="40"/>
                      <a:pt x="120" y="35"/>
                    </a:cubicBezTo>
                    <a:cubicBezTo>
                      <a:pt x="120" y="29"/>
                      <a:pt x="118" y="26"/>
                      <a:pt x="120" y="23"/>
                    </a:cubicBezTo>
                    <a:cubicBezTo>
                      <a:pt x="123" y="20"/>
                      <a:pt x="119" y="18"/>
                      <a:pt x="121" y="13"/>
                    </a:cubicBezTo>
                    <a:cubicBezTo>
                      <a:pt x="122" y="12"/>
                      <a:pt x="122" y="11"/>
                      <a:pt x="122" y="11"/>
                    </a:cubicBezTo>
                    <a:cubicBezTo>
                      <a:pt x="122" y="11"/>
                      <a:pt x="122" y="11"/>
                      <a:pt x="122" y="10"/>
                    </a:cubicBezTo>
                    <a:cubicBezTo>
                      <a:pt x="121" y="9"/>
                      <a:pt x="118" y="9"/>
                      <a:pt x="111" y="8"/>
                    </a:cubicBezTo>
                    <a:cubicBezTo>
                      <a:pt x="104" y="7"/>
                      <a:pt x="107" y="2"/>
                      <a:pt x="99" y="1"/>
                    </a:cubicBezTo>
                    <a:cubicBezTo>
                      <a:pt x="91" y="1"/>
                      <a:pt x="81" y="7"/>
                      <a:pt x="81" y="10"/>
                    </a:cubicBezTo>
                    <a:cubicBezTo>
                      <a:pt x="81" y="14"/>
                      <a:pt x="85" y="17"/>
                      <a:pt x="82" y="21"/>
                    </a:cubicBezTo>
                    <a:cubicBezTo>
                      <a:pt x="79" y="24"/>
                      <a:pt x="74" y="25"/>
                      <a:pt x="70" y="21"/>
                    </a:cubicBezTo>
                    <a:cubicBezTo>
                      <a:pt x="66" y="17"/>
                      <a:pt x="60" y="16"/>
                      <a:pt x="55" y="16"/>
                    </a:cubicBezTo>
                    <a:cubicBezTo>
                      <a:pt x="50" y="16"/>
                      <a:pt x="46" y="13"/>
                      <a:pt x="47" y="10"/>
                    </a:cubicBezTo>
                    <a:cubicBezTo>
                      <a:pt x="47" y="7"/>
                      <a:pt x="46" y="6"/>
                      <a:pt x="42" y="5"/>
                    </a:cubicBezTo>
                    <a:cubicBezTo>
                      <a:pt x="38" y="5"/>
                      <a:pt x="34" y="1"/>
                      <a:pt x="27" y="2"/>
                    </a:cubicBezTo>
                    <a:cubicBezTo>
                      <a:pt x="23" y="3"/>
                      <a:pt x="20" y="2"/>
                      <a:pt x="18" y="0"/>
                    </a:cubicBezTo>
                    <a:cubicBezTo>
                      <a:pt x="18" y="2"/>
                      <a:pt x="17" y="4"/>
                      <a:pt x="17" y="5"/>
                    </a:cubicBezTo>
                    <a:cubicBezTo>
                      <a:pt x="18" y="7"/>
                      <a:pt x="15" y="7"/>
                      <a:pt x="14" y="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3" name="Freeform 19">
                <a:extLst>
                  <a:ext uri="{FF2B5EF4-FFF2-40B4-BE49-F238E27FC236}">
                    <a16:creationId xmlns:a16="http://schemas.microsoft.com/office/drawing/2014/main" id="{A3EB4280-7A5D-4341-B873-31506CAF54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12307" y="3823796"/>
                <a:ext cx="55208" cy="18821"/>
              </a:xfrm>
              <a:custGeom>
                <a:avLst/>
                <a:gdLst>
                  <a:gd name="T0" fmla="*/ 12 w 24"/>
                  <a:gd name="T1" fmla="*/ 5 h 8"/>
                  <a:gd name="T2" fmla="*/ 19 w 24"/>
                  <a:gd name="T3" fmla="*/ 7 h 8"/>
                  <a:gd name="T4" fmla="*/ 24 w 24"/>
                  <a:gd name="T5" fmla="*/ 6 h 8"/>
                  <a:gd name="T6" fmla="*/ 19 w 24"/>
                  <a:gd name="T7" fmla="*/ 5 h 8"/>
                  <a:gd name="T8" fmla="*/ 12 w 24"/>
                  <a:gd name="T9" fmla="*/ 2 h 8"/>
                  <a:gd name="T10" fmla="*/ 1 w 24"/>
                  <a:gd name="T11" fmla="*/ 4 h 8"/>
                  <a:gd name="T12" fmla="*/ 0 w 24"/>
                  <a:gd name="T13" fmla="*/ 8 h 8"/>
                  <a:gd name="T14" fmla="*/ 3 w 24"/>
                  <a:gd name="T15" fmla="*/ 8 h 8"/>
                  <a:gd name="T16" fmla="*/ 12 w 24"/>
                  <a:gd name="T17" fmla="*/ 5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" h="8">
                    <a:moveTo>
                      <a:pt x="12" y="5"/>
                    </a:moveTo>
                    <a:cubicBezTo>
                      <a:pt x="14" y="4"/>
                      <a:pt x="16" y="7"/>
                      <a:pt x="19" y="7"/>
                    </a:cubicBezTo>
                    <a:cubicBezTo>
                      <a:pt x="21" y="7"/>
                      <a:pt x="24" y="6"/>
                      <a:pt x="24" y="6"/>
                    </a:cubicBezTo>
                    <a:cubicBezTo>
                      <a:pt x="24" y="6"/>
                      <a:pt x="23" y="5"/>
                      <a:pt x="19" y="5"/>
                    </a:cubicBezTo>
                    <a:cubicBezTo>
                      <a:pt x="15" y="5"/>
                      <a:pt x="15" y="0"/>
                      <a:pt x="12" y="2"/>
                    </a:cubicBezTo>
                    <a:cubicBezTo>
                      <a:pt x="8" y="4"/>
                      <a:pt x="6" y="4"/>
                      <a:pt x="1" y="4"/>
                    </a:cubicBezTo>
                    <a:cubicBezTo>
                      <a:pt x="1" y="5"/>
                      <a:pt x="1" y="7"/>
                      <a:pt x="0" y="8"/>
                    </a:cubicBezTo>
                    <a:cubicBezTo>
                      <a:pt x="2" y="8"/>
                      <a:pt x="2" y="8"/>
                      <a:pt x="3" y="8"/>
                    </a:cubicBezTo>
                    <a:cubicBezTo>
                      <a:pt x="5" y="8"/>
                      <a:pt x="10" y="7"/>
                      <a:pt x="12" y="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4" name="Freeform 20">
                <a:extLst>
                  <a:ext uri="{FF2B5EF4-FFF2-40B4-BE49-F238E27FC236}">
                    <a16:creationId xmlns:a16="http://schemas.microsoft.com/office/drawing/2014/main" id="{7ACB97B2-81D6-49C3-AE4E-BEE2BCAE24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99759" y="3772353"/>
                <a:ext cx="111671" cy="87831"/>
              </a:xfrm>
              <a:custGeom>
                <a:avLst/>
                <a:gdLst>
                  <a:gd name="T0" fmla="*/ 11 w 48"/>
                  <a:gd name="T1" fmla="*/ 36 h 38"/>
                  <a:gd name="T2" fmla="*/ 16 w 48"/>
                  <a:gd name="T3" fmla="*/ 34 h 38"/>
                  <a:gd name="T4" fmla="*/ 27 w 48"/>
                  <a:gd name="T5" fmla="*/ 33 h 38"/>
                  <a:gd name="T6" fmla="*/ 30 w 48"/>
                  <a:gd name="T7" fmla="*/ 34 h 38"/>
                  <a:gd name="T8" fmla="*/ 30 w 48"/>
                  <a:gd name="T9" fmla="*/ 33 h 38"/>
                  <a:gd name="T10" fmla="*/ 35 w 48"/>
                  <a:gd name="T11" fmla="*/ 36 h 38"/>
                  <a:gd name="T12" fmla="*/ 47 w 48"/>
                  <a:gd name="T13" fmla="*/ 36 h 38"/>
                  <a:gd name="T14" fmla="*/ 48 w 48"/>
                  <a:gd name="T15" fmla="*/ 36 h 38"/>
                  <a:gd name="T16" fmla="*/ 48 w 48"/>
                  <a:gd name="T17" fmla="*/ 31 h 38"/>
                  <a:gd name="T18" fmla="*/ 44 w 48"/>
                  <a:gd name="T19" fmla="*/ 26 h 38"/>
                  <a:gd name="T20" fmla="*/ 42 w 48"/>
                  <a:gd name="T21" fmla="*/ 21 h 38"/>
                  <a:gd name="T22" fmla="*/ 41 w 48"/>
                  <a:gd name="T23" fmla="*/ 18 h 38"/>
                  <a:gd name="T24" fmla="*/ 36 w 48"/>
                  <a:gd name="T25" fmla="*/ 13 h 38"/>
                  <a:gd name="T26" fmla="*/ 31 w 48"/>
                  <a:gd name="T27" fmla="*/ 5 h 38"/>
                  <a:gd name="T28" fmla="*/ 28 w 48"/>
                  <a:gd name="T29" fmla="*/ 5 h 38"/>
                  <a:gd name="T30" fmla="*/ 23 w 48"/>
                  <a:gd name="T31" fmla="*/ 2 h 38"/>
                  <a:gd name="T32" fmla="*/ 17 w 48"/>
                  <a:gd name="T33" fmla="*/ 2 h 38"/>
                  <a:gd name="T34" fmla="*/ 10 w 48"/>
                  <a:gd name="T35" fmla="*/ 2 h 38"/>
                  <a:gd name="T36" fmla="*/ 5 w 48"/>
                  <a:gd name="T37" fmla="*/ 6 h 38"/>
                  <a:gd name="T38" fmla="*/ 5 w 48"/>
                  <a:gd name="T39" fmla="*/ 6 h 38"/>
                  <a:gd name="T40" fmla="*/ 3 w 48"/>
                  <a:gd name="T41" fmla="*/ 13 h 38"/>
                  <a:gd name="T42" fmla="*/ 6 w 48"/>
                  <a:gd name="T43" fmla="*/ 24 h 38"/>
                  <a:gd name="T44" fmla="*/ 6 w 48"/>
                  <a:gd name="T45" fmla="*/ 26 h 38"/>
                  <a:gd name="T46" fmla="*/ 17 w 48"/>
                  <a:gd name="T47" fmla="*/ 24 h 38"/>
                  <a:gd name="T48" fmla="*/ 24 w 48"/>
                  <a:gd name="T49" fmla="*/ 27 h 38"/>
                  <a:gd name="T50" fmla="*/ 29 w 48"/>
                  <a:gd name="T51" fmla="*/ 28 h 38"/>
                  <a:gd name="T52" fmla="*/ 24 w 48"/>
                  <a:gd name="T53" fmla="*/ 29 h 38"/>
                  <a:gd name="T54" fmla="*/ 17 w 48"/>
                  <a:gd name="T55" fmla="*/ 27 h 38"/>
                  <a:gd name="T56" fmla="*/ 8 w 48"/>
                  <a:gd name="T57" fmla="*/ 30 h 38"/>
                  <a:gd name="T58" fmla="*/ 5 w 48"/>
                  <a:gd name="T59" fmla="*/ 30 h 38"/>
                  <a:gd name="T60" fmla="*/ 6 w 48"/>
                  <a:gd name="T61" fmla="*/ 34 h 38"/>
                  <a:gd name="T62" fmla="*/ 7 w 48"/>
                  <a:gd name="T63" fmla="*/ 35 h 38"/>
                  <a:gd name="T64" fmla="*/ 11 w 48"/>
                  <a:gd name="T65" fmla="*/ 36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8" h="38">
                    <a:moveTo>
                      <a:pt x="11" y="36"/>
                    </a:moveTo>
                    <a:cubicBezTo>
                      <a:pt x="13" y="36"/>
                      <a:pt x="16" y="34"/>
                      <a:pt x="16" y="34"/>
                    </a:cubicBezTo>
                    <a:cubicBezTo>
                      <a:pt x="16" y="34"/>
                      <a:pt x="26" y="34"/>
                      <a:pt x="27" y="33"/>
                    </a:cubicBezTo>
                    <a:cubicBezTo>
                      <a:pt x="28" y="33"/>
                      <a:pt x="29" y="34"/>
                      <a:pt x="30" y="34"/>
                    </a:cubicBezTo>
                    <a:cubicBezTo>
                      <a:pt x="30" y="34"/>
                      <a:pt x="30" y="33"/>
                      <a:pt x="30" y="33"/>
                    </a:cubicBezTo>
                    <a:cubicBezTo>
                      <a:pt x="30" y="33"/>
                      <a:pt x="35" y="34"/>
                      <a:pt x="35" y="36"/>
                    </a:cubicBezTo>
                    <a:cubicBezTo>
                      <a:pt x="36" y="37"/>
                      <a:pt x="43" y="38"/>
                      <a:pt x="47" y="36"/>
                    </a:cubicBezTo>
                    <a:cubicBezTo>
                      <a:pt x="47" y="36"/>
                      <a:pt x="48" y="36"/>
                      <a:pt x="48" y="36"/>
                    </a:cubicBezTo>
                    <a:cubicBezTo>
                      <a:pt x="48" y="34"/>
                      <a:pt x="48" y="32"/>
                      <a:pt x="48" y="31"/>
                    </a:cubicBezTo>
                    <a:cubicBezTo>
                      <a:pt x="48" y="30"/>
                      <a:pt x="45" y="27"/>
                      <a:pt x="44" y="26"/>
                    </a:cubicBezTo>
                    <a:cubicBezTo>
                      <a:pt x="42" y="24"/>
                      <a:pt x="42" y="21"/>
                      <a:pt x="42" y="21"/>
                    </a:cubicBezTo>
                    <a:cubicBezTo>
                      <a:pt x="41" y="18"/>
                      <a:pt x="41" y="18"/>
                      <a:pt x="41" y="18"/>
                    </a:cubicBezTo>
                    <a:cubicBezTo>
                      <a:pt x="41" y="18"/>
                      <a:pt x="40" y="14"/>
                      <a:pt x="36" y="13"/>
                    </a:cubicBezTo>
                    <a:cubicBezTo>
                      <a:pt x="33" y="12"/>
                      <a:pt x="31" y="5"/>
                      <a:pt x="31" y="5"/>
                    </a:cubicBezTo>
                    <a:cubicBezTo>
                      <a:pt x="28" y="5"/>
                      <a:pt x="28" y="5"/>
                      <a:pt x="28" y="5"/>
                    </a:cubicBezTo>
                    <a:cubicBezTo>
                      <a:pt x="28" y="5"/>
                      <a:pt x="26" y="3"/>
                      <a:pt x="23" y="2"/>
                    </a:cubicBezTo>
                    <a:cubicBezTo>
                      <a:pt x="21" y="0"/>
                      <a:pt x="17" y="2"/>
                      <a:pt x="17" y="2"/>
                    </a:cubicBezTo>
                    <a:cubicBezTo>
                      <a:pt x="17" y="2"/>
                      <a:pt x="13" y="3"/>
                      <a:pt x="10" y="2"/>
                    </a:cubicBezTo>
                    <a:cubicBezTo>
                      <a:pt x="7" y="2"/>
                      <a:pt x="8" y="5"/>
                      <a:pt x="5" y="6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8"/>
                      <a:pt x="4" y="11"/>
                      <a:pt x="3" y="13"/>
                    </a:cubicBezTo>
                    <a:cubicBezTo>
                      <a:pt x="0" y="17"/>
                      <a:pt x="4" y="22"/>
                      <a:pt x="6" y="24"/>
                    </a:cubicBezTo>
                    <a:cubicBezTo>
                      <a:pt x="6" y="24"/>
                      <a:pt x="7" y="25"/>
                      <a:pt x="6" y="26"/>
                    </a:cubicBezTo>
                    <a:cubicBezTo>
                      <a:pt x="11" y="26"/>
                      <a:pt x="13" y="26"/>
                      <a:pt x="17" y="24"/>
                    </a:cubicBezTo>
                    <a:cubicBezTo>
                      <a:pt x="20" y="22"/>
                      <a:pt x="20" y="27"/>
                      <a:pt x="24" y="27"/>
                    </a:cubicBezTo>
                    <a:cubicBezTo>
                      <a:pt x="28" y="27"/>
                      <a:pt x="29" y="28"/>
                      <a:pt x="29" y="28"/>
                    </a:cubicBezTo>
                    <a:cubicBezTo>
                      <a:pt x="29" y="28"/>
                      <a:pt x="26" y="29"/>
                      <a:pt x="24" y="29"/>
                    </a:cubicBezTo>
                    <a:cubicBezTo>
                      <a:pt x="21" y="29"/>
                      <a:pt x="19" y="26"/>
                      <a:pt x="17" y="27"/>
                    </a:cubicBezTo>
                    <a:cubicBezTo>
                      <a:pt x="15" y="29"/>
                      <a:pt x="10" y="30"/>
                      <a:pt x="8" y="30"/>
                    </a:cubicBezTo>
                    <a:cubicBezTo>
                      <a:pt x="7" y="30"/>
                      <a:pt x="7" y="30"/>
                      <a:pt x="5" y="30"/>
                    </a:cubicBezTo>
                    <a:cubicBezTo>
                      <a:pt x="5" y="32"/>
                      <a:pt x="5" y="33"/>
                      <a:pt x="6" y="34"/>
                    </a:cubicBezTo>
                    <a:cubicBezTo>
                      <a:pt x="7" y="34"/>
                      <a:pt x="7" y="35"/>
                      <a:pt x="7" y="35"/>
                    </a:cubicBezTo>
                    <a:cubicBezTo>
                      <a:pt x="11" y="34"/>
                      <a:pt x="10" y="36"/>
                      <a:pt x="11" y="36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5" name="Freeform 21">
                <a:extLst>
                  <a:ext uri="{FF2B5EF4-FFF2-40B4-BE49-F238E27FC236}">
                    <a16:creationId xmlns:a16="http://schemas.microsoft.com/office/drawing/2014/main" id="{6E767A31-D2EC-4C31-8A0F-FCA2A8034D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16071" y="3848891"/>
                <a:ext cx="52698" cy="32623"/>
              </a:xfrm>
              <a:custGeom>
                <a:avLst/>
                <a:gdLst>
                  <a:gd name="T0" fmla="*/ 12 w 23"/>
                  <a:gd name="T1" fmla="*/ 13 h 14"/>
                  <a:gd name="T2" fmla="*/ 18 w 23"/>
                  <a:gd name="T3" fmla="*/ 9 h 14"/>
                  <a:gd name="T4" fmla="*/ 21 w 23"/>
                  <a:gd name="T5" fmla="*/ 8 h 14"/>
                  <a:gd name="T6" fmla="*/ 21 w 23"/>
                  <a:gd name="T7" fmla="*/ 4 h 14"/>
                  <a:gd name="T8" fmla="*/ 23 w 23"/>
                  <a:gd name="T9" fmla="*/ 1 h 14"/>
                  <a:gd name="T10" fmla="*/ 20 w 23"/>
                  <a:gd name="T11" fmla="*/ 0 h 14"/>
                  <a:gd name="T12" fmla="*/ 9 w 23"/>
                  <a:gd name="T13" fmla="*/ 1 h 14"/>
                  <a:gd name="T14" fmla="*/ 4 w 23"/>
                  <a:gd name="T15" fmla="*/ 3 h 14"/>
                  <a:gd name="T16" fmla="*/ 0 w 23"/>
                  <a:gd name="T17" fmla="*/ 2 h 14"/>
                  <a:gd name="T18" fmla="*/ 7 w 23"/>
                  <a:gd name="T19" fmla="*/ 7 h 14"/>
                  <a:gd name="T20" fmla="*/ 10 w 23"/>
                  <a:gd name="T21" fmla="*/ 13 h 14"/>
                  <a:gd name="T22" fmla="*/ 11 w 23"/>
                  <a:gd name="T23" fmla="*/ 14 h 14"/>
                  <a:gd name="T24" fmla="*/ 12 w 23"/>
                  <a:gd name="T25" fmla="*/ 13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3" h="14">
                    <a:moveTo>
                      <a:pt x="12" y="13"/>
                    </a:moveTo>
                    <a:cubicBezTo>
                      <a:pt x="14" y="12"/>
                      <a:pt x="17" y="8"/>
                      <a:pt x="18" y="9"/>
                    </a:cubicBezTo>
                    <a:cubicBezTo>
                      <a:pt x="20" y="10"/>
                      <a:pt x="21" y="8"/>
                      <a:pt x="21" y="8"/>
                    </a:cubicBezTo>
                    <a:cubicBezTo>
                      <a:pt x="21" y="7"/>
                      <a:pt x="19" y="5"/>
                      <a:pt x="21" y="4"/>
                    </a:cubicBezTo>
                    <a:cubicBezTo>
                      <a:pt x="22" y="4"/>
                      <a:pt x="22" y="2"/>
                      <a:pt x="23" y="1"/>
                    </a:cubicBezTo>
                    <a:cubicBezTo>
                      <a:pt x="22" y="1"/>
                      <a:pt x="21" y="0"/>
                      <a:pt x="20" y="0"/>
                    </a:cubicBezTo>
                    <a:cubicBezTo>
                      <a:pt x="19" y="1"/>
                      <a:pt x="9" y="1"/>
                      <a:pt x="9" y="1"/>
                    </a:cubicBezTo>
                    <a:cubicBezTo>
                      <a:pt x="9" y="1"/>
                      <a:pt x="6" y="3"/>
                      <a:pt x="4" y="3"/>
                    </a:cubicBezTo>
                    <a:cubicBezTo>
                      <a:pt x="3" y="3"/>
                      <a:pt x="4" y="1"/>
                      <a:pt x="0" y="2"/>
                    </a:cubicBezTo>
                    <a:cubicBezTo>
                      <a:pt x="2" y="5"/>
                      <a:pt x="2" y="6"/>
                      <a:pt x="7" y="7"/>
                    </a:cubicBezTo>
                    <a:cubicBezTo>
                      <a:pt x="11" y="8"/>
                      <a:pt x="6" y="11"/>
                      <a:pt x="10" y="13"/>
                    </a:cubicBezTo>
                    <a:cubicBezTo>
                      <a:pt x="10" y="13"/>
                      <a:pt x="11" y="14"/>
                      <a:pt x="11" y="14"/>
                    </a:cubicBezTo>
                    <a:cubicBezTo>
                      <a:pt x="11" y="13"/>
                      <a:pt x="12" y="13"/>
                      <a:pt x="12" y="1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6" name="Freeform 22">
                <a:extLst>
                  <a:ext uri="{FF2B5EF4-FFF2-40B4-BE49-F238E27FC236}">
                    <a16:creationId xmlns:a16="http://schemas.microsoft.com/office/drawing/2014/main" id="{D22E562F-F50A-4B34-8D0A-49DB668C5F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0735" y="3876495"/>
                <a:ext cx="228360" cy="161860"/>
              </a:xfrm>
              <a:custGeom>
                <a:avLst/>
                <a:gdLst>
                  <a:gd name="T0" fmla="*/ 91 w 99"/>
                  <a:gd name="T1" fmla="*/ 40 h 70"/>
                  <a:gd name="T2" fmla="*/ 88 w 99"/>
                  <a:gd name="T3" fmla="*/ 35 h 70"/>
                  <a:gd name="T4" fmla="*/ 83 w 99"/>
                  <a:gd name="T5" fmla="*/ 30 h 70"/>
                  <a:gd name="T6" fmla="*/ 80 w 99"/>
                  <a:gd name="T7" fmla="*/ 25 h 70"/>
                  <a:gd name="T8" fmla="*/ 74 w 99"/>
                  <a:gd name="T9" fmla="*/ 22 h 70"/>
                  <a:gd name="T10" fmla="*/ 73 w 99"/>
                  <a:gd name="T11" fmla="*/ 20 h 70"/>
                  <a:gd name="T12" fmla="*/ 69 w 99"/>
                  <a:gd name="T13" fmla="*/ 19 h 70"/>
                  <a:gd name="T14" fmla="*/ 70 w 99"/>
                  <a:gd name="T15" fmla="*/ 16 h 70"/>
                  <a:gd name="T16" fmla="*/ 70 w 99"/>
                  <a:gd name="T17" fmla="*/ 9 h 70"/>
                  <a:gd name="T18" fmla="*/ 64 w 99"/>
                  <a:gd name="T19" fmla="*/ 2 h 70"/>
                  <a:gd name="T20" fmla="*/ 62 w 99"/>
                  <a:gd name="T21" fmla="*/ 1 h 70"/>
                  <a:gd name="T22" fmla="*/ 56 w 99"/>
                  <a:gd name="T23" fmla="*/ 4 h 70"/>
                  <a:gd name="T24" fmla="*/ 54 w 99"/>
                  <a:gd name="T25" fmla="*/ 8 h 70"/>
                  <a:gd name="T26" fmla="*/ 46 w 99"/>
                  <a:gd name="T27" fmla="*/ 16 h 70"/>
                  <a:gd name="T28" fmla="*/ 35 w 99"/>
                  <a:gd name="T29" fmla="*/ 18 h 70"/>
                  <a:gd name="T30" fmla="*/ 34 w 99"/>
                  <a:gd name="T31" fmla="*/ 23 h 70"/>
                  <a:gd name="T32" fmla="*/ 27 w 99"/>
                  <a:gd name="T33" fmla="*/ 26 h 70"/>
                  <a:gd name="T34" fmla="*/ 18 w 99"/>
                  <a:gd name="T35" fmla="*/ 29 h 70"/>
                  <a:gd name="T36" fmla="*/ 13 w 99"/>
                  <a:gd name="T37" fmla="*/ 29 h 70"/>
                  <a:gd name="T38" fmla="*/ 9 w 99"/>
                  <a:gd name="T39" fmla="*/ 31 h 70"/>
                  <a:gd name="T40" fmla="*/ 8 w 99"/>
                  <a:gd name="T41" fmla="*/ 30 h 70"/>
                  <a:gd name="T42" fmla="*/ 4 w 99"/>
                  <a:gd name="T43" fmla="*/ 35 h 70"/>
                  <a:gd name="T44" fmla="*/ 0 w 99"/>
                  <a:gd name="T45" fmla="*/ 43 h 70"/>
                  <a:gd name="T46" fmla="*/ 1 w 99"/>
                  <a:gd name="T47" fmla="*/ 50 h 70"/>
                  <a:gd name="T48" fmla="*/ 3 w 99"/>
                  <a:gd name="T49" fmla="*/ 56 h 70"/>
                  <a:gd name="T50" fmla="*/ 5 w 99"/>
                  <a:gd name="T51" fmla="*/ 61 h 70"/>
                  <a:gd name="T52" fmla="*/ 6 w 99"/>
                  <a:gd name="T53" fmla="*/ 64 h 70"/>
                  <a:gd name="T54" fmla="*/ 12 w 99"/>
                  <a:gd name="T55" fmla="*/ 69 h 70"/>
                  <a:gd name="T56" fmla="*/ 13 w 99"/>
                  <a:gd name="T57" fmla="*/ 70 h 70"/>
                  <a:gd name="T58" fmla="*/ 14 w 99"/>
                  <a:gd name="T59" fmla="*/ 69 h 70"/>
                  <a:gd name="T60" fmla="*/ 15 w 99"/>
                  <a:gd name="T61" fmla="*/ 63 h 70"/>
                  <a:gd name="T62" fmla="*/ 19 w 99"/>
                  <a:gd name="T63" fmla="*/ 62 h 70"/>
                  <a:gd name="T64" fmla="*/ 23 w 99"/>
                  <a:gd name="T65" fmla="*/ 61 h 70"/>
                  <a:gd name="T66" fmla="*/ 30 w 99"/>
                  <a:gd name="T67" fmla="*/ 62 h 70"/>
                  <a:gd name="T68" fmla="*/ 30 w 99"/>
                  <a:gd name="T69" fmla="*/ 57 h 70"/>
                  <a:gd name="T70" fmla="*/ 38 w 99"/>
                  <a:gd name="T71" fmla="*/ 50 h 70"/>
                  <a:gd name="T72" fmla="*/ 45 w 99"/>
                  <a:gd name="T73" fmla="*/ 55 h 70"/>
                  <a:gd name="T74" fmla="*/ 60 w 99"/>
                  <a:gd name="T75" fmla="*/ 58 h 70"/>
                  <a:gd name="T76" fmla="*/ 63 w 99"/>
                  <a:gd name="T77" fmla="*/ 52 h 70"/>
                  <a:gd name="T78" fmla="*/ 69 w 99"/>
                  <a:gd name="T79" fmla="*/ 52 h 70"/>
                  <a:gd name="T80" fmla="*/ 77 w 99"/>
                  <a:gd name="T81" fmla="*/ 50 h 70"/>
                  <a:gd name="T82" fmla="*/ 84 w 99"/>
                  <a:gd name="T83" fmla="*/ 49 h 70"/>
                  <a:gd name="T84" fmla="*/ 93 w 99"/>
                  <a:gd name="T85" fmla="*/ 50 h 70"/>
                  <a:gd name="T86" fmla="*/ 99 w 99"/>
                  <a:gd name="T87" fmla="*/ 49 h 70"/>
                  <a:gd name="T88" fmla="*/ 97 w 99"/>
                  <a:gd name="T89" fmla="*/ 44 h 70"/>
                  <a:gd name="T90" fmla="*/ 91 w 99"/>
                  <a:gd name="T91" fmla="*/ 4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99" h="70">
                    <a:moveTo>
                      <a:pt x="91" y="40"/>
                    </a:moveTo>
                    <a:cubicBezTo>
                      <a:pt x="91" y="39"/>
                      <a:pt x="91" y="37"/>
                      <a:pt x="88" y="35"/>
                    </a:cubicBezTo>
                    <a:cubicBezTo>
                      <a:pt x="85" y="32"/>
                      <a:pt x="83" y="32"/>
                      <a:pt x="83" y="30"/>
                    </a:cubicBezTo>
                    <a:cubicBezTo>
                      <a:pt x="83" y="29"/>
                      <a:pt x="82" y="28"/>
                      <a:pt x="80" y="25"/>
                    </a:cubicBezTo>
                    <a:cubicBezTo>
                      <a:pt x="77" y="22"/>
                      <a:pt x="74" y="22"/>
                      <a:pt x="74" y="22"/>
                    </a:cubicBezTo>
                    <a:cubicBezTo>
                      <a:pt x="73" y="20"/>
                      <a:pt x="73" y="20"/>
                      <a:pt x="73" y="20"/>
                    </a:cubicBezTo>
                    <a:cubicBezTo>
                      <a:pt x="69" y="19"/>
                      <a:pt x="69" y="19"/>
                      <a:pt x="69" y="19"/>
                    </a:cubicBezTo>
                    <a:cubicBezTo>
                      <a:pt x="69" y="19"/>
                      <a:pt x="67" y="18"/>
                      <a:pt x="70" y="16"/>
                    </a:cubicBezTo>
                    <a:cubicBezTo>
                      <a:pt x="73" y="15"/>
                      <a:pt x="70" y="11"/>
                      <a:pt x="70" y="9"/>
                    </a:cubicBezTo>
                    <a:cubicBezTo>
                      <a:pt x="69" y="8"/>
                      <a:pt x="65" y="3"/>
                      <a:pt x="64" y="2"/>
                    </a:cubicBezTo>
                    <a:cubicBezTo>
                      <a:pt x="63" y="2"/>
                      <a:pt x="63" y="2"/>
                      <a:pt x="62" y="1"/>
                    </a:cubicBezTo>
                    <a:cubicBezTo>
                      <a:pt x="61" y="0"/>
                      <a:pt x="57" y="2"/>
                      <a:pt x="56" y="4"/>
                    </a:cubicBezTo>
                    <a:cubicBezTo>
                      <a:pt x="54" y="6"/>
                      <a:pt x="55" y="7"/>
                      <a:pt x="54" y="8"/>
                    </a:cubicBezTo>
                    <a:cubicBezTo>
                      <a:pt x="53" y="9"/>
                      <a:pt x="49" y="13"/>
                      <a:pt x="46" y="16"/>
                    </a:cubicBezTo>
                    <a:cubicBezTo>
                      <a:pt x="44" y="19"/>
                      <a:pt x="37" y="17"/>
                      <a:pt x="35" y="18"/>
                    </a:cubicBezTo>
                    <a:cubicBezTo>
                      <a:pt x="33" y="19"/>
                      <a:pt x="36" y="21"/>
                      <a:pt x="34" y="23"/>
                    </a:cubicBezTo>
                    <a:cubicBezTo>
                      <a:pt x="33" y="24"/>
                      <a:pt x="29" y="26"/>
                      <a:pt x="27" y="26"/>
                    </a:cubicBezTo>
                    <a:cubicBezTo>
                      <a:pt x="26" y="27"/>
                      <a:pt x="20" y="27"/>
                      <a:pt x="18" y="29"/>
                    </a:cubicBezTo>
                    <a:cubicBezTo>
                      <a:pt x="17" y="31"/>
                      <a:pt x="15" y="27"/>
                      <a:pt x="13" y="29"/>
                    </a:cubicBezTo>
                    <a:cubicBezTo>
                      <a:pt x="12" y="31"/>
                      <a:pt x="10" y="32"/>
                      <a:pt x="9" y="31"/>
                    </a:cubicBezTo>
                    <a:cubicBezTo>
                      <a:pt x="8" y="31"/>
                      <a:pt x="8" y="30"/>
                      <a:pt x="8" y="30"/>
                    </a:cubicBezTo>
                    <a:cubicBezTo>
                      <a:pt x="6" y="31"/>
                      <a:pt x="5" y="33"/>
                      <a:pt x="4" y="35"/>
                    </a:cubicBezTo>
                    <a:cubicBezTo>
                      <a:pt x="3" y="38"/>
                      <a:pt x="0" y="41"/>
                      <a:pt x="0" y="43"/>
                    </a:cubicBezTo>
                    <a:cubicBezTo>
                      <a:pt x="0" y="45"/>
                      <a:pt x="1" y="47"/>
                      <a:pt x="1" y="50"/>
                    </a:cubicBezTo>
                    <a:cubicBezTo>
                      <a:pt x="1" y="52"/>
                      <a:pt x="2" y="54"/>
                      <a:pt x="3" y="56"/>
                    </a:cubicBezTo>
                    <a:cubicBezTo>
                      <a:pt x="5" y="58"/>
                      <a:pt x="5" y="61"/>
                      <a:pt x="5" y="61"/>
                    </a:cubicBezTo>
                    <a:cubicBezTo>
                      <a:pt x="5" y="61"/>
                      <a:pt x="5" y="62"/>
                      <a:pt x="6" y="64"/>
                    </a:cubicBezTo>
                    <a:cubicBezTo>
                      <a:pt x="8" y="65"/>
                      <a:pt x="11" y="67"/>
                      <a:pt x="12" y="69"/>
                    </a:cubicBezTo>
                    <a:cubicBezTo>
                      <a:pt x="12" y="69"/>
                      <a:pt x="12" y="70"/>
                      <a:pt x="13" y="70"/>
                    </a:cubicBezTo>
                    <a:cubicBezTo>
                      <a:pt x="13" y="70"/>
                      <a:pt x="13" y="70"/>
                      <a:pt x="14" y="69"/>
                    </a:cubicBezTo>
                    <a:cubicBezTo>
                      <a:pt x="15" y="67"/>
                      <a:pt x="15" y="63"/>
                      <a:pt x="15" y="63"/>
                    </a:cubicBezTo>
                    <a:cubicBezTo>
                      <a:pt x="19" y="62"/>
                      <a:pt x="19" y="62"/>
                      <a:pt x="19" y="62"/>
                    </a:cubicBezTo>
                    <a:cubicBezTo>
                      <a:pt x="23" y="61"/>
                      <a:pt x="23" y="61"/>
                      <a:pt x="23" y="61"/>
                    </a:cubicBezTo>
                    <a:cubicBezTo>
                      <a:pt x="30" y="62"/>
                      <a:pt x="30" y="62"/>
                      <a:pt x="30" y="62"/>
                    </a:cubicBezTo>
                    <a:cubicBezTo>
                      <a:pt x="30" y="57"/>
                      <a:pt x="30" y="57"/>
                      <a:pt x="30" y="57"/>
                    </a:cubicBezTo>
                    <a:cubicBezTo>
                      <a:pt x="30" y="57"/>
                      <a:pt x="35" y="50"/>
                      <a:pt x="38" y="50"/>
                    </a:cubicBezTo>
                    <a:cubicBezTo>
                      <a:pt x="42" y="50"/>
                      <a:pt x="45" y="55"/>
                      <a:pt x="45" y="55"/>
                    </a:cubicBezTo>
                    <a:cubicBezTo>
                      <a:pt x="60" y="58"/>
                      <a:pt x="60" y="58"/>
                      <a:pt x="60" y="58"/>
                    </a:cubicBezTo>
                    <a:cubicBezTo>
                      <a:pt x="60" y="58"/>
                      <a:pt x="61" y="53"/>
                      <a:pt x="63" y="52"/>
                    </a:cubicBezTo>
                    <a:cubicBezTo>
                      <a:pt x="64" y="51"/>
                      <a:pt x="67" y="53"/>
                      <a:pt x="69" y="52"/>
                    </a:cubicBezTo>
                    <a:cubicBezTo>
                      <a:pt x="71" y="51"/>
                      <a:pt x="74" y="50"/>
                      <a:pt x="77" y="50"/>
                    </a:cubicBezTo>
                    <a:cubicBezTo>
                      <a:pt x="81" y="50"/>
                      <a:pt x="82" y="52"/>
                      <a:pt x="84" y="49"/>
                    </a:cubicBezTo>
                    <a:cubicBezTo>
                      <a:pt x="85" y="46"/>
                      <a:pt x="93" y="50"/>
                      <a:pt x="93" y="50"/>
                    </a:cubicBezTo>
                    <a:cubicBezTo>
                      <a:pt x="99" y="49"/>
                      <a:pt x="99" y="49"/>
                      <a:pt x="99" y="49"/>
                    </a:cubicBezTo>
                    <a:cubicBezTo>
                      <a:pt x="97" y="44"/>
                      <a:pt x="97" y="44"/>
                      <a:pt x="97" y="44"/>
                    </a:cubicBezTo>
                    <a:cubicBezTo>
                      <a:pt x="97" y="44"/>
                      <a:pt x="91" y="42"/>
                      <a:pt x="91" y="4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7" name="Freeform 23">
                <a:extLst>
                  <a:ext uri="{FF2B5EF4-FFF2-40B4-BE49-F238E27FC236}">
                    <a16:creationId xmlns:a16="http://schemas.microsoft.com/office/drawing/2014/main" id="{E6613EBA-CBB4-407C-8806-B431A84066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73668" y="3826306"/>
                <a:ext cx="220832" cy="181935"/>
              </a:xfrm>
              <a:custGeom>
                <a:avLst/>
                <a:gdLst>
                  <a:gd name="T0" fmla="*/ 59 w 96"/>
                  <a:gd name="T1" fmla="*/ 58 h 79"/>
                  <a:gd name="T2" fmla="*/ 64 w 96"/>
                  <a:gd name="T3" fmla="*/ 57 h 79"/>
                  <a:gd name="T4" fmla="*/ 69 w 96"/>
                  <a:gd name="T5" fmla="*/ 61 h 79"/>
                  <a:gd name="T6" fmla="*/ 73 w 96"/>
                  <a:gd name="T7" fmla="*/ 57 h 79"/>
                  <a:gd name="T8" fmla="*/ 79 w 96"/>
                  <a:gd name="T9" fmla="*/ 45 h 79"/>
                  <a:gd name="T10" fmla="*/ 83 w 96"/>
                  <a:gd name="T11" fmla="*/ 40 h 79"/>
                  <a:gd name="T12" fmla="*/ 83 w 96"/>
                  <a:gd name="T13" fmla="*/ 36 h 79"/>
                  <a:gd name="T14" fmla="*/ 85 w 96"/>
                  <a:gd name="T15" fmla="*/ 31 h 79"/>
                  <a:gd name="T16" fmla="*/ 90 w 96"/>
                  <a:gd name="T17" fmla="*/ 22 h 79"/>
                  <a:gd name="T18" fmla="*/ 95 w 96"/>
                  <a:gd name="T19" fmla="*/ 19 h 79"/>
                  <a:gd name="T20" fmla="*/ 94 w 96"/>
                  <a:gd name="T21" fmla="*/ 14 h 79"/>
                  <a:gd name="T22" fmla="*/ 91 w 96"/>
                  <a:gd name="T23" fmla="*/ 11 h 79"/>
                  <a:gd name="T24" fmla="*/ 92 w 96"/>
                  <a:gd name="T25" fmla="*/ 7 h 79"/>
                  <a:gd name="T26" fmla="*/ 88 w 96"/>
                  <a:gd name="T27" fmla="*/ 3 h 79"/>
                  <a:gd name="T28" fmla="*/ 86 w 96"/>
                  <a:gd name="T29" fmla="*/ 2 h 79"/>
                  <a:gd name="T30" fmla="*/ 80 w 96"/>
                  <a:gd name="T31" fmla="*/ 7 h 79"/>
                  <a:gd name="T32" fmla="*/ 73 w 96"/>
                  <a:gd name="T33" fmla="*/ 5 h 79"/>
                  <a:gd name="T34" fmla="*/ 63 w 96"/>
                  <a:gd name="T35" fmla="*/ 5 h 79"/>
                  <a:gd name="T36" fmla="*/ 57 w 96"/>
                  <a:gd name="T37" fmla="*/ 9 h 79"/>
                  <a:gd name="T38" fmla="*/ 49 w 96"/>
                  <a:gd name="T39" fmla="*/ 9 h 79"/>
                  <a:gd name="T40" fmla="*/ 43 w 96"/>
                  <a:gd name="T41" fmla="*/ 6 h 79"/>
                  <a:gd name="T42" fmla="*/ 36 w 96"/>
                  <a:gd name="T43" fmla="*/ 7 h 79"/>
                  <a:gd name="T44" fmla="*/ 32 w 96"/>
                  <a:gd name="T45" fmla="*/ 3 h 79"/>
                  <a:gd name="T46" fmla="*/ 25 w 96"/>
                  <a:gd name="T47" fmla="*/ 1 h 79"/>
                  <a:gd name="T48" fmla="*/ 21 w 96"/>
                  <a:gd name="T49" fmla="*/ 3 h 79"/>
                  <a:gd name="T50" fmla="*/ 13 w 96"/>
                  <a:gd name="T51" fmla="*/ 3 h 79"/>
                  <a:gd name="T52" fmla="*/ 11 w 96"/>
                  <a:gd name="T53" fmla="*/ 9 h 79"/>
                  <a:gd name="T54" fmla="*/ 8 w 96"/>
                  <a:gd name="T55" fmla="*/ 15 h 79"/>
                  <a:gd name="T56" fmla="*/ 7 w 96"/>
                  <a:gd name="T57" fmla="*/ 17 h 79"/>
                  <a:gd name="T58" fmla="*/ 8 w 96"/>
                  <a:gd name="T59" fmla="*/ 22 h 79"/>
                  <a:gd name="T60" fmla="*/ 7 w 96"/>
                  <a:gd name="T61" fmla="*/ 33 h 79"/>
                  <a:gd name="T62" fmla="*/ 4 w 96"/>
                  <a:gd name="T63" fmla="*/ 38 h 79"/>
                  <a:gd name="T64" fmla="*/ 1 w 96"/>
                  <a:gd name="T65" fmla="*/ 44 h 79"/>
                  <a:gd name="T66" fmla="*/ 1 w 96"/>
                  <a:gd name="T67" fmla="*/ 53 h 79"/>
                  <a:gd name="T68" fmla="*/ 3 w 96"/>
                  <a:gd name="T69" fmla="*/ 60 h 79"/>
                  <a:gd name="T70" fmla="*/ 3 w 96"/>
                  <a:gd name="T71" fmla="*/ 60 h 79"/>
                  <a:gd name="T72" fmla="*/ 15 w 96"/>
                  <a:gd name="T73" fmla="*/ 63 h 79"/>
                  <a:gd name="T74" fmla="*/ 23 w 96"/>
                  <a:gd name="T75" fmla="*/ 71 h 79"/>
                  <a:gd name="T76" fmla="*/ 27 w 96"/>
                  <a:gd name="T77" fmla="*/ 78 h 79"/>
                  <a:gd name="T78" fmla="*/ 35 w 96"/>
                  <a:gd name="T79" fmla="*/ 76 h 79"/>
                  <a:gd name="T80" fmla="*/ 46 w 96"/>
                  <a:gd name="T81" fmla="*/ 75 h 79"/>
                  <a:gd name="T82" fmla="*/ 47 w 96"/>
                  <a:gd name="T83" fmla="*/ 75 h 79"/>
                  <a:gd name="T84" fmla="*/ 50 w 96"/>
                  <a:gd name="T85" fmla="*/ 66 h 79"/>
                  <a:gd name="T86" fmla="*/ 59 w 96"/>
                  <a:gd name="T87" fmla="*/ 58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96" h="79">
                    <a:moveTo>
                      <a:pt x="59" y="58"/>
                    </a:moveTo>
                    <a:cubicBezTo>
                      <a:pt x="60" y="57"/>
                      <a:pt x="62" y="58"/>
                      <a:pt x="64" y="57"/>
                    </a:cubicBezTo>
                    <a:cubicBezTo>
                      <a:pt x="65" y="56"/>
                      <a:pt x="69" y="59"/>
                      <a:pt x="69" y="61"/>
                    </a:cubicBezTo>
                    <a:cubicBezTo>
                      <a:pt x="70" y="63"/>
                      <a:pt x="71" y="60"/>
                      <a:pt x="73" y="57"/>
                    </a:cubicBezTo>
                    <a:cubicBezTo>
                      <a:pt x="74" y="55"/>
                      <a:pt x="79" y="47"/>
                      <a:pt x="79" y="45"/>
                    </a:cubicBezTo>
                    <a:cubicBezTo>
                      <a:pt x="79" y="43"/>
                      <a:pt x="83" y="41"/>
                      <a:pt x="83" y="40"/>
                    </a:cubicBezTo>
                    <a:cubicBezTo>
                      <a:pt x="83" y="39"/>
                      <a:pt x="82" y="36"/>
                      <a:pt x="83" y="36"/>
                    </a:cubicBezTo>
                    <a:cubicBezTo>
                      <a:pt x="85" y="35"/>
                      <a:pt x="86" y="32"/>
                      <a:pt x="85" y="31"/>
                    </a:cubicBezTo>
                    <a:cubicBezTo>
                      <a:pt x="85" y="30"/>
                      <a:pt x="89" y="23"/>
                      <a:pt x="90" y="22"/>
                    </a:cubicBezTo>
                    <a:cubicBezTo>
                      <a:pt x="91" y="21"/>
                      <a:pt x="95" y="21"/>
                      <a:pt x="95" y="19"/>
                    </a:cubicBezTo>
                    <a:cubicBezTo>
                      <a:pt x="95" y="17"/>
                      <a:pt x="96" y="15"/>
                      <a:pt x="94" y="14"/>
                    </a:cubicBezTo>
                    <a:cubicBezTo>
                      <a:pt x="93" y="14"/>
                      <a:pt x="91" y="12"/>
                      <a:pt x="91" y="11"/>
                    </a:cubicBezTo>
                    <a:cubicBezTo>
                      <a:pt x="91" y="10"/>
                      <a:pt x="91" y="8"/>
                      <a:pt x="92" y="7"/>
                    </a:cubicBezTo>
                    <a:cubicBezTo>
                      <a:pt x="90" y="6"/>
                      <a:pt x="90" y="4"/>
                      <a:pt x="88" y="3"/>
                    </a:cubicBezTo>
                    <a:cubicBezTo>
                      <a:pt x="87" y="2"/>
                      <a:pt x="87" y="1"/>
                      <a:pt x="86" y="2"/>
                    </a:cubicBezTo>
                    <a:cubicBezTo>
                      <a:pt x="84" y="2"/>
                      <a:pt x="82" y="6"/>
                      <a:pt x="80" y="7"/>
                    </a:cubicBezTo>
                    <a:cubicBezTo>
                      <a:pt x="78" y="8"/>
                      <a:pt x="75" y="6"/>
                      <a:pt x="73" y="5"/>
                    </a:cubicBezTo>
                    <a:cubicBezTo>
                      <a:pt x="72" y="5"/>
                      <a:pt x="65" y="5"/>
                      <a:pt x="63" y="5"/>
                    </a:cubicBezTo>
                    <a:cubicBezTo>
                      <a:pt x="61" y="5"/>
                      <a:pt x="59" y="8"/>
                      <a:pt x="57" y="9"/>
                    </a:cubicBezTo>
                    <a:cubicBezTo>
                      <a:pt x="55" y="10"/>
                      <a:pt x="51" y="9"/>
                      <a:pt x="49" y="9"/>
                    </a:cubicBezTo>
                    <a:cubicBezTo>
                      <a:pt x="48" y="8"/>
                      <a:pt x="44" y="6"/>
                      <a:pt x="43" y="6"/>
                    </a:cubicBezTo>
                    <a:cubicBezTo>
                      <a:pt x="42" y="6"/>
                      <a:pt x="39" y="6"/>
                      <a:pt x="36" y="7"/>
                    </a:cubicBezTo>
                    <a:cubicBezTo>
                      <a:pt x="34" y="9"/>
                      <a:pt x="33" y="5"/>
                      <a:pt x="32" y="3"/>
                    </a:cubicBezTo>
                    <a:cubicBezTo>
                      <a:pt x="30" y="1"/>
                      <a:pt x="27" y="3"/>
                      <a:pt x="25" y="1"/>
                    </a:cubicBezTo>
                    <a:cubicBezTo>
                      <a:pt x="24" y="0"/>
                      <a:pt x="22" y="3"/>
                      <a:pt x="21" y="3"/>
                    </a:cubicBezTo>
                    <a:cubicBezTo>
                      <a:pt x="19" y="3"/>
                      <a:pt x="15" y="2"/>
                      <a:pt x="13" y="3"/>
                    </a:cubicBezTo>
                    <a:cubicBezTo>
                      <a:pt x="12" y="4"/>
                      <a:pt x="12" y="9"/>
                      <a:pt x="11" y="9"/>
                    </a:cubicBezTo>
                    <a:cubicBezTo>
                      <a:pt x="11" y="10"/>
                      <a:pt x="8" y="13"/>
                      <a:pt x="8" y="15"/>
                    </a:cubicBezTo>
                    <a:cubicBezTo>
                      <a:pt x="8" y="16"/>
                      <a:pt x="8" y="16"/>
                      <a:pt x="7" y="17"/>
                    </a:cubicBezTo>
                    <a:cubicBezTo>
                      <a:pt x="7" y="19"/>
                      <a:pt x="8" y="21"/>
                      <a:pt x="8" y="22"/>
                    </a:cubicBezTo>
                    <a:cubicBezTo>
                      <a:pt x="8" y="24"/>
                      <a:pt x="9" y="32"/>
                      <a:pt x="7" y="33"/>
                    </a:cubicBezTo>
                    <a:cubicBezTo>
                      <a:pt x="5" y="35"/>
                      <a:pt x="4" y="38"/>
                      <a:pt x="4" y="38"/>
                    </a:cubicBezTo>
                    <a:cubicBezTo>
                      <a:pt x="4" y="38"/>
                      <a:pt x="1" y="40"/>
                      <a:pt x="1" y="44"/>
                    </a:cubicBezTo>
                    <a:cubicBezTo>
                      <a:pt x="0" y="48"/>
                      <a:pt x="1" y="50"/>
                      <a:pt x="1" y="53"/>
                    </a:cubicBezTo>
                    <a:cubicBezTo>
                      <a:pt x="1" y="56"/>
                      <a:pt x="2" y="57"/>
                      <a:pt x="3" y="60"/>
                    </a:cubicBezTo>
                    <a:cubicBezTo>
                      <a:pt x="3" y="60"/>
                      <a:pt x="3" y="60"/>
                      <a:pt x="3" y="60"/>
                    </a:cubicBezTo>
                    <a:cubicBezTo>
                      <a:pt x="5" y="62"/>
                      <a:pt x="12" y="62"/>
                      <a:pt x="15" y="63"/>
                    </a:cubicBezTo>
                    <a:cubicBezTo>
                      <a:pt x="19" y="64"/>
                      <a:pt x="23" y="69"/>
                      <a:pt x="23" y="71"/>
                    </a:cubicBezTo>
                    <a:cubicBezTo>
                      <a:pt x="23" y="73"/>
                      <a:pt x="25" y="77"/>
                      <a:pt x="27" y="78"/>
                    </a:cubicBezTo>
                    <a:cubicBezTo>
                      <a:pt x="29" y="79"/>
                      <a:pt x="33" y="76"/>
                      <a:pt x="35" y="76"/>
                    </a:cubicBezTo>
                    <a:cubicBezTo>
                      <a:pt x="37" y="76"/>
                      <a:pt x="45" y="76"/>
                      <a:pt x="46" y="75"/>
                    </a:cubicBezTo>
                    <a:cubicBezTo>
                      <a:pt x="47" y="75"/>
                      <a:pt x="47" y="75"/>
                      <a:pt x="47" y="75"/>
                    </a:cubicBezTo>
                    <a:cubicBezTo>
                      <a:pt x="49" y="70"/>
                      <a:pt x="50" y="66"/>
                      <a:pt x="50" y="66"/>
                    </a:cubicBezTo>
                    <a:cubicBezTo>
                      <a:pt x="50" y="66"/>
                      <a:pt x="58" y="58"/>
                      <a:pt x="59" y="58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8" name="Freeform 24">
                <a:extLst>
                  <a:ext uri="{FF2B5EF4-FFF2-40B4-BE49-F238E27FC236}">
                    <a16:creationId xmlns:a16="http://schemas.microsoft.com/office/drawing/2014/main" id="{9B7E9B4C-FC9E-4A3C-B375-BA3B89EF82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37281" y="3853910"/>
                <a:ext cx="56463" cy="115435"/>
              </a:xfrm>
              <a:custGeom>
                <a:avLst/>
                <a:gdLst>
                  <a:gd name="T0" fmla="*/ 17 w 25"/>
                  <a:gd name="T1" fmla="*/ 32 h 50"/>
                  <a:gd name="T2" fmla="*/ 20 w 25"/>
                  <a:gd name="T3" fmla="*/ 26 h 50"/>
                  <a:gd name="T4" fmla="*/ 23 w 25"/>
                  <a:gd name="T5" fmla="*/ 21 h 50"/>
                  <a:gd name="T6" fmla="*/ 24 w 25"/>
                  <a:gd name="T7" fmla="*/ 10 h 50"/>
                  <a:gd name="T8" fmla="*/ 23 w 25"/>
                  <a:gd name="T9" fmla="*/ 5 h 50"/>
                  <a:gd name="T10" fmla="*/ 21 w 25"/>
                  <a:gd name="T11" fmla="*/ 4 h 50"/>
                  <a:gd name="T12" fmla="*/ 18 w 25"/>
                  <a:gd name="T13" fmla="*/ 1 h 50"/>
                  <a:gd name="T14" fmla="*/ 15 w 25"/>
                  <a:gd name="T15" fmla="*/ 4 h 50"/>
                  <a:gd name="T16" fmla="*/ 13 w 25"/>
                  <a:gd name="T17" fmla="*/ 8 h 50"/>
                  <a:gd name="T18" fmla="*/ 6 w 25"/>
                  <a:gd name="T19" fmla="*/ 9 h 50"/>
                  <a:gd name="T20" fmla="*/ 2 w 25"/>
                  <a:gd name="T21" fmla="*/ 12 h 50"/>
                  <a:gd name="T22" fmla="*/ 0 w 25"/>
                  <a:gd name="T23" fmla="*/ 12 h 50"/>
                  <a:gd name="T24" fmla="*/ 5 w 25"/>
                  <a:gd name="T25" fmla="*/ 20 h 50"/>
                  <a:gd name="T26" fmla="*/ 6 w 25"/>
                  <a:gd name="T27" fmla="*/ 26 h 50"/>
                  <a:gd name="T28" fmla="*/ 8 w 25"/>
                  <a:gd name="T29" fmla="*/ 35 h 50"/>
                  <a:gd name="T30" fmla="*/ 8 w 25"/>
                  <a:gd name="T31" fmla="*/ 50 h 50"/>
                  <a:gd name="T32" fmla="*/ 14 w 25"/>
                  <a:gd name="T33" fmla="*/ 50 h 50"/>
                  <a:gd name="T34" fmla="*/ 19 w 25"/>
                  <a:gd name="T35" fmla="*/ 48 h 50"/>
                  <a:gd name="T36" fmla="*/ 17 w 25"/>
                  <a:gd name="T37" fmla="*/ 41 h 50"/>
                  <a:gd name="T38" fmla="*/ 17 w 25"/>
                  <a:gd name="T39" fmla="*/ 32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5" h="50">
                    <a:moveTo>
                      <a:pt x="17" y="32"/>
                    </a:moveTo>
                    <a:cubicBezTo>
                      <a:pt x="17" y="28"/>
                      <a:pt x="20" y="26"/>
                      <a:pt x="20" y="26"/>
                    </a:cubicBezTo>
                    <a:cubicBezTo>
                      <a:pt x="20" y="26"/>
                      <a:pt x="21" y="23"/>
                      <a:pt x="23" y="21"/>
                    </a:cubicBezTo>
                    <a:cubicBezTo>
                      <a:pt x="25" y="20"/>
                      <a:pt x="24" y="12"/>
                      <a:pt x="24" y="10"/>
                    </a:cubicBezTo>
                    <a:cubicBezTo>
                      <a:pt x="24" y="9"/>
                      <a:pt x="23" y="7"/>
                      <a:pt x="23" y="5"/>
                    </a:cubicBezTo>
                    <a:cubicBezTo>
                      <a:pt x="23" y="5"/>
                      <a:pt x="22" y="5"/>
                      <a:pt x="21" y="4"/>
                    </a:cubicBezTo>
                    <a:cubicBezTo>
                      <a:pt x="18" y="4"/>
                      <a:pt x="20" y="1"/>
                      <a:pt x="18" y="1"/>
                    </a:cubicBezTo>
                    <a:cubicBezTo>
                      <a:pt x="16" y="0"/>
                      <a:pt x="15" y="3"/>
                      <a:pt x="15" y="4"/>
                    </a:cubicBezTo>
                    <a:cubicBezTo>
                      <a:pt x="16" y="6"/>
                      <a:pt x="14" y="6"/>
                      <a:pt x="13" y="8"/>
                    </a:cubicBezTo>
                    <a:cubicBezTo>
                      <a:pt x="12" y="9"/>
                      <a:pt x="8" y="9"/>
                      <a:pt x="6" y="9"/>
                    </a:cubicBezTo>
                    <a:cubicBezTo>
                      <a:pt x="5" y="9"/>
                      <a:pt x="3" y="12"/>
                      <a:pt x="2" y="12"/>
                    </a:cubicBezTo>
                    <a:cubicBezTo>
                      <a:pt x="1" y="12"/>
                      <a:pt x="1" y="12"/>
                      <a:pt x="0" y="12"/>
                    </a:cubicBezTo>
                    <a:cubicBezTo>
                      <a:pt x="1" y="18"/>
                      <a:pt x="2" y="18"/>
                      <a:pt x="5" y="20"/>
                    </a:cubicBezTo>
                    <a:cubicBezTo>
                      <a:pt x="8" y="22"/>
                      <a:pt x="5" y="24"/>
                      <a:pt x="6" y="26"/>
                    </a:cubicBezTo>
                    <a:cubicBezTo>
                      <a:pt x="8" y="27"/>
                      <a:pt x="7" y="31"/>
                      <a:pt x="8" y="35"/>
                    </a:cubicBezTo>
                    <a:cubicBezTo>
                      <a:pt x="8" y="38"/>
                      <a:pt x="8" y="45"/>
                      <a:pt x="8" y="50"/>
                    </a:cubicBezTo>
                    <a:cubicBezTo>
                      <a:pt x="10" y="50"/>
                      <a:pt x="12" y="50"/>
                      <a:pt x="14" y="50"/>
                    </a:cubicBezTo>
                    <a:cubicBezTo>
                      <a:pt x="16" y="50"/>
                      <a:pt x="18" y="46"/>
                      <a:pt x="19" y="48"/>
                    </a:cubicBezTo>
                    <a:cubicBezTo>
                      <a:pt x="18" y="45"/>
                      <a:pt x="17" y="44"/>
                      <a:pt x="17" y="41"/>
                    </a:cubicBezTo>
                    <a:cubicBezTo>
                      <a:pt x="17" y="38"/>
                      <a:pt x="16" y="36"/>
                      <a:pt x="17" y="3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9" name="Freeform 25">
                <a:extLst>
                  <a:ext uri="{FF2B5EF4-FFF2-40B4-BE49-F238E27FC236}">
                    <a16:creationId xmlns:a16="http://schemas.microsoft.com/office/drawing/2014/main" id="{B226C2BC-3080-4FC1-8129-4F10D69BDB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20969" y="3879004"/>
                <a:ext cx="33878" cy="96614"/>
              </a:xfrm>
              <a:custGeom>
                <a:avLst/>
                <a:gdLst>
                  <a:gd name="T0" fmla="*/ 13 w 15"/>
                  <a:gd name="T1" fmla="*/ 15 h 42"/>
                  <a:gd name="T2" fmla="*/ 12 w 15"/>
                  <a:gd name="T3" fmla="*/ 9 h 42"/>
                  <a:gd name="T4" fmla="*/ 7 w 15"/>
                  <a:gd name="T5" fmla="*/ 1 h 42"/>
                  <a:gd name="T6" fmla="*/ 1 w 15"/>
                  <a:gd name="T7" fmla="*/ 0 h 42"/>
                  <a:gd name="T8" fmla="*/ 0 w 15"/>
                  <a:gd name="T9" fmla="*/ 0 h 42"/>
                  <a:gd name="T10" fmla="*/ 2 w 15"/>
                  <a:gd name="T11" fmla="*/ 5 h 42"/>
                  <a:gd name="T12" fmla="*/ 4 w 15"/>
                  <a:gd name="T13" fmla="*/ 10 h 42"/>
                  <a:gd name="T14" fmla="*/ 4 w 15"/>
                  <a:gd name="T15" fmla="*/ 22 h 42"/>
                  <a:gd name="T16" fmla="*/ 6 w 15"/>
                  <a:gd name="T17" fmla="*/ 33 h 42"/>
                  <a:gd name="T18" fmla="*/ 9 w 15"/>
                  <a:gd name="T19" fmla="*/ 42 h 42"/>
                  <a:gd name="T20" fmla="*/ 11 w 15"/>
                  <a:gd name="T21" fmla="*/ 41 h 42"/>
                  <a:gd name="T22" fmla="*/ 15 w 15"/>
                  <a:gd name="T23" fmla="*/ 39 h 42"/>
                  <a:gd name="T24" fmla="*/ 15 w 15"/>
                  <a:gd name="T25" fmla="*/ 24 h 42"/>
                  <a:gd name="T26" fmla="*/ 13 w 15"/>
                  <a:gd name="T27" fmla="*/ 15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5" h="42">
                    <a:moveTo>
                      <a:pt x="13" y="15"/>
                    </a:moveTo>
                    <a:cubicBezTo>
                      <a:pt x="12" y="13"/>
                      <a:pt x="15" y="11"/>
                      <a:pt x="12" y="9"/>
                    </a:cubicBezTo>
                    <a:cubicBezTo>
                      <a:pt x="9" y="7"/>
                      <a:pt x="8" y="7"/>
                      <a:pt x="7" y="1"/>
                    </a:cubicBezTo>
                    <a:cubicBezTo>
                      <a:pt x="6" y="1"/>
                      <a:pt x="3" y="0"/>
                      <a:pt x="1" y="0"/>
                    </a:cubicBezTo>
                    <a:cubicBezTo>
                      <a:pt x="1" y="0"/>
                      <a:pt x="1" y="0"/>
                      <a:pt x="0" y="0"/>
                    </a:cubicBezTo>
                    <a:cubicBezTo>
                      <a:pt x="1" y="3"/>
                      <a:pt x="1" y="5"/>
                      <a:pt x="2" y="5"/>
                    </a:cubicBezTo>
                    <a:cubicBezTo>
                      <a:pt x="3" y="6"/>
                      <a:pt x="4" y="8"/>
                      <a:pt x="4" y="10"/>
                    </a:cubicBezTo>
                    <a:cubicBezTo>
                      <a:pt x="4" y="13"/>
                      <a:pt x="3" y="19"/>
                      <a:pt x="4" y="22"/>
                    </a:cubicBezTo>
                    <a:cubicBezTo>
                      <a:pt x="5" y="24"/>
                      <a:pt x="6" y="28"/>
                      <a:pt x="6" y="33"/>
                    </a:cubicBezTo>
                    <a:cubicBezTo>
                      <a:pt x="6" y="35"/>
                      <a:pt x="8" y="39"/>
                      <a:pt x="9" y="42"/>
                    </a:cubicBezTo>
                    <a:cubicBezTo>
                      <a:pt x="10" y="41"/>
                      <a:pt x="10" y="41"/>
                      <a:pt x="11" y="41"/>
                    </a:cubicBezTo>
                    <a:cubicBezTo>
                      <a:pt x="12" y="40"/>
                      <a:pt x="14" y="39"/>
                      <a:pt x="15" y="39"/>
                    </a:cubicBezTo>
                    <a:cubicBezTo>
                      <a:pt x="15" y="34"/>
                      <a:pt x="15" y="27"/>
                      <a:pt x="15" y="24"/>
                    </a:cubicBezTo>
                    <a:cubicBezTo>
                      <a:pt x="14" y="20"/>
                      <a:pt x="15" y="16"/>
                      <a:pt x="13" y="1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0" name="Freeform 26">
                <a:extLst>
                  <a:ext uri="{FF2B5EF4-FFF2-40B4-BE49-F238E27FC236}">
                    <a16:creationId xmlns:a16="http://schemas.microsoft.com/office/drawing/2014/main" id="{D3C41865-341D-493A-8B9E-31A51B5698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1574" y="3842617"/>
                <a:ext cx="139275" cy="212049"/>
              </a:xfrm>
              <a:custGeom>
                <a:avLst/>
                <a:gdLst>
                  <a:gd name="T0" fmla="*/ 25 w 60"/>
                  <a:gd name="T1" fmla="*/ 88 h 92"/>
                  <a:gd name="T2" fmla="*/ 47 w 60"/>
                  <a:gd name="T3" fmla="*/ 88 h 92"/>
                  <a:gd name="T4" fmla="*/ 58 w 60"/>
                  <a:gd name="T5" fmla="*/ 92 h 92"/>
                  <a:gd name="T6" fmla="*/ 60 w 60"/>
                  <a:gd name="T7" fmla="*/ 85 h 92"/>
                  <a:gd name="T8" fmla="*/ 59 w 60"/>
                  <a:gd name="T9" fmla="*/ 84 h 92"/>
                  <a:gd name="T10" fmla="*/ 53 w 60"/>
                  <a:gd name="T11" fmla="*/ 79 h 92"/>
                  <a:gd name="T12" fmla="*/ 52 w 60"/>
                  <a:gd name="T13" fmla="*/ 76 h 92"/>
                  <a:gd name="T14" fmla="*/ 50 w 60"/>
                  <a:gd name="T15" fmla="*/ 71 h 92"/>
                  <a:gd name="T16" fmla="*/ 48 w 60"/>
                  <a:gd name="T17" fmla="*/ 65 h 92"/>
                  <a:gd name="T18" fmla="*/ 47 w 60"/>
                  <a:gd name="T19" fmla="*/ 58 h 92"/>
                  <a:gd name="T20" fmla="*/ 51 w 60"/>
                  <a:gd name="T21" fmla="*/ 50 h 92"/>
                  <a:gd name="T22" fmla="*/ 55 w 60"/>
                  <a:gd name="T23" fmla="*/ 45 h 92"/>
                  <a:gd name="T24" fmla="*/ 53 w 60"/>
                  <a:gd name="T25" fmla="*/ 39 h 92"/>
                  <a:gd name="T26" fmla="*/ 46 w 60"/>
                  <a:gd name="T27" fmla="*/ 32 h 92"/>
                  <a:gd name="T28" fmla="*/ 44 w 60"/>
                  <a:gd name="T29" fmla="*/ 27 h 92"/>
                  <a:gd name="T30" fmla="*/ 51 w 60"/>
                  <a:gd name="T31" fmla="*/ 26 h 92"/>
                  <a:gd name="T32" fmla="*/ 54 w 60"/>
                  <a:gd name="T33" fmla="*/ 24 h 92"/>
                  <a:gd name="T34" fmla="*/ 51 w 60"/>
                  <a:gd name="T35" fmla="*/ 14 h 92"/>
                  <a:gd name="T36" fmla="*/ 50 w 60"/>
                  <a:gd name="T37" fmla="*/ 7 h 92"/>
                  <a:gd name="T38" fmla="*/ 45 w 60"/>
                  <a:gd name="T39" fmla="*/ 0 h 92"/>
                  <a:gd name="T40" fmla="*/ 45 w 60"/>
                  <a:gd name="T41" fmla="*/ 0 h 92"/>
                  <a:gd name="T42" fmla="*/ 44 w 60"/>
                  <a:gd name="T43" fmla="*/ 4 h 92"/>
                  <a:gd name="T44" fmla="*/ 47 w 60"/>
                  <a:gd name="T45" fmla="*/ 7 h 92"/>
                  <a:gd name="T46" fmla="*/ 48 w 60"/>
                  <a:gd name="T47" fmla="*/ 12 h 92"/>
                  <a:gd name="T48" fmla="*/ 43 w 60"/>
                  <a:gd name="T49" fmla="*/ 15 h 92"/>
                  <a:gd name="T50" fmla="*/ 38 w 60"/>
                  <a:gd name="T51" fmla="*/ 24 h 92"/>
                  <a:gd name="T52" fmla="*/ 36 w 60"/>
                  <a:gd name="T53" fmla="*/ 29 h 92"/>
                  <a:gd name="T54" fmla="*/ 36 w 60"/>
                  <a:gd name="T55" fmla="*/ 33 h 92"/>
                  <a:gd name="T56" fmla="*/ 32 w 60"/>
                  <a:gd name="T57" fmla="*/ 38 h 92"/>
                  <a:gd name="T58" fmla="*/ 26 w 60"/>
                  <a:gd name="T59" fmla="*/ 50 h 92"/>
                  <a:gd name="T60" fmla="*/ 22 w 60"/>
                  <a:gd name="T61" fmla="*/ 54 h 92"/>
                  <a:gd name="T62" fmla="*/ 17 w 60"/>
                  <a:gd name="T63" fmla="*/ 50 h 92"/>
                  <a:gd name="T64" fmla="*/ 12 w 60"/>
                  <a:gd name="T65" fmla="*/ 51 h 92"/>
                  <a:gd name="T66" fmla="*/ 3 w 60"/>
                  <a:gd name="T67" fmla="*/ 59 h 92"/>
                  <a:gd name="T68" fmla="*/ 0 w 60"/>
                  <a:gd name="T69" fmla="*/ 68 h 92"/>
                  <a:gd name="T70" fmla="*/ 4 w 60"/>
                  <a:gd name="T71" fmla="*/ 72 h 92"/>
                  <a:gd name="T72" fmla="*/ 10 w 60"/>
                  <a:gd name="T73" fmla="*/ 74 h 92"/>
                  <a:gd name="T74" fmla="*/ 12 w 60"/>
                  <a:gd name="T75" fmla="*/ 82 h 92"/>
                  <a:gd name="T76" fmla="*/ 11 w 60"/>
                  <a:gd name="T77" fmla="*/ 89 h 92"/>
                  <a:gd name="T78" fmla="*/ 22 w 60"/>
                  <a:gd name="T79" fmla="*/ 89 h 92"/>
                  <a:gd name="T80" fmla="*/ 25 w 60"/>
                  <a:gd name="T81" fmla="*/ 88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60" h="92">
                    <a:moveTo>
                      <a:pt x="25" y="88"/>
                    </a:moveTo>
                    <a:cubicBezTo>
                      <a:pt x="25" y="88"/>
                      <a:pt x="44" y="89"/>
                      <a:pt x="47" y="88"/>
                    </a:cubicBezTo>
                    <a:cubicBezTo>
                      <a:pt x="49" y="88"/>
                      <a:pt x="58" y="92"/>
                      <a:pt x="58" y="92"/>
                    </a:cubicBezTo>
                    <a:cubicBezTo>
                      <a:pt x="58" y="92"/>
                      <a:pt x="58" y="88"/>
                      <a:pt x="60" y="85"/>
                    </a:cubicBezTo>
                    <a:cubicBezTo>
                      <a:pt x="59" y="85"/>
                      <a:pt x="59" y="84"/>
                      <a:pt x="59" y="84"/>
                    </a:cubicBezTo>
                    <a:cubicBezTo>
                      <a:pt x="58" y="82"/>
                      <a:pt x="55" y="80"/>
                      <a:pt x="53" y="79"/>
                    </a:cubicBezTo>
                    <a:cubicBezTo>
                      <a:pt x="52" y="77"/>
                      <a:pt x="52" y="76"/>
                      <a:pt x="52" y="76"/>
                    </a:cubicBezTo>
                    <a:cubicBezTo>
                      <a:pt x="52" y="76"/>
                      <a:pt x="52" y="73"/>
                      <a:pt x="50" y="71"/>
                    </a:cubicBezTo>
                    <a:cubicBezTo>
                      <a:pt x="49" y="69"/>
                      <a:pt x="48" y="67"/>
                      <a:pt x="48" y="65"/>
                    </a:cubicBezTo>
                    <a:cubicBezTo>
                      <a:pt x="48" y="62"/>
                      <a:pt x="47" y="60"/>
                      <a:pt x="47" y="58"/>
                    </a:cubicBezTo>
                    <a:cubicBezTo>
                      <a:pt x="47" y="56"/>
                      <a:pt x="50" y="53"/>
                      <a:pt x="51" y="50"/>
                    </a:cubicBezTo>
                    <a:cubicBezTo>
                      <a:pt x="52" y="48"/>
                      <a:pt x="53" y="46"/>
                      <a:pt x="55" y="45"/>
                    </a:cubicBezTo>
                    <a:cubicBezTo>
                      <a:pt x="54" y="44"/>
                      <a:pt x="53" y="42"/>
                      <a:pt x="53" y="39"/>
                    </a:cubicBezTo>
                    <a:cubicBezTo>
                      <a:pt x="52" y="36"/>
                      <a:pt x="49" y="35"/>
                      <a:pt x="46" y="32"/>
                    </a:cubicBezTo>
                    <a:cubicBezTo>
                      <a:pt x="43" y="29"/>
                      <a:pt x="44" y="28"/>
                      <a:pt x="44" y="27"/>
                    </a:cubicBezTo>
                    <a:cubicBezTo>
                      <a:pt x="44" y="25"/>
                      <a:pt x="48" y="25"/>
                      <a:pt x="51" y="26"/>
                    </a:cubicBezTo>
                    <a:cubicBezTo>
                      <a:pt x="54" y="26"/>
                      <a:pt x="55" y="25"/>
                      <a:pt x="54" y="24"/>
                    </a:cubicBezTo>
                    <a:cubicBezTo>
                      <a:pt x="53" y="24"/>
                      <a:pt x="51" y="18"/>
                      <a:pt x="51" y="14"/>
                    </a:cubicBezTo>
                    <a:cubicBezTo>
                      <a:pt x="51" y="11"/>
                      <a:pt x="50" y="9"/>
                      <a:pt x="50" y="7"/>
                    </a:cubicBezTo>
                    <a:cubicBezTo>
                      <a:pt x="50" y="5"/>
                      <a:pt x="47" y="0"/>
                      <a:pt x="45" y="0"/>
                    </a:cubicBezTo>
                    <a:cubicBezTo>
                      <a:pt x="45" y="0"/>
                      <a:pt x="45" y="0"/>
                      <a:pt x="45" y="0"/>
                    </a:cubicBezTo>
                    <a:cubicBezTo>
                      <a:pt x="44" y="1"/>
                      <a:pt x="44" y="3"/>
                      <a:pt x="44" y="4"/>
                    </a:cubicBezTo>
                    <a:cubicBezTo>
                      <a:pt x="44" y="5"/>
                      <a:pt x="46" y="7"/>
                      <a:pt x="47" y="7"/>
                    </a:cubicBezTo>
                    <a:cubicBezTo>
                      <a:pt x="49" y="8"/>
                      <a:pt x="48" y="10"/>
                      <a:pt x="48" y="12"/>
                    </a:cubicBezTo>
                    <a:cubicBezTo>
                      <a:pt x="48" y="14"/>
                      <a:pt x="44" y="14"/>
                      <a:pt x="43" y="15"/>
                    </a:cubicBezTo>
                    <a:cubicBezTo>
                      <a:pt x="42" y="16"/>
                      <a:pt x="38" y="23"/>
                      <a:pt x="38" y="24"/>
                    </a:cubicBezTo>
                    <a:cubicBezTo>
                      <a:pt x="39" y="25"/>
                      <a:pt x="38" y="28"/>
                      <a:pt x="36" y="29"/>
                    </a:cubicBezTo>
                    <a:cubicBezTo>
                      <a:pt x="35" y="29"/>
                      <a:pt x="36" y="32"/>
                      <a:pt x="36" y="33"/>
                    </a:cubicBezTo>
                    <a:cubicBezTo>
                      <a:pt x="36" y="34"/>
                      <a:pt x="32" y="36"/>
                      <a:pt x="32" y="38"/>
                    </a:cubicBezTo>
                    <a:cubicBezTo>
                      <a:pt x="32" y="40"/>
                      <a:pt x="27" y="48"/>
                      <a:pt x="26" y="50"/>
                    </a:cubicBezTo>
                    <a:cubicBezTo>
                      <a:pt x="24" y="53"/>
                      <a:pt x="23" y="56"/>
                      <a:pt x="22" y="54"/>
                    </a:cubicBezTo>
                    <a:cubicBezTo>
                      <a:pt x="22" y="52"/>
                      <a:pt x="18" y="49"/>
                      <a:pt x="17" y="50"/>
                    </a:cubicBezTo>
                    <a:cubicBezTo>
                      <a:pt x="15" y="51"/>
                      <a:pt x="13" y="50"/>
                      <a:pt x="12" y="51"/>
                    </a:cubicBezTo>
                    <a:cubicBezTo>
                      <a:pt x="11" y="51"/>
                      <a:pt x="3" y="59"/>
                      <a:pt x="3" y="59"/>
                    </a:cubicBezTo>
                    <a:cubicBezTo>
                      <a:pt x="3" y="59"/>
                      <a:pt x="2" y="63"/>
                      <a:pt x="0" y="68"/>
                    </a:cubicBezTo>
                    <a:cubicBezTo>
                      <a:pt x="1" y="69"/>
                      <a:pt x="3" y="71"/>
                      <a:pt x="4" y="72"/>
                    </a:cubicBezTo>
                    <a:cubicBezTo>
                      <a:pt x="5" y="75"/>
                      <a:pt x="9" y="73"/>
                      <a:pt x="10" y="74"/>
                    </a:cubicBezTo>
                    <a:cubicBezTo>
                      <a:pt x="11" y="74"/>
                      <a:pt x="13" y="80"/>
                      <a:pt x="12" y="82"/>
                    </a:cubicBezTo>
                    <a:cubicBezTo>
                      <a:pt x="12" y="83"/>
                      <a:pt x="10" y="87"/>
                      <a:pt x="11" y="89"/>
                    </a:cubicBezTo>
                    <a:cubicBezTo>
                      <a:pt x="22" y="89"/>
                      <a:pt x="22" y="89"/>
                      <a:pt x="22" y="89"/>
                    </a:cubicBezTo>
                    <a:lnTo>
                      <a:pt x="25" y="88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1" name="Freeform 27">
                <a:extLst>
                  <a:ext uri="{FF2B5EF4-FFF2-40B4-BE49-F238E27FC236}">
                    <a16:creationId xmlns:a16="http://schemas.microsoft.com/office/drawing/2014/main" id="{C0C25430-6E1D-49CD-9B8B-2D00733641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61619" y="3886533"/>
                <a:ext cx="115435" cy="116689"/>
              </a:xfrm>
              <a:custGeom>
                <a:avLst/>
                <a:gdLst>
                  <a:gd name="T0" fmla="*/ 47 w 50"/>
                  <a:gd name="T1" fmla="*/ 43 h 51"/>
                  <a:gd name="T2" fmla="*/ 44 w 50"/>
                  <a:gd name="T3" fmla="*/ 34 h 51"/>
                  <a:gd name="T4" fmla="*/ 47 w 50"/>
                  <a:gd name="T5" fmla="*/ 26 h 51"/>
                  <a:gd name="T6" fmla="*/ 50 w 50"/>
                  <a:gd name="T7" fmla="*/ 21 h 51"/>
                  <a:gd name="T8" fmla="*/ 47 w 50"/>
                  <a:gd name="T9" fmla="*/ 8 h 51"/>
                  <a:gd name="T10" fmla="*/ 46 w 50"/>
                  <a:gd name="T11" fmla="*/ 8 h 51"/>
                  <a:gd name="T12" fmla="*/ 36 w 50"/>
                  <a:gd name="T13" fmla="*/ 9 h 51"/>
                  <a:gd name="T14" fmla="*/ 29 w 50"/>
                  <a:gd name="T15" fmla="*/ 5 h 51"/>
                  <a:gd name="T16" fmla="*/ 23 w 50"/>
                  <a:gd name="T17" fmla="*/ 3 h 51"/>
                  <a:gd name="T18" fmla="*/ 20 w 50"/>
                  <a:gd name="T19" fmla="*/ 2 h 51"/>
                  <a:gd name="T20" fmla="*/ 16 w 50"/>
                  <a:gd name="T21" fmla="*/ 3 h 51"/>
                  <a:gd name="T22" fmla="*/ 12 w 50"/>
                  <a:gd name="T23" fmla="*/ 5 h 51"/>
                  <a:gd name="T24" fmla="*/ 8 w 50"/>
                  <a:gd name="T25" fmla="*/ 4 h 51"/>
                  <a:gd name="T26" fmla="*/ 5 w 50"/>
                  <a:gd name="T27" fmla="*/ 4 h 51"/>
                  <a:gd name="T28" fmla="*/ 5 w 50"/>
                  <a:gd name="T29" fmla="*/ 11 h 51"/>
                  <a:gd name="T30" fmla="*/ 6 w 50"/>
                  <a:gd name="T31" fmla="*/ 15 h 51"/>
                  <a:gd name="T32" fmla="*/ 8 w 50"/>
                  <a:gd name="T33" fmla="*/ 20 h 51"/>
                  <a:gd name="T34" fmla="*/ 4 w 50"/>
                  <a:gd name="T35" fmla="*/ 20 h 51"/>
                  <a:gd name="T36" fmla="*/ 5 w 50"/>
                  <a:gd name="T37" fmla="*/ 25 h 51"/>
                  <a:gd name="T38" fmla="*/ 2 w 50"/>
                  <a:gd name="T39" fmla="*/ 29 h 51"/>
                  <a:gd name="T40" fmla="*/ 1 w 50"/>
                  <a:gd name="T41" fmla="*/ 35 h 51"/>
                  <a:gd name="T42" fmla="*/ 4 w 50"/>
                  <a:gd name="T43" fmla="*/ 38 h 51"/>
                  <a:gd name="T44" fmla="*/ 10 w 50"/>
                  <a:gd name="T45" fmla="*/ 44 h 51"/>
                  <a:gd name="T46" fmla="*/ 8 w 50"/>
                  <a:gd name="T47" fmla="*/ 51 h 51"/>
                  <a:gd name="T48" fmla="*/ 32 w 50"/>
                  <a:gd name="T49" fmla="*/ 46 h 51"/>
                  <a:gd name="T50" fmla="*/ 47 w 50"/>
                  <a:gd name="T51" fmla="*/ 47 h 51"/>
                  <a:gd name="T52" fmla="*/ 47 w 50"/>
                  <a:gd name="T53" fmla="*/ 43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50" h="51">
                    <a:moveTo>
                      <a:pt x="47" y="43"/>
                    </a:moveTo>
                    <a:cubicBezTo>
                      <a:pt x="46" y="42"/>
                      <a:pt x="44" y="35"/>
                      <a:pt x="44" y="34"/>
                    </a:cubicBezTo>
                    <a:cubicBezTo>
                      <a:pt x="44" y="33"/>
                      <a:pt x="47" y="28"/>
                      <a:pt x="47" y="26"/>
                    </a:cubicBezTo>
                    <a:cubicBezTo>
                      <a:pt x="47" y="24"/>
                      <a:pt x="50" y="23"/>
                      <a:pt x="50" y="21"/>
                    </a:cubicBezTo>
                    <a:cubicBezTo>
                      <a:pt x="50" y="19"/>
                      <a:pt x="49" y="13"/>
                      <a:pt x="47" y="8"/>
                    </a:cubicBezTo>
                    <a:cubicBezTo>
                      <a:pt x="47" y="8"/>
                      <a:pt x="46" y="8"/>
                      <a:pt x="46" y="8"/>
                    </a:cubicBezTo>
                    <a:cubicBezTo>
                      <a:pt x="44" y="6"/>
                      <a:pt x="38" y="6"/>
                      <a:pt x="36" y="9"/>
                    </a:cubicBezTo>
                    <a:cubicBezTo>
                      <a:pt x="34" y="11"/>
                      <a:pt x="30" y="7"/>
                      <a:pt x="29" y="5"/>
                    </a:cubicBezTo>
                    <a:cubicBezTo>
                      <a:pt x="29" y="4"/>
                      <a:pt x="25" y="2"/>
                      <a:pt x="23" y="3"/>
                    </a:cubicBezTo>
                    <a:cubicBezTo>
                      <a:pt x="21" y="5"/>
                      <a:pt x="20" y="4"/>
                      <a:pt x="20" y="2"/>
                    </a:cubicBezTo>
                    <a:cubicBezTo>
                      <a:pt x="20" y="0"/>
                      <a:pt x="17" y="1"/>
                      <a:pt x="16" y="3"/>
                    </a:cubicBezTo>
                    <a:cubicBezTo>
                      <a:pt x="16" y="5"/>
                      <a:pt x="13" y="6"/>
                      <a:pt x="12" y="5"/>
                    </a:cubicBezTo>
                    <a:cubicBezTo>
                      <a:pt x="11" y="4"/>
                      <a:pt x="9" y="2"/>
                      <a:pt x="8" y="4"/>
                    </a:cubicBezTo>
                    <a:cubicBezTo>
                      <a:pt x="7" y="5"/>
                      <a:pt x="6" y="5"/>
                      <a:pt x="5" y="4"/>
                    </a:cubicBezTo>
                    <a:cubicBezTo>
                      <a:pt x="4" y="7"/>
                      <a:pt x="4" y="10"/>
                      <a:pt x="5" y="11"/>
                    </a:cubicBezTo>
                    <a:cubicBezTo>
                      <a:pt x="6" y="12"/>
                      <a:pt x="7" y="14"/>
                      <a:pt x="6" y="15"/>
                    </a:cubicBezTo>
                    <a:cubicBezTo>
                      <a:pt x="6" y="16"/>
                      <a:pt x="9" y="18"/>
                      <a:pt x="8" y="20"/>
                    </a:cubicBezTo>
                    <a:cubicBezTo>
                      <a:pt x="6" y="21"/>
                      <a:pt x="5" y="18"/>
                      <a:pt x="4" y="20"/>
                    </a:cubicBezTo>
                    <a:cubicBezTo>
                      <a:pt x="3" y="22"/>
                      <a:pt x="6" y="24"/>
                      <a:pt x="5" y="25"/>
                    </a:cubicBezTo>
                    <a:cubicBezTo>
                      <a:pt x="4" y="26"/>
                      <a:pt x="2" y="27"/>
                      <a:pt x="2" y="29"/>
                    </a:cubicBezTo>
                    <a:cubicBezTo>
                      <a:pt x="3" y="32"/>
                      <a:pt x="3" y="34"/>
                      <a:pt x="1" y="35"/>
                    </a:cubicBezTo>
                    <a:cubicBezTo>
                      <a:pt x="0" y="36"/>
                      <a:pt x="2" y="36"/>
                      <a:pt x="4" y="38"/>
                    </a:cubicBezTo>
                    <a:cubicBezTo>
                      <a:pt x="7" y="39"/>
                      <a:pt x="11" y="41"/>
                      <a:pt x="10" y="44"/>
                    </a:cubicBezTo>
                    <a:cubicBezTo>
                      <a:pt x="10" y="46"/>
                      <a:pt x="9" y="47"/>
                      <a:pt x="8" y="51"/>
                    </a:cubicBezTo>
                    <a:cubicBezTo>
                      <a:pt x="13" y="51"/>
                      <a:pt x="22" y="48"/>
                      <a:pt x="32" y="46"/>
                    </a:cubicBezTo>
                    <a:cubicBezTo>
                      <a:pt x="38" y="45"/>
                      <a:pt x="43" y="46"/>
                      <a:pt x="47" y="47"/>
                    </a:cubicBezTo>
                    <a:cubicBezTo>
                      <a:pt x="48" y="45"/>
                      <a:pt x="48" y="44"/>
                      <a:pt x="47" y="4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2" name="Freeform 28">
                <a:extLst>
                  <a:ext uri="{FF2B5EF4-FFF2-40B4-BE49-F238E27FC236}">
                    <a16:creationId xmlns:a16="http://schemas.microsoft.com/office/drawing/2014/main" id="{BC0F3890-7774-4285-B53B-4370ACD070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63252" y="3879004"/>
                <a:ext cx="77793" cy="120454"/>
              </a:xfrm>
              <a:custGeom>
                <a:avLst/>
                <a:gdLst>
                  <a:gd name="T0" fmla="*/ 29 w 34"/>
                  <a:gd name="T1" fmla="*/ 22 h 52"/>
                  <a:gd name="T2" fmla="*/ 29 w 34"/>
                  <a:gd name="T3" fmla="*/ 10 h 52"/>
                  <a:gd name="T4" fmla="*/ 27 w 34"/>
                  <a:gd name="T5" fmla="*/ 5 h 52"/>
                  <a:gd name="T6" fmla="*/ 25 w 34"/>
                  <a:gd name="T7" fmla="*/ 0 h 52"/>
                  <a:gd name="T8" fmla="*/ 23 w 34"/>
                  <a:gd name="T9" fmla="*/ 2 h 52"/>
                  <a:gd name="T10" fmla="*/ 3 w 34"/>
                  <a:gd name="T11" fmla="*/ 2 h 52"/>
                  <a:gd name="T12" fmla="*/ 4 w 34"/>
                  <a:gd name="T13" fmla="*/ 10 h 52"/>
                  <a:gd name="T14" fmla="*/ 3 w 34"/>
                  <a:gd name="T15" fmla="*/ 11 h 52"/>
                  <a:gd name="T16" fmla="*/ 6 w 34"/>
                  <a:gd name="T17" fmla="*/ 24 h 52"/>
                  <a:gd name="T18" fmla="*/ 3 w 34"/>
                  <a:gd name="T19" fmla="*/ 29 h 52"/>
                  <a:gd name="T20" fmla="*/ 0 w 34"/>
                  <a:gd name="T21" fmla="*/ 37 h 52"/>
                  <a:gd name="T22" fmla="*/ 3 w 34"/>
                  <a:gd name="T23" fmla="*/ 46 h 52"/>
                  <a:gd name="T24" fmla="*/ 3 w 34"/>
                  <a:gd name="T25" fmla="*/ 50 h 52"/>
                  <a:gd name="T26" fmla="*/ 9 w 34"/>
                  <a:gd name="T27" fmla="*/ 52 h 52"/>
                  <a:gd name="T28" fmla="*/ 25 w 34"/>
                  <a:gd name="T29" fmla="*/ 46 h 52"/>
                  <a:gd name="T30" fmla="*/ 34 w 34"/>
                  <a:gd name="T31" fmla="*/ 42 h 52"/>
                  <a:gd name="T32" fmla="*/ 31 w 34"/>
                  <a:gd name="T33" fmla="*/ 33 h 52"/>
                  <a:gd name="T34" fmla="*/ 29 w 34"/>
                  <a:gd name="T35" fmla="*/ 2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4" h="52">
                    <a:moveTo>
                      <a:pt x="29" y="22"/>
                    </a:moveTo>
                    <a:cubicBezTo>
                      <a:pt x="28" y="19"/>
                      <a:pt x="29" y="13"/>
                      <a:pt x="29" y="10"/>
                    </a:cubicBezTo>
                    <a:cubicBezTo>
                      <a:pt x="29" y="8"/>
                      <a:pt x="28" y="6"/>
                      <a:pt x="27" y="5"/>
                    </a:cubicBezTo>
                    <a:cubicBezTo>
                      <a:pt x="26" y="5"/>
                      <a:pt x="26" y="3"/>
                      <a:pt x="25" y="0"/>
                    </a:cubicBezTo>
                    <a:cubicBezTo>
                      <a:pt x="24" y="1"/>
                      <a:pt x="24" y="3"/>
                      <a:pt x="23" y="2"/>
                    </a:cubicBezTo>
                    <a:cubicBezTo>
                      <a:pt x="23" y="1"/>
                      <a:pt x="4" y="0"/>
                      <a:pt x="3" y="2"/>
                    </a:cubicBezTo>
                    <a:cubicBezTo>
                      <a:pt x="2" y="3"/>
                      <a:pt x="5" y="8"/>
                      <a:pt x="4" y="10"/>
                    </a:cubicBezTo>
                    <a:cubicBezTo>
                      <a:pt x="4" y="11"/>
                      <a:pt x="4" y="11"/>
                      <a:pt x="3" y="11"/>
                    </a:cubicBezTo>
                    <a:cubicBezTo>
                      <a:pt x="5" y="16"/>
                      <a:pt x="6" y="22"/>
                      <a:pt x="6" y="24"/>
                    </a:cubicBezTo>
                    <a:cubicBezTo>
                      <a:pt x="6" y="26"/>
                      <a:pt x="3" y="27"/>
                      <a:pt x="3" y="29"/>
                    </a:cubicBezTo>
                    <a:cubicBezTo>
                      <a:pt x="3" y="31"/>
                      <a:pt x="0" y="36"/>
                      <a:pt x="0" y="37"/>
                    </a:cubicBezTo>
                    <a:cubicBezTo>
                      <a:pt x="0" y="38"/>
                      <a:pt x="2" y="45"/>
                      <a:pt x="3" y="46"/>
                    </a:cubicBezTo>
                    <a:cubicBezTo>
                      <a:pt x="4" y="47"/>
                      <a:pt x="4" y="48"/>
                      <a:pt x="3" y="50"/>
                    </a:cubicBezTo>
                    <a:cubicBezTo>
                      <a:pt x="7" y="51"/>
                      <a:pt x="9" y="52"/>
                      <a:pt x="9" y="52"/>
                    </a:cubicBezTo>
                    <a:cubicBezTo>
                      <a:pt x="11" y="52"/>
                      <a:pt x="21" y="48"/>
                      <a:pt x="25" y="46"/>
                    </a:cubicBezTo>
                    <a:cubicBezTo>
                      <a:pt x="28" y="44"/>
                      <a:pt x="32" y="43"/>
                      <a:pt x="34" y="42"/>
                    </a:cubicBezTo>
                    <a:cubicBezTo>
                      <a:pt x="33" y="39"/>
                      <a:pt x="31" y="35"/>
                      <a:pt x="31" y="33"/>
                    </a:cubicBezTo>
                    <a:cubicBezTo>
                      <a:pt x="31" y="28"/>
                      <a:pt x="30" y="24"/>
                      <a:pt x="29" y="2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3" name="Freeform 29">
                <a:extLst>
                  <a:ext uri="{FF2B5EF4-FFF2-40B4-BE49-F238E27FC236}">
                    <a16:creationId xmlns:a16="http://schemas.microsoft.com/office/drawing/2014/main" id="{575CECD2-8A40-4478-9071-E8AC630159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41165" y="3848891"/>
                <a:ext cx="140529" cy="106652"/>
              </a:xfrm>
              <a:custGeom>
                <a:avLst/>
                <a:gdLst>
                  <a:gd name="T0" fmla="*/ 20 w 61"/>
                  <a:gd name="T1" fmla="*/ 25 h 46"/>
                  <a:gd name="T2" fmla="*/ 24 w 61"/>
                  <a:gd name="T3" fmla="*/ 24 h 46"/>
                  <a:gd name="T4" fmla="*/ 30 w 61"/>
                  <a:gd name="T5" fmla="*/ 23 h 46"/>
                  <a:gd name="T6" fmla="*/ 37 w 61"/>
                  <a:gd name="T7" fmla="*/ 31 h 46"/>
                  <a:gd name="T8" fmla="*/ 38 w 61"/>
                  <a:gd name="T9" fmla="*/ 35 h 46"/>
                  <a:gd name="T10" fmla="*/ 38 w 61"/>
                  <a:gd name="T11" fmla="*/ 36 h 46"/>
                  <a:gd name="T12" fmla="*/ 44 w 61"/>
                  <a:gd name="T13" fmla="*/ 35 h 46"/>
                  <a:gd name="T14" fmla="*/ 46 w 61"/>
                  <a:gd name="T15" fmla="*/ 42 h 46"/>
                  <a:gd name="T16" fmla="*/ 50 w 61"/>
                  <a:gd name="T17" fmla="*/ 45 h 46"/>
                  <a:gd name="T18" fmla="*/ 53 w 61"/>
                  <a:gd name="T19" fmla="*/ 42 h 46"/>
                  <a:gd name="T20" fmla="*/ 55 w 61"/>
                  <a:gd name="T21" fmla="*/ 43 h 46"/>
                  <a:gd name="T22" fmla="*/ 57 w 61"/>
                  <a:gd name="T23" fmla="*/ 41 h 46"/>
                  <a:gd name="T24" fmla="*/ 56 w 61"/>
                  <a:gd name="T25" fmla="*/ 36 h 46"/>
                  <a:gd name="T26" fmla="*/ 60 w 61"/>
                  <a:gd name="T27" fmla="*/ 36 h 46"/>
                  <a:gd name="T28" fmla="*/ 58 w 61"/>
                  <a:gd name="T29" fmla="*/ 31 h 46"/>
                  <a:gd name="T30" fmla="*/ 57 w 61"/>
                  <a:gd name="T31" fmla="*/ 27 h 46"/>
                  <a:gd name="T32" fmla="*/ 57 w 61"/>
                  <a:gd name="T33" fmla="*/ 20 h 46"/>
                  <a:gd name="T34" fmla="*/ 56 w 61"/>
                  <a:gd name="T35" fmla="*/ 19 h 46"/>
                  <a:gd name="T36" fmla="*/ 54 w 61"/>
                  <a:gd name="T37" fmla="*/ 15 h 46"/>
                  <a:gd name="T38" fmla="*/ 54 w 61"/>
                  <a:gd name="T39" fmla="*/ 12 h 46"/>
                  <a:gd name="T40" fmla="*/ 51 w 61"/>
                  <a:gd name="T41" fmla="*/ 8 h 46"/>
                  <a:gd name="T42" fmla="*/ 48 w 61"/>
                  <a:gd name="T43" fmla="*/ 2 h 46"/>
                  <a:gd name="T44" fmla="*/ 42 w 61"/>
                  <a:gd name="T45" fmla="*/ 6 h 46"/>
                  <a:gd name="T46" fmla="*/ 37 w 61"/>
                  <a:gd name="T47" fmla="*/ 6 h 46"/>
                  <a:gd name="T48" fmla="*/ 32 w 61"/>
                  <a:gd name="T49" fmla="*/ 6 h 46"/>
                  <a:gd name="T50" fmla="*/ 30 w 61"/>
                  <a:gd name="T51" fmla="*/ 4 h 46"/>
                  <a:gd name="T52" fmla="*/ 30 w 61"/>
                  <a:gd name="T53" fmla="*/ 3 h 46"/>
                  <a:gd name="T54" fmla="*/ 29 w 61"/>
                  <a:gd name="T55" fmla="*/ 3 h 46"/>
                  <a:gd name="T56" fmla="*/ 17 w 61"/>
                  <a:gd name="T57" fmla="*/ 3 h 46"/>
                  <a:gd name="T58" fmla="*/ 12 w 61"/>
                  <a:gd name="T59" fmla="*/ 0 h 46"/>
                  <a:gd name="T60" fmla="*/ 10 w 61"/>
                  <a:gd name="T61" fmla="*/ 4 h 46"/>
                  <a:gd name="T62" fmla="*/ 10 w 61"/>
                  <a:gd name="T63" fmla="*/ 8 h 46"/>
                  <a:gd name="T64" fmla="*/ 7 w 61"/>
                  <a:gd name="T65" fmla="*/ 9 h 46"/>
                  <a:gd name="T66" fmla="*/ 1 w 61"/>
                  <a:gd name="T67" fmla="*/ 13 h 46"/>
                  <a:gd name="T68" fmla="*/ 0 w 61"/>
                  <a:gd name="T69" fmla="*/ 14 h 46"/>
                  <a:gd name="T70" fmla="*/ 6 w 61"/>
                  <a:gd name="T71" fmla="*/ 21 h 46"/>
                  <a:gd name="T72" fmla="*/ 15 w 61"/>
                  <a:gd name="T73" fmla="*/ 31 h 46"/>
                  <a:gd name="T74" fmla="*/ 20 w 61"/>
                  <a:gd name="T75" fmla="*/ 25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61" h="46">
                    <a:moveTo>
                      <a:pt x="20" y="25"/>
                    </a:moveTo>
                    <a:cubicBezTo>
                      <a:pt x="20" y="23"/>
                      <a:pt x="22" y="23"/>
                      <a:pt x="24" y="24"/>
                    </a:cubicBezTo>
                    <a:cubicBezTo>
                      <a:pt x="26" y="24"/>
                      <a:pt x="28" y="23"/>
                      <a:pt x="30" y="23"/>
                    </a:cubicBezTo>
                    <a:cubicBezTo>
                      <a:pt x="32" y="23"/>
                      <a:pt x="37" y="29"/>
                      <a:pt x="37" y="31"/>
                    </a:cubicBezTo>
                    <a:cubicBezTo>
                      <a:pt x="37" y="32"/>
                      <a:pt x="37" y="34"/>
                      <a:pt x="38" y="35"/>
                    </a:cubicBezTo>
                    <a:cubicBezTo>
                      <a:pt x="38" y="36"/>
                      <a:pt x="38" y="36"/>
                      <a:pt x="38" y="36"/>
                    </a:cubicBezTo>
                    <a:cubicBezTo>
                      <a:pt x="41" y="35"/>
                      <a:pt x="43" y="35"/>
                      <a:pt x="44" y="35"/>
                    </a:cubicBezTo>
                    <a:cubicBezTo>
                      <a:pt x="45" y="35"/>
                      <a:pt x="46" y="39"/>
                      <a:pt x="46" y="42"/>
                    </a:cubicBezTo>
                    <a:cubicBezTo>
                      <a:pt x="46" y="44"/>
                      <a:pt x="49" y="46"/>
                      <a:pt x="50" y="45"/>
                    </a:cubicBezTo>
                    <a:cubicBezTo>
                      <a:pt x="51" y="43"/>
                      <a:pt x="53" y="41"/>
                      <a:pt x="53" y="42"/>
                    </a:cubicBezTo>
                    <a:cubicBezTo>
                      <a:pt x="53" y="43"/>
                      <a:pt x="54" y="43"/>
                      <a:pt x="55" y="43"/>
                    </a:cubicBezTo>
                    <a:cubicBezTo>
                      <a:pt x="55" y="42"/>
                      <a:pt x="56" y="42"/>
                      <a:pt x="57" y="41"/>
                    </a:cubicBezTo>
                    <a:cubicBezTo>
                      <a:pt x="58" y="40"/>
                      <a:pt x="55" y="38"/>
                      <a:pt x="56" y="36"/>
                    </a:cubicBezTo>
                    <a:cubicBezTo>
                      <a:pt x="57" y="34"/>
                      <a:pt x="58" y="37"/>
                      <a:pt x="60" y="36"/>
                    </a:cubicBezTo>
                    <a:cubicBezTo>
                      <a:pt x="61" y="34"/>
                      <a:pt x="58" y="32"/>
                      <a:pt x="58" y="31"/>
                    </a:cubicBezTo>
                    <a:cubicBezTo>
                      <a:pt x="59" y="30"/>
                      <a:pt x="58" y="28"/>
                      <a:pt x="57" y="27"/>
                    </a:cubicBezTo>
                    <a:cubicBezTo>
                      <a:pt x="56" y="26"/>
                      <a:pt x="56" y="23"/>
                      <a:pt x="57" y="20"/>
                    </a:cubicBezTo>
                    <a:cubicBezTo>
                      <a:pt x="56" y="20"/>
                      <a:pt x="56" y="20"/>
                      <a:pt x="56" y="19"/>
                    </a:cubicBezTo>
                    <a:cubicBezTo>
                      <a:pt x="55" y="18"/>
                      <a:pt x="56" y="15"/>
                      <a:pt x="54" y="15"/>
                    </a:cubicBezTo>
                    <a:cubicBezTo>
                      <a:pt x="52" y="15"/>
                      <a:pt x="52" y="12"/>
                      <a:pt x="54" y="12"/>
                    </a:cubicBezTo>
                    <a:cubicBezTo>
                      <a:pt x="55" y="11"/>
                      <a:pt x="51" y="10"/>
                      <a:pt x="51" y="8"/>
                    </a:cubicBezTo>
                    <a:cubicBezTo>
                      <a:pt x="51" y="6"/>
                      <a:pt x="49" y="2"/>
                      <a:pt x="48" y="2"/>
                    </a:cubicBezTo>
                    <a:cubicBezTo>
                      <a:pt x="47" y="2"/>
                      <a:pt x="44" y="6"/>
                      <a:pt x="42" y="6"/>
                    </a:cubicBezTo>
                    <a:cubicBezTo>
                      <a:pt x="41" y="6"/>
                      <a:pt x="38" y="3"/>
                      <a:pt x="37" y="6"/>
                    </a:cubicBezTo>
                    <a:cubicBezTo>
                      <a:pt x="36" y="8"/>
                      <a:pt x="34" y="5"/>
                      <a:pt x="32" y="6"/>
                    </a:cubicBezTo>
                    <a:cubicBezTo>
                      <a:pt x="31" y="8"/>
                      <a:pt x="30" y="4"/>
                      <a:pt x="30" y="4"/>
                    </a:cubicBezTo>
                    <a:cubicBezTo>
                      <a:pt x="30" y="4"/>
                      <a:pt x="30" y="4"/>
                      <a:pt x="30" y="3"/>
                    </a:cubicBezTo>
                    <a:cubicBezTo>
                      <a:pt x="30" y="3"/>
                      <a:pt x="29" y="3"/>
                      <a:pt x="29" y="3"/>
                    </a:cubicBezTo>
                    <a:cubicBezTo>
                      <a:pt x="25" y="5"/>
                      <a:pt x="18" y="4"/>
                      <a:pt x="17" y="3"/>
                    </a:cubicBezTo>
                    <a:cubicBezTo>
                      <a:pt x="17" y="1"/>
                      <a:pt x="12" y="0"/>
                      <a:pt x="12" y="0"/>
                    </a:cubicBezTo>
                    <a:cubicBezTo>
                      <a:pt x="12" y="0"/>
                      <a:pt x="12" y="3"/>
                      <a:pt x="10" y="4"/>
                    </a:cubicBezTo>
                    <a:cubicBezTo>
                      <a:pt x="8" y="5"/>
                      <a:pt x="10" y="7"/>
                      <a:pt x="10" y="8"/>
                    </a:cubicBezTo>
                    <a:cubicBezTo>
                      <a:pt x="10" y="8"/>
                      <a:pt x="9" y="10"/>
                      <a:pt x="7" y="9"/>
                    </a:cubicBezTo>
                    <a:cubicBezTo>
                      <a:pt x="6" y="8"/>
                      <a:pt x="3" y="12"/>
                      <a:pt x="1" y="13"/>
                    </a:cubicBezTo>
                    <a:cubicBezTo>
                      <a:pt x="1" y="13"/>
                      <a:pt x="0" y="13"/>
                      <a:pt x="0" y="14"/>
                    </a:cubicBezTo>
                    <a:cubicBezTo>
                      <a:pt x="3" y="16"/>
                      <a:pt x="2" y="18"/>
                      <a:pt x="6" y="21"/>
                    </a:cubicBezTo>
                    <a:cubicBezTo>
                      <a:pt x="9" y="23"/>
                      <a:pt x="13" y="26"/>
                      <a:pt x="15" y="31"/>
                    </a:cubicBezTo>
                    <a:cubicBezTo>
                      <a:pt x="17" y="29"/>
                      <a:pt x="20" y="26"/>
                      <a:pt x="20" y="2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4" name="Freeform 30">
                <a:extLst>
                  <a:ext uri="{FF2B5EF4-FFF2-40B4-BE49-F238E27FC236}">
                    <a16:creationId xmlns:a16="http://schemas.microsoft.com/office/drawing/2014/main" id="{780996E7-D27F-4BF3-B82D-7BBE9CF9CD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08920" y="3929193"/>
                <a:ext cx="77793" cy="74029"/>
              </a:xfrm>
              <a:custGeom>
                <a:avLst/>
                <a:gdLst>
                  <a:gd name="T0" fmla="*/ 27 w 34"/>
                  <a:gd name="T1" fmla="*/ 19 h 32"/>
                  <a:gd name="T2" fmla="*/ 24 w 34"/>
                  <a:gd name="T3" fmla="*/ 16 h 32"/>
                  <a:gd name="T4" fmla="*/ 25 w 34"/>
                  <a:gd name="T5" fmla="*/ 10 h 32"/>
                  <a:gd name="T6" fmla="*/ 26 w 34"/>
                  <a:gd name="T7" fmla="*/ 8 h 32"/>
                  <a:gd name="T8" fmla="*/ 24 w 34"/>
                  <a:gd name="T9" fmla="*/ 7 h 32"/>
                  <a:gd name="T10" fmla="*/ 21 w 34"/>
                  <a:gd name="T11" fmla="*/ 10 h 32"/>
                  <a:gd name="T12" fmla="*/ 17 w 34"/>
                  <a:gd name="T13" fmla="*/ 7 h 32"/>
                  <a:gd name="T14" fmla="*/ 15 w 34"/>
                  <a:gd name="T15" fmla="*/ 0 h 32"/>
                  <a:gd name="T16" fmla="*/ 9 w 34"/>
                  <a:gd name="T17" fmla="*/ 1 h 32"/>
                  <a:gd name="T18" fmla="*/ 8 w 34"/>
                  <a:gd name="T19" fmla="*/ 5 h 32"/>
                  <a:gd name="T20" fmla="*/ 2 w 34"/>
                  <a:gd name="T21" fmla="*/ 10 h 32"/>
                  <a:gd name="T22" fmla="*/ 0 w 34"/>
                  <a:gd name="T23" fmla="*/ 13 h 32"/>
                  <a:gd name="T24" fmla="*/ 10 w 34"/>
                  <a:gd name="T25" fmla="*/ 20 h 32"/>
                  <a:gd name="T26" fmla="*/ 29 w 34"/>
                  <a:gd name="T27" fmla="*/ 32 h 32"/>
                  <a:gd name="T28" fmla="*/ 31 w 34"/>
                  <a:gd name="T29" fmla="*/ 32 h 32"/>
                  <a:gd name="T30" fmla="*/ 33 w 34"/>
                  <a:gd name="T31" fmla="*/ 25 h 32"/>
                  <a:gd name="T32" fmla="*/ 27 w 34"/>
                  <a:gd name="T33" fmla="*/ 19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4" h="32">
                    <a:moveTo>
                      <a:pt x="27" y="19"/>
                    </a:moveTo>
                    <a:cubicBezTo>
                      <a:pt x="25" y="17"/>
                      <a:pt x="23" y="17"/>
                      <a:pt x="24" y="16"/>
                    </a:cubicBezTo>
                    <a:cubicBezTo>
                      <a:pt x="26" y="15"/>
                      <a:pt x="26" y="13"/>
                      <a:pt x="25" y="10"/>
                    </a:cubicBezTo>
                    <a:cubicBezTo>
                      <a:pt x="25" y="9"/>
                      <a:pt x="25" y="9"/>
                      <a:pt x="26" y="8"/>
                    </a:cubicBezTo>
                    <a:cubicBezTo>
                      <a:pt x="25" y="8"/>
                      <a:pt x="24" y="8"/>
                      <a:pt x="24" y="7"/>
                    </a:cubicBezTo>
                    <a:cubicBezTo>
                      <a:pt x="24" y="6"/>
                      <a:pt x="22" y="8"/>
                      <a:pt x="21" y="10"/>
                    </a:cubicBezTo>
                    <a:cubicBezTo>
                      <a:pt x="20" y="11"/>
                      <a:pt x="17" y="9"/>
                      <a:pt x="17" y="7"/>
                    </a:cubicBezTo>
                    <a:cubicBezTo>
                      <a:pt x="17" y="4"/>
                      <a:pt x="16" y="0"/>
                      <a:pt x="15" y="0"/>
                    </a:cubicBezTo>
                    <a:cubicBezTo>
                      <a:pt x="14" y="0"/>
                      <a:pt x="12" y="0"/>
                      <a:pt x="9" y="1"/>
                    </a:cubicBezTo>
                    <a:cubicBezTo>
                      <a:pt x="9" y="2"/>
                      <a:pt x="8" y="4"/>
                      <a:pt x="8" y="5"/>
                    </a:cubicBezTo>
                    <a:cubicBezTo>
                      <a:pt x="8" y="7"/>
                      <a:pt x="3" y="9"/>
                      <a:pt x="2" y="10"/>
                    </a:cubicBezTo>
                    <a:cubicBezTo>
                      <a:pt x="1" y="11"/>
                      <a:pt x="0" y="12"/>
                      <a:pt x="0" y="13"/>
                    </a:cubicBezTo>
                    <a:cubicBezTo>
                      <a:pt x="3" y="15"/>
                      <a:pt x="7" y="18"/>
                      <a:pt x="10" y="20"/>
                    </a:cubicBezTo>
                    <a:cubicBezTo>
                      <a:pt x="16" y="24"/>
                      <a:pt x="25" y="30"/>
                      <a:pt x="29" y="32"/>
                    </a:cubicBezTo>
                    <a:cubicBezTo>
                      <a:pt x="30" y="32"/>
                      <a:pt x="30" y="32"/>
                      <a:pt x="31" y="32"/>
                    </a:cubicBezTo>
                    <a:cubicBezTo>
                      <a:pt x="32" y="28"/>
                      <a:pt x="33" y="27"/>
                      <a:pt x="33" y="25"/>
                    </a:cubicBezTo>
                    <a:cubicBezTo>
                      <a:pt x="34" y="22"/>
                      <a:pt x="30" y="20"/>
                      <a:pt x="27" y="1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5" name="Freeform 31">
                <a:extLst>
                  <a:ext uri="{FF2B5EF4-FFF2-40B4-BE49-F238E27FC236}">
                    <a16:creationId xmlns:a16="http://schemas.microsoft.com/office/drawing/2014/main" id="{18725BD7-A584-4D10-8C40-E21BC348F4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76298" y="3901589"/>
                <a:ext cx="52698" cy="57717"/>
              </a:xfrm>
              <a:custGeom>
                <a:avLst/>
                <a:gdLst>
                  <a:gd name="T0" fmla="*/ 22 w 23"/>
                  <a:gd name="T1" fmla="*/ 17 h 25"/>
                  <a:gd name="T2" fmla="*/ 23 w 23"/>
                  <a:gd name="T3" fmla="*/ 12 h 25"/>
                  <a:gd name="T4" fmla="*/ 22 w 23"/>
                  <a:gd name="T5" fmla="*/ 8 h 25"/>
                  <a:gd name="T6" fmla="*/ 15 w 23"/>
                  <a:gd name="T7" fmla="*/ 0 h 25"/>
                  <a:gd name="T8" fmla="*/ 9 w 23"/>
                  <a:gd name="T9" fmla="*/ 1 h 25"/>
                  <a:gd name="T10" fmla="*/ 5 w 23"/>
                  <a:gd name="T11" fmla="*/ 2 h 25"/>
                  <a:gd name="T12" fmla="*/ 0 w 23"/>
                  <a:gd name="T13" fmla="*/ 8 h 25"/>
                  <a:gd name="T14" fmla="*/ 1 w 23"/>
                  <a:gd name="T15" fmla="*/ 11 h 25"/>
                  <a:gd name="T16" fmla="*/ 7 w 23"/>
                  <a:gd name="T17" fmla="*/ 21 h 25"/>
                  <a:gd name="T18" fmla="*/ 14 w 23"/>
                  <a:gd name="T19" fmla="*/ 25 h 25"/>
                  <a:gd name="T20" fmla="*/ 16 w 23"/>
                  <a:gd name="T21" fmla="*/ 22 h 25"/>
                  <a:gd name="T22" fmla="*/ 22 w 23"/>
                  <a:gd name="T23" fmla="*/ 17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3" h="25">
                    <a:moveTo>
                      <a:pt x="22" y="17"/>
                    </a:moveTo>
                    <a:cubicBezTo>
                      <a:pt x="22" y="15"/>
                      <a:pt x="23" y="14"/>
                      <a:pt x="23" y="12"/>
                    </a:cubicBezTo>
                    <a:cubicBezTo>
                      <a:pt x="22" y="11"/>
                      <a:pt x="22" y="9"/>
                      <a:pt x="22" y="8"/>
                    </a:cubicBezTo>
                    <a:cubicBezTo>
                      <a:pt x="22" y="6"/>
                      <a:pt x="17" y="0"/>
                      <a:pt x="15" y="0"/>
                    </a:cubicBezTo>
                    <a:cubicBezTo>
                      <a:pt x="13" y="0"/>
                      <a:pt x="11" y="1"/>
                      <a:pt x="9" y="1"/>
                    </a:cubicBezTo>
                    <a:cubicBezTo>
                      <a:pt x="7" y="0"/>
                      <a:pt x="5" y="0"/>
                      <a:pt x="5" y="2"/>
                    </a:cubicBezTo>
                    <a:cubicBezTo>
                      <a:pt x="5" y="3"/>
                      <a:pt x="2" y="6"/>
                      <a:pt x="0" y="8"/>
                    </a:cubicBezTo>
                    <a:cubicBezTo>
                      <a:pt x="0" y="9"/>
                      <a:pt x="1" y="10"/>
                      <a:pt x="1" y="11"/>
                    </a:cubicBezTo>
                    <a:cubicBezTo>
                      <a:pt x="3" y="17"/>
                      <a:pt x="5" y="19"/>
                      <a:pt x="7" y="21"/>
                    </a:cubicBezTo>
                    <a:cubicBezTo>
                      <a:pt x="9" y="22"/>
                      <a:pt x="11" y="23"/>
                      <a:pt x="14" y="25"/>
                    </a:cubicBezTo>
                    <a:cubicBezTo>
                      <a:pt x="14" y="24"/>
                      <a:pt x="15" y="23"/>
                      <a:pt x="16" y="22"/>
                    </a:cubicBezTo>
                    <a:cubicBezTo>
                      <a:pt x="17" y="21"/>
                      <a:pt x="22" y="19"/>
                      <a:pt x="22" y="1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6" name="Freeform 32">
                <a:extLst>
                  <a:ext uri="{FF2B5EF4-FFF2-40B4-BE49-F238E27FC236}">
                    <a16:creationId xmlns:a16="http://schemas.microsoft.com/office/drawing/2014/main" id="{B5E2B236-82A2-48EF-9BA0-A15705CE01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07288" y="3559049"/>
                <a:ext cx="154331" cy="124218"/>
              </a:xfrm>
              <a:custGeom>
                <a:avLst/>
                <a:gdLst>
                  <a:gd name="T0" fmla="*/ 31 w 67"/>
                  <a:gd name="T1" fmla="*/ 42 h 54"/>
                  <a:gd name="T2" fmla="*/ 40 w 67"/>
                  <a:gd name="T3" fmla="*/ 36 h 54"/>
                  <a:gd name="T4" fmla="*/ 40 w 67"/>
                  <a:gd name="T5" fmla="*/ 14 h 54"/>
                  <a:gd name="T6" fmla="*/ 67 w 67"/>
                  <a:gd name="T7" fmla="*/ 14 h 54"/>
                  <a:gd name="T8" fmla="*/ 67 w 67"/>
                  <a:gd name="T9" fmla="*/ 3 h 54"/>
                  <a:gd name="T10" fmla="*/ 61 w 67"/>
                  <a:gd name="T11" fmla="*/ 0 h 54"/>
                  <a:gd name="T12" fmla="*/ 31 w 67"/>
                  <a:gd name="T13" fmla="*/ 0 h 54"/>
                  <a:gd name="T14" fmla="*/ 27 w 67"/>
                  <a:gd name="T15" fmla="*/ 7 h 54"/>
                  <a:gd name="T16" fmla="*/ 16 w 67"/>
                  <a:gd name="T17" fmla="*/ 22 h 54"/>
                  <a:gd name="T18" fmla="*/ 2 w 67"/>
                  <a:gd name="T19" fmla="*/ 47 h 54"/>
                  <a:gd name="T20" fmla="*/ 0 w 67"/>
                  <a:gd name="T21" fmla="*/ 54 h 54"/>
                  <a:gd name="T22" fmla="*/ 31 w 67"/>
                  <a:gd name="T23" fmla="*/ 54 h 54"/>
                  <a:gd name="T24" fmla="*/ 31 w 67"/>
                  <a:gd name="T25" fmla="*/ 42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7" h="54">
                    <a:moveTo>
                      <a:pt x="31" y="42"/>
                    </a:moveTo>
                    <a:cubicBezTo>
                      <a:pt x="31" y="40"/>
                      <a:pt x="40" y="38"/>
                      <a:pt x="40" y="36"/>
                    </a:cubicBezTo>
                    <a:cubicBezTo>
                      <a:pt x="40" y="34"/>
                      <a:pt x="40" y="14"/>
                      <a:pt x="40" y="14"/>
                    </a:cubicBezTo>
                    <a:cubicBezTo>
                      <a:pt x="40" y="14"/>
                      <a:pt x="66" y="15"/>
                      <a:pt x="67" y="14"/>
                    </a:cubicBezTo>
                    <a:cubicBezTo>
                      <a:pt x="67" y="14"/>
                      <a:pt x="67" y="8"/>
                      <a:pt x="67" y="3"/>
                    </a:cubicBezTo>
                    <a:cubicBezTo>
                      <a:pt x="66" y="1"/>
                      <a:pt x="67" y="0"/>
                      <a:pt x="61" y="0"/>
                    </a:cubicBezTo>
                    <a:cubicBezTo>
                      <a:pt x="56" y="0"/>
                      <a:pt x="41" y="0"/>
                      <a:pt x="31" y="0"/>
                    </a:cubicBezTo>
                    <a:cubicBezTo>
                      <a:pt x="29" y="2"/>
                      <a:pt x="28" y="5"/>
                      <a:pt x="27" y="7"/>
                    </a:cubicBezTo>
                    <a:cubicBezTo>
                      <a:pt x="25" y="11"/>
                      <a:pt x="16" y="16"/>
                      <a:pt x="16" y="22"/>
                    </a:cubicBezTo>
                    <a:cubicBezTo>
                      <a:pt x="16" y="27"/>
                      <a:pt x="7" y="35"/>
                      <a:pt x="2" y="47"/>
                    </a:cubicBezTo>
                    <a:cubicBezTo>
                      <a:pt x="0" y="50"/>
                      <a:pt x="0" y="52"/>
                      <a:pt x="0" y="54"/>
                    </a:cubicBezTo>
                    <a:cubicBezTo>
                      <a:pt x="31" y="54"/>
                      <a:pt x="31" y="54"/>
                      <a:pt x="31" y="54"/>
                    </a:cubicBezTo>
                    <a:cubicBezTo>
                      <a:pt x="31" y="54"/>
                      <a:pt x="31" y="44"/>
                      <a:pt x="31" y="4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7" name="Freeform 33">
                <a:extLst>
                  <a:ext uri="{FF2B5EF4-FFF2-40B4-BE49-F238E27FC236}">
                    <a16:creationId xmlns:a16="http://schemas.microsoft.com/office/drawing/2014/main" id="{F2022576-33F5-4876-93AE-1AE54A6147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04778" y="3565323"/>
                <a:ext cx="225851" cy="247181"/>
              </a:xfrm>
              <a:custGeom>
                <a:avLst/>
                <a:gdLst>
                  <a:gd name="T0" fmla="*/ 8 w 98"/>
                  <a:gd name="T1" fmla="*/ 92 h 107"/>
                  <a:gd name="T2" fmla="*/ 15 w 98"/>
                  <a:gd name="T3" fmla="*/ 92 h 107"/>
                  <a:gd name="T4" fmla="*/ 21 w 98"/>
                  <a:gd name="T5" fmla="*/ 92 h 107"/>
                  <a:gd name="T6" fmla="*/ 26 w 98"/>
                  <a:gd name="T7" fmla="*/ 95 h 107"/>
                  <a:gd name="T8" fmla="*/ 29 w 98"/>
                  <a:gd name="T9" fmla="*/ 95 h 107"/>
                  <a:gd name="T10" fmla="*/ 34 w 98"/>
                  <a:gd name="T11" fmla="*/ 103 h 107"/>
                  <a:gd name="T12" fmla="*/ 38 w 98"/>
                  <a:gd name="T13" fmla="*/ 107 h 107"/>
                  <a:gd name="T14" fmla="*/ 42 w 98"/>
                  <a:gd name="T15" fmla="*/ 104 h 107"/>
                  <a:gd name="T16" fmla="*/ 47 w 98"/>
                  <a:gd name="T17" fmla="*/ 102 h 107"/>
                  <a:gd name="T18" fmla="*/ 52 w 98"/>
                  <a:gd name="T19" fmla="*/ 101 h 107"/>
                  <a:gd name="T20" fmla="*/ 57 w 98"/>
                  <a:gd name="T21" fmla="*/ 102 h 107"/>
                  <a:gd name="T22" fmla="*/ 62 w 98"/>
                  <a:gd name="T23" fmla="*/ 100 h 107"/>
                  <a:gd name="T24" fmla="*/ 93 w 98"/>
                  <a:gd name="T25" fmla="*/ 100 h 107"/>
                  <a:gd name="T26" fmla="*/ 94 w 98"/>
                  <a:gd name="T27" fmla="*/ 93 h 107"/>
                  <a:gd name="T28" fmla="*/ 92 w 98"/>
                  <a:gd name="T29" fmla="*/ 91 h 107"/>
                  <a:gd name="T30" fmla="*/ 84 w 98"/>
                  <a:gd name="T31" fmla="*/ 20 h 107"/>
                  <a:gd name="T32" fmla="*/ 98 w 98"/>
                  <a:gd name="T33" fmla="*/ 20 h 107"/>
                  <a:gd name="T34" fmla="*/ 69 w 98"/>
                  <a:gd name="T35" fmla="*/ 1 h 107"/>
                  <a:gd name="T36" fmla="*/ 68 w 98"/>
                  <a:gd name="T37" fmla="*/ 0 h 107"/>
                  <a:gd name="T38" fmla="*/ 68 w 98"/>
                  <a:gd name="T39" fmla="*/ 11 h 107"/>
                  <a:gd name="T40" fmla="*/ 41 w 98"/>
                  <a:gd name="T41" fmla="*/ 11 h 107"/>
                  <a:gd name="T42" fmla="*/ 41 w 98"/>
                  <a:gd name="T43" fmla="*/ 33 h 107"/>
                  <a:gd name="T44" fmla="*/ 32 w 98"/>
                  <a:gd name="T45" fmla="*/ 39 h 107"/>
                  <a:gd name="T46" fmla="*/ 32 w 98"/>
                  <a:gd name="T47" fmla="*/ 51 h 107"/>
                  <a:gd name="T48" fmla="*/ 1 w 98"/>
                  <a:gd name="T49" fmla="*/ 51 h 107"/>
                  <a:gd name="T50" fmla="*/ 5 w 98"/>
                  <a:gd name="T51" fmla="*/ 60 h 107"/>
                  <a:gd name="T52" fmla="*/ 7 w 98"/>
                  <a:gd name="T53" fmla="*/ 73 h 107"/>
                  <a:gd name="T54" fmla="*/ 4 w 98"/>
                  <a:gd name="T55" fmla="*/ 89 h 107"/>
                  <a:gd name="T56" fmla="*/ 3 w 98"/>
                  <a:gd name="T57" fmla="*/ 96 h 107"/>
                  <a:gd name="T58" fmla="*/ 3 w 98"/>
                  <a:gd name="T59" fmla="*/ 96 h 107"/>
                  <a:gd name="T60" fmla="*/ 8 w 98"/>
                  <a:gd name="T61" fmla="*/ 92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98" h="107">
                    <a:moveTo>
                      <a:pt x="8" y="92"/>
                    </a:moveTo>
                    <a:cubicBezTo>
                      <a:pt x="11" y="93"/>
                      <a:pt x="15" y="92"/>
                      <a:pt x="15" y="92"/>
                    </a:cubicBezTo>
                    <a:cubicBezTo>
                      <a:pt x="15" y="92"/>
                      <a:pt x="19" y="90"/>
                      <a:pt x="21" y="92"/>
                    </a:cubicBezTo>
                    <a:cubicBezTo>
                      <a:pt x="24" y="93"/>
                      <a:pt x="26" y="95"/>
                      <a:pt x="26" y="95"/>
                    </a:cubicBezTo>
                    <a:cubicBezTo>
                      <a:pt x="29" y="95"/>
                      <a:pt x="29" y="95"/>
                      <a:pt x="29" y="95"/>
                    </a:cubicBezTo>
                    <a:cubicBezTo>
                      <a:pt x="29" y="95"/>
                      <a:pt x="31" y="102"/>
                      <a:pt x="34" y="103"/>
                    </a:cubicBezTo>
                    <a:cubicBezTo>
                      <a:pt x="36" y="103"/>
                      <a:pt x="38" y="105"/>
                      <a:pt x="38" y="107"/>
                    </a:cubicBezTo>
                    <a:cubicBezTo>
                      <a:pt x="41" y="107"/>
                      <a:pt x="42" y="106"/>
                      <a:pt x="42" y="104"/>
                    </a:cubicBezTo>
                    <a:cubicBezTo>
                      <a:pt x="42" y="102"/>
                      <a:pt x="44" y="99"/>
                      <a:pt x="47" y="102"/>
                    </a:cubicBezTo>
                    <a:cubicBezTo>
                      <a:pt x="51" y="105"/>
                      <a:pt x="51" y="103"/>
                      <a:pt x="52" y="101"/>
                    </a:cubicBezTo>
                    <a:cubicBezTo>
                      <a:pt x="52" y="100"/>
                      <a:pt x="55" y="102"/>
                      <a:pt x="57" y="102"/>
                    </a:cubicBezTo>
                    <a:cubicBezTo>
                      <a:pt x="59" y="102"/>
                      <a:pt x="62" y="100"/>
                      <a:pt x="62" y="100"/>
                    </a:cubicBezTo>
                    <a:cubicBezTo>
                      <a:pt x="62" y="100"/>
                      <a:pt x="92" y="101"/>
                      <a:pt x="93" y="100"/>
                    </a:cubicBezTo>
                    <a:cubicBezTo>
                      <a:pt x="95" y="99"/>
                      <a:pt x="94" y="93"/>
                      <a:pt x="94" y="93"/>
                    </a:cubicBezTo>
                    <a:cubicBezTo>
                      <a:pt x="92" y="91"/>
                      <a:pt x="92" y="91"/>
                      <a:pt x="92" y="91"/>
                    </a:cubicBezTo>
                    <a:cubicBezTo>
                      <a:pt x="84" y="20"/>
                      <a:pt x="84" y="20"/>
                      <a:pt x="84" y="20"/>
                    </a:cubicBezTo>
                    <a:cubicBezTo>
                      <a:pt x="98" y="20"/>
                      <a:pt x="98" y="20"/>
                      <a:pt x="98" y="20"/>
                    </a:cubicBezTo>
                    <a:cubicBezTo>
                      <a:pt x="83" y="10"/>
                      <a:pt x="71" y="2"/>
                      <a:pt x="69" y="1"/>
                    </a:cubicBezTo>
                    <a:cubicBezTo>
                      <a:pt x="69" y="1"/>
                      <a:pt x="68" y="0"/>
                      <a:pt x="68" y="0"/>
                    </a:cubicBezTo>
                    <a:cubicBezTo>
                      <a:pt x="68" y="5"/>
                      <a:pt x="68" y="11"/>
                      <a:pt x="68" y="11"/>
                    </a:cubicBezTo>
                    <a:cubicBezTo>
                      <a:pt x="67" y="12"/>
                      <a:pt x="41" y="11"/>
                      <a:pt x="41" y="11"/>
                    </a:cubicBezTo>
                    <a:cubicBezTo>
                      <a:pt x="41" y="11"/>
                      <a:pt x="41" y="31"/>
                      <a:pt x="41" y="33"/>
                    </a:cubicBezTo>
                    <a:cubicBezTo>
                      <a:pt x="41" y="35"/>
                      <a:pt x="32" y="37"/>
                      <a:pt x="32" y="39"/>
                    </a:cubicBezTo>
                    <a:cubicBezTo>
                      <a:pt x="32" y="41"/>
                      <a:pt x="32" y="51"/>
                      <a:pt x="32" y="51"/>
                    </a:cubicBezTo>
                    <a:cubicBezTo>
                      <a:pt x="1" y="51"/>
                      <a:pt x="1" y="51"/>
                      <a:pt x="1" y="51"/>
                    </a:cubicBezTo>
                    <a:cubicBezTo>
                      <a:pt x="0" y="56"/>
                      <a:pt x="3" y="58"/>
                      <a:pt x="5" y="60"/>
                    </a:cubicBezTo>
                    <a:cubicBezTo>
                      <a:pt x="8" y="63"/>
                      <a:pt x="3" y="68"/>
                      <a:pt x="7" y="73"/>
                    </a:cubicBezTo>
                    <a:cubicBezTo>
                      <a:pt x="11" y="78"/>
                      <a:pt x="6" y="86"/>
                      <a:pt x="4" y="89"/>
                    </a:cubicBezTo>
                    <a:cubicBezTo>
                      <a:pt x="3" y="91"/>
                      <a:pt x="3" y="93"/>
                      <a:pt x="3" y="96"/>
                    </a:cubicBezTo>
                    <a:cubicBezTo>
                      <a:pt x="3" y="96"/>
                      <a:pt x="3" y="96"/>
                      <a:pt x="3" y="96"/>
                    </a:cubicBezTo>
                    <a:cubicBezTo>
                      <a:pt x="6" y="95"/>
                      <a:pt x="5" y="92"/>
                      <a:pt x="8" y="9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8" name="Freeform 34">
                <a:extLst>
                  <a:ext uri="{FF2B5EF4-FFF2-40B4-BE49-F238E27FC236}">
                    <a16:creationId xmlns:a16="http://schemas.microsoft.com/office/drawing/2014/main" id="{7CCEC966-C8C6-4469-BA47-662FC47867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92609" y="3611748"/>
                <a:ext cx="311172" cy="288587"/>
              </a:xfrm>
              <a:custGeom>
                <a:avLst/>
                <a:gdLst>
                  <a:gd name="T0" fmla="*/ 128 w 135"/>
                  <a:gd name="T1" fmla="*/ 52 h 125"/>
                  <a:gd name="T2" fmla="*/ 124 w 135"/>
                  <a:gd name="T3" fmla="*/ 43 h 125"/>
                  <a:gd name="T4" fmla="*/ 115 w 135"/>
                  <a:gd name="T5" fmla="*/ 40 h 125"/>
                  <a:gd name="T6" fmla="*/ 109 w 135"/>
                  <a:gd name="T7" fmla="*/ 33 h 125"/>
                  <a:gd name="T8" fmla="*/ 60 w 135"/>
                  <a:gd name="T9" fmla="*/ 0 h 125"/>
                  <a:gd name="T10" fmla="*/ 46 w 135"/>
                  <a:gd name="T11" fmla="*/ 0 h 125"/>
                  <a:gd name="T12" fmla="*/ 54 w 135"/>
                  <a:gd name="T13" fmla="*/ 71 h 125"/>
                  <a:gd name="T14" fmla="*/ 56 w 135"/>
                  <a:gd name="T15" fmla="*/ 73 h 125"/>
                  <a:gd name="T16" fmla="*/ 55 w 135"/>
                  <a:gd name="T17" fmla="*/ 80 h 125"/>
                  <a:gd name="T18" fmla="*/ 24 w 135"/>
                  <a:gd name="T19" fmla="*/ 80 h 125"/>
                  <a:gd name="T20" fmla="*/ 19 w 135"/>
                  <a:gd name="T21" fmla="*/ 82 h 125"/>
                  <a:gd name="T22" fmla="*/ 14 w 135"/>
                  <a:gd name="T23" fmla="*/ 81 h 125"/>
                  <a:gd name="T24" fmla="*/ 9 w 135"/>
                  <a:gd name="T25" fmla="*/ 82 h 125"/>
                  <a:gd name="T26" fmla="*/ 4 w 135"/>
                  <a:gd name="T27" fmla="*/ 84 h 125"/>
                  <a:gd name="T28" fmla="*/ 0 w 135"/>
                  <a:gd name="T29" fmla="*/ 87 h 125"/>
                  <a:gd name="T30" fmla="*/ 1 w 135"/>
                  <a:gd name="T31" fmla="*/ 88 h 125"/>
                  <a:gd name="T32" fmla="*/ 2 w 135"/>
                  <a:gd name="T33" fmla="*/ 91 h 125"/>
                  <a:gd name="T34" fmla="*/ 4 w 135"/>
                  <a:gd name="T35" fmla="*/ 96 h 125"/>
                  <a:gd name="T36" fmla="*/ 8 w 135"/>
                  <a:gd name="T37" fmla="*/ 101 h 125"/>
                  <a:gd name="T38" fmla="*/ 8 w 135"/>
                  <a:gd name="T39" fmla="*/ 107 h 125"/>
                  <a:gd name="T40" fmla="*/ 10 w 135"/>
                  <a:gd name="T41" fmla="*/ 109 h 125"/>
                  <a:gd name="T42" fmla="*/ 15 w 135"/>
                  <a:gd name="T43" fmla="*/ 109 h 125"/>
                  <a:gd name="T44" fmla="*/ 20 w 135"/>
                  <a:gd name="T45" fmla="*/ 109 h 125"/>
                  <a:gd name="T46" fmla="*/ 26 w 135"/>
                  <a:gd name="T47" fmla="*/ 105 h 125"/>
                  <a:gd name="T48" fmla="*/ 29 w 135"/>
                  <a:gd name="T49" fmla="*/ 111 h 125"/>
                  <a:gd name="T50" fmla="*/ 32 w 135"/>
                  <a:gd name="T51" fmla="*/ 115 h 125"/>
                  <a:gd name="T52" fmla="*/ 32 w 135"/>
                  <a:gd name="T53" fmla="*/ 118 h 125"/>
                  <a:gd name="T54" fmla="*/ 34 w 135"/>
                  <a:gd name="T55" fmla="*/ 122 h 125"/>
                  <a:gd name="T56" fmla="*/ 38 w 135"/>
                  <a:gd name="T57" fmla="*/ 123 h 125"/>
                  <a:gd name="T58" fmla="*/ 42 w 135"/>
                  <a:gd name="T59" fmla="*/ 124 h 125"/>
                  <a:gd name="T60" fmla="*/ 46 w 135"/>
                  <a:gd name="T61" fmla="*/ 122 h 125"/>
                  <a:gd name="T62" fmla="*/ 50 w 135"/>
                  <a:gd name="T63" fmla="*/ 121 h 125"/>
                  <a:gd name="T64" fmla="*/ 53 w 135"/>
                  <a:gd name="T65" fmla="*/ 122 h 125"/>
                  <a:gd name="T66" fmla="*/ 55 w 135"/>
                  <a:gd name="T67" fmla="*/ 122 h 125"/>
                  <a:gd name="T68" fmla="*/ 58 w 135"/>
                  <a:gd name="T69" fmla="*/ 116 h 125"/>
                  <a:gd name="T70" fmla="*/ 57 w 135"/>
                  <a:gd name="T71" fmla="*/ 110 h 125"/>
                  <a:gd name="T72" fmla="*/ 63 w 135"/>
                  <a:gd name="T73" fmla="*/ 108 h 125"/>
                  <a:gd name="T74" fmla="*/ 66 w 135"/>
                  <a:gd name="T75" fmla="*/ 103 h 125"/>
                  <a:gd name="T76" fmla="*/ 69 w 135"/>
                  <a:gd name="T77" fmla="*/ 97 h 125"/>
                  <a:gd name="T78" fmla="*/ 74 w 135"/>
                  <a:gd name="T79" fmla="*/ 97 h 125"/>
                  <a:gd name="T80" fmla="*/ 77 w 135"/>
                  <a:gd name="T81" fmla="*/ 93 h 125"/>
                  <a:gd name="T82" fmla="*/ 81 w 135"/>
                  <a:gd name="T83" fmla="*/ 91 h 125"/>
                  <a:gd name="T84" fmla="*/ 84 w 135"/>
                  <a:gd name="T85" fmla="*/ 89 h 125"/>
                  <a:gd name="T86" fmla="*/ 91 w 135"/>
                  <a:gd name="T87" fmla="*/ 87 h 125"/>
                  <a:gd name="T88" fmla="*/ 97 w 135"/>
                  <a:gd name="T89" fmla="*/ 84 h 125"/>
                  <a:gd name="T90" fmla="*/ 107 w 135"/>
                  <a:gd name="T91" fmla="*/ 84 h 125"/>
                  <a:gd name="T92" fmla="*/ 114 w 135"/>
                  <a:gd name="T93" fmla="*/ 82 h 125"/>
                  <a:gd name="T94" fmla="*/ 126 w 135"/>
                  <a:gd name="T95" fmla="*/ 81 h 125"/>
                  <a:gd name="T96" fmla="*/ 131 w 135"/>
                  <a:gd name="T97" fmla="*/ 78 h 125"/>
                  <a:gd name="T98" fmla="*/ 134 w 135"/>
                  <a:gd name="T99" fmla="*/ 72 h 125"/>
                  <a:gd name="T100" fmla="*/ 134 w 135"/>
                  <a:gd name="T101" fmla="*/ 50 h 125"/>
                  <a:gd name="T102" fmla="*/ 128 w 135"/>
                  <a:gd name="T103" fmla="*/ 52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35" h="125">
                    <a:moveTo>
                      <a:pt x="128" y="52"/>
                    </a:moveTo>
                    <a:cubicBezTo>
                      <a:pt x="128" y="52"/>
                      <a:pt x="128" y="46"/>
                      <a:pt x="124" y="43"/>
                    </a:cubicBezTo>
                    <a:cubicBezTo>
                      <a:pt x="120" y="41"/>
                      <a:pt x="115" y="40"/>
                      <a:pt x="115" y="40"/>
                    </a:cubicBezTo>
                    <a:cubicBezTo>
                      <a:pt x="115" y="40"/>
                      <a:pt x="112" y="35"/>
                      <a:pt x="109" y="33"/>
                    </a:cubicBezTo>
                    <a:cubicBezTo>
                      <a:pt x="108" y="32"/>
                      <a:pt x="82" y="14"/>
                      <a:pt x="60" y="0"/>
                    </a:cubicBezTo>
                    <a:cubicBezTo>
                      <a:pt x="46" y="0"/>
                      <a:pt x="46" y="0"/>
                      <a:pt x="46" y="0"/>
                    </a:cubicBezTo>
                    <a:cubicBezTo>
                      <a:pt x="54" y="71"/>
                      <a:pt x="54" y="71"/>
                      <a:pt x="54" y="71"/>
                    </a:cubicBezTo>
                    <a:cubicBezTo>
                      <a:pt x="56" y="73"/>
                      <a:pt x="56" y="73"/>
                      <a:pt x="56" y="73"/>
                    </a:cubicBezTo>
                    <a:cubicBezTo>
                      <a:pt x="56" y="73"/>
                      <a:pt x="57" y="79"/>
                      <a:pt x="55" y="80"/>
                    </a:cubicBezTo>
                    <a:cubicBezTo>
                      <a:pt x="54" y="81"/>
                      <a:pt x="24" y="80"/>
                      <a:pt x="24" y="80"/>
                    </a:cubicBezTo>
                    <a:cubicBezTo>
                      <a:pt x="24" y="80"/>
                      <a:pt x="21" y="82"/>
                      <a:pt x="19" y="82"/>
                    </a:cubicBezTo>
                    <a:cubicBezTo>
                      <a:pt x="17" y="82"/>
                      <a:pt x="14" y="80"/>
                      <a:pt x="14" y="81"/>
                    </a:cubicBezTo>
                    <a:cubicBezTo>
                      <a:pt x="13" y="83"/>
                      <a:pt x="13" y="85"/>
                      <a:pt x="9" y="82"/>
                    </a:cubicBezTo>
                    <a:cubicBezTo>
                      <a:pt x="6" y="79"/>
                      <a:pt x="4" y="82"/>
                      <a:pt x="4" y="84"/>
                    </a:cubicBezTo>
                    <a:cubicBezTo>
                      <a:pt x="4" y="86"/>
                      <a:pt x="3" y="87"/>
                      <a:pt x="0" y="87"/>
                    </a:cubicBezTo>
                    <a:cubicBezTo>
                      <a:pt x="1" y="88"/>
                      <a:pt x="1" y="88"/>
                      <a:pt x="1" y="88"/>
                    </a:cubicBezTo>
                    <a:cubicBezTo>
                      <a:pt x="2" y="91"/>
                      <a:pt x="2" y="91"/>
                      <a:pt x="2" y="91"/>
                    </a:cubicBezTo>
                    <a:cubicBezTo>
                      <a:pt x="2" y="91"/>
                      <a:pt x="2" y="94"/>
                      <a:pt x="4" y="96"/>
                    </a:cubicBezTo>
                    <a:cubicBezTo>
                      <a:pt x="5" y="97"/>
                      <a:pt x="8" y="100"/>
                      <a:pt x="8" y="101"/>
                    </a:cubicBezTo>
                    <a:cubicBezTo>
                      <a:pt x="8" y="102"/>
                      <a:pt x="8" y="107"/>
                      <a:pt x="8" y="107"/>
                    </a:cubicBezTo>
                    <a:cubicBezTo>
                      <a:pt x="8" y="107"/>
                      <a:pt x="9" y="111"/>
                      <a:pt x="10" y="109"/>
                    </a:cubicBezTo>
                    <a:cubicBezTo>
                      <a:pt x="12" y="108"/>
                      <a:pt x="14" y="111"/>
                      <a:pt x="15" y="109"/>
                    </a:cubicBezTo>
                    <a:cubicBezTo>
                      <a:pt x="16" y="106"/>
                      <a:pt x="19" y="109"/>
                      <a:pt x="20" y="109"/>
                    </a:cubicBezTo>
                    <a:cubicBezTo>
                      <a:pt x="22" y="109"/>
                      <a:pt x="25" y="105"/>
                      <a:pt x="26" y="105"/>
                    </a:cubicBezTo>
                    <a:cubicBezTo>
                      <a:pt x="27" y="105"/>
                      <a:pt x="29" y="109"/>
                      <a:pt x="29" y="111"/>
                    </a:cubicBezTo>
                    <a:cubicBezTo>
                      <a:pt x="29" y="113"/>
                      <a:pt x="33" y="114"/>
                      <a:pt x="32" y="115"/>
                    </a:cubicBezTo>
                    <a:cubicBezTo>
                      <a:pt x="30" y="115"/>
                      <a:pt x="30" y="118"/>
                      <a:pt x="32" y="118"/>
                    </a:cubicBezTo>
                    <a:cubicBezTo>
                      <a:pt x="34" y="118"/>
                      <a:pt x="33" y="121"/>
                      <a:pt x="34" y="122"/>
                    </a:cubicBezTo>
                    <a:cubicBezTo>
                      <a:pt x="35" y="124"/>
                      <a:pt x="37" y="125"/>
                      <a:pt x="38" y="123"/>
                    </a:cubicBezTo>
                    <a:cubicBezTo>
                      <a:pt x="39" y="121"/>
                      <a:pt x="41" y="123"/>
                      <a:pt x="42" y="124"/>
                    </a:cubicBezTo>
                    <a:cubicBezTo>
                      <a:pt x="43" y="125"/>
                      <a:pt x="46" y="124"/>
                      <a:pt x="46" y="122"/>
                    </a:cubicBezTo>
                    <a:cubicBezTo>
                      <a:pt x="47" y="120"/>
                      <a:pt x="50" y="119"/>
                      <a:pt x="50" y="121"/>
                    </a:cubicBezTo>
                    <a:cubicBezTo>
                      <a:pt x="50" y="123"/>
                      <a:pt x="51" y="124"/>
                      <a:pt x="53" y="122"/>
                    </a:cubicBezTo>
                    <a:cubicBezTo>
                      <a:pt x="54" y="122"/>
                      <a:pt x="55" y="122"/>
                      <a:pt x="55" y="122"/>
                    </a:cubicBezTo>
                    <a:cubicBezTo>
                      <a:pt x="56" y="119"/>
                      <a:pt x="57" y="117"/>
                      <a:pt x="58" y="116"/>
                    </a:cubicBezTo>
                    <a:cubicBezTo>
                      <a:pt x="58" y="114"/>
                      <a:pt x="56" y="111"/>
                      <a:pt x="57" y="110"/>
                    </a:cubicBezTo>
                    <a:cubicBezTo>
                      <a:pt x="58" y="110"/>
                      <a:pt x="62" y="111"/>
                      <a:pt x="63" y="108"/>
                    </a:cubicBezTo>
                    <a:cubicBezTo>
                      <a:pt x="65" y="104"/>
                      <a:pt x="66" y="103"/>
                      <a:pt x="66" y="103"/>
                    </a:cubicBezTo>
                    <a:cubicBezTo>
                      <a:pt x="66" y="103"/>
                      <a:pt x="67" y="95"/>
                      <a:pt x="69" y="97"/>
                    </a:cubicBezTo>
                    <a:cubicBezTo>
                      <a:pt x="71" y="98"/>
                      <a:pt x="73" y="100"/>
                      <a:pt x="74" y="97"/>
                    </a:cubicBezTo>
                    <a:cubicBezTo>
                      <a:pt x="74" y="94"/>
                      <a:pt x="77" y="96"/>
                      <a:pt x="77" y="93"/>
                    </a:cubicBezTo>
                    <a:cubicBezTo>
                      <a:pt x="78" y="90"/>
                      <a:pt x="79" y="91"/>
                      <a:pt x="81" y="91"/>
                    </a:cubicBezTo>
                    <a:cubicBezTo>
                      <a:pt x="83" y="92"/>
                      <a:pt x="84" y="91"/>
                      <a:pt x="84" y="89"/>
                    </a:cubicBezTo>
                    <a:cubicBezTo>
                      <a:pt x="84" y="88"/>
                      <a:pt x="88" y="89"/>
                      <a:pt x="91" y="87"/>
                    </a:cubicBezTo>
                    <a:cubicBezTo>
                      <a:pt x="94" y="84"/>
                      <a:pt x="96" y="83"/>
                      <a:pt x="97" y="84"/>
                    </a:cubicBezTo>
                    <a:cubicBezTo>
                      <a:pt x="98" y="85"/>
                      <a:pt x="106" y="85"/>
                      <a:pt x="107" y="84"/>
                    </a:cubicBezTo>
                    <a:cubicBezTo>
                      <a:pt x="108" y="84"/>
                      <a:pt x="111" y="82"/>
                      <a:pt x="114" y="82"/>
                    </a:cubicBezTo>
                    <a:cubicBezTo>
                      <a:pt x="117" y="83"/>
                      <a:pt x="123" y="81"/>
                      <a:pt x="126" y="81"/>
                    </a:cubicBezTo>
                    <a:cubicBezTo>
                      <a:pt x="129" y="81"/>
                      <a:pt x="130" y="79"/>
                      <a:pt x="131" y="78"/>
                    </a:cubicBezTo>
                    <a:cubicBezTo>
                      <a:pt x="132" y="77"/>
                      <a:pt x="133" y="72"/>
                      <a:pt x="134" y="72"/>
                    </a:cubicBezTo>
                    <a:cubicBezTo>
                      <a:pt x="135" y="71"/>
                      <a:pt x="134" y="56"/>
                      <a:pt x="134" y="50"/>
                    </a:cubicBezTo>
                    <a:cubicBezTo>
                      <a:pt x="132" y="51"/>
                      <a:pt x="128" y="52"/>
                      <a:pt x="128" y="5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9" name="Freeform 35">
                <a:extLst>
                  <a:ext uri="{FF2B5EF4-FFF2-40B4-BE49-F238E27FC236}">
                    <a16:creationId xmlns:a16="http://schemas.microsoft.com/office/drawing/2014/main" id="{4779085A-F5F9-4EF5-87A3-DDB98712AD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19336" y="3802466"/>
                <a:ext cx="154331" cy="109161"/>
              </a:xfrm>
              <a:custGeom>
                <a:avLst/>
                <a:gdLst>
                  <a:gd name="T0" fmla="*/ 66 w 67"/>
                  <a:gd name="T1" fmla="*/ 26 h 47"/>
                  <a:gd name="T2" fmla="*/ 63 w 67"/>
                  <a:gd name="T3" fmla="*/ 25 h 47"/>
                  <a:gd name="T4" fmla="*/ 62 w 67"/>
                  <a:gd name="T5" fmla="*/ 20 h 47"/>
                  <a:gd name="T6" fmla="*/ 58 w 67"/>
                  <a:gd name="T7" fmla="*/ 21 h 47"/>
                  <a:gd name="T8" fmla="*/ 55 w 67"/>
                  <a:gd name="T9" fmla="*/ 18 h 47"/>
                  <a:gd name="T10" fmla="*/ 54 w 67"/>
                  <a:gd name="T11" fmla="*/ 15 h 47"/>
                  <a:gd name="T12" fmla="*/ 50 w 67"/>
                  <a:gd name="T13" fmla="*/ 11 h 47"/>
                  <a:gd name="T14" fmla="*/ 47 w 67"/>
                  <a:gd name="T15" fmla="*/ 6 h 47"/>
                  <a:gd name="T16" fmla="*/ 47 w 67"/>
                  <a:gd name="T17" fmla="*/ 2 h 47"/>
                  <a:gd name="T18" fmla="*/ 42 w 67"/>
                  <a:gd name="T19" fmla="*/ 1 h 47"/>
                  <a:gd name="T20" fmla="*/ 36 w 67"/>
                  <a:gd name="T21" fmla="*/ 4 h 47"/>
                  <a:gd name="T22" fmla="*/ 29 w 67"/>
                  <a:gd name="T23" fmla="*/ 6 h 47"/>
                  <a:gd name="T24" fmla="*/ 26 w 67"/>
                  <a:gd name="T25" fmla="*/ 8 h 47"/>
                  <a:gd name="T26" fmla="*/ 22 w 67"/>
                  <a:gd name="T27" fmla="*/ 10 h 47"/>
                  <a:gd name="T28" fmla="*/ 19 w 67"/>
                  <a:gd name="T29" fmla="*/ 14 h 47"/>
                  <a:gd name="T30" fmla="*/ 14 w 67"/>
                  <a:gd name="T31" fmla="*/ 14 h 47"/>
                  <a:gd name="T32" fmla="*/ 11 w 67"/>
                  <a:gd name="T33" fmla="*/ 20 h 47"/>
                  <a:gd name="T34" fmla="*/ 8 w 67"/>
                  <a:gd name="T35" fmla="*/ 25 h 47"/>
                  <a:gd name="T36" fmla="*/ 2 w 67"/>
                  <a:gd name="T37" fmla="*/ 27 h 47"/>
                  <a:gd name="T38" fmla="*/ 3 w 67"/>
                  <a:gd name="T39" fmla="*/ 33 h 47"/>
                  <a:gd name="T40" fmla="*/ 0 w 67"/>
                  <a:gd name="T41" fmla="*/ 39 h 47"/>
                  <a:gd name="T42" fmla="*/ 4 w 67"/>
                  <a:gd name="T43" fmla="*/ 41 h 47"/>
                  <a:gd name="T44" fmla="*/ 11 w 67"/>
                  <a:gd name="T45" fmla="*/ 45 h 47"/>
                  <a:gd name="T46" fmla="*/ 21 w 67"/>
                  <a:gd name="T47" fmla="*/ 44 h 47"/>
                  <a:gd name="T48" fmla="*/ 23 w 67"/>
                  <a:gd name="T49" fmla="*/ 43 h 47"/>
                  <a:gd name="T50" fmla="*/ 22 w 67"/>
                  <a:gd name="T51" fmla="*/ 35 h 47"/>
                  <a:gd name="T52" fmla="*/ 42 w 67"/>
                  <a:gd name="T53" fmla="*/ 35 h 47"/>
                  <a:gd name="T54" fmla="*/ 45 w 67"/>
                  <a:gd name="T55" fmla="*/ 33 h 47"/>
                  <a:gd name="T56" fmla="*/ 53 w 67"/>
                  <a:gd name="T57" fmla="*/ 34 h 47"/>
                  <a:gd name="T58" fmla="*/ 57 w 67"/>
                  <a:gd name="T59" fmla="*/ 31 h 47"/>
                  <a:gd name="T60" fmla="*/ 64 w 67"/>
                  <a:gd name="T61" fmla="*/ 30 h 47"/>
                  <a:gd name="T62" fmla="*/ 66 w 67"/>
                  <a:gd name="T63" fmla="*/ 26 h 47"/>
                  <a:gd name="T64" fmla="*/ 66 w 67"/>
                  <a:gd name="T65" fmla="*/ 26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67" h="47">
                    <a:moveTo>
                      <a:pt x="66" y="26"/>
                    </a:moveTo>
                    <a:cubicBezTo>
                      <a:pt x="65" y="25"/>
                      <a:pt x="63" y="25"/>
                      <a:pt x="63" y="25"/>
                    </a:cubicBezTo>
                    <a:cubicBezTo>
                      <a:pt x="62" y="25"/>
                      <a:pt x="63" y="21"/>
                      <a:pt x="62" y="20"/>
                    </a:cubicBezTo>
                    <a:cubicBezTo>
                      <a:pt x="62" y="20"/>
                      <a:pt x="60" y="22"/>
                      <a:pt x="58" y="21"/>
                    </a:cubicBezTo>
                    <a:cubicBezTo>
                      <a:pt x="57" y="20"/>
                      <a:pt x="56" y="18"/>
                      <a:pt x="55" y="18"/>
                    </a:cubicBezTo>
                    <a:cubicBezTo>
                      <a:pt x="54" y="18"/>
                      <a:pt x="54" y="17"/>
                      <a:pt x="54" y="15"/>
                    </a:cubicBezTo>
                    <a:cubicBezTo>
                      <a:pt x="54" y="13"/>
                      <a:pt x="51" y="12"/>
                      <a:pt x="50" y="11"/>
                    </a:cubicBezTo>
                    <a:cubicBezTo>
                      <a:pt x="48" y="10"/>
                      <a:pt x="48" y="7"/>
                      <a:pt x="47" y="6"/>
                    </a:cubicBezTo>
                    <a:cubicBezTo>
                      <a:pt x="47" y="6"/>
                      <a:pt x="47" y="4"/>
                      <a:pt x="47" y="2"/>
                    </a:cubicBezTo>
                    <a:cubicBezTo>
                      <a:pt x="45" y="2"/>
                      <a:pt x="43" y="2"/>
                      <a:pt x="42" y="1"/>
                    </a:cubicBezTo>
                    <a:cubicBezTo>
                      <a:pt x="41" y="0"/>
                      <a:pt x="39" y="1"/>
                      <a:pt x="36" y="4"/>
                    </a:cubicBezTo>
                    <a:cubicBezTo>
                      <a:pt x="33" y="6"/>
                      <a:pt x="29" y="5"/>
                      <a:pt x="29" y="6"/>
                    </a:cubicBezTo>
                    <a:cubicBezTo>
                      <a:pt x="29" y="8"/>
                      <a:pt x="28" y="9"/>
                      <a:pt x="26" y="8"/>
                    </a:cubicBezTo>
                    <a:cubicBezTo>
                      <a:pt x="24" y="8"/>
                      <a:pt x="23" y="7"/>
                      <a:pt x="22" y="10"/>
                    </a:cubicBezTo>
                    <a:cubicBezTo>
                      <a:pt x="22" y="13"/>
                      <a:pt x="19" y="11"/>
                      <a:pt x="19" y="14"/>
                    </a:cubicBezTo>
                    <a:cubicBezTo>
                      <a:pt x="18" y="17"/>
                      <a:pt x="16" y="15"/>
                      <a:pt x="14" y="14"/>
                    </a:cubicBezTo>
                    <a:cubicBezTo>
                      <a:pt x="12" y="12"/>
                      <a:pt x="11" y="20"/>
                      <a:pt x="11" y="20"/>
                    </a:cubicBezTo>
                    <a:cubicBezTo>
                      <a:pt x="11" y="20"/>
                      <a:pt x="10" y="21"/>
                      <a:pt x="8" y="25"/>
                    </a:cubicBezTo>
                    <a:cubicBezTo>
                      <a:pt x="7" y="28"/>
                      <a:pt x="3" y="27"/>
                      <a:pt x="2" y="27"/>
                    </a:cubicBezTo>
                    <a:cubicBezTo>
                      <a:pt x="1" y="28"/>
                      <a:pt x="3" y="31"/>
                      <a:pt x="3" y="33"/>
                    </a:cubicBezTo>
                    <a:cubicBezTo>
                      <a:pt x="2" y="34"/>
                      <a:pt x="1" y="36"/>
                      <a:pt x="0" y="39"/>
                    </a:cubicBezTo>
                    <a:cubicBezTo>
                      <a:pt x="2" y="39"/>
                      <a:pt x="4" y="41"/>
                      <a:pt x="4" y="41"/>
                    </a:cubicBezTo>
                    <a:cubicBezTo>
                      <a:pt x="5" y="43"/>
                      <a:pt x="9" y="47"/>
                      <a:pt x="11" y="45"/>
                    </a:cubicBezTo>
                    <a:cubicBezTo>
                      <a:pt x="13" y="42"/>
                      <a:pt x="19" y="42"/>
                      <a:pt x="21" y="44"/>
                    </a:cubicBezTo>
                    <a:cubicBezTo>
                      <a:pt x="22" y="45"/>
                      <a:pt x="23" y="44"/>
                      <a:pt x="23" y="43"/>
                    </a:cubicBezTo>
                    <a:cubicBezTo>
                      <a:pt x="24" y="41"/>
                      <a:pt x="21" y="36"/>
                      <a:pt x="22" y="35"/>
                    </a:cubicBezTo>
                    <a:cubicBezTo>
                      <a:pt x="23" y="33"/>
                      <a:pt x="42" y="34"/>
                      <a:pt x="42" y="35"/>
                    </a:cubicBezTo>
                    <a:cubicBezTo>
                      <a:pt x="43" y="36"/>
                      <a:pt x="43" y="33"/>
                      <a:pt x="45" y="33"/>
                    </a:cubicBezTo>
                    <a:cubicBezTo>
                      <a:pt x="48" y="33"/>
                      <a:pt x="51" y="35"/>
                      <a:pt x="53" y="34"/>
                    </a:cubicBezTo>
                    <a:cubicBezTo>
                      <a:pt x="54" y="34"/>
                      <a:pt x="56" y="31"/>
                      <a:pt x="57" y="31"/>
                    </a:cubicBezTo>
                    <a:cubicBezTo>
                      <a:pt x="59" y="31"/>
                      <a:pt x="63" y="31"/>
                      <a:pt x="64" y="30"/>
                    </a:cubicBezTo>
                    <a:cubicBezTo>
                      <a:pt x="65" y="28"/>
                      <a:pt x="67" y="28"/>
                      <a:pt x="66" y="26"/>
                    </a:cubicBezTo>
                    <a:cubicBezTo>
                      <a:pt x="66" y="26"/>
                      <a:pt x="66" y="26"/>
                      <a:pt x="66" y="26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0" name="Freeform 36">
                <a:extLst>
                  <a:ext uri="{FF2B5EF4-FFF2-40B4-BE49-F238E27FC236}">
                    <a16:creationId xmlns:a16="http://schemas.microsoft.com/office/drawing/2014/main" id="{828F52D2-F599-4452-8D0F-1352385E92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27243" y="3641861"/>
                <a:ext cx="288587" cy="223341"/>
              </a:xfrm>
              <a:custGeom>
                <a:avLst/>
                <a:gdLst>
                  <a:gd name="T0" fmla="*/ 119 w 125"/>
                  <a:gd name="T1" fmla="*/ 14 h 97"/>
                  <a:gd name="T2" fmla="*/ 118 w 125"/>
                  <a:gd name="T3" fmla="*/ 4 h 97"/>
                  <a:gd name="T4" fmla="*/ 112 w 125"/>
                  <a:gd name="T5" fmla="*/ 7 h 97"/>
                  <a:gd name="T6" fmla="*/ 107 w 125"/>
                  <a:gd name="T7" fmla="*/ 2 h 97"/>
                  <a:gd name="T8" fmla="*/ 95 w 125"/>
                  <a:gd name="T9" fmla="*/ 0 h 97"/>
                  <a:gd name="T10" fmla="*/ 61 w 125"/>
                  <a:gd name="T11" fmla="*/ 21 h 97"/>
                  <a:gd name="T12" fmla="*/ 46 w 125"/>
                  <a:gd name="T13" fmla="*/ 33 h 97"/>
                  <a:gd name="T14" fmla="*/ 33 w 125"/>
                  <a:gd name="T15" fmla="*/ 37 h 97"/>
                  <a:gd name="T16" fmla="*/ 32 w 125"/>
                  <a:gd name="T17" fmla="*/ 37 h 97"/>
                  <a:gd name="T18" fmla="*/ 32 w 125"/>
                  <a:gd name="T19" fmla="*/ 59 h 97"/>
                  <a:gd name="T20" fmla="*/ 29 w 125"/>
                  <a:gd name="T21" fmla="*/ 65 h 97"/>
                  <a:gd name="T22" fmla="*/ 24 w 125"/>
                  <a:gd name="T23" fmla="*/ 68 h 97"/>
                  <a:gd name="T24" fmla="*/ 12 w 125"/>
                  <a:gd name="T25" fmla="*/ 69 h 97"/>
                  <a:gd name="T26" fmla="*/ 5 w 125"/>
                  <a:gd name="T27" fmla="*/ 71 h 97"/>
                  <a:gd name="T28" fmla="*/ 0 w 125"/>
                  <a:gd name="T29" fmla="*/ 72 h 97"/>
                  <a:gd name="T30" fmla="*/ 0 w 125"/>
                  <a:gd name="T31" fmla="*/ 76 h 97"/>
                  <a:gd name="T32" fmla="*/ 3 w 125"/>
                  <a:gd name="T33" fmla="*/ 81 h 97"/>
                  <a:gd name="T34" fmla="*/ 7 w 125"/>
                  <a:gd name="T35" fmla="*/ 85 h 97"/>
                  <a:gd name="T36" fmla="*/ 8 w 125"/>
                  <a:gd name="T37" fmla="*/ 88 h 97"/>
                  <a:gd name="T38" fmla="*/ 11 w 125"/>
                  <a:gd name="T39" fmla="*/ 91 h 97"/>
                  <a:gd name="T40" fmla="*/ 15 w 125"/>
                  <a:gd name="T41" fmla="*/ 90 h 97"/>
                  <a:gd name="T42" fmla="*/ 16 w 125"/>
                  <a:gd name="T43" fmla="*/ 95 h 97"/>
                  <a:gd name="T44" fmla="*/ 19 w 125"/>
                  <a:gd name="T45" fmla="*/ 96 h 97"/>
                  <a:gd name="T46" fmla="*/ 22 w 125"/>
                  <a:gd name="T47" fmla="*/ 93 h 97"/>
                  <a:gd name="T48" fmla="*/ 25 w 125"/>
                  <a:gd name="T49" fmla="*/ 96 h 97"/>
                  <a:gd name="T50" fmla="*/ 28 w 125"/>
                  <a:gd name="T51" fmla="*/ 95 h 97"/>
                  <a:gd name="T52" fmla="*/ 31 w 125"/>
                  <a:gd name="T53" fmla="*/ 89 h 97"/>
                  <a:gd name="T54" fmla="*/ 33 w 125"/>
                  <a:gd name="T55" fmla="*/ 83 h 97"/>
                  <a:gd name="T56" fmla="*/ 41 w 125"/>
                  <a:gd name="T57" fmla="*/ 83 h 97"/>
                  <a:gd name="T58" fmla="*/ 45 w 125"/>
                  <a:gd name="T59" fmla="*/ 81 h 97"/>
                  <a:gd name="T60" fmla="*/ 52 w 125"/>
                  <a:gd name="T61" fmla="*/ 83 h 97"/>
                  <a:gd name="T62" fmla="*/ 56 w 125"/>
                  <a:gd name="T63" fmla="*/ 87 h 97"/>
                  <a:gd name="T64" fmla="*/ 63 w 125"/>
                  <a:gd name="T65" fmla="*/ 86 h 97"/>
                  <a:gd name="T66" fmla="*/ 69 w 125"/>
                  <a:gd name="T67" fmla="*/ 89 h 97"/>
                  <a:gd name="T68" fmla="*/ 77 w 125"/>
                  <a:gd name="T69" fmla="*/ 89 h 97"/>
                  <a:gd name="T70" fmla="*/ 83 w 125"/>
                  <a:gd name="T71" fmla="*/ 85 h 97"/>
                  <a:gd name="T72" fmla="*/ 93 w 125"/>
                  <a:gd name="T73" fmla="*/ 85 h 97"/>
                  <a:gd name="T74" fmla="*/ 100 w 125"/>
                  <a:gd name="T75" fmla="*/ 87 h 97"/>
                  <a:gd name="T76" fmla="*/ 106 w 125"/>
                  <a:gd name="T77" fmla="*/ 82 h 97"/>
                  <a:gd name="T78" fmla="*/ 107 w 125"/>
                  <a:gd name="T79" fmla="*/ 82 h 97"/>
                  <a:gd name="T80" fmla="*/ 107 w 125"/>
                  <a:gd name="T81" fmla="*/ 79 h 97"/>
                  <a:gd name="T82" fmla="*/ 108 w 125"/>
                  <a:gd name="T83" fmla="*/ 72 h 97"/>
                  <a:gd name="T84" fmla="*/ 121 w 125"/>
                  <a:gd name="T85" fmla="*/ 56 h 97"/>
                  <a:gd name="T86" fmla="*/ 122 w 125"/>
                  <a:gd name="T87" fmla="*/ 36 h 97"/>
                  <a:gd name="T88" fmla="*/ 124 w 125"/>
                  <a:gd name="T89" fmla="*/ 27 h 97"/>
                  <a:gd name="T90" fmla="*/ 122 w 125"/>
                  <a:gd name="T91" fmla="*/ 21 h 97"/>
                  <a:gd name="T92" fmla="*/ 119 w 125"/>
                  <a:gd name="T93" fmla="*/ 14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25" h="97">
                    <a:moveTo>
                      <a:pt x="119" y="14"/>
                    </a:moveTo>
                    <a:cubicBezTo>
                      <a:pt x="119" y="13"/>
                      <a:pt x="119" y="8"/>
                      <a:pt x="118" y="4"/>
                    </a:cubicBezTo>
                    <a:cubicBezTo>
                      <a:pt x="112" y="7"/>
                      <a:pt x="112" y="7"/>
                      <a:pt x="112" y="7"/>
                    </a:cubicBezTo>
                    <a:cubicBezTo>
                      <a:pt x="112" y="7"/>
                      <a:pt x="110" y="4"/>
                      <a:pt x="107" y="2"/>
                    </a:cubicBezTo>
                    <a:cubicBezTo>
                      <a:pt x="104" y="0"/>
                      <a:pt x="95" y="0"/>
                      <a:pt x="95" y="0"/>
                    </a:cubicBezTo>
                    <a:cubicBezTo>
                      <a:pt x="61" y="21"/>
                      <a:pt x="61" y="21"/>
                      <a:pt x="61" y="21"/>
                    </a:cubicBezTo>
                    <a:cubicBezTo>
                      <a:pt x="46" y="33"/>
                      <a:pt x="46" y="33"/>
                      <a:pt x="46" y="33"/>
                    </a:cubicBezTo>
                    <a:cubicBezTo>
                      <a:pt x="46" y="33"/>
                      <a:pt x="36" y="36"/>
                      <a:pt x="33" y="37"/>
                    </a:cubicBezTo>
                    <a:cubicBezTo>
                      <a:pt x="33" y="37"/>
                      <a:pt x="33" y="37"/>
                      <a:pt x="32" y="37"/>
                    </a:cubicBezTo>
                    <a:cubicBezTo>
                      <a:pt x="32" y="43"/>
                      <a:pt x="33" y="58"/>
                      <a:pt x="32" y="59"/>
                    </a:cubicBezTo>
                    <a:cubicBezTo>
                      <a:pt x="31" y="59"/>
                      <a:pt x="30" y="64"/>
                      <a:pt x="29" y="65"/>
                    </a:cubicBezTo>
                    <a:cubicBezTo>
                      <a:pt x="28" y="66"/>
                      <a:pt x="27" y="68"/>
                      <a:pt x="24" y="68"/>
                    </a:cubicBezTo>
                    <a:cubicBezTo>
                      <a:pt x="21" y="68"/>
                      <a:pt x="15" y="70"/>
                      <a:pt x="12" y="69"/>
                    </a:cubicBezTo>
                    <a:cubicBezTo>
                      <a:pt x="9" y="69"/>
                      <a:pt x="6" y="71"/>
                      <a:pt x="5" y="71"/>
                    </a:cubicBezTo>
                    <a:cubicBezTo>
                      <a:pt x="5" y="72"/>
                      <a:pt x="2" y="72"/>
                      <a:pt x="0" y="72"/>
                    </a:cubicBezTo>
                    <a:cubicBezTo>
                      <a:pt x="0" y="74"/>
                      <a:pt x="0" y="76"/>
                      <a:pt x="0" y="76"/>
                    </a:cubicBezTo>
                    <a:cubicBezTo>
                      <a:pt x="1" y="77"/>
                      <a:pt x="1" y="80"/>
                      <a:pt x="3" y="81"/>
                    </a:cubicBezTo>
                    <a:cubicBezTo>
                      <a:pt x="4" y="82"/>
                      <a:pt x="7" y="83"/>
                      <a:pt x="7" y="85"/>
                    </a:cubicBezTo>
                    <a:cubicBezTo>
                      <a:pt x="7" y="87"/>
                      <a:pt x="7" y="88"/>
                      <a:pt x="8" y="88"/>
                    </a:cubicBezTo>
                    <a:cubicBezTo>
                      <a:pt x="9" y="88"/>
                      <a:pt x="10" y="90"/>
                      <a:pt x="11" y="91"/>
                    </a:cubicBezTo>
                    <a:cubicBezTo>
                      <a:pt x="13" y="92"/>
                      <a:pt x="15" y="90"/>
                      <a:pt x="15" y="90"/>
                    </a:cubicBezTo>
                    <a:cubicBezTo>
                      <a:pt x="16" y="91"/>
                      <a:pt x="15" y="95"/>
                      <a:pt x="16" y="95"/>
                    </a:cubicBezTo>
                    <a:cubicBezTo>
                      <a:pt x="16" y="95"/>
                      <a:pt x="18" y="95"/>
                      <a:pt x="19" y="96"/>
                    </a:cubicBezTo>
                    <a:cubicBezTo>
                      <a:pt x="19" y="94"/>
                      <a:pt x="20" y="92"/>
                      <a:pt x="22" y="93"/>
                    </a:cubicBezTo>
                    <a:cubicBezTo>
                      <a:pt x="24" y="93"/>
                      <a:pt x="22" y="96"/>
                      <a:pt x="25" y="96"/>
                    </a:cubicBezTo>
                    <a:cubicBezTo>
                      <a:pt x="27" y="97"/>
                      <a:pt x="28" y="97"/>
                      <a:pt x="28" y="95"/>
                    </a:cubicBezTo>
                    <a:cubicBezTo>
                      <a:pt x="28" y="93"/>
                      <a:pt x="31" y="90"/>
                      <a:pt x="31" y="89"/>
                    </a:cubicBezTo>
                    <a:cubicBezTo>
                      <a:pt x="32" y="89"/>
                      <a:pt x="32" y="84"/>
                      <a:pt x="33" y="83"/>
                    </a:cubicBezTo>
                    <a:cubicBezTo>
                      <a:pt x="35" y="82"/>
                      <a:pt x="39" y="83"/>
                      <a:pt x="41" y="83"/>
                    </a:cubicBezTo>
                    <a:cubicBezTo>
                      <a:pt x="42" y="83"/>
                      <a:pt x="44" y="80"/>
                      <a:pt x="45" y="81"/>
                    </a:cubicBezTo>
                    <a:cubicBezTo>
                      <a:pt x="47" y="83"/>
                      <a:pt x="50" y="81"/>
                      <a:pt x="52" y="83"/>
                    </a:cubicBezTo>
                    <a:cubicBezTo>
                      <a:pt x="53" y="85"/>
                      <a:pt x="54" y="89"/>
                      <a:pt x="56" y="87"/>
                    </a:cubicBezTo>
                    <a:cubicBezTo>
                      <a:pt x="59" y="86"/>
                      <a:pt x="62" y="86"/>
                      <a:pt x="63" y="86"/>
                    </a:cubicBezTo>
                    <a:cubicBezTo>
                      <a:pt x="64" y="86"/>
                      <a:pt x="68" y="88"/>
                      <a:pt x="69" y="89"/>
                    </a:cubicBezTo>
                    <a:cubicBezTo>
                      <a:pt x="71" y="89"/>
                      <a:pt x="75" y="90"/>
                      <a:pt x="77" y="89"/>
                    </a:cubicBezTo>
                    <a:cubicBezTo>
                      <a:pt x="79" y="88"/>
                      <a:pt x="81" y="85"/>
                      <a:pt x="83" y="85"/>
                    </a:cubicBezTo>
                    <a:cubicBezTo>
                      <a:pt x="85" y="85"/>
                      <a:pt x="92" y="85"/>
                      <a:pt x="93" y="85"/>
                    </a:cubicBezTo>
                    <a:cubicBezTo>
                      <a:pt x="95" y="86"/>
                      <a:pt x="98" y="88"/>
                      <a:pt x="100" y="87"/>
                    </a:cubicBezTo>
                    <a:cubicBezTo>
                      <a:pt x="102" y="86"/>
                      <a:pt x="104" y="82"/>
                      <a:pt x="106" y="82"/>
                    </a:cubicBezTo>
                    <a:cubicBezTo>
                      <a:pt x="106" y="82"/>
                      <a:pt x="106" y="82"/>
                      <a:pt x="107" y="82"/>
                    </a:cubicBezTo>
                    <a:cubicBezTo>
                      <a:pt x="107" y="81"/>
                      <a:pt x="107" y="80"/>
                      <a:pt x="107" y="79"/>
                    </a:cubicBezTo>
                    <a:cubicBezTo>
                      <a:pt x="107" y="75"/>
                      <a:pt x="108" y="76"/>
                      <a:pt x="108" y="72"/>
                    </a:cubicBezTo>
                    <a:cubicBezTo>
                      <a:pt x="109" y="68"/>
                      <a:pt x="120" y="57"/>
                      <a:pt x="121" y="56"/>
                    </a:cubicBezTo>
                    <a:cubicBezTo>
                      <a:pt x="122" y="55"/>
                      <a:pt x="122" y="38"/>
                      <a:pt x="122" y="36"/>
                    </a:cubicBezTo>
                    <a:cubicBezTo>
                      <a:pt x="122" y="34"/>
                      <a:pt x="123" y="31"/>
                      <a:pt x="124" y="27"/>
                    </a:cubicBezTo>
                    <a:cubicBezTo>
                      <a:pt x="125" y="24"/>
                      <a:pt x="122" y="24"/>
                      <a:pt x="122" y="21"/>
                    </a:cubicBezTo>
                    <a:cubicBezTo>
                      <a:pt x="122" y="18"/>
                      <a:pt x="119" y="16"/>
                      <a:pt x="119" y="14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1" name="Freeform 37">
                <a:extLst>
                  <a:ext uri="{FF2B5EF4-FFF2-40B4-BE49-F238E27FC236}">
                    <a16:creationId xmlns:a16="http://schemas.microsoft.com/office/drawing/2014/main" id="{A3EACAFC-2BB1-4FAB-BA1D-D307DBEE4F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4424" y="3641861"/>
                <a:ext cx="186954" cy="308662"/>
              </a:xfrm>
              <a:custGeom>
                <a:avLst/>
                <a:gdLst>
                  <a:gd name="T0" fmla="*/ 80 w 81"/>
                  <a:gd name="T1" fmla="*/ 33 h 134"/>
                  <a:gd name="T2" fmla="*/ 19 w 81"/>
                  <a:gd name="T3" fmla="*/ 0 h 134"/>
                  <a:gd name="T4" fmla="*/ 11 w 81"/>
                  <a:gd name="T5" fmla="*/ 4 h 134"/>
                  <a:gd name="T6" fmla="*/ 12 w 81"/>
                  <a:gd name="T7" fmla="*/ 14 h 134"/>
                  <a:gd name="T8" fmla="*/ 15 w 81"/>
                  <a:gd name="T9" fmla="*/ 21 h 134"/>
                  <a:gd name="T10" fmla="*/ 17 w 81"/>
                  <a:gd name="T11" fmla="*/ 27 h 134"/>
                  <a:gd name="T12" fmla="*/ 15 w 81"/>
                  <a:gd name="T13" fmla="*/ 36 h 134"/>
                  <a:gd name="T14" fmla="*/ 14 w 81"/>
                  <a:gd name="T15" fmla="*/ 56 h 134"/>
                  <a:gd name="T16" fmla="*/ 1 w 81"/>
                  <a:gd name="T17" fmla="*/ 72 h 134"/>
                  <a:gd name="T18" fmla="*/ 0 w 81"/>
                  <a:gd name="T19" fmla="*/ 79 h 134"/>
                  <a:gd name="T20" fmla="*/ 0 w 81"/>
                  <a:gd name="T21" fmla="*/ 82 h 134"/>
                  <a:gd name="T22" fmla="*/ 1 w 81"/>
                  <a:gd name="T23" fmla="*/ 83 h 134"/>
                  <a:gd name="T24" fmla="*/ 5 w 81"/>
                  <a:gd name="T25" fmla="*/ 87 h 134"/>
                  <a:gd name="T26" fmla="*/ 10 w 81"/>
                  <a:gd name="T27" fmla="*/ 94 h 134"/>
                  <a:gd name="T28" fmla="*/ 11 w 81"/>
                  <a:gd name="T29" fmla="*/ 101 h 134"/>
                  <a:gd name="T30" fmla="*/ 14 w 81"/>
                  <a:gd name="T31" fmla="*/ 111 h 134"/>
                  <a:gd name="T32" fmla="*/ 11 w 81"/>
                  <a:gd name="T33" fmla="*/ 113 h 134"/>
                  <a:gd name="T34" fmla="*/ 4 w 81"/>
                  <a:gd name="T35" fmla="*/ 114 h 134"/>
                  <a:gd name="T36" fmla="*/ 6 w 81"/>
                  <a:gd name="T37" fmla="*/ 119 h 134"/>
                  <a:gd name="T38" fmla="*/ 13 w 81"/>
                  <a:gd name="T39" fmla="*/ 126 h 134"/>
                  <a:gd name="T40" fmla="*/ 16 w 81"/>
                  <a:gd name="T41" fmla="*/ 133 h 134"/>
                  <a:gd name="T42" fmla="*/ 20 w 81"/>
                  <a:gd name="T43" fmla="*/ 131 h 134"/>
                  <a:gd name="T44" fmla="*/ 25 w 81"/>
                  <a:gd name="T45" fmla="*/ 131 h 134"/>
                  <a:gd name="T46" fmla="*/ 34 w 81"/>
                  <a:gd name="T47" fmla="*/ 128 h 134"/>
                  <a:gd name="T48" fmla="*/ 41 w 81"/>
                  <a:gd name="T49" fmla="*/ 125 h 134"/>
                  <a:gd name="T50" fmla="*/ 42 w 81"/>
                  <a:gd name="T51" fmla="*/ 120 h 134"/>
                  <a:gd name="T52" fmla="*/ 53 w 81"/>
                  <a:gd name="T53" fmla="*/ 118 h 134"/>
                  <a:gd name="T54" fmla="*/ 61 w 81"/>
                  <a:gd name="T55" fmla="*/ 110 h 134"/>
                  <a:gd name="T56" fmla="*/ 63 w 81"/>
                  <a:gd name="T57" fmla="*/ 106 h 134"/>
                  <a:gd name="T58" fmla="*/ 69 w 81"/>
                  <a:gd name="T59" fmla="*/ 103 h 134"/>
                  <a:gd name="T60" fmla="*/ 71 w 81"/>
                  <a:gd name="T61" fmla="*/ 104 h 134"/>
                  <a:gd name="T62" fmla="*/ 71 w 81"/>
                  <a:gd name="T63" fmla="*/ 103 h 134"/>
                  <a:gd name="T64" fmla="*/ 72 w 81"/>
                  <a:gd name="T65" fmla="*/ 100 h 134"/>
                  <a:gd name="T66" fmla="*/ 68 w 81"/>
                  <a:gd name="T67" fmla="*/ 95 h 134"/>
                  <a:gd name="T68" fmla="*/ 66 w 81"/>
                  <a:gd name="T69" fmla="*/ 89 h 134"/>
                  <a:gd name="T70" fmla="*/ 65 w 81"/>
                  <a:gd name="T71" fmla="*/ 85 h 134"/>
                  <a:gd name="T72" fmla="*/ 66 w 81"/>
                  <a:gd name="T73" fmla="*/ 79 h 134"/>
                  <a:gd name="T74" fmla="*/ 69 w 81"/>
                  <a:gd name="T75" fmla="*/ 73 h 134"/>
                  <a:gd name="T76" fmla="*/ 72 w 81"/>
                  <a:gd name="T77" fmla="*/ 68 h 134"/>
                  <a:gd name="T78" fmla="*/ 79 w 81"/>
                  <a:gd name="T79" fmla="*/ 63 h 134"/>
                  <a:gd name="T80" fmla="*/ 80 w 81"/>
                  <a:gd name="T81" fmla="*/ 55 h 134"/>
                  <a:gd name="T82" fmla="*/ 80 w 81"/>
                  <a:gd name="T83" fmla="*/ 33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81" h="134">
                    <a:moveTo>
                      <a:pt x="80" y="33"/>
                    </a:moveTo>
                    <a:cubicBezTo>
                      <a:pt x="19" y="0"/>
                      <a:pt x="19" y="0"/>
                      <a:pt x="19" y="0"/>
                    </a:cubicBezTo>
                    <a:cubicBezTo>
                      <a:pt x="11" y="4"/>
                      <a:pt x="11" y="4"/>
                      <a:pt x="11" y="4"/>
                    </a:cubicBezTo>
                    <a:cubicBezTo>
                      <a:pt x="12" y="8"/>
                      <a:pt x="12" y="13"/>
                      <a:pt x="12" y="14"/>
                    </a:cubicBezTo>
                    <a:cubicBezTo>
                      <a:pt x="12" y="16"/>
                      <a:pt x="15" y="18"/>
                      <a:pt x="15" y="21"/>
                    </a:cubicBezTo>
                    <a:cubicBezTo>
                      <a:pt x="15" y="24"/>
                      <a:pt x="18" y="24"/>
                      <a:pt x="17" y="27"/>
                    </a:cubicBezTo>
                    <a:cubicBezTo>
                      <a:pt x="16" y="31"/>
                      <a:pt x="15" y="34"/>
                      <a:pt x="15" y="36"/>
                    </a:cubicBezTo>
                    <a:cubicBezTo>
                      <a:pt x="15" y="38"/>
                      <a:pt x="15" y="55"/>
                      <a:pt x="14" y="56"/>
                    </a:cubicBezTo>
                    <a:cubicBezTo>
                      <a:pt x="13" y="57"/>
                      <a:pt x="2" y="68"/>
                      <a:pt x="1" y="72"/>
                    </a:cubicBezTo>
                    <a:cubicBezTo>
                      <a:pt x="1" y="76"/>
                      <a:pt x="0" y="75"/>
                      <a:pt x="0" y="79"/>
                    </a:cubicBezTo>
                    <a:cubicBezTo>
                      <a:pt x="0" y="80"/>
                      <a:pt x="0" y="81"/>
                      <a:pt x="0" y="82"/>
                    </a:cubicBezTo>
                    <a:cubicBezTo>
                      <a:pt x="0" y="82"/>
                      <a:pt x="1" y="83"/>
                      <a:pt x="1" y="83"/>
                    </a:cubicBezTo>
                    <a:cubicBezTo>
                      <a:pt x="3" y="85"/>
                      <a:pt x="3" y="87"/>
                      <a:pt x="5" y="87"/>
                    </a:cubicBezTo>
                    <a:cubicBezTo>
                      <a:pt x="7" y="87"/>
                      <a:pt x="10" y="92"/>
                      <a:pt x="10" y="94"/>
                    </a:cubicBezTo>
                    <a:cubicBezTo>
                      <a:pt x="10" y="96"/>
                      <a:pt x="11" y="98"/>
                      <a:pt x="11" y="101"/>
                    </a:cubicBezTo>
                    <a:cubicBezTo>
                      <a:pt x="11" y="105"/>
                      <a:pt x="13" y="111"/>
                      <a:pt x="14" y="111"/>
                    </a:cubicBezTo>
                    <a:cubicBezTo>
                      <a:pt x="15" y="112"/>
                      <a:pt x="14" y="113"/>
                      <a:pt x="11" y="113"/>
                    </a:cubicBezTo>
                    <a:cubicBezTo>
                      <a:pt x="8" y="112"/>
                      <a:pt x="4" y="112"/>
                      <a:pt x="4" y="114"/>
                    </a:cubicBezTo>
                    <a:cubicBezTo>
                      <a:pt x="4" y="115"/>
                      <a:pt x="3" y="116"/>
                      <a:pt x="6" y="119"/>
                    </a:cubicBezTo>
                    <a:cubicBezTo>
                      <a:pt x="9" y="122"/>
                      <a:pt x="12" y="123"/>
                      <a:pt x="13" y="126"/>
                    </a:cubicBezTo>
                    <a:cubicBezTo>
                      <a:pt x="14" y="129"/>
                      <a:pt x="15" y="132"/>
                      <a:pt x="16" y="133"/>
                    </a:cubicBezTo>
                    <a:cubicBezTo>
                      <a:pt x="17" y="134"/>
                      <a:pt x="19" y="133"/>
                      <a:pt x="20" y="131"/>
                    </a:cubicBezTo>
                    <a:cubicBezTo>
                      <a:pt x="22" y="129"/>
                      <a:pt x="24" y="133"/>
                      <a:pt x="25" y="131"/>
                    </a:cubicBezTo>
                    <a:cubicBezTo>
                      <a:pt x="27" y="129"/>
                      <a:pt x="33" y="129"/>
                      <a:pt x="34" y="128"/>
                    </a:cubicBezTo>
                    <a:cubicBezTo>
                      <a:pt x="36" y="128"/>
                      <a:pt x="40" y="126"/>
                      <a:pt x="41" y="125"/>
                    </a:cubicBezTo>
                    <a:cubicBezTo>
                      <a:pt x="43" y="123"/>
                      <a:pt x="40" y="121"/>
                      <a:pt x="42" y="120"/>
                    </a:cubicBezTo>
                    <a:cubicBezTo>
                      <a:pt x="44" y="119"/>
                      <a:pt x="51" y="121"/>
                      <a:pt x="53" y="118"/>
                    </a:cubicBezTo>
                    <a:cubicBezTo>
                      <a:pt x="56" y="115"/>
                      <a:pt x="60" y="111"/>
                      <a:pt x="61" y="110"/>
                    </a:cubicBezTo>
                    <a:cubicBezTo>
                      <a:pt x="62" y="109"/>
                      <a:pt x="61" y="108"/>
                      <a:pt x="63" y="106"/>
                    </a:cubicBezTo>
                    <a:cubicBezTo>
                      <a:pt x="64" y="104"/>
                      <a:pt x="68" y="102"/>
                      <a:pt x="69" y="103"/>
                    </a:cubicBezTo>
                    <a:cubicBezTo>
                      <a:pt x="70" y="104"/>
                      <a:pt x="70" y="104"/>
                      <a:pt x="71" y="104"/>
                    </a:cubicBezTo>
                    <a:cubicBezTo>
                      <a:pt x="71" y="103"/>
                      <a:pt x="71" y="103"/>
                      <a:pt x="71" y="103"/>
                    </a:cubicBezTo>
                    <a:cubicBezTo>
                      <a:pt x="72" y="100"/>
                      <a:pt x="72" y="100"/>
                      <a:pt x="72" y="100"/>
                    </a:cubicBezTo>
                    <a:cubicBezTo>
                      <a:pt x="72" y="100"/>
                      <a:pt x="68" y="98"/>
                      <a:pt x="68" y="95"/>
                    </a:cubicBezTo>
                    <a:cubicBezTo>
                      <a:pt x="68" y="92"/>
                      <a:pt x="69" y="89"/>
                      <a:pt x="66" y="89"/>
                    </a:cubicBezTo>
                    <a:cubicBezTo>
                      <a:pt x="64" y="89"/>
                      <a:pt x="63" y="86"/>
                      <a:pt x="65" y="85"/>
                    </a:cubicBezTo>
                    <a:cubicBezTo>
                      <a:pt x="67" y="83"/>
                      <a:pt x="62" y="79"/>
                      <a:pt x="66" y="79"/>
                    </a:cubicBezTo>
                    <a:cubicBezTo>
                      <a:pt x="69" y="79"/>
                      <a:pt x="67" y="73"/>
                      <a:pt x="69" y="73"/>
                    </a:cubicBezTo>
                    <a:cubicBezTo>
                      <a:pt x="72" y="72"/>
                      <a:pt x="72" y="70"/>
                      <a:pt x="72" y="68"/>
                    </a:cubicBezTo>
                    <a:cubicBezTo>
                      <a:pt x="72" y="65"/>
                      <a:pt x="78" y="64"/>
                      <a:pt x="79" y="63"/>
                    </a:cubicBezTo>
                    <a:cubicBezTo>
                      <a:pt x="81" y="63"/>
                      <a:pt x="80" y="55"/>
                      <a:pt x="80" y="55"/>
                    </a:cubicBezTo>
                    <a:lnTo>
                      <a:pt x="80" y="33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2" name="Freeform 38">
                <a:extLst>
                  <a:ext uri="{FF2B5EF4-FFF2-40B4-BE49-F238E27FC236}">
                    <a16:creationId xmlns:a16="http://schemas.microsoft.com/office/drawing/2014/main" id="{2F1B6B63-AB0F-4CAF-B189-2A9A310105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0161" y="3471218"/>
                <a:ext cx="203266" cy="200756"/>
              </a:xfrm>
              <a:custGeom>
                <a:avLst/>
                <a:gdLst>
                  <a:gd name="T0" fmla="*/ 82 w 88"/>
                  <a:gd name="T1" fmla="*/ 19 h 87"/>
                  <a:gd name="T2" fmla="*/ 76 w 88"/>
                  <a:gd name="T3" fmla="*/ 5 h 87"/>
                  <a:gd name="T4" fmla="*/ 76 w 88"/>
                  <a:gd name="T5" fmla="*/ 6 h 87"/>
                  <a:gd name="T6" fmla="*/ 67 w 88"/>
                  <a:gd name="T7" fmla="*/ 5 h 87"/>
                  <a:gd name="T8" fmla="*/ 57 w 88"/>
                  <a:gd name="T9" fmla="*/ 3 h 87"/>
                  <a:gd name="T10" fmla="*/ 40 w 88"/>
                  <a:gd name="T11" fmla="*/ 6 h 87"/>
                  <a:gd name="T12" fmla="*/ 31 w 88"/>
                  <a:gd name="T13" fmla="*/ 7 h 87"/>
                  <a:gd name="T14" fmla="*/ 16 w 88"/>
                  <a:gd name="T15" fmla="*/ 3 h 87"/>
                  <a:gd name="T16" fmla="*/ 4 w 88"/>
                  <a:gd name="T17" fmla="*/ 0 h 87"/>
                  <a:gd name="T18" fmla="*/ 3 w 88"/>
                  <a:gd name="T19" fmla="*/ 2 h 87"/>
                  <a:gd name="T20" fmla="*/ 2 w 88"/>
                  <a:gd name="T21" fmla="*/ 12 h 87"/>
                  <a:gd name="T22" fmla="*/ 2 w 88"/>
                  <a:gd name="T23" fmla="*/ 24 h 87"/>
                  <a:gd name="T24" fmla="*/ 2 w 88"/>
                  <a:gd name="T25" fmla="*/ 86 h 87"/>
                  <a:gd name="T26" fmla="*/ 52 w 88"/>
                  <a:gd name="T27" fmla="*/ 86 h 87"/>
                  <a:gd name="T28" fmla="*/ 54 w 88"/>
                  <a:gd name="T29" fmla="*/ 84 h 87"/>
                  <a:gd name="T30" fmla="*/ 58 w 88"/>
                  <a:gd name="T31" fmla="*/ 85 h 87"/>
                  <a:gd name="T32" fmla="*/ 69 w 88"/>
                  <a:gd name="T33" fmla="*/ 85 h 87"/>
                  <a:gd name="T34" fmla="*/ 73 w 88"/>
                  <a:gd name="T35" fmla="*/ 87 h 87"/>
                  <a:gd name="T36" fmla="*/ 78 w 88"/>
                  <a:gd name="T37" fmla="*/ 84 h 87"/>
                  <a:gd name="T38" fmla="*/ 83 w 88"/>
                  <a:gd name="T39" fmla="*/ 78 h 87"/>
                  <a:gd name="T40" fmla="*/ 87 w 88"/>
                  <a:gd name="T41" fmla="*/ 75 h 87"/>
                  <a:gd name="T42" fmla="*/ 87 w 88"/>
                  <a:gd name="T43" fmla="*/ 75 h 87"/>
                  <a:gd name="T44" fmla="*/ 87 w 88"/>
                  <a:gd name="T45" fmla="*/ 72 h 87"/>
                  <a:gd name="T46" fmla="*/ 84 w 88"/>
                  <a:gd name="T47" fmla="*/ 63 h 87"/>
                  <a:gd name="T48" fmla="*/ 75 w 88"/>
                  <a:gd name="T49" fmla="*/ 46 h 87"/>
                  <a:gd name="T50" fmla="*/ 71 w 88"/>
                  <a:gd name="T51" fmla="*/ 38 h 87"/>
                  <a:gd name="T52" fmla="*/ 66 w 88"/>
                  <a:gd name="T53" fmla="*/ 29 h 87"/>
                  <a:gd name="T54" fmla="*/ 62 w 88"/>
                  <a:gd name="T55" fmla="*/ 14 h 87"/>
                  <a:gd name="T56" fmla="*/ 68 w 88"/>
                  <a:gd name="T57" fmla="*/ 25 h 87"/>
                  <a:gd name="T58" fmla="*/ 76 w 88"/>
                  <a:gd name="T59" fmla="*/ 35 h 87"/>
                  <a:gd name="T60" fmla="*/ 81 w 88"/>
                  <a:gd name="T61" fmla="*/ 24 h 87"/>
                  <a:gd name="T62" fmla="*/ 81 w 88"/>
                  <a:gd name="T63" fmla="*/ 24 h 87"/>
                  <a:gd name="T64" fmla="*/ 81 w 88"/>
                  <a:gd name="T65" fmla="*/ 22 h 87"/>
                  <a:gd name="T66" fmla="*/ 82 w 88"/>
                  <a:gd name="T67" fmla="*/ 19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8" h="87">
                    <a:moveTo>
                      <a:pt x="82" y="19"/>
                    </a:moveTo>
                    <a:cubicBezTo>
                      <a:pt x="76" y="5"/>
                      <a:pt x="76" y="5"/>
                      <a:pt x="76" y="5"/>
                    </a:cubicBezTo>
                    <a:cubicBezTo>
                      <a:pt x="76" y="5"/>
                      <a:pt x="76" y="6"/>
                      <a:pt x="76" y="6"/>
                    </a:cubicBezTo>
                    <a:cubicBezTo>
                      <a:pt x="75" y="7"/>
                      <a:pt x="71" y="4"/>
                      <a:pt x="67" y="5"/>
                    </a:cubicBezTo>
                    <a:cubicBezTo>
                      <a:pt x="63" y="6"/>
                      <a:pt x="60" y="5"/>
                      <a:pt x="57" y="3"/>
                    </a:cubicBezTo>
                    <a:cubicBezTo>
                      <a:pt x="53" y="2"/>
                      <a:pt x="42" y="4"/>
                      <a:pt x="40" y="6"/>
                    </a:cubicBezTo>
                    <a:cubicBezTo>
                      <a:pt x="39" y="8"/>
                      <a:pt x="35" y="8"/>
                      <a:pt x="31" y="7"/>
                    </a:cubicBezTo>
                    <a:cubicBezTo>
                      <a:pt x="28" y="5"/>
                      <a:pt x="23" y="3"/>
                      <a:pt x="16" y="3"/>
                    </a:cubicBezTo>
                    <a:cubicBezTo>
                      <a:pt x="10" y="2"/>
                      <a:pt x="5" y="1"/>
                      <a:pt x="4" y="0"/>
                    </a:cubicBezTo>
                    <a:cubicBezTo>
                      <a:pt x="4" y="0"/>
                      <a:pt x="4" y="1"/>
                      <a:pt x="3" y="2"/>
                    </a:cubicBezTo>
                    <a:cubicBezTo>
                      <a:pt x="1" y="7"/>
                      <a:pt x="5" y="9"/>
                      <a:pt x="2" y="12"/>
                    </a:cubicBezTo>
                    <a:cubicBezTo>
                      <a:pt x="0" y="15"/>
                      <a:pt x="2" y="18"/>
                      <a:pt x="2" y="24"/>
                    </a:cubicBezTo>
                    <a:cubicBezTo>
                      <a:pt x="2" y="27"/>
                      <a:pt x="2" y="64"/>
                      <a:pt x="2" y="86"/>
                    </a:cubicBezTo>
                    <a:cubicBezTo>
                      <a:pt x="52" y="86"/>
                      <a:pt x="52" y="86"/>
                      <a:pt x="52" y="86"/>
                    </a:cubicBezTo>
                    <a:cubicBezTo>
                      <a:pt x="52" y="86"/>
                      <a:pt x="53" y="85"/>
                      <a:pt x="54" y="84"/>
                    </a:cubicBezTo>
                    <a:cubicBezTo>
                      <a:pt x="56" y="83"/>
                      <a:pt x="58" y="85"/>
                      <a:pt x="58" y="85"/>
                    </a:cubicBezTo>
                    <a:cubicBezTo>
                      <a:pt x="69" y="85"/>
                      <a:pt x="69" y="85"/>
                      <a:pt x="69" y="85"/>
                    </a:cubicBezTo>
                    <a:cubicBezTo>
                      <a:pt x="69" y="85"/>
                      <a:pt x="71" y="87"/>
                      <a:pt x="73" y="87"/>
                    </a:cubicBezTo>
                    <a:cubicBezTo>
                      <a:pt x="75" y="87"/>
                      <a:pt x="74" y="84"/>
                      <a:pt x="78" y="84"/>
                    </a:cubicBezTo>
                    <a:cubicBezTo>
                      <a:pt x="81" y="84"/>
                      <a:pt x="81" y="78"/>
                      <a:pt x="83" y="78"/>
                    </a:cubicBezTo>
                    <a:cubicBezTo>
                      <a:pt x="85" y="78"/>
                      <a:pt x="85" y="78"/>
                      <a:pt x="87" y="75"/>
                    </a:cubicBezTo>
                    <a:cubicBezTo>
                      <a:pt x="87" y="75"/>
                      <a:pt x="87" y="75"/>
                      <a:pt x="87" y="75"/>
                    </a:cubicBezTo>
                    <a:cubicBezTo>
                      <a:pt x="87" y="74"/>
                      <a:pt x="87" y="73"/>
                      <a:pt x="87" y="72"/>
                    </a:cubicBezTo>
                    <a:cubicBezTo>
                      <a:pt x="88" y="68"/>
                      <a:pt x="85" y="68"/>
                      <a:pt x="84" y="63"/>
                    </a:cubicBezTo>
                    <a:cubicBezTo>
                      <a:pt x="82" y="57"/>
                      <a:pt x="75" y="49"/>
                      <a:pt x="75" y="46"/>
                    </a:cubicBezTo>
                    <a:cubicBezTo>
                      <a:pt x="75" y="43"/>
                      <a:pt x="71" y="41"/>
                      <a:pt x="71" y="38"/>
                    </a:cubicBezTo>
                    <a:cubicBezTo>
                      <a:pt x="71" y="35"/>
                      <a:pt x="70" y="34"/>
                      <a:pt x="66" y="29"/>
                    </a:cubicBezTo>
                    <a:cubicBezTo>
                      <a:pt x="62" y="24"/>
                      <a:pt x="61" y="15"/>
                      <a:pt x="62" y="14"/>
                    </a:cubicBezTo>
                    <a:cubicBezTo>
                      <a:pt x="63" y="14"/>
                      <a:pt x="66" y="22"/>
                      <a:pt x="68" y="25"/>
                    </a:cubicBezTo>
                    <a:cubicBezTo>
                      <a:pt x="69" y="27"/>
                      <a:pt x="73" y="35"/>
                      <a:pt x="76" y="35"/>
                    </a:cubicBezTo>
                    <a:cubicBezTo>
                      <a:pt x="79" y="35"/>
                      <a:pt x="80" y="23"/>
                      <a:pt x="81" y="24"/>
                    </a:cubicBezTo>
                    <a:cubicBezTo>
                      <a:pt x="81" y="24"/>
                      <a:pt x="81" y="24"/>
                      <a:pt x="81" y="24"/>
                    </a:cubicBezTo>
                    <a:cubicBezTo>
                      <a:pt x="81" y="22"/>
                      <a:pt x="81" y="22"/>
                      <a:pt x="81" y="22"/>
                    </a:cubicBezTo>
                    <a:lnTo>
                      <a:pt x="82" y="19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3" name="Freeform 39">
                <a:extLst>
                  <a:ext uri="{FF2B5EF4-FFF2-40B4-BE49-F238E27FC236}">
                    <a16:creationId xmlns:a16="http://schemas.microsoft.com/office/drawing/2014/main" id="{A80F478D-59A4-4753-A337-467FF719E4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6593" y="4044628"/>
                <a:ext cx="104142" cy="115435"/>
              </a:xfrm>
              <a:custGeom>
                <a:avLst/>
                <a:gdLst>
                  <a:gd name="T0" fmla="*/ 22 w 45"/>
                  <a:gd name="T1" fmla="*/ 48 h 50"/>
                  <a:gd name="T2" fmla="*/ 23 w 45"/>
                  <a:gd name="T3" fmla="*/ 41 h 50"/>
                  <a:gd name="T4" fmla="*/ 28 w 45"/>
                  <a:gd name="T5" fmla="*/ 38 h 50"/>
                  <a:gd name="T6" fmla="*/ 32 w 45"/>
                  <a:gd name="T7" fmla="*/ 33 h 50"/>
                  <a:gd name="T8" fmla="*/ 36 w 45"/>
                  <a:gd name="T9" fmla="*/ 38 h 50"/>
                  <a:gd name="T10" fmla="*/ 42 w 45"/>
                  <a:gd name="T11" fmla="*/ 39 h 50"/>
                  <a:gd name="T12" fmla="*/ 45 w 45"/>
                  <a:gd name="T13" fmla="*/ 30 h 50"/>
                  <a:gd name="T14" fmla="*/ 43 w 45"/>
                  <a:gd name="T15" fmla="*/ 21 h 50"/>
                  <a:gd name="T16" fmla="*/ 41 w 45"/>
                  <a:gd name="T17" fmla="*/ 15 h 50"/>
                  <a:gd name="T18" fmla="*/ 42 w 45"/>
                  <a:gd name="T19" fmla="*/ 9 h 50"/>
                  <a:gd name="T20" fmla="*/ 34 w 45"/>
                  <a:gd name="T21" fmla="*/ 9 h 50"/>
                  <a:gd name="T22" fmla="*/ 35 w 45"/>
                  <a:gd name="T23" fmla="*/ 0 h 50"/>
                  <a:gd name="T24" fmla="*/ 23 w 45"/>
                  <a:gd name="T25" fmla="*/ 0 h 50"/>
                  <a:gd name="T26" fmla="*/ 22 w 45"/>
                  <a:gd name="T27" fmla="*/ 0 h 50"/>
                  <a:gd name="T28" fmla="*/ 21 w 45"/>
                  <a:gd name="T29" fmla="*/ 11 h 50"/>
                  <a:gd name="T30" fmla="*/ 11 w 45"/>
                  <a:gd name="T31" fmla="*/ 11 h 50"/>
                  <a:gd name="T32" fmla="*/ 7 w 45"/>
                  <a:gd name="T33" fmla="*/ 12 h 50"/>
                  <a:gd name="T34" fmla="*/ 5 w 45"/>
                  <a:gd name="T35" fmla="*/ 13 h 50"/>
                  <a:gd name="T36" fmla="*/ 9 w 45"/>
                  <a:gd name="T37" fmla="*/ 17 h 50"/>
                  <a:gd name="T38" fmla="*/ 4 w 45"/>
                  <a:gd name="T39" fmla="*/ 21 h 50"/>
                  <a:gd name="T40" fmla="*/ 1 w 45"/>
                  <a:gd name="T41" fmla="*/ 26 h 50"/>
                  <a:gd name="T42" fmla="*/ 5 w 45"/>
                  <a:gd name="T43" fmla="*/ 33 h 50"/>
                  <a:gd name="T44" fmla="*/ 11 w 45"/>
                  <a:gd name="T45" fmla="*/ 40 h 50"/>
                  <a:gd name="T46" fmla="*/ 19 w 45"/>
                  <a:gd name="T47" fmla="*/ 50 h 50"/>
                  <a:gd name="T48" fmla="*/ 22 w 45"/>
                  <a:gd name="T49" fmla="*/ 48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5" h="50">
                    <a:moveTo>
                      <a:pt x="22" y="48"/>
                    </a:moveTo>
                    <a:cubicBezTo>
                      <a:pt x="26" y="48"/>
                      <a:pt x="25" y="45"/>
                      <a:pt x="23" y="41"/>
                    </a:cubicBezTo>
                    <a:cubicBezTo>
                      <a:pt x="22" y="37"/>
                      <a:pt x="26" y="38"/>
                      <a:pt x="28" y="38"/>
                    </a:cubicBezTo>
                    <a:cubicBezTo>
                      <a:pt x="31" y="38"/>
                      <a:pt x="30" y="33"/>
                      <a:pt x="32" y="33"/>
                    </a:cubicBezTo>
                    <a:cubicBezTo>
                      <a:pt x="34" y="33"/>
                      <a:pt x="34" y="39"/>
                      <a:pt x="36" y="38"/>
                    </a:cubicBezTo>
                    <a:cubicBezTo>
                      <a:pt x="38" y="38"/>
                      <a:pt x="40" y="40"/>
                      <a:pt x="42" y="39"/>
                    </a:cubicBezTo>
                    <a:cubicBezTo>
                      <a:pt x="45" y="39"/>
                      <a:pt x="45" y="34"/>
                      <a:pt x="45" y="30"/>
                    </a:cubicBezTo>
                    <a:cubicBezTo>
                      <a:pt x="45" y="26"/>
                      <a:pt x="45" y="23"/>
                      <a:pt x="43" y="21"/>
                    </a:cubicBezTo>
                    <a:cubicBezTo>
                      <a:pt x="40" y="20"/>
                      <a:pt x="38" y="17"/>
                      <a:pt x="41" y="15"/>
                    </a:cubicBezTo>
                    <a:cubicBezTo>
                      <a:pt x="44" y="14"/>
                      <a:pt x="45" y="11"/>
                      <a:pt x="42" y="9"/>
                    </a:cubicBezTo>
                    <a:cubicBezTo>
                      <a:pt x="40" y="7"/>
                      <a:pt x="34" y="11"/>
                      <a:pt x="34" y="9"/>
                    </a:cubicBezTo>
                    <a:cubicBezTo>
                      <a:pt x="34" y="7"/>
                      <a:pt x="35" y="4"/>
                      <a:pt x="35" y="0"/>
                    </a:cubicBezTo>
                    <a:cubicBezTo>
                      <a:pt x="29" y="0"/>
                      <a:pt x="23" y="0"/>
                      <a:pt x="23" y="0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22" y="6"/>
                      <a:pt x="21" y="11"/>
                      <a:pt x="21" y="11"/>
                    </a:cubicBezTo>
                    <a:cubicBezTo>
                      <a:pt x="21" y="11"/>
                      <a:pt x="13" y="11"/>
                      <a:pt x="11" y="11"/>
                    </a:cubicBezTo>
                    <a:cubicBezTo>
                      <a:pt x="10" y="11"/>
                      <a:pt x="9" y="11"/>
                      <a:pt x="7" y="12"/>
                    </a:cubicBezTo>
                    <a:cubicBezTo>
                      <a:pt x="6" y="12"/>
                      <a:pt x="6" y="13"/>
                      <a:pt x="5" y="13"/>
                    </a:cubicBezTo>
                    <a:cubicBezTo>
                      <a:pt x="4" y="14"/>
                      <a:pt x="8" y="16"/>
                      <a:pt x="9" y="17"/>
                    </a:cubicBezTo>
                    <a:cubicBezTo>
                      <a:pt x="9" y="19"/>
                      <a:pt x="4" y="18"/>
                      <a:pt x="4" y="21"/>
                    </a:cubicBezTo>
                    <a:cubicBezTo>
                      <a:pt x="4" y="23"/>
                      <a:pt x="2" y="25"/>
                      <a:pt x="1" y="26"/>
                    </a:cubicBezTo>
                    <a:cubicBezTo>
                      <a:pt x="0" y="27"/>
                      <a:pt x="5" y="31"/>
                      <a:pt x="5" y="33"/>
                    </a:cubicBezTo>
                    <a:cubicBezTo>
                      <a:pt x="5" y="34"/>
                      <a:pt x="6" y="36"/>
                      <a:pt x="11" y="40"/>
                    </a:cubicBezTo>
                    <a:cubicBezTo>
                      <a:pt x="15" y="44"/>
                      <a:pt x="13" y="46"/>
                      <a:pt x="19" y="50"/>
                    </a:cubicBezTo>
                    <a:cubicBezTo>
                      <a:pt x="19" y="49"/>
                      <a:pt x="21" y="48"/>
                      <a:pt x="22" y="48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4" name="Freeform 40">
                <a:extLst>
                  <a:ext uri="{FF2B5EF4-FFF2-40B4-BE49-F238E27FC236}">
                    <a16:creationId xmlns:a16="http://schemas.microsoft.com/office/drawing/2014/main" id="{D5010F8C-02F1-4F49-84B6-4CC769FC45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95376" y="4044628"/>
                <a:ext cx="41406" cy="27604"/>
              </a:xfrm>
              <a:custGeom>
                <a:avLst/>
                <a:gdLst>
                  <a:gd name="T0" fmla="*/ 17 w 18"/>
                  <a:gd name="T1" fmla="*/ 11 h 12"/>
                  <a:gd name="T2" fmla="*/ 18 w 18"/>
                  <a:gd name="T3" fmla="*/ 0 h 12"/>
                  <a:gd name="T4" fmla="*/ 16 w 18"/>
                  <a:gd name="T5" fmla="*/ 1 h 12"/>
                  <a:gd name="T6" fmla="*/ 5 w 18"/>
                  <a:gd name="T7" fmla="*/ 1 h 12"/>
                  <a:gd name="T8" fmla="*/ 5 w 18"/>
                  <a:gd name="T9" fmla="*/ 1 h 12"/>
                  <a:gd name="T10" fmla="*/ 3 w 18"/>
                  <a:gd name="T11" fmla="*/ 6 h 12"/>
                  <a:gd name="T12" fmla="*/ 3 w 18"/>
                  <a:gd name="T13" fmla="*/ 9 h 12"/>
                  <a:gd name="T14" fmla="*/ 3 w 18"/>
                  <a:gd name="T15" fmla="*/ 12 h 12"/>
                  <a:gd name="T16" fmla="*/ 7 w 18"/>
                  <a:gd name="T17" fmla="*/ 11 h 12"/>
                  <a:gd name="T18" fmla="*/ 17 w 18"/>
                  <a:gd name="T19" fmla="*/ 11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12">
                    <a:moveTo>
                      <a:pt x="17" y="11"/>
                    </a:moveTo>
                    <a:cubicBezTo>
                      <a:pt x="17" y="11"/>
                      <a:pt x="18" y="6"/>
                      <a:pt x="18" y="0"/>
                    </a:cubicBezTo>
                    <a:cubicBezTo>
                      <a:pt x="16" y="1"/>
                      <a:pt x="16" y="1"/>
                      <a:pt x="16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6" y="3"/>
                      <a:pt x="5" y="5"/>
                      <a:pt x="3" y="6"/>
                    </a:cubicBezTo>
                    <a:cubicBezTo>
                      <a:pt x="0" y="7"/>
                      <a:pt x="1" y="9"/>
                      <a:pt x="3" y="9"/>
                    </a:cubicBezTo>
                    <a:cubicBezTo>
                      <a:pt x="4" y="10"/>
                      <a:pt x="3" y="11"/>
                      <a:pt x="3" y="12"/>
                    </a:cubicBezTo>
                    <a:cubicBezTo>
                      <a:pt x="5" y="11"/>
                      <a:pt x="6" y="11"/>
                      <a:pt x="7" y="11"/>
                    </a:cubicBezTo>
                    <a:cubicBezTo>
                      <a:pt x="9" y="11"/>
                      <a:pt x="17" y="11"/>
                      <a:pt x="17" y="1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5" name="Freeform 41">
                <a:extLst>
                  <a:ext uri="{FF2B5EF4-FFF2-40B4-BE49-F238E27FC236}">
                    <a16:creationId xmlns:a16="http://schemas.microsoft.com/office/drawing/2014/main" id="{3B206DDF-3670-4A02-98B3-F5FEF43250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0508" y="4017024"/>
                <a:ext cx="129237" cy="164369"/>
              </a:xfrm>
              <a:custGeom>
                <a:avLst/>
                <a:gdLst>
                  <a:gd name="T0" fmla="*/ 15 w 56"/>
                  <a:gd name="T1" fmla="*/ 67 h 71"/>
                  <a:gd name="T2" fmla="*/ 20 w 56"/>
                  <a:gd name="T3" fmla="*/ 68 h 71"/>
                  <a:gd name="T4" fmla="*/ 27 w 56"/>
                  <a:gd name="T5" fmla="*/ 68 h 71"/>
                  <a:gd name="T6" fmla="*/ 30 w 56"/>
                  <a:gd name="T7" fmla="*/ 68 h 71"/>
                  <a:gd name="T8" fmla="*/ 35 w 56"/>
                  <a:gd name="T9" fmla="*/ 63 h 71"/>
                  <a:gd name="T10" fmla="*/ 38 w 56"/>
                  <a:gd name="T11" fmla="*/ 57 h 71"/>
                  <a:gd name="T12" fmla="*/ 39 w 56"/>
                  <a:gd name="T13" fmla="*/ 44 h 71"/>
                  <a:gd name="T14" fmla="*/ 46 w 56"/>
                  <a:gd name="T15" fmla="*/ 35 h 71"/>
                  <a:gd name="T16" fmla="*/ 52 w 56"/>
                  <a:gd name="T17" fmla="*/ 18 h 71"/>
                  <a:gd name="T18" fmla="*/ 55 w 56"/>
                  <a:gd name="T19" fmla="*/ 10 h 71"/>
                  <a:gd name="T20" fmla="*/ 56 w 56"/>
                  <a:gd name="T21" fmla="*/ 1 h 71"/>
                  <a:gd name="T22" fmla="*/ 56 w 56"/>
                  <a:gd name="T23" fmla="*/ 1 h 71"/>
                  <a:gd name="T24" fmla="*/ 49 w 56"/>
                  <a:gd name="T25" fmla="*/ 0 h 71"/>
                  <a:gd name="T26" fmla="*/ 45 w 56"/>
                  <a:gd name="T27" fmla="*/ 1 h 71"/>
                  <a:gd name="T28" fmla="*/ 41 w 56"/>
                  <a:gd name="T29" fmla="*/ 2 h 71"/>
                  <a:gd name="T30" fmla="*/ 40 w 56"/>
                  <a:gd name="T31" fmla="*/ 8 h 71"/>
                  <a:gd name="T32" fmla="*/ 37 w 56"/>
                  <a:gd name="T33" fmla="*/ 16 h 71"/>
                  <a:gd name="T34" fmla="*/ 26 w 56"/>
                  <a:gd name="T35" fmla="*/ 12 h 71"/>
                  <a:gd name="T36" fmla="*/ 16 w 56"/>
                  <a:gd name="T37" fmla="*/ 12 h 71"/>
                  <a:gd name="T38" fmla="*/ 15 w 56"/>
                  <a:gd name="T39" fmla="*/ 21 h 71"/>
                  <a:gd name="T40" fmla="*/ 23 w 56"/>
                  <a:gd name="T41" fmla="*/ 21 h 71"/>
                  <a:gd name="T42" fmla="*/ 22 w 56"/>
                  <a:gd name="T43" fmla="*/ 27 h 71"/>
                  <a:gd name="T44" fmla="*/ 24 w 56"/>
                  <a:gd name="T45" fmla="*/ 33 h 71"/>
                  <a:gd name="T46" fmla="*/ 26 w 56"/>
                  <a:gd name="T47" fmla="*/ 42 h 71"/>
                  <a:gd name="T48" fmla="*/ 23 w 56"/>
                  <a:gd name="T49" fmla="*/ 51 h 71"/>
                  <a:gd name="T50" fmla="*/ 17 w 56"/>
                  <a:gd name="T51" fmla="*/ 50 h 71"/>
                  <a:gd name="T52" fmla="*/ 13 w 56"/>
                  <a:gd name="T53" fmla="*/ 45 h 71"/>
                  <a:gd name="T54" fmla="*/ 9 w 56"/>
                  <a:gd name="T55" fmla="*/ 50 h 71"/>
                  <a:gd name="T56" fmla="*/ 4 w 56"/>
                  <a:gd name="T57" fmla="*/ 53 h 71"/>
                  <a:gd name="T58" fmla="*/ 3 w 56"/>
                  <a:gd name="T59" fmla="*/ 60 h 71"/>
                  <a:gd name="T60" fmla="*/ 0 w 56"/>
                  <a:gd name="T61" fmla="*/ 62 h 71"/>
                  <a:gd name="T62" fmla="*/ 0 w 56"/>
                  <a:gd name="T63" fmla="*/ 63 h 71"/>
                  <a:gd name="T64" fmla="*/ 7 w 56"/>
                  <a:gd name="T65" fmla="*/ 71 h 71"/>
                  <a:gd name="T66" fmla="*/ 15 w 56"/>
                  <a:gd name="T67" fmla="*/ 67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56" h="71">
                    <a:moveTo>
                      <a:pt x="15" y="67"/>
                    </a:moveTo>
                    <a:cubicBezTo>
                      <a:pt x="16" y="68"/>
                      <a:pt x="17" y="70"/>
                      <a:pt x="20" y="68"/>
                    </a:cubicBezTo>
                    <a:cubicBezTo>
                      <a:pt x="23" y="65"/>
                      <a:pt x="27" y="66"/>
                      <a:pt x="27" y="68"/>
                    </a:cubicBezTo>
                    <a:cubicBezTo>
                      <a:pt x="27" y="71"/>
                      <a:pt x="28" y="70"/>
                      <a:pt x="30" y="68"/>
                    </a:cubicBezTo>
                    <a:cubicBezTo>
                      <a:pt x="33" y="65"/>
                      <a:pt x="35" y="68"/>
                      <a:pt x="35" y="63"/>
                    </a:cubicBezTo>
                    <a:cubicBezTo>
                      <a:pt x="35" y="58"/>
                      <a:pt x="38" y="63"/>
                      <a:pt x="38" y="57"/>
                    </a:cubicBezTo>
                    <a:cubicBezTo>
                      <a:pt x="38" y="52"/>
                      <a:pt x="39" y="46"/>
                      <a:pt x="39" y="44"/>
                    </a:cubicBezTo>
                    <a:cubicBezTo>
                      <a:pt x="39" y="41"/>
                      <a:pt x="46" y="39"/>
                      <a:pt x="46" y="35"/>
                    </a:cubicBezTo>
                    <a:cubicBezTo>
                      <a:pt x="46" y="31"/>
                      <a:pt x="52" y="23"/>
                      <a:pt x="52" y="18"/>
                    </a:cubicBezTo>
                    <a:cubicBezTo>
                      <a:pt x="52" y="13"/>
                      <a:pt x="53" y="12"/>
                      <a:pt x="55" y="10"/>
                    </a:cubicBezTo>
                    <a:cubicBezTo>
                      <a:pt x="56" y="8"/>
                      <a:pt x="56" y="5"/>
                      <a:pt x="56" y="1"/>
                    </a:cubicBezTo>
                    <a:cubicBezTo>
                      <a:pt x="56" y="1"/>
                      <a:pt x="56" y="1"/>
                      <a:pt x="56" y="1"/>
                    </a:cubicBezTo>
                    <a:cubicBezTo>
                      <a:pt x="49" y="0"/>
                      <a:pt x="49" y="0"/>
                      <a:pt x="49" y="0"/>
                    </a:cubicBezTo>
                    <a:cubicBezTo>
                      <a:pt x="45" y="1"/>
                      <a:pt x="45" y="1"/>
                      <a:pt x="45" y="1"/>
                    </a:cubicBezTo>
                    <a:cubicBezTo>
                      <a:pt x="41" y="2"/>
                      <a:pt x="41" y="2"/>
                      <a:pt x="41" y="2"/>
                    </a:cubicBezTo>
                    <a:cubicBezTo>
                      <a:pt x="41" y="2"/>
                      <a:pt x="41" y="6"/>
                      <a:pt x="40" y="8"/>
                    </a:cubicBezTo>
                    <a:cubicBezTo>
                      <a:pt x="38" y="11"/>
                      <a:pt x="37" y="16"/>
                      <a:pt x="37" y="16"/>
                    </a:cubicBezTo>
                    <a:cubicBezTo>
                      <a:pt x="37" y="16"/>
                      <a:pt x="28" y="12"/>
                      <a:pt x="26" y="12"/>
                    </a:cubicBezTo>
                    <a:cubicBezTo>
                      <a:pt x="25" y="12"/>
                      <a:pt x="21" y="12"/>
                      <a:pt x="16" y="12"/>
                    </a:cubicBezTo>
                    <a:cubicBezTo>
                      <a:pt x="16" y="16"/>
                      <a:pt x="15" y="19"/>
                      <a:pt x="15" y="21"/>
                    </a:cubicBezTo>
                    <a:cubicBezTo>
                      <a:pt x="15" y="23"/>
                      <a:pt x="21" y="19"/>
                      <a:pt x="23" y="21"/>
                    </a:cubicBezTo>
                    <a:cubicBezTo>
                      <a:pt x="26" y="23"/>
                      <a:pt x="25" y="26"/>
                      <a:pt x="22" y="27"/>
                    </a:cubicBezTo>
                    <a:cubicBezTo>
                      <a:pt x="19" y="29"/>
                      <a:pt x="21" y="32"/>
                      <a:pt x="24" y="33"/>
                    </a:cubicBezTo>
                    <a:cubicBezTo>
                      <a:pt x="26" y="35"/>
                      <a:pt x="26" y="38"/>
                      <a:pt x="26" y="42"/>
                    </a:cubicBezTo>
                    <a:cubicBezTo>
                      <a:pt x="26" y="46"/>
                      <a:pt x="26" y="51"/>
                      <a:pt x="23" y="51"/>
                    </a:cubicBezTo>
                    <a:cubicBezTo>
                      <a:pt x="21" y="52"/>
                      <a:pt x="19" y="50"/>
                      <a:pt x="17" y="50"/>
                    </a:cubicBezTo>
                    <a:cubicBezTo>
                      <a:pt x="15" y="51"/>
                      <a:pt x="15" y="45"/>
                      <a:pt x="13" y="45"/>
                    </a:cubicBezTo>
                    <a:cubicBezTo>
                      <a:pt x="11" y="45"/>
                      <a:pt x="12" y="50"/>
                      <a:pt x="9" y="50"/>
                    </a:cubicBezTo>
                    <a:cubicBezTo>
                      <a:pt x="7" y="50"/>
                      <a:pt x="3" y="49"/>
                      <a:pt x="4" y="53"/>
                    </a:cubicBezTo>
                    <a:cubicBezTo>
                      <a:pt x="6" y="57"/>
                      <a:pt x="7" y="60"/>
                      <a:pt x="3" y="60"/>
                    </a:cubicBezTo>
                    <a:cubicBezTo>
                      <a:pt x="2" y="60"/>
                      <a:pt x="0" y="61"/>
                      <a:pt x="0" y="62"/>
                    </a:cubicBezTo>
                    <a:cubicBezTo>
                      <a:pt x="0" y="62"/>
                      <a:pt x="0" y="63"/>
                      <a:pt x="0" y="63"/>
                    </a:cubicBezTo>
                    <a:cubicBezTo>
                      <a:pt x="4" y="65"/>
                      <a:pt x="6" y="68"/>
                      <a:pt x="7" y="71"/>
                    </a:cubicBezTo>
                    <a:cubicBezTo>
                      <a:pt x="11" y="69"/>
                      <a:pt x="14" y="67"/>
                      <a:pt x="15" y="6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6" name="Freeform 42">
                <a:extLst>
                  <a:ext uri="{FF2B5EF4-FFF2-40B4-BE49-F238E27FC236}">
                    <a16:creationId xmlns:a16="http://schemas.microsoft.com/office/drawing/2014/main" id="{39A9E284-A783-4F82-B2E5-9EF38B6230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7463" y="3644371"/>
                <a:ext cx="308663" cy="377672"/>
              </a:xfrm>
              <a:custGeom>
                <a:avLst/>
                <a:gdLst>
                  <a:gd name="T0" fmla="*/ 101 w 134"/>
                  <a:gd name="T1" fmla="*/ 9 h 164"/>
                  <a:gd name="T2" fmla="*/ 92 w 134"/>
                  <a:gd name="T3" fmla="*/ 10 h 164"/>
                  <a:gd name="T4" fmla="*/ 77 w 134"/>
                  <a:gd name="T5" fmla="*/ 9 h 164"/>
                  <a:gd name="T6" fmla="*/ 25 w 134"/>
                  <a:gd name="T7" fmla="*/ 11 h 164"/>
                  <a:gd name="T8" fmla="*/ 18 w 134"/>
                  <a:gd name="T9" fmla="*/ 27 h 164"/>
                  <a:gd name="T10" fmla="*/ 17 w 134"/>
                  <a:gd name="T11" fmla="*/ 62 h 164"/>
                  <a:gd name="T12" fmla="*/ 7 w 134"/>
                  <a:gd name="T13" fmla="*/ 72 h 164"/>
                  <a:gd name="T14" fmla="*/ 3 w 134"/>
                  <a:gd name="T15" fmla="*/ 84 h 164"/>
                  <a:gd name="T16" fmla="*/ 6 w 134"/>
                  <a:gd name="T17" fmla="*/ 94 h 164"/>
                  <a:gd name="T18" fmla="*/ 9 w 134"/>
                  <a:gd name="T19" fmla="*/ 102 h 164"/>
                  <a:gd name="T20" fmla="*/ 15 w 134"/>
                  <a:gd name="T21" fmla="*/ 117 h 164"/>
                  <a:gd name="T22" fmla="*/ 18 w 134"/>
                  <a:gd name="T23" fmla="*/ 121 h 164"/>
                  <a:gd name="T24" fmla="*/ 25 w 134"/>
                  <a:gd name="T25" fmla="*/ 126 h 164"/>
                  <a:gd name="T26" fmla="*/ 33 w 134"/>
                  <a:gd name="T27" fmla="*/ 136 h 164"/>
                  <a:gd name="T28" fmla="*/ 42 w 134"/>
                  <a:gd name="T29" fmla="*/ 145 h 164"/>
                  <a:gd name="T30" fmla="*/ 46 w 134"/>
                  <a:gd name="T31" fmla="*/ 152 h 164"/>
                  <a:gd name="T32" fmla="*/ 54 w 134"/>
                  <a:gd name="T33" fmla="*/ 156 h 164"/>
                  <a:gd name="T34" fmla="*/ 63 w 134"/>
                  <a:gd name="T35" fmla="*/ 155 h 164"/>
                  <a:gd name="T36" fmla="*/ 78 w 134"/>
                  <a:gd name="T37" fmla="*/ 161 h 164"/>
                  <a:gd name="T38" fmla="*/ 89 w 134"/>
                  <a:gd name="T39" fmla="*/ 161 h 164"/>
                  <a:gd name="T40" fmla="*/ 97 w 134"/>
                  <a:gd name="T41" fmla="*/ 158 h 164"/>
                  <a:gd name="T42" fmla="*/ 104 w 134"/>
                  <a:gd name="T43" fmla="*/ 153 h 164"/>
                  <a:gd name="T44" fmla="*/ 111 w 134"/>
                  <a:gd name="T45" fmla="*/ 154 h 164"/>
                  <a:gd name="T46" fmla="*/ 103 w 134"/>
                  <a:gd name="T47" fmla="*/ 141 h 164"/>
                  <a:gd name="T48" fmla="*/ 89 w 134"/>
                  <a:gd name="T49" fmla="*/ 128 h 164"/>
                  <a:gd name="T50" fmla="*/ 97 w 134"/>
                  <a:gd name="T51" fmla="*/ 122 h 164"/>
                  <a:gd name="T52" fmla="*/ 100 w 134"/>
                  <a:gd name="T53" fmla="*/ 106 h 164"/>
                  <a:gd name="T54" fmla="*/ 106 w 134"/>
                  <a:gd name="T55" fmla="*/ 95 h 164"/>
                  <a:gd name="T56" fmla="*/ 115 w 134"/>
                  <a:gd name="T57" fmla="*/ 85 h 164"/>
                  <a:gd name="T58" fmla="*/ 118 w 134"/>
                  <a:gd name="T59" fmla="*/ 64 h 164"/>
                  <a:gd name="T60" fmla="*/ 126 w 134"/>
                  <a:gd name="T61" fmla="*/ 52 h 164"/>
                  <a:gd name="T62" fmla="*/ 129 w 134"/>
                  <a:gd name="T63" fmla="*/ 40 h 164"/>
                  <a:gd name="T64" fmla="*/ 122 w 134"/>
                  <a:gd name="T65" fmla="*/ 14 h 164"/>
                  <a:gd name="T66" fmla="*/ 110 w 134"/>
                  <a:gd name="T67" fmla="*/ 0 h 164"/>
                  <a:gd name="T68" fmla="*/ 106 w 134"/>
                  <a:gd name="T69" fmla="*/ 3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34" h="164">
                    <a:moveTo>
                      <a:pt x="106" y="3"/>
                    </a:moveTo>
                    <a:cubicBezTo>
                      <a:pt x="104" y="3"/>
                      <a:pt x="104" y="9"/>
                      <a:pt x="101" y="9"/>
                    </a:cubicBezTo>
                    <a:cubicBezTo>
                      <a:pt x="97" y="9"/>
                      <a:pt x="98" y="12"/>
                      <a:pt x="96" y="12"/>
                    </a:cubicBezTo>
                    <a:cubicBezTo>
                      <a:pt x="94" y="12"/>
                      <a:pt x="92" y="10"/>
                      <a:pt x="92" y="10"/>
                    </a:cubicBezTo>
                    <a:cubicBezTo>
                      <a:pt x="81" y="10"/>
                      <a:pt x="81" y="10"/>
                      <a:pt x="81" y="10"/>
                    </a:cubicBezTo>
                    <a:cubicBezTo>
                      <a:pt x="81" y="10"/>
                      <a:pt x="79" y="8"/>
                      <a:pt x="77" y="9"/>
                    </a:cubicBezTo>
                    <a:cubicBezTo>
                      <a:pt x="76" y="10"/>
                      <a:pt x="75" y="11"/>
                      <a:pt x="75" y="11"/>
                    </a:cubicBezTo>
                    <a:cubicBezTo>
                      <a:pt x="25" y="11"/>
                      <a:pt x="25" y="11"/>
                      <a:pt x="25" y="11"/>
                    </a:cubicBezTo>
                    <a:cubicBezTo>
                      <a:pt x="25" y="20"/>
                      <a:pt x="25" y="27"/>
                      <a:pt x="25" y="27"/>
                    </a:cubicBezTo>
                    <a:cubicBezTo>
                      <a:pt x="18" y="27"/>
                      <a:pt x="18" y="27"/>
                      <a:pt x="18" y="27"/>
                    </a:cubicBezTo>
                    <a:cubicBezTo>
                      <a:pt x="18" y="54"/>
                      <a:pt x="18" y="54"/>
                      <a:pt x="18" y="54"/>
                    </a:cubicBezTo>
                    <a:cubicBezTo>
                      <a:pt x="18" y="54"/>
                      <a:pt x="19" y="62"/>
                      <a:pt x="17" y="62"/>
                    </a:cubicBezTo>
                    <a:cubicBezTo>
                      <a:pt x="16" y="63"/>
                      <a:pt x="10" y="64"/>
                      <a:pt x="10" y="67"/>
                    </a:cubicBezTo>
                    <a:cubicBezTo>
                      <a:pt x="10" y="69"/>
                      <a:pt x="10" y="71"/>
                      <a:pt x="7" y="72"/>
                    </a:cubicBezTo>
                    <a:cubicBezTo>
                      <a:pt x="5" y="72"/>
                      <a:pt x="7" y="78"/>
                      <a:pt x="4" y="78"/>
                    </a:cubicBezTo>
                    <a:cubicBezTo>
                      <a:pt x="0" y="78"/>
                      <a:pt x="5" y="82"/>
                      <a:pt x="3" y="84"/>
                    </a:cubicBezTo>
                    <a:cubicBezTo>
                      <a:pt x="1" y="85"/>
                      <a:pt x="2" y="88"/>
                      <a:pt x="4" y="88"/>
                    </a:cubicBezTo>
                    <a:cubicBezTo>
                      <a:pt x="7" y="88"/>
                      <a:pt x="6" y="91"/>
                      <a:pt x="6" y="94"/>
                    </a:cubicBezTo>
                    <a:cubicBezTo>
                      <a:pt x="6" y="97"/>
                      <a:pt x="10" y="99"/>
                      <a:pt x="10" y="99"/>
                    </a:cubicBezTo>
                    <a:cubicBezTo>
                      <a:pt x="9" y="102"/>
                      <a:pt x="9" y="102"/>
                      <a:pt x="9" y="102"/>
                    </a:cubicBezTo>
                    <a:cubicBezTo>
                      <a:pt x="9" y="102"/>
                      <a:pt x="14" y="109"/>
                      <a:pt x="15" y="110"/>
                    </a:cubicBezTo>
                    <a:cubicBezTo>
                      <a:pt x="15" y="112"/>
                      <a:pt x="18" y="116"/>
                      <a:pt x="15" y="117"/>
                    </a:cubicBezTo>
                    <a:cubicBezTo>
                      <a:pt x="12" y="119"/>
                      <a:pt x="14" y="120"/>
                      <a:pt x="14" y="120"/>
                    </a:cubicBezTo>
                    <a:cubicBezTo>
                      <a:pt x="18" y="121"/>
                      <a:pt x="18" y="121"/>
                      <a:pt x="18" y="121"/>
                    </a:cubicBezTo>
                    <a:cubicBezTo>
                      <a:pt x="19" y="123"/>
                      <a:pt x="19" y="123"/>
                      <a:pt x="19" y="123"/>
                    </a:cubicBezTo>
                    <a:cubicBezTo>
                      <a:pt x="19" y="123"/>
                      <a:pt x="22" y="123"/>
                      <a:pt x="25" y="126"/>
                    </a:cubicBezTo>
                    <a:cubicBezTo>
                      <a:pt x="27" y="129"/>
                      <a:pt x="28" y="130"/>
                      <a:pt x="28" y="131"/>
                    </a:cubicBezTo>
                    <a:cubicBezTo>
                      <a:pt x="28" y="133"/>
                      <a:pt x="30" y="133"/>
                      <a:pt x="33" y="136"/>
                    </a:cubicBezTo>
                    <a:cubicBezTo>
                      <a:pt x="36" y="138"/>
                      <a:pt x="36" y="140"/>
                      <a:pt x="36" y="141"/>
                    </a:cubicBezTo>
                    <a:cubicBezTo>
                      <a:pt x="36" y="143"/>
                      <a:pt x="42" y="145"/>
                      <a:pt x="42" y="145"/>
                    </a:cubicBezTo>
                    <a:cubicBezTo>
                      <a:pt x="44" y="150"/>
                      <a:pt x="44" y="150"/>
                      <a:pt x="44" y="150"/>
                    </a:cubicBezTo>
                    <a:cubicBezTo>
                      <a:pt x="45" y="150"/>
                      <a:pt x="45" y="151"/>
                      <a:pt x="46" y="152"/>
                    </a:cubicBezTo>
                    <a:cubicBezTo>
                      <a:pt x="47" y="154"/>
                      <a:pt x="49" y="156"/>
                      <a:pt x="49" y="156"/>
                    </a:cubicBezTo>
                    <a:cubicBezTo>
                      <a:pt x="49" y="156"/>
                      <a:pt x="52" y="158"/>
                      <a:pt x="54" y="156"/>
                    </a:cubicBezTo>
                    <a:cubicBezTo>
                      <a:pt x="56" y="154"/>
                      <a:pt x="59" y="156"/>
                      <a:pt x="59" y="156"/>
                    </a:cubicBezTo>
                    <a:cubicBezTo>
                      <a:pt x="59" y="156"/>
                      <a:pt x="61" y="154"/>
                      <a:pt x="63" y="155"/>
                    </a:cubicBezTo>
                    <a:cubicBezTo>
                      <a:pt x="64" y="156"/>
                      <a:pt x="68" y="160"/>
                      <a:pt x="72" y="163"/>
                    </a:cubicBezTo>
                    <a:cubicBezTo>
                      <a:pt x="73" y="163"/>
                      <a:pt x="76" y="161"/>
                      <a:pt x="78" y="161"/>
                    </a:cubicBezTo>
                    <a:cubicBezTo>
                      <a:pt x="80" y="161"/>
                      <a:pt x="82" y="164"/>
                      <a:pt x="83" y="163"/>
                    </a:cubicBezTo>
                    <a:cubicBezTo>
                      <a:pt x="84" y="162"/>
                      <a:pt x="87" y="160"/>
                      <a:pt x="89" y="161"/>
                    </a:cubicBezTo>
                    <a:cubicBezTo>
                      <a:pt x="90" y="162"/>
                      <a:pt x="94" y="162"/>
                      <a:pt x="94" y="161"/>
                    </a:cubicBezTo>
                    <a:cubicBezTo>
                      <a:pt x="94" y="160"/>
                      <a:pt x="95" y="159"/>
                      <a:pt x="97" y="158"/>
                    </a:cubicBezTo>
                    <a:cubicBezTo>
                      <a:pt x="97" y="158"/>
                      <a:pt x="97" y="157"/>
                      <a:pt x="98" y="157"/>
                    </a:cubicBezTo>
                    <a:cubicBezTo>
                      <a:pt x="98" y="155"/>
                      <a:pt x="102" y="153"/>
                      <a:pt x="104" y="153"/>
                    </a:cubicBezTo>
                    <a:cubicBezTo>
                      <a:pt x="106" y="152"/>
                      <a:pt x="108" y="152"/>
                      <a:pt x="109" y="153"/>
                    </a:cubicBezTo>
                    <a:cubicBezTo>
                      <a:pt x="109" y="154"/>
                      <a:pt x="110" y="154"/>
                      <a:pt x="111" y="154"/>
                    </a:cubicBezTo>
                    <a:cubicBezTo>
                      <a:pt x="111" y="150"/>
                      <a:pt x="112" y="147"/>
                      <a:pt x="111" y="147"/>
                    </a:cubicBezTo>
                    <a:cubicBezTo>
                      <a:pt x="109" y="147"/>
                      <a:pt x="105" y="145"/>
                      <a:pt x="103" y="141"/>
                    </a:cubicBezTo>
                    <a:cubicBezTo>
                      <a:pt x="102" y="137"/>
                      <a:pt x="97" y="135"/>
                      <a:pt x="96" y="132"/>
                    </a:cubicBezTo>
                    <a:cubicBezTo>
                      <a:pt x="95" y="130"/>
                      <a:pt x="90" y="130"/>
                      <a:pt x="89" y="128"/>
                    </a:cubicBezTo>
                    <a:cubicBezTo>
                      <a:pt x="88" y="126"/>
                      <a:pt x="91" y="126"/>
                      <a:pt x="91" y="124"/>
                    </a:cubicBezTo>
                    <a:cubicBezTo>
                      <a:pt x="91" y="121"/>
                      <a:pt x="96" y="123"/>
                      <a:pt x="97" y="122"/>
                    </a:cubicBezTo>
                    <a:cubicBezTo>
                      <a:pt x="97" y="122"/>
                      <a:pt x="98" y="116"/>
                      <a:pt x="98" y="113"/>
                    </a:cubicBezTo>
                    <a:cubicBezTo>
                      <a:pt x="98" y="110"/>
                      <a:pt x="102" y="108"/>
                      <a:pt x="100" y="106"/>
                    </a:cubicBezTo>
                    <a:cubicBezTo>
                      <a:pt x="99" y="105"/>
                      <a:pt x="102" y="104"/>
                      <a:pt x="104" y="103"/>
                    </a:cubicBezTo>
                    <a:cubicBezTo>
                      <a:pt x="106" y="101"/>
                      <a:pt x="104" y="97"/>
                      <a:pt x="106" y="95"/>
                    </a:cubicBezTo>
                    <a:cubicBezTo>
                      <a:pt x="108" y="93"/>
                      <a:pt x="110" y="89"/>
                      <a:pt x="111" y="89"/>
                    </a:cubicBezTo>
                    <a:cubicBezTo>
                      <a:pt x="113" y="89"/>
                      <a:pt x="115" y="87"/>
                      <a:pt x="115" y="85"/>
                    </a:cubicBezTo>
                    <a:cubicBezTo>
                      <a:pt x="115" y="83"/>
                      <a:pt x="118" y="79"/>
                      <a:pt x="118" y="75"/>
                    </a:cubicBezTo>
                    <a:cubicBezTo>
                      <a:pt x="117" y="72"/>
                      <a:pt x="116" y="67"/>
                      <a:pt x="118" y="64"/>
                    </a:cubicBezTo>
                    <a:cubicBezTo>
                      <a:pt x="121" y="61"/>
                      <a:pt x="122" y="59"/>
                      <a:pt x="121" y="56"/>
                    </a:cubicBezTo>
                    <a:cubicBezTo>
                      <a:pt x="121" y="54"/>
                      <a:pt x="124" y="53"/>
                      <a:pt x="126" y="52"/>
                    </a:cubicBezTo>
                    <a:cubicBezTo>
                      <a:pt x="127" y="51"/>
                      <a:pt x="131" y="49"/>
                      <a:pt x="134" y="45"/>
                    </a:cubicBezTo>
                    <a:cubicBezTo>
                      <a:pt x="132" y="42"/>
                      <a:pt x="130" y="41"/>
                      <a:pt x="129" y="40"/>
                    </a:cubicBezTo>
                    <a:cubicBezTo>
                      <a:pt x="126" y="39"/>
                      <a:pt x="124" y="34"/>
                      <a:pt x="124" y="27"/>
                    </a:cubicBezTo>
                    <a:cubicBezTo>
                      <a:pt x="124" y="21"/>
                      <a:pt x="122" y="16"/>
                      <a:pt x="122" y="14"/>
                    </a:cubicBezTo>
                    <a:cubicBezTo>
                      <a:pt x="122" y="12"/>
                      <a:pt x="119" y="8"/>
                      <a:pt x="115" y="6"/>
                    </a:cubicBezTo>
                    <a:cubicBezTo>
                      <a:pt x="112" y="4"/>
                      <a:pt x="111" y="2"/>
                      <a:pt x="110" y="0"/>
                    </a:cubicBezTo>
                    <a:cubicBezTo>
                      <a:pt x="110" y="0"/>
                      <a:pt x="110" y="0"/>
                      <a:pt x="110" y="0"/>
                    </a:cubicBezTo>
                    <a:cubicBezTo>
                      <a:pt x="108" y="3"/>
                      <a:pt x="108" y="3"/>
                      <a:pt x="106" y="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7" name="Freeform 43">
                <a:extLst>
                  <a:ext uri="{FF2B5EF4-FFF2-40B4-BE49-F238E27FC236}">
                    <a16:creationId xmlns:a16="http://schemas.microsoft.com/office/drawing/2014/main" id="{F4D7AA82-BE90-40D2-BDA6-42017DACCE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83843" y="3848891"/>
                <a:ext cx="33878" cy="35132"/>
              </a:xfrm>
              <a:custGeom>
                <a:avLst/>
                <a:gdLst>
                  <a:gd name="T0" fmla="*/ 5 w 15"/>
                  <a:gd name="T1" fmla="*/ 2 h 15"/>
                  <a:gd name="T2" fmla="*/ 1 w 15"/>
                  <a:gd name="T3" fmla="*/ 7 h 15"/>
                  <a:gd name="T4" fmla="*/ 1 w 15"/>
                  <a:gd name="T5" fmla="*/ 14 h 15"/>
                  <a:gd name="T6" fmla="*/ 6 w 15"/>
                  <a:gd name="T7" fmla="*/ 14 h 15"/>
                  <a:gd name="T8" fmla="*/ 9 w 15"/>
                  <a:gd name="T9" fmla="*/ 15 h 15"/>
                  <a:gd name="T10" fmla="*/ 13 w 15"/>
                  <a:gd name="T11" fmla="*/ 11 h 15"/>
                  <a:gd name="T12" fmla="*/ 9 w 15"/>
                  <a:gd name="T13" fmla="*/ 9 h 15"/>
                  <a:gd name="T14" fmla="*/ 13 w 15"/>
                  <a:gd name="T15" fmla="*/ 6 h 15"/>
                  <a:gd name="T16" fmla="*/ 12 w 15"/>
                  <a:gd name="T17" fmla="*/ 1 h 15"/>
                  <a:gd name="T18" fmla="*/ 11 w 15"/>
                  <a:gd name="T19" fmla="*/ 0 h 15"/>
                  <a:gd name="T20" fmla="*/ 9 w 15"/>
                  <a:gd name="T21" fmla="*/ 1 h 15"/>
                  <a:gd name="T22" fmla="*/ 5 w 15"/>
                  <a:gd name="T23" fmla="*/ 2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" h="15">
                    <a:moveTo>
                      <a:pt x="5" y="2"/>
                    </a:moveTo>
                    <a:cubicBezTo>
                      <a:pt x="5" y="2"/>
                      <a:pt x="3" y="6"/>
                      <a:pt x="1" y="7"/>
                    </a:cubicBezTo>
                    <a:cubicBezTo>
                      <a:pt x="0" y="9"/>
                      <a:pt x="1" y="13"/>
                      <a:pt x="1" y="14"/>
                    </a:cubicBezTo>
                    <a:cubicBezTo>
                      <a:pt x="2" y="15"/>
                      <a:pt x="4" y="15"/>
                      <a:pt x="6" y="14"/>
                    </a:cubicBezTo>
                    <a:cubicBezTo>
                      <a:pt x="7" y="13"/>
                      <a:pt x="8" y="13"/>
                      <a:pt x="9" y="15"/>
                    </a:cubicBezTo>
                    <a:cubicBezTo>
                      <a:pt x="10" y="14"/>
                      <a:pt x="12" y="12"/>
                      <a:pt x="13" y="11"/>
                    </a:cubicBezTo>
                    <a:cubicBezTo>
                      <a:pt x="11" y="10"/>
                      <a:pt x="9" y="10"/>
                      <a:pt x="9" y="9"/>
                    </a:cubicBezTo>
                    <a:cubicBezTo>
                      <a:pt x="8" y="8"/>
                      <a:pt x="11" y="6"/>
                      <a:pt x="13" y="6"/>
                    </a:cubicBezTo>
                    <a:cubicBezTo>
                      <a:pt x="15" y="5"/>
                      <a:pt x="14" y="3"/>
                      <a:pt x="12" y="1"/>
                    </a:cubicBezTo>
                    <a:cubicBezTo>
                      <a:pt x="12" y="1"/>
                      <a:pt x="12" y="0"/>
                      <a:pt x="11" y="0"/>
                    </a:cubicBezTo>
                    <a:cubicBezTo>
                      <a:pt x="10" y="1"/>
                      <a:pt x="9" y="1"/>
                      <a:pt x="9" y="1"/>
                    </a:cubicBezTo>
                    <a:cubicBezTo>
                      <a:pt x="9" y="2"/>
                      <a:pt x="7" y="2"/>
                      <a:pt x="5" y="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8" name="Freeform 44">
                <a:extLst>
                  <a:ext uri="{FF2B5EF4-FFF2-40B4-BE49-F238E27FC236}">
                    <a16:creationId xmlns:a16="http://schemas.microsoft.com/office/drawing/2014/main" id="{AAD8FB33-12BF-4E0A-8311-5D3421690A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84719" y="3747258"/>
                <a:ext cx="124218" cy="106652"/>
              </a:xfrm>
              <a:custGeom>
                <a:avLst/>
                <a:gdLst>
                  <a:gd name="T0" fmla="*/ 10 w 54"/>
                  <a:gd name="T1" fmla="*/ 7 h 46"/>
                  <a:gd name="T2" fmla="*/ 5 w 54"/>
                  <a:gd name="T3" fmla="*/ 11 h 46"/>
                  <a:gd name="T4" fmla="*/ 2 w 54"/>
                  <a:gd name="T5" fmla="*/ 19 h 46"/>
                  <a:gd name="T6" fmla="*/ 2 w 54"/>
                  <a:gd name="T7" fmla="*/ 30 h 46"/>
                  <a:gd name="T8" fmla="*/ 9 w 54"/>
                  <a:gd name="T9" fmla="*/ 30 h 46"/>
                  <a:gd name="T10" fmla="*/ 11 w 54"/>
                  <a:gd name="T11" fmla="*/ 28 h 46"/>
                  <a:gd name="T12" fmla="*/ 15 w 54"/>
                  <a:gd name="T13" fmla="*/ 27 h 46"/>
                  <a:gd name="T14" fmla="*/ 20 w 54"/>
                  <a:gd name="T15" fmla="*/ 29 h 46"/>
                  <a:gd name="T16" fmla="*/ 23 w 54"/>
                  <a:gd name="T17" fmla="*/ 29 h 46"/>
                  <a:gd name="T18" fmla="*/ 31 w 54"/>
                  <a:gd name="T19" fmla="*/ 29 h 46"/>
                  <a:gd name="T20" fmla="*/ 48 w 54"/>
                  <a:gd name="T21" fmla="*/ 46 h 46"/>
                  <a:gd name="T22" fmla="*/ 48 w 54"/>
                  <a:gd name="T23" fmla="*/ 46 h 46"/>
                  <a:gd name="T24" fmla="*/ 52 w 54"/>
                  <a:gd name="T25" fmla="*/ 45 h 46"/>
                  <a:gd name="T26" fmla="*/ 54 w 54"/>
                  <a:gd name="T27" fmla="*/ 44 h 46"/>
                  <a:gd name="T28" fmla="*/ 46 w 54"/>
                  <a:gd name="T29" fmla="*/ 34 h 46"/>
                  <a:gd name="T30" fmla="*/ 33 w 54"/>
                  <a:gd name="T31" fmla="*/ 25 h 46"/>
                  <a:gd name="T32" fmla="*/ 28 w 54"/>
                  <a:gd name="T33" fmla="*/ 20 h 46"/>
                  <a:gd name="T34" fmla="*/ 22 w 54"/>
                  <a:gd name="T35" fmla="*/ 9 h 46"/>
                  <a:gd name="T36" fmla="*/ 18 w 54"/>
                  <a:gd name="T37" fmla="*/ 0 h 46"/>
                  <a:gd name="T38" fmla="*/ 10 w 54"/>
                  <a:gd name="T39" fmla="*/ 7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54" h="46">
                    <a:moveTo>
                      <a:pt x="10" y="7"/>
                    </a:moveTo>
                    <a:cubicBezTo>
                      <a:pt x="8" y="8"/>
                      <a:pt x="5" y="9"/>
                      <a:pt x="5" y="11"/>
                    </a:cubicBezTo>
                    <a:cubicBezTo>
                      <a:pt x="6" y="14"/>
                      <a:pt x="5" y="16"/>
                      <a:pt x="2" y="19"/>
                    </a:cubicBezTo>
                    <a:cubicBezTo>
                      <a:pt x="0" y="22"/>
                      <a:pt x="1" y="27"/>
                      <a:pt x="2" y="30"/>
                    </a:cubicBezTo>
                    <a:cubicBezTo>
                      <a:pt x="5" y="30"/>
                      <a:pt x="8" y="30"/>
                      <a:pt x="9" y="30"/>
                    </a:cubicBezTo>
                    <a:cubicBezTo>
                      <a:pt x="10" y="32"/>
                      <a:pt x="10" y="30"/>
                      <a:pt x="11" y="28"/>
                    </a:cubicBezTo>
                    <a:cubicBezTo>
                      <a:pt x="12" y="25"/>
                      <a:pt x="13" y="26"/>
                      <a:pt x="15" y="27"/>
                    </a:cubicBezTo>
                    <a:cubicBezTo>
                      <a:pt x="16" y="28"/>
                      <a:pt x="17" y="30"/>
                      <a:pt x="20" y="29"/>
                    </a:cubicBezTo>
                    <a:cubicBezTo>
                      <a:pt x="22" y="28"/>
                      <a:pt x="22" y="28"/>
                      <a:pt x="23" y="29"/>
                    </a:cubicBezTo>
                    <a:cubicBezTo>
                      <a:pt x="25" y="29"/>
                      <a:pt x="30" y="29"/>
                      <a:pt x="31" y="29"/>
                    </a:cubicBezTo>
                    <a:cubicBezTo>
                      <a:pt x="33" y="29"/>
                      <a:pt x="48" y="46"/>
                      <a:pt x="48" y="46"/>
                    </a:cubicBezTo>
                    <a:cubicBezTo>
                      <a:pt x="48" y="46"/>
                      <a:pt x="48" y="46"/>
                      <a:pt x="48" y="46"/>
                    </a:cubicBezTo>
                    <a:cubicBezTo>
                      <a:pt x="50" y="46"/>
                      <a:pt x="52" y="46"/>
                      <a:pt x="52" y="45"/>
                    </a:cubicBezTo>
                    <a:cubicBezTo>
                      <a:pt x="52" y="45"/>
                      <a:pt x="53" y="45"/>
                      <a:pt x="54" y="44"/>
                    </a:cubicBezTo>
                    <a:cubicBezTo>
                      <a:pt x="52" y="42"/>
                      <a:pt x="50" y="39"/>
                      <a:pt x="46" y="34"/>
                    </a:cubicBezTo>
                    <a:cubicBezTo>
                      <a:pt x="41" y="29"/>
                      <a:pt x="36" y="25"/>
                      <a:pt x="33" y="25"/>
                    </a:cubicBezTo>
                    <a:cubicBezTo>
                      <a:pt x="30" y="25"/>
                      <a:pt x="30" y="21"/>
                      <a:pt x="28" y="20"/>
                    </a:cubicBezTo>
                    <a:cubicBezTo>
                      <a:pt x="26" y="20"/>
                      <a:pt x="22" y="13"/>
                      <a:pt x="22" y="9"/>
                    </a:cubicBezTo>
                    <a:cubicBezTo>
                      <a:pt x="22" y="6"/>
                      <a:pt x="20" y="3"/>
                      <a:pt x="18" y="0"/>
                    </a:cubicBezTo>
                    <a:cubicBezTo>
                      <a:pt x="15" y="4"/>
                      <a:pt x="11" y="6"/>
                      <a:pt x="10" y="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9" name="Freeform 45">
                <a:extLst>
                  <a:ext uri="{FF2B5EF4-FFF2-40B4-BE49-F238E27FC236}">
                    <a16:creationId xmlns:a16="http://schemas.microsoft.com/office/drawing/2014/main" id="{98B96C6B-A698-4715-8B4F-5F313F2DA0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9473" y="3804975"/>
                <a:ext cx="279804" cy="219577"/>
              </a:xfrm>
              <a:custGeom>
                <a:avLst/>
                <a:gdLst>
                  <a:gd name="T0" fmla="*/ 8 w 121"/>
                  <a:gd name="T1" fmla="*/ 62 h 95"/>
                  <a:gd name="T2" fmla="*/ 15 w 121"/>
                  <a:gd name="T3" fmla="*/ 71 h 95"/>
                  <a:gd name="T4" fmla="*/ 23 w 121"/>
                  <a:gd name="T5" fmla="*/ 77 h 95"/>
                  <a:gd name="T6" fmla="*/ 23 w 121"/>
                  <a:gd name="T7" fmla="*/ 84 h 95"/>
                  <a:gd name="T8" fmla="*/ 25 w 121"/>
                  <a:gd name="T9" fmla="*/ 85 h 95"/>
                  <a:gd name="T10" fmla="*/ 34 w 121"/>
                  <a:gd name="T11" fmla="*/ 87 h 95"/>
                  <a:gd name="T12" fmla="*/ 43 w 121"/>
                  <a:gd name="T13" fmla="*/ 92 h 95"/>
                  <a:gd name="T14" fmla="*/ 52 w 121"/>
                  <a:gd name="T15" fmla="*/ 94 h 95"/>
                  <a:gd name="T16" fmla="*/ 58 w 121"/>
                  <a:gd name="T17" fmla="*/ 90 h 95"/>
                  <a:gd name="T18" fmla="*/ 64 w 121"/>
                  <a:gd name="T19" fmla="*/ 88 h 95"/>
                  <a:gd name="T20" fmla="*/ 68 w 121"/>
                  <a:gd name="T21" fmla="*/ 90 h 95"/>
                  <a:gd name="T22" fmla="*/ 72 w 121"/>
                  <a:gd name="T23" fmla="*/ 89 h 95"/>
                  <a:gd name="T24" fmla="*/ 79 w 121"/>
                  <a:gd name="T25" fmla="*/ 88 h 95"/>
                  <a:gd name="T26" fmla="*/ 89 w 121"/>
                  <a:gd name="T27" fmla="*/ 82 h 95"/>
                  <a:gd name="T28" fmla="*/ 98 w 121"/>
                  <a:gd name="T29" fmla="*/ 81 h 95"/>
                  <a:gd name="T30" fmla="*/ 120 w 121"/>
                  <a:gd name="T31" fmla="*/ 59 h 95"/>
                  <a:gd name="T32" fmla="*/ 117 w 121"/>
                  <a:gd name="T33" fmla="*/ 57 h 95"/>
                  <a:gd name="T34" fmla="*/ 106 w 121"/>
                  <a:gd name="T35" fmla="*/ 55 h 95"/>
                  <a:gd name="T36" fmla="*/ 90 w 121"/>
                  <a:gd name="T37" fmla="*/ 49 h 95"/>
                  <a:gd name="T38" fmla="*/ 84 w 121"/>
                  <a:gd name="T39" fmla="*/ 44 h 95"/>
                  <a:gd name="T40" fmla="*/ 79 w 121"/>
                  <a:gd name="T41" fmla="*/ 37 h 95"/>
                  <a:gd name="T42" fmla="*/ 80 w 121"/>
                  <a:gd name="T43" fmla="*/ 34 h 95"/>
                  <a:gd name="T44" fmla="*/ 77 w 121"/>
                  <a:gd name="T45" fmla="*/ 33 h 95"/>
                  <a:gd name="T46" fmla="*/ 72 w 121"/>
                  <a:gd name="T47" fmla="*/ 33 h 95"/>
                  <a:gd name="T48" fmla="*/ 72 w 121"/>
                  <a:gd name="T49" fmla="*/ 26 h 95"/>
                  <a:gd name="T50" fmla="*/ 76 w 121"/>
                  <a:gd name="T51" fmla="*/ 21 h 95"/>
                  <a:gd name="T52" fmla="*/ 59 w 121"/>
                  <a:gd name="T53" fmla="*/ 4 h 95"/>
                  <a:gd name="T54" fmla="*/ 51 w 121"/>
                  <a:gd name="T55" fmla="*/ 4 h 95"/>
                  <a:gd name="T56" fmla="*/ 48 w 121"/>
                  <a:gd name="T57" fmla="*/ 4 h 95"/>
                  <a:gd name="T58" fmla="*/ 43 w 121"/>
                  <a:gd name="T59" fmla="*/ 2 h 95"/>
                  <a:gd name="T60" fmla="*/ 39 w 121"/>
                  <a:gd name="T61" fmla="*/ 3 h 95"/>
                  <a:gd name="T62" fmla="*/ 37 w 121"/>
                  <a:gd name="T63" fmla="*/ 5 h 95"/>
                  <a:gd name="T64" fmla="*/ 30 w 121"/>
                  <a:gd name="T65" fmla="*/ 5 h 95"/>
                  <a:gd name="T66" fmla="*/ 30 w 121"/>
                  <a:gd name="T67" fmla="*/ 5 h 95"/>
                  <a:gd name="T68" fmla="*/ 27 w 121"/>
                  <a:gd name="T69" fmla="*/ 15 h 95"/>
                  <a:gd name="T70" fmla="*/ 23 w 121"/>
                  <a:gd name="T71" fmla="*/ 19 h 95"/>
                  <a:gd name="T72" fmla="*/ 18 w 121"/>
                  <a:gd name="T73" fmla="*/ 25 h 95"/>
                  <a:gd name="T74" fmla="*/ 16 w 121"/>
                  <a:gd name="T75" fmla="*/ 33 h 95"/>
                  <a:gd name="T76" fmla="*/ 12 w 121"/>
                  <a:gd name="T77" fmla="*/ 36 h 95"/>
                  <a:gd name="T78" fmla="*/ 10 w 121"/>
                  <a:gd name="T79" fmla="*/ 43 h 95"/>
                  <a:gd name="T80" fmla="*/ 9 w 121"/>
                  <a:gd name="T81" fmla="*/ 52 h 95"/>
                  <a:gd name="T82" fmla="*/ 3 w 121"/>
                  <a:gd name="T83" fmla="*/ 54 h 95"/>
                  <a:gd name="T84" fmla="*/ 1 w 121"/>
                  <a:gd name="T85" fmla="*/ 58 h 95"/>
                  <a:gd name="T86" fmla="*/ 8 w 121"/>
                  <a:gd name="T87" fmla="*/ 62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21" h="95">
                    <a:moveTo>
                      <a:pt x="8" y="62"/>
                    </a:moveTo>
                    <a:cubicBezTo>
                      <a:pt x="9" y="65"/>
                      <a:pt x="14" y="67"/>
                      <a:pt x="15" y="71"/>
                    </a:cubicBezTo>
                    <a:cubicBezTo>
                      <a:pt x="17" y="75"/>
                      <a:pt x="21" y="77"/>
                      <a:pt x="23" y="77"/>
                    </a:cubicBezTo>
                    <a:cubicBezTo>
                      <a:pt x="24" y="77"/>
                      <a:pt x="23" y="80"/>
                      <a:pt x="23" y="84"/>
                    </a:cubicBezTo>
                    <a:cubicBezTo>
                      <a:pt x="24" y="85"/>
                      <a:pt x="25" y="85"/>
                      <a:pt x="25" y="85"/>
                    </a:cubicBezTo>
                    <a:cubicBezTo>
                      <a:pt x="27" y="86"/>
                      <a:pt x="32" y="85"/>
                      <a:pt x="34" y="87"/>
                    </a:cubicBezTo>
                    <a:cubicBezTo>
                      <a:pt x="35" y="89"/>
                      <a:pt x="41" y="92"/>
                      <a:pt x="43" y="92"/>
                    </a:cubicBezTo>
                    <a:cubicBezTo>
                      <a:pt x="45" y="92"/>
                      <a:pt x="51" y="93"/>
                      <a:pt x="52" y="94"/>
                    </a:cubicBezTo>
                    <a:cubicBezTo>
                      <a:pt x="53" y="95"/>
                      <a:pt x="55" y="91"/>
                      <a:pt x="58" y="90"/>
                    </a:cubicBezTo>
                    <a:cubicBezTo>
                      <a:pt x="60" y="88"/>
                      <a:pt x="64" y="87"/>
                      <a:pt x="64" y="88"/>
                    </a:cubicBezTo>
                    <a:cubicBezTo>
                      <a:pt x="65" y="90"/>
                      <a:pt x="67" y="91"/>
                      <a:pt x="68" y="90"/>
                    </a:cubicBezTo>
                    <a:cubicBezTo>
                      <a:pt x="69" y="90"/>
                      <a:pt x="71" y="89"/>
                      <a:pt x="72" y="89"/>
                    </a:cubicBezTo>
                    <a:cubicBezTo>
                      <a:pt x="75" y="88"/>
                      <a:pt x="78" y="88"/>
                      <a:pt x="79" y="88"/>
                    </a:cubicBezTo>
                    <a:cubicBezTo>
                      <a:pt x="80" y="88"/>
                      <a:pt x="84" y="82"/>
                      <a:pt x="89" y="82"/>
                    </a:cubicBezTo>
                    <a:cubicBezTo>
                      <a:pt x="95" y="82"/>
                      <a:pt x="96" y="83"/>
                      <a:pt x="98" y="81"/>
                    </a:cubicBezTo>
                    <a:cubicBezTo>
                      <a:pt x="101" y="78"/>
                      <a:pt x="118" y="60"/>
                      <a:pt x="120" y="59"/>
                    </a:cubicBezTo>
                    <a:cubicBezTo>
                      <a:pt x="121" y="58"/>
                      <a:pt x="119" y="57"/>
                      <a:pt x="117" y="57"/>
                    </a:cubicBezTo>
                    <a:cubicBezTo>
                      <a:pt x="115" y="57"/>
                      <a:pt x="112" y="57"/>
                      <a:pt x="106" y="55"/>
                    </a:cubicBezTo>
                    <a:cubicBezTo>
                      <a:pt x="100" y="53"/>
                      <a:pt x="91" y="50"/>
                      <a:pt x="90" y="49"/>
                    </a:cubicBezTo>
                    <a:cubicBezTo>
                      <a:pt x="88" y="49"/>
                      <a:pt x="86" y="45"/>
                      <a:pt x="84" y="44"/>
                    </a:cubicBezTo>
                    <a:cubicBezTo>
                      <a:pt x="83" y="44"/>
                      <a:pt x="80" y="39"/>
                      <a:pt x="79" y="37"/>
                    </a:cubicBezTo>
                    <a:cubicBezTo>
                      <a:pt x="79" y="37"/>
                      <a:pt x="80" y="35"/>
                      <a:pt x="80" y="34"/>
                    </a:cubicBezTo>
                    <a:cubicBezTo>
                      <a:pt x="79" y="32"/>
                      <a:pt x="78" y="32"/>
                      <a:pt x="77" y="33"/>
                    </a:cubicBezTo>
                    <a:cubicBezTo>
                      <a:pt x="75" y="34"/>
                      <a:pt x="73" y="34"/>
                      <a:pt x="72" y="33"/>
                    </a:cubicBezTo>
                    <a:cubicBezTo>
                      <a:pt x="72" y="32"/>
                      <a:pt x="71" y="28"/>
                      <a:pt x="72" y="26"/>
                    </a:cubicBezTo>
                    <a:cubicBezTo>
                      <a:pt x="74" y="24"/>
                      <a:pt x="76" y="21"/>
                      <a:pt x="76" y="21"/>
                    </a:cubicBezTo>
                    <a:cubicBezTo>
                      <a:pt x="76" y="21"/>
                      <a:pt x="61" y="4"/>
                      <a:pt x="59" y="4"/>
                    </a:cubicBezTo>
                    <a:cubicBezTo>
                      <a:pt x="58" y="4"/>
                      <a:pt x="53" y="4"/>
                      <a:pt x="51" y="4"/>
                    </a:cubicBezTo>
                    <a:cubicBezTo>
                      <a:pt x="50" y="3"/>
                      <a:pt x="50" y="3"/>
                      <a:pt x="48" y="4"/>
                    </a:cubicBezTo>
                    <a:cubicBezTo>
                      <a:pt x="45" y="5"/>
                      <a:pt x="44" y="3"/>
                      <a:pt x="43" y="2"/>
                    </a:cubicBezTo>
                    <a:cubicBezTo>
                      <a:pt x="41" y="1"/>
                      <a:pt x="40" y="0"/>
                      <a:pt x="39" y="3"/>
                    </a:cubicBezTo>
                    <a:cubicBezTo>
                      <a:pt x="38" y="5"/>
                      <a:pt x="38" y="7"/>
                      <a:pt x="37" y="5"/>
                    </a:cubicBezTo>
                    <a:cubicBezTo>
                      <a:pt x="36" y="5"/>
                      <a:pt x="33" y="5"/>
                      <a:pt x="30" y="5"/>
                    </a:cubicBezTo>
                    <a:cubicBezTo>
                      <a:pt x="30" y="5"/>
                      <a:pt x="30" y="5"/>
                      <a:pt x="30" y="5"/>
                    </a:cubicBezTo>
                    <a:cubicBezTo>
                      <a:pt x="30" y="9"/>
                      <a:pt x="27" y="13"/>
                      <a:pt x="27" y="15"/>
                    </a:cubicBezTo>
                    <a:cubicBezTo>
                      <a:pt x="27" y="17"/>
                      <a:pt x="25" y="19"/>
                      <a:pt x="23" y="19"/>
                    </a:cubicBezTo>
                    <a:cubicBezTo>
                      <a:pt x="22" y="19"/>
                      <a:pt x="20" y="23"/>
                      <a:pt x="18" y="25"/>
                    </a:cubicBezTo>
                    <a:cubicBezTo>
                      <a:pt x="16" y="27"/>
                      <a:pt x="18" y="31"/>
                      <a:pt x="16" y="33"/>
                    </a:cubicBezTo>
                    <a:cubicBezTo>
                      <a:pt x="14" y="34"/>
                      <a:pt x="11" y="35"/>
                      <a:pt x="12" y="36"/>
                    </a:cubicBezTo>
                    <a:cubicBezTo>
                      <a:pt x="14" y="38"/>
                      <a:pt x="10" y="40"/>
                      <a:pt x="10" y="43"/>
                    </a:cubicBezTo>
                    <a:cubicBezTo>
                      <a:pt x="10" y="46"/>
                      <a:pt x="9" y="52"/>
                      <a:pt x="9" y="52"/>
                    </a:cubicBezTo>
                    <a:cubicBezTo>
                      <a:pt x="8" y="53"/>
                      <a:pt x="3" y="51"/>
                      <a:pt x="3" y="54"/>
                    </a:cubicBezTo>
                    <a:cubicBezTo>
                      <a:pt x="3" y="56"/>
                      <a:pt x="0" y="56"/>
                      <a:pt x="1" y="58"/>
                    </a:cubicBezTo>
                    <a:cubicBezTo>
                      <a:pt x="2" y="60"/>
                      <a:pt x="7" y="60"/>
                      <a:pt x="8" y="6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0" name="Freeform 46">
                <a:extLst>
                  <a:ext uri="{FF2B5EF4-FFF2-40B4-BE49-F238E27FC236}">
                    <a16:creationId xmlns:a16="http://schemas.microsoft.com/office/drawing/2014/main" id="{A6090E3A-43AE-4E03-9FB2-A622A4E572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63389" y="3408482"/>
                <a:ext cx="27604" cy="35132"/>
              </a:xfrm>
              <a:custGeom>
                <a:avLst/>
                <a:gdLst>
                  <a:gd name="T0" fmla="*/ 10 w 12"/>
                  <a:gd name="T1" fmla="*/ 7 h 15"/>
                  <a:gd name="T2" fmla="*/ 6 w 12"/>
                  <a:gd name="T3" fmla="*/ 0 h 15"/>
                  <a:gd name="T4" fmla="*/ 6 w 12"/>
                  <a:gd name="T5" fmla="*/ 2 h 15"/>
                  <a:gd name="T6" fmla="*/ 0 w 12"/>
                  <a:gd name="T7" fmla="*/ 14 h 15"/>
                  <a:gd name="T8" fmla="*/ 4 w 12"/>
                  <a:gd name="T9" fmla="*/ 15 h 15"/>
                  <a:gd name="T10" fmla="*/ 10 w 12"/>
                  <a:gd name="T11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" h="15">
                    <a:moveTo>
                      <a:pt x="10" y="7"/>
                    </a:moveTo>
                    <a:cubicBezTo>
                      <a:pt x="12" y="5"/>
                      <a:pt x="12" y="0"/>
                      <a:pt x="6" y="0"/>
                    </a:cubicBezTo>
                    <a:cubicBezTo>
                      <a:pt x="6" y="1"/>
                      <a:pt x="6" y="1"/>
                      <a:pt x="6" y="2"/>
                    </a:cubicBezTo>
                    <a:cubicBezTo>
                      <a:pt x="6" y="4"/>
                      <a:pt x="2" y="9"/>
                      <a:pt x="0" y="14"/>
                    </a:cubicBezTo>
                    <a:cubicBezTo>
                      <a:pt x="4" y="15"/>
                      <a:pt x="4" y="15"/>
                      <a:pt x="4" y="15"/>
                    </a:cubicBezTo>
                    <a:cubicBezTo>
                      <a:pt x="6" y="12"/>
                      <a:pt x="9" y="8"/>
                      <a:pt x="10" y="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1" name="Freeform 47">
                <a:extLst>
                  <a:ext uri="{FF2B5EF4-FFF2-40B4-BE49-F238E27FC236}">
                    <a16:creationId xmlns:a16="http://schemas.microsoft.com/office/drawing/2014/main" id="{7C81DFD2-D99E-4375-944B-7DB815B46D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73427" y="3358293"/>
                <a:ext cx="126727" cy="101633"/>
              </a:xfrm>
              <a:custGeom>
                <a:avLst/>
                <a:gdLst>
                  <a:gd name="T0" fmla="*/ 6 w 55"/>
                  <a:gd name="T1" fmla="*/ 29 h 44"/>
                  <a:gd name="T2" fmla="*/ 0 w 55"/>
                  <a:gd name="T3" fmla="*/ 37 h 44"/>
                  <a:gd name="T4" fmla="*/ 0 w 55"/>
                  <a:gd name="T5" fmla="*/ 37 h 44"/>
                  <a:gd name="T6" fmla="*/ 1 w 55"/>
                  <a:gd name="T7" fmla="*/ 40 h 44"/>
                  <a:gd name="T8" fmla="*/ 8 w 55"/>
                  <a:gd name="T9" fmla="*/ 44 h 44"/>
                  <a:gd name="T10" fmla="*/ 16 w 55"/>
                  <a:gd name="T11" fmla="*/ 40 h 44"/>
                  <a:gd name="T12" fmla="*/ 43 w 55"/>
                  <a:gd name="T13" fmla="*/ 26 h 44"/>
                  <a:gd name="T14" fmla="*/ 45 w 55"/>
                  <a:gd name="T15" fmla="*/ 21 h 44"/>
                  <a:gd name="T16" fmla="*/ 46 w 55"/>
                  <a:gd name="T17" fmla="*/ 15 h 44"/>
                  <a:gd name="T18" fmla="*/ 45 w 55"/>
                  <a:gd name="T19" fmla="*/ 8 h 44"/>
                  <a:gd name="T20" fmla="*/ 50 w 55"/>
                  <a:gd name="T21" fmla="*/ 4 h 44"/>
                  <a:gd name="T22" fmla="*/ 55 w 55"/>
                  <a:gd name="T23" fmla="*/ 1 h 44"/>
                  <a:gd name="T24" fmla="*/ 52 w 55"/>
                  <a:gd name="T25" fmla="*/ 0 h 44"/>
                  <a:gd name="T26" fmla="*/ 43 w 55"/>
                  <a:gd name="T27" fmla="*/ 1 h 44"/>
                  <a:gd name="T28" fmla="*/ 32 w 55"/>
                  <a:gd name="T29" fmla="*/ 4 h 44"/>
                  <a:gd name="T30" fmla="*/ 23 w 55"/>
                  <a:gd name="T31" fmla="*/ 4 h 44"/>
                  <a:gd name="T32" fmla="*/ 18 w 55"/>
                  <a:gd name="T33" fmla="*/ 5 h 44"/>
                  <a:gd name="T34" fmla="*/ 11 w 55"/>
                  <a:gd name="T35" fmla="*/ 5 h 44"/>
                  <a:gd name="T36" fmla="*/ 8 w 55"/>
                  <a:gd name="T37" fmla="*/ 7 h 44"/>
                  <a:gd name="T38" fmla="*/ 3 w 55"/>
                  <a:gd name="T39" fmla="*/ 12 h 44"/>
                  <a:gd name="T40" fmla="*/ 3 w 55"/>
                  <a:gd name="T41" fmla="*/ 16 h 44"/>
                  <a:gd name="T42" fmla="*/ 2 w 55"/>
                  <a:gd name="T43" fmla="*/ 22 h 44"/>
                  <a:gd name="T44" fmla="*/ 6 w 55"/>
                  <a:gd name="T45" fmla="*/ 29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55" h="44">
                    <a:moveTo>
                      <a:pt x="6" y="29"/>
                    </a:moveTo>
                    <a:cubicBezTo>
                      <a:pt x="5" y="30"/>
                      <a:pt x="2" y="34"/>
                      <a:pt x="0" y="37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1" y="40"/>
                      <a:pt x="1" y="40"/>
                      <a:pt x="1" y="40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8" y="44"/>
                      <a:pt x="14" y="40"/>
                      <a:pt x="16" y="40"/>
                    </a:cubicBezTo>
                    <a:cubicBezTo>
                      <a:pt x="18" y="40"/>
                      <a:pt x="43" y="26"/>
                      <a:pt x="43" y="26"/>
                    </a:cubicBezTo>
                    <a:cubicBezTo>
                      <a:pt x="43" y="26"/>
                      <a:pt x="46" y="22"/>
                      <a:pt x="45" y="21"/>
                    </a:cubicBezTo>
                    <a:cubicBezTo>
                      <a:pt x="45" y="20"/>
                      <a:pt x="45" y="16"/>
                      <a:pt x="46" y="15"/>
                    </a:cubicBezTo>
                    <a:cubicBezTo>
                      <a:pt x="47" y="13"/>
                      <a:pt x="44" y="11"/>
                      <a:pt x="45" y="8"/>
                    </a:cubicBezTo>
                    <a:cubicBezTo>
                      <a:pt x="46" y="6"/>
                      <a:pt x="50" y="4"/>
                      <a:pt x="50" y="4"/>
                    </a:cubicBezTo>
                    <a:cubicBezTo>
                      <a:pt x="55" y="1"/>
                      <a:pt x="55" y="1"/>
                      <a:pt x="55" y="1"/>
                    </a:cubicBezTo>
                    <a:cubicBezTo>
                      <a:pt x="52" y="0"/>
                      <a:pt x="52" y="0"/>
                      <a:pt x="52" y="0"/>
                    </a:cubicBezTo>
                    <a:cubicBezTo>
                      <a:pt x="52" y="0"/>
                      <a:pt x="48" y="1"/>
                      <a:pt x="43" y="1"/>
                    </a:cubicBezTo>
                    <a:cubicBezTo>
                      <a:pt x="38" y="1"/>
                      <a:pt x="37" y="4"/>
                      <a:pt x="32" y="4"/>
                    </a:cubicBezTo>
                    <a:cubicBezTo>
                      <a:pt x="27" y="4"/>
                      <a:pt x="24" y="6"/>
                      <a:pt x="23" y="4"/>
                    </a:cubicBezTo>
                    <a:cubicBezTo>
                      <a:pt x="22" y="2"/>
                      <a:pt x="22" y="3"/>
                      <a:pt x="18" y="5"/>
                    </a:cubicBezTo>
                    <a:cubicBezTo>
                      <a:pt x="15" y="7"/>
                      <a:pt x="12" y="6"/>
                      <a:pt x="11" y="5"/>
                    </a:cubicBezTo>
                    <a:cubicBezTo>
                      <a:pt x="9" y="4"/>
                      <a:pt x="8" y="5"/>
                      <a:pt x="8" y="7"/>
                    </a:cubicBezTo>
                    <a:cubicBezTo>
                      <a:pt x="7" y="8"/>
                      <a:pt x="8" y="12"/>
                      <a:pt x="3" y="12"/>
                    </a:cubicBezTo>
                    <a:cubicBezTo>
                      <a:pt x="2" y="14"/>
                      <a:pt x="2" y="15"/>
                      <a:pt x="3" y="16"/>
                    </a:cubicBezTo>
                    <a:cubicBezTo>
                      <a:pt x="4" y="18"/>
                      <a:pt x="3" y="20"/>
                      <a:pt x="2" y="22"/>
                    </a:cubicBezTo>
                    <a:cubicBezTo>
                      <a:pt x="8" y="22"/>
                      <a:pt x="8" y="27"/>
                      <a:pt x="6" y="2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2" name="Freeform 48">
                <a:extLst>
                  <a:ext uri="{FF2B5EF4-FFF2-40B4-BE49-F238E27FC236}">
                    <a16:creationId xmlns:a16="http://schemas.microsoft.com/office/drawing/2014/main" id="{55C546C5-5962-4B14-BDB2-44F92F7B4E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42212" y="3334453"/>
                <a:ext cx="69010" cy="87831"/>
              </a:xfrm>
              <a:custGeom>
                <a:avLst/>
                <a:gdLst>
                  <a:gd name="T0" fmla="*/ 7 w 30"/>
                  <a:gd name="T1" fmla="*/ 3 h 38"/>
                  <a:gd name="T2" fmla="*/ 2 w 30"/>
                  <a:gd name="T3" fmla="*/ 7 h 38"/>
                  <a:gd name="T4" fmla="*/ 5 w 30"/>
                  <a:gd name="T5" fmla="*/ 11 h 38"/>
                  <a:gd name="T6" fmla="*/ 5 w 30"/>
                  <a:gd name="T7" fmla="*/ 14 h 38"/>
                  <a:gd name="T8" fmla="*/ 4 w 30"/>
                  <a:gd name="T9" fmla="*/ 22 h 38"/>
                  <a:gd name="T10" fmla="*/ 2 w 30"/>
                  <a:gd name="T11" fmla="*/ 32 h 38"/>
                  <a:gd name="T12" fmla="*/ 3 w 30"/>
                  <a:gd name="T13" fmla="*/ 37 h 38"/>
                  <a:gd name="T14" fmla="*/ 18 w 30"/>
                  <a:gd name="T15" fmla="*/ 32 h 38"/>
                  <a:gd name="T16" fmla="*/ 26 w 30"/>
                  <a:gd name="T17" fmla="*/ 29 h 38"/>
                  <a:gd name="T18" fmla="*/ 29 w 30"/>
                  <a:gd name="T19" fmla="*/ 25 h 38"/>
                  <a:gd name="T20" fmla="*/ 27 w 30"/>
                  <a:gd name="T21" fmla="*/ 14 h 38"/>
                  <a:gd name="T22" fmla="*/ 19 w 30"/>
                  <a:gd name="T23" fmla="*/ 0 h 38"/>
                  <a:gd name="T24" fmla="*/ 15 w 30"/>
                  <a:gd name="T25" fmla="*/ 2 h 38"/>
                  <a:gd name="T26" fmla="*/ 7 w 30"/>
                  <a:gd name="T27" fmla="*/ 3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0" h="38">
                    <a:moveTo>
                      <a:pt x="7" y="3"/>
                    </a:moveTo>
                    <a:cubicBezTo>
                      <a:pt x="6" y="4"/>
                      <a:pt x="4" y="5"/>
                      <a:pt x="2" y="7"/>
                    </a:cubicBezTo>
                    <a:cubicBezTo>
                      <a:pt x="3" y="8"/>
                      <a:pt x="3" y="11"/>
                      <a:pt x="5" y="11"/>
                    </a:cubicBezTo>
                    <a:cubicBezTo>
                      <a:pt x="7" y="11"/>
                      <a:pt x="7" y="15"/>
                      <a:pt x="5" y="14"/>
                    </a:cubicBezTo>
                    <a:cubicBezTo>
                      <a:pt x="2" y="14"/>
                      <a:pt x="2" y="18"/>
                      <a:pt x="4" y="22"/>
                    </a:cubicBezTo>
                    <a:cubicBezTo>
                      <a:pt x="7" y="26"/>
                      <a:pt x="0" y="30"/>
                      <a:pt x="2" y="32"/>
                    </a:cubicBezTo>
                    <a:cubicBezTo>
                      <a:pt x="3" y="34"/>
                      <a:pt x="2" y="36"/>
                      <a:pt x="3" y="37"/>
                    </a:cubicBezTo>
                    <a:cubicBezTo>
                      <a:pt x="4" y="38"/>
                      <a:pt x="14" y="36"/>
                      <a:pt x="18" y="32"/>
                    </a:cubicBezTo>
                    <a:cubicBezTo>
                      <a:pt x="22" y="27"/>
                      <a:pt x="24" y="28"/>
                      <a:pt x="26" y="29"/>
                    </a:cubicBezTo>
                    <a:cubicBezTo>
                      <a:pt x="28" y="29"/>
                      <a:pt x="30" y="27"/>
                      <a:pt x="29" y="25"/>
                    </a:cubicBezTo>
                    <a:cubicBezTo>
                      <a:pt x="28" y="23"/>
                      <a:pt x="27" y="19"/>
                      <a:pt x="27" y="14"/>
                    </a:cubicBezTo>
                    <a:cubicBezTo>
                      <a:pt x="27" y="10"/>
                      <a:pt x="23" y="5"/>
                      <a:pt x="19" y="0"/>
                    </a:cubicBezTo>
                    <a:cubicBezTo>
                      <a:pt x="17" y="1"/>
                      <a:pt x="16" y="2"/>
                      <a:pt x="15" y="2"/>
                    </a:cubicBezTo>
                    <a:cubicBezTo>
                      <a:pt x="12" y="2"/>
                      <a:pt x="8" y="2"/>
                      <a:pt x="7" y="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3" name="Freeform 49">
                <a:extLst>
                  <a:ext uri="{FF2B5EF4-FFF2-40B4-BE49-F238E27FC236}">
                    <a16:creationId xmlns:a16="http://schemas.microsoft.com/office/drawing/2014/main" id="{13D6A0AA-CB35-43E0-8E21-0BCD410036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43330" y="3584144"/>
                <a:ext cx="82812" cy="107906"/>
              </a:xfrm>
              <a:custGeom>
                <a:avLst/>
                <a:gdLst>
                  <a:gd name="T0" fmla="*/ 36 w 36"/>
                  <a:gd name="T1" fmla="*/ 39 h 47"/>
                  <a:gd name="T2" fmla="*/ 33 w 36"/>
                  <a:gd name="T3" fmla="*/ 24 h 47"/>
                  <a:gd name="T4" fmla="*/ 27 w 36"/>
                  <a:gd name="T5" fmla="*/ 30 h 47"/>
                  <a:gd name="T6" fmla="*/ 27 w 36"/>
                  <a:gd name="T7" fmla="*/ 21 h 47"/>
                  <a:gd name="T8" fmla="*/ 34 w 36"/>
                  <a:gd name="T9" fmla="*/ 13 h 47"/>
                  <a:gd name="T10" fmla="*/ 28 w 36"/>
                  <a:gd name="T11" fmla="*/ 11 h 47"/>
                  <a:gd name="T12" fmla="*/ 19 w 36"/>
                  <a:gd name="T13" fmla="*/ 12 h 47"/>
                  <a:gd name="T14" fmla="*/ 15 w 36"/>
                  <a:gd name="T15" fmla="*/ 8 h 47"/>
                  <a:gd name="T16" fmla="*/ 10 w 36"/>
                  <a:gd name="T17" fmla="*/ 3 h 47"/>
                  <a:gd name="T18" fmla="*/ 3 w 36"/>
                  <a:gd name="T19" fmla="*/ 3 h 47"/>
                  <a:gd name="T20" fmla="*/ 8 w 36"/>
                  <a:gd name="T21" fmla="*/ 10 h 47"/>
                  <a:gd name="T22" fmla="*/ 4 w 36"/>
                  <a:gd name="T23" fmla="*/ 14 h 47"/>
                  <a:gd name="T24" fmla="*/ 6 w 36"/>
                  <a:gd name="T25" fmla="*/ 26 h 47"/>
                  <a:gd name="T26" fmla="*/ 9 w 36"/>
                  <a:gd name="T27" fmla="*/ 40 h 47"/>
                  <a:gd name="T28" fmla="*/ 14 w 36"/>
                  <a:gd name="T29" fmla="*/ 39 h 47"/>
                  <a:gd name="T30" fmla="*/ 20 w 36"/>
                  <a:gd name="T31" fmla="*/ 36 h 47"/>
                  <a:gd name="T32" fmla="*/ 25 w 36"/>
                  <a:gd name="T33" fmla="*/ 32 h 47"/>
                  <a:gd name="T34" fmla="*/ 30 w 36"/>
                  <a:gd name="T35" fmla="*/ 43 h 47"/>
                  <a:gd name="T36" fmla="*/ 31 w 36"/>
                  <a:gd name="T37" fmla="*/ 47 h 47"/>
                  <a:gd name="T38" fmla="*/ 34 w 36"/>
                  <a:gd name="T39" fmla="*/ 44 h 47"/>
                  <a:gd name="T40" fmla="*/ 36 w 36"/>
                  <a:gd name="T41" fmla="*/ 39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6" h="47">
                    <a:moveTo>
                      <a:pt x="36" y="39"/>
                    </a:moveTo>
                    <a:cubicBezTo>
                      <a:pt x="35" y="31"/>
                      <a:pt x="34" y="24"/>
                      <a:pt x="33" y="24"/>
                    </a:cubicBezTo>
                    <a:cubicBezTo>
                      <a:pt x="31" y="24"/>
                      <a:pt x="29" y="30"/>
                      <a:pt x="27" y="30"/>
                    </a:cubicBezTo>
                    <a:cubicBezTo>
                      <a:pt x="25" y="29"/>
                      <a:pt x="25" y="21"/>
                      <a:pt x="27" y="21"/>
                    </a:cubicBezTo>
                    <a:cubicBezTo>
                      <a:pt x="30" y="21"/>
                      <a:pt x="34" y="15"/>
                      <a:pt x="34" y="13"/>
                    </a:cubicBezTo>
                    <a:cubicBezTo>
                      <a:pt x="34" y="11"/>
                      <a:pt x="31" y="11"/>
                      <a:pt x="28" y="11"/>
                    </a:cubicBezTo>
                    <a:cubicBezTo>
                      <a:pt x="25" y="11"/>
                      <a:pt x="19" y="12"/>
                      <a:pt x="19" y="12"/>
                    </a:cubicBezTo>
                    <a:cubicBezTo>
                      <a:pt x="19" y="12"/>
                      <a:pt x="15" y="10"/>
                      <a:pt x="15" y="8"/>
                    </a:cubicBezTo>
                    <a:cubicBezTo>
                      <a:pt x="15" y="5"/>
                      <a:pt x="13" y="3"/>
                      <a:pt x="10" y="3"/>
                    </a:cubicBezTo>
                    <a:cubicBezTo>
                      <a:pt x="6" y="3"/>
                      <a:pt x="6" y="0"/>
                      <a:pt x="3" y="3"/>
                    </a:cubicBezTo>
                    <a:cubicBezTo>
                      <a:pt x="0" y="7"/>
                      <a:pt x="9" y="7"/>
                      <a:pt x="8" y="10"/>
                    </a:cubicBezTo>
                    <a:cubicBezTo>
                      <a:pt x="7" y="13"/>
                      <a:pt x="4" y="11"/>
                      <a:pt x="4" y="14"/>
                    </a:cubicBezTo>
                    <a:cubicBezTo>
                      <a:pt x="3" y="16"/>
                      <a:pt x="4" y="22"/>
                      <a:pt x="6" y="26"/>
                    </a:cubicBezTo>
                    <a:cubicBezTo>
                      <a:pt x="7" y="28"/>
                      <a:pt x="9" y="35"/>
                      <a:pt x="9" y="40"/>
                    </a:cubicBezTo>
                    <a:cubicBezTo>
                      <a:pt x="11" y="40"/>
                      <a:pt x="12" y="39"/>
                      <a:pt x="14" y="39"/>
                    </a:cubicBezTo>
                    <a:cubicBezTo>
                      <a:pt x="17" y="39"/>
                      <a:pt x="20" y="38"/>
                      <a:pt x="20" y="36"/>
                    </a:cubicBezTo>
                    <a:cubicBezTo>
                      <a:pt x="21" y="33"/>
                      <a:pt x="24" y="31"/>
                      <a:pt x="25" y="32"/>
                    </a:cubicBezTo>
                    <a:cubicBezTo>
                      <a:pt x="27" y="33"/>
                      <a:pt x="29" y="39"/>
                      <a:pt x="30" y="43"/>
                    </a:cubicBezTo>
                    <a:cubicBezTo>
                      <a:pt x="30" y="44"/>
                      <a:pt x="30" y="45"/>
                      <a:pt x="31" y="47"/>
                    </a:cubicBezTo>
                    <a:cubicBezTo>
                      <a:pt x="32" y="45"/>
                      <a:pt x="34" y="44"/>
                      <a:pt x="34" y="44"/>
                    </a:cubicBezTo>
                    <a:cubicBezTo>
                      <a:pt x="34" y="44"/>
                      <a:pt x="35" y="41"/>
                      <a:pt x="36" y="3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4" name="Freeform 50">
                <a:extLst>
                  <a:ext uri="{FF2B5EF4-FFF2-40B4-BE49-F238E27FC236}">
                    <a16:creationId xmlns:a16="http://schemas.microsoft.com/office/drawing/2014/main" id="{0B98670D-9916-499F-92AD-70CBDFD68E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88242" y="3397190"/>
                <a:ext cx="516947" cy="545806"/>
              </a:xfrm>
              <a:custGeom>
                <a:avLst/>
                <a:gdLst>
                  <a:gd name="T0" fmla="*/ 158 w 224"/>
                  <a:gd name="T1" fmla="*/ 95 h 237"/>
                  <a:gd name="T2" fmla="*/ 157 w 224"/>
                  <a:gd name="T3" fmla="*/ 84 h 237"/>
                  <a:gd name="T4" fmla="*/ 169 w 224"/>
                  <a:gd name="T5" fmla="*/ 89 h 237"/>
                  <a:gd name="T6" fmla="*/ 182 w 224"/>
                  <a:gd name="T7" fmla="*/ 92 h 237"/>
                  <a:gd name="T8" fmla="*/ 181 w 224"/>
                  <a:gd name="T9" fmla="*/ 102 h 237"/>
                  <a:gd name="T10" fmla="*/ 187 w 224"/>
                  <a:gd name="T11" fmla="*/ 105 h 237"/>
                  <a:gd name="T12" fmla="*/ 191 w 224"/>
                  <a:gd name="T13" fmla="*/ 119 h 237"/>
                  <a:gd name="T14" fmla="*/ 195 w 224"/>
                  <a:gd name="T15" fmla="*/ 103 h 237"/>
                  <a:gd name="T16" fmla="*/ 204 w 224"/>
                  <a:gd name="T17" fmla="*/ 93 h 237"/>
                  <a:gd name="T18" fmla="*/ 212 w 224"/>
                  <a:gd name="T19" fmla="*/ 77 h 237"/>
                  <a:gd name="T20" fmla="*/ 222 w 224"/>
                  <a:gd name="T21" fmla="*/ 74 h 237"/>
                  <a:gd name="T22" fmla="*/ 223 w 224"/>
                  <a:gd name="T23" fmla="*/ 65 h 237"/>
                  <a:gd name="T24" fmla="*/ 215 w 224"/>
                  <a:gd name="T25" fmla="*/ 57 h 237"/>
                  <a:gd name="T26" fmla="*/ 202 w 224"/>
                  <a:gd name="T27" fmla="*/ 58 h 237"/>
                  <a:gd name="T28" fmla="*/ 191 w 224"/>
                  <a:gd name="T29" fmla="*/ 66 h 237"/>
                  <a:gd name="T30" fmla="*/ 184 w 224"/>
                  <a:gd name="T31" fmla="*/ 71 h 237"/>
                  <a:gd name="T32" fmla="*/ 177 w 224"/>
                  <a:gd name="T33" fmla="*/ 79 h 237"/>
                  <a:gd name="T34" fmla="*/ 164 w 224"/>
                  <a:gd name="T35" fmla="*/ 77 h 237"/>
                  <a:gd name="T36" fmla="*/ 158 w 224"/>
                  <a:gd name="T37" fmla="*/ 67 h 237"/>
                  <a:gd name="T38" fmla="*/ 155 w 224"/>
                  <a:gd name="T39" fmla="*/ 79 h 237"/>
                  <a:gd name="T40" fmla="*/ 131 w 224"/>
                  <a:gd name="T41" fmla="*/ 77 h 237"/>
                  <a:gd name="T42" fmla="*/ 118 w 224"/>
                  <a:gd name="T43" fmla="*/ 73 h 237"/>
                  <a:gd name="T44" fmla="*/ 106 w 224"/>
                  <a:gd name="T45" fmla="*/ 66 h 237"/>
                  <a:gd name="T46" fmla="*/ 95 w 224"/>
                  <a:gd name="T47" fmla="*/ 60 h 237"/>
                  <a:gd name="T48" fmla="*/ 100 w 224"/>
                  <a:gd name="T49" fmla="*/ 49 h 237"/>
                  <a:gd name="T50" fmla="*/ 92 w 224"/>
                  <a:gd name="T51" fmla="*/ 41 h 237"/>
                  <a:gd name="T52" fmla="*/ 83 w 224"/>
                  <a:gd name="T53" fmla="*/ 30 h 237"/>
                  <a:gd name="T54" fmla="*/ 89 w 224"/>
                  <a:gd name="T55" fmla="*/ 24 h 237"/>
                  <a:gd name="T56" fmla="*/ 84 w 224"/>
                  <a:gd name="T57" fmla="*/ 9 h 237"/>
                  <a:gd name="T58" fmla="*/ 77 w 224"/>
                  <a:gd name="T59" fmla="*/ 0 h 237"/>
                  <a:gd name="T60" fmla="*/ 70 w 224"/>
                  <a:gd name="T61" fmla="*/ 6 h 237"/>
                  <a:gd name="T62" fmla="*/ 50 w 224"/>
                  <a:gd name="T63" fmla="*/ 7 h 237"/>
                  <a:gd name="T64" fmla="*/ 47 w 224"/>
                  <a:gd name="T65" fmla="*/ 19 h 237"/>
                  <a:gd name="T66" fmla="*/ 56 w 224"/>
                  <a:gd name="T67" fmla="*/ 30 h 237"/>
                  <a:gd name="T68" fmla="*/ 50 w 224"/>
                  <a:gd name="T69" fmla="*/ 42 h 237"/>
                  <a:gd name="T70" fmla="*/ 42 w 224"/>
                  <a:gd name="T71" fmla="*/ 51 h 237"/>
                  <a:gd name="T72" fmla="*/ 32 w 224"/>
                  <a:gd name="T73" fmla="*/ 63 h 237"/>
                  <a:gd name="T74" fmla="*/ 22 w 224"/>
                  <a:gd name="T75" fmla="*/ 70 h 237"/>
                  <a:gd name="T76" fmla="*/ 10 w 224"/>
                  <a:gd name="T77" fmla="*/ 77 h 237"/>
                  <a:gd name="T78" fmla="*/ 18 w 224"/>
                  <a:gd name="T79" fmla="*/ 91 h 237"/>
                  <a:gd name="T80" fmla="*/ 15 w 224"/>
                  <a:gd name="T81" fmla="*/ 99 h 237"/>
                  <a:gd name="T82" fmla="*/ 0 w 224"/>
                  <a:gd name="T83" fmla="*/ 105 h 237"/>
                  <a:gd name="T84" fmla="*/ 7 w 224"/>
                  <a:gd name="T85" fmla="*/ 112 h 237"/>
                  <a:gd name="T86" fmla="*/ 5 w 224"/>
                  <a:gd name="T87" fmla="*/ 116 h 237"/>
                  <a:gd name="T88" fmla="*/ 30 w 224"/>
                  <a:gd name="T89" fmla="*/ 122 h 237"/>
                  <a:gd name="T90" fmla="*/ 35 w 224"/>
                  <a:gd name="T91" fmla="*/ 126 h 237"/>
                  <a:gd name="T92" fmla="*/ 36 w 224"/>
                  <a:gd name="T93" fmla="*/ 147 h 237"/>
                  <a:gd name="T94" fmla="*/ 48 w 224"/>
                  <a:gd name="T95" fmla="*/ 183 h 237"/>
                  <a:gd name="T96" fmla="*/ 63 w 224"/>
                  <a:gd name="T97" fmla="*/ 221 h 237"/>
                  <a:gd name="T98" fmla="*/ 78 w 224"/>
                  <a:gd name="T99" fmla="*/ 230 h 237"/>
                  <a:gd name="T100" fmla="*/ 89 w 224"/>
                  <a:gd name="T101" fmla="*/ 217 h 237"/>
                  <a:gd name="T102" fmla="*/ 94 w 224"/>
                  <a:gd name="T103" fmla="*/ 201 h 237"/>
                  <a:gd name="T104" fmla="*/ 95 w 224"/>
                  <a:gd name="T105" fmla="*/ 178 h 237"/>
                  <a:gd name="T106" fmla="*/ 106 w 224"/>
                  <a:gd name="T107" fmla="*/ 166 h 237"/>
                  <a:gd name="T108" fmla="*/ 131 w 224"/>
                  <a:gd name="T109" fmla="*/ 143 h 237"/>
                  <a:gd name="T110" fmla="*/ 146 w 224"/>
                  <a:gd name="T111" fmla="*/ 126 h 237"/>
                  <a:gd name="T112" fmla="*/ 163 w 224"/>
                  <a:gd name="T113" fmla="*/ 121 h 2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224" h="237">
                    <a:moveTo>
                      <a:pt x="160" y="107"/>
                    </a:moveTo>
                    <a:cubicBezTo>
                      <a:pt x="158" y="103"/>
                      <a:pt x="157" y="97"/>
                      <a:pt x="158" y="95"/>
                    </a:cubicBezTo>
                    <a:cubicBezTo>
                      <a:pt x="158" y="92"/>
                      <a:pt x="161" y="94"/>
                      <a:pt x="162" y="91"/>
                    </a:cubicBezTo>
                    <a:cubicBezTo>
                      <a:pt x="163" y="88"/>
                      <a:pt x="154" y="88"/>
                      <a:pt x="157" y="84"/>
                    </a:cubicBezTo>
                    <a:cubicBezTo>
                      <a:pt x="160" y="81"/>
                      <a:pt x="160" y="84"/>
                      <a:pt x="164" y="84"/>
                    </a:cubicBezTo>
                    <a:cubicBezTo>
                      <a:pt x="167" y="84"/>
                      <a:pt x="169" y="86"/>
                      <a:pt x="169" y="89"/>
                    </a:cubicBezTo>
                    <a:cubicBezTo>
                      <a:pt x="169" y="91"/>
                      <a:pt x="173" y="93"/>
                      <a:pt x="173" y="93"/>
                    </a:cubicBezTo>
                    <a:cubicBezTo>
                      <a:pt x="173" y="93"/>
                      <a:pt x="179" y="92"/>
                      <a:pt x="182" y="92"/>
                    </a:cubicBezTo>
                    <a:cubicBezTo>
                      <a:pt x="185" y="92"/>
                      <a:pt x="188" y="92"/>
                      <a:pt x="188" y="94"/>
                    </a:cubicBezTo>
                    <a:cubicBezTo>
                      <a:pt x="188" y="96"/>
                      <a:pt x="184" y="102"/>
                      <a:pt x="181" y="102"/>
                    </a:cubicBezTo>
                    <a:cubicBezTo>
                      <a:pt x="179" y="102"/>
                      <a:pt x="179" y="110"/>
                      <a:pt x="181" y="111"/>
                    </a:cubicBezTo>
                    <a:cubicBezTo>
                      <a:pt x="183" y="111"/>
                      <a:pt x="185" y="105"/>
                      <a:pt x="187" y="105"/>
                    </a:cubicBezTo>
                    <a:cubicBezTo>
                      <a:pt x="188" y="105"/>
                      <a:pt x="189" y="112"/>
                      <a:pt x="190" y="120"/>
                    </a:cubicBezTo>
                    <a:cubicBezTo>
                      <a:pt x="190" y="120"/>
                      <a:pt x="191" y="119"/>
                      <a:pt x="191" y="119"/>
                    </a:cubicBezTo>
                    <a:cubicBezTo>
                      <a:pt x="193" y="119"/>
                      <a:pt x="192" y="113"/>
                      <a:pt x="193" y="111"/>
                    </a:cubicBezTo>
                    <a:cubicBezTo>
                      <a:pt x="195" y="109"/>
                      <a:pt x="194" y="103"/>
                      <a:pt x="195" y="103"/>
                    </a:cubicBezTo>
                    <a:cubicBezTo>
                      <a:pt x="196" y="103"/>
                      <a:pt x="202" y="105"/>
                      <a:pt x="201" y="103"/>
                    </a:cubicBezTo>
                    <a:cubicBezTo>
                      <a:pt x="201" y="102"/>
                      <a:pt x="205" y="96"/>
                      <a:pt x="204" y="93"/>
                    </a:cubicBezTo>
                    <a:cubicBezTo>
                      <a:pt x="204" y="91"/>
                      <a:pt x="206" y="87"/>
                      <a:pt x="206" y="84"/>
                    </a:cubicBezTo>
                    <a:cubicBezTo>
                      <a:pt x="206" y="80"/>
                      <a:pt x="210" y="79"/>
                      <a:pt x="212" y="77"/>
                    </a:cubicBezTo>
                    <a:cubicBezTo>
                      <a:pt x="214" y="75"/>
                      <a:pt x="218" y="73"/>
                      <a:pt x="218" y="74"/>
                    </a:cubicBezTo>
                    <a:cubicBezTo>
                      <a:pt x="219" y="76"/>
                      <a:pt x="224" y="77"/>
                      <a:pt x="222" y="74"/>
                    </a:cubicBezTo>
                    <a:cubicBezTo>
                      <a:pt x="220" y="71"/>
                      <a:pt x="220" y="70"/>
                      <a:pt x="221" y="69"/>
                    </a:cubicBezTo>
                    <a:cubicBezTo>
                      <a:pt x="223" y="68"/>
                      <a:pt x="223" y="65"/>
                      <a:pt x="223" y="65"/>
                    </a:cubicBezTo>
                    <a:cubicBezTo>
                      <a:pt x="223" y="65"/>
                      <a:pt x="219" y="64"/>
                      <a:pt x="218" y="63"/>
                    </a:cubicBezTo>
                    <a:cubicBezTo>
                      <a:pt x="218" y="61"/>
                      <a:pt x="215" y="59"/>
                      <a:pt x="215" y="57"/>
                    </a:cubicBezTo>
                    <a:cubicBezTo>
                      <a:pt x="215" y="56"/>
                      <a:pt x="213" y="56"/>
                      <a:pt x="211" y="58"/>
                    </a:cubicBezTo>
                    <a:cubicBezTo>
                      <a:pt x="209" y="59"/>
                      <a:pt x="206" y="56"/>
                      <a:pt x="202" y="58"/>
                    </a:cubicBezTo>
                    <a:cubicBezTo>
                      <a:pt x="198" y="60"/>
                      <a:pt x="197" y="63"/>
                      <a:pt x="195" y="63"/>
                    </a:cubicBezTo>
                    <a:cubicBezTo>
                      <a:pt x="193" y="62"/>
                      <a:pt x="193" y="64"/>
                      <a:pt x="191" y="66"/>
                    </a:cubicBezTo>
                    <a:cubicBezTo>
                      <a:pt x="190" y="67"/>
                      <a:pt x="189" y="69"/>
                      <a:pt x="188" y="69"/>
                    </a:cubicBezTo>
                    <a:cubicBezTo>
                      <a:pt x="187" y="69"/>
                      <a:pt x="184" y="71"/>
                      <a:pt x="184" y="71"/>
                    </a:cubicBezTo>
                    <a:cubicBezTo>
                      <a:pt x="184" y="71"/>
                      <a:pt x="186" y="76"/>
                      <a:pt x="184" y="78"/>
                    </a:cubicBezTo>
                    <a:cubicBezTo>
                      <a:pt x="183" y="80"/>
                      <a:pt x="180" y="78"/>
                      <a:pt x="177" y="79"/>
                    </a:cubicBezTo>
                    <a:cubicBezTo>
                      <a:pt x="173" y="80"/>
                      <a:pt x="171" y="78"/>
                      <a:pt x="169" y="78"/>
                    </a:cubicBezTo>
                    <a:cubicBezTo>
                      <a:pt x="166" y="79"/>
                      <a:pt x="165" y="77"/>
                      <a:pt x="164" y="77"/>
                    </a:cubicBezTo>
                    <a:cubicBezTo>
                      <a:pt x="162" y="77"/>
                      <a:pt x="160" y="74"/>
                      <a:pt x="161" y="71"/>
                    </a:cubicBezTo>
                    <a:cubicBezTo>
                      <a:pt x="162" y="69"/>
                      <a:pt x="160" y="65"/>
                      <a:pt x="158" y="67"/>
                    </a:cubicBezTo>
                    <a:cubicBezTo>
                      <a:pt x="157" y="69"/>
                      <a:pt x="155" y="68"/>
                      <a:pt x="155" y="71"/>
                    </a:cubicBezTo>
                    <a:cubicBezTo>
                      <a:pt x="155" y="74"/>
                      <a:pt x="157" y="78"/>
                      <a:pt x="155" y="79"/>
                    </a:cubicBezTo>
                    <a:cubicBezTo>
                      <a:pt x="153" y="81"/>
                      <a:pt x="143" y="82"/>
                      <a:pt x="141" y="81"/>
                    </a:cubicBezTo>
                    <a:cubicBezTo>
                      <a:pt x="139" y="79"/>
                      <a:pt x="131" y="78"/>
                      <a:pt x="131" y="77"/>
                    </a:cubicBezTo>
                    <a:cubicBezTo>
                      <a:pt x="130" y="75"/>
                      <a:pt x="128" y="72"/>
                      <a:pt x="126" y="72"/>
                    </a:cubicBezTo>
                    <a:cubicBezTo>
                      <a:pt x="124" y="72"/>
                      <a:pt x="120" y="74"/>
                      <a:pt x="118" y="73"/>
                    </a:cubicBezTo>
                    <a:cubicBezTo>
                      <a:pt x="117" y="72"/>
                      <a:pt x="114" y="70"/>
                      <a:pt x="112" y="70"/>
                    </a:cubicBezTo>
                    <a:cubicBezTo>
                      <a:pt x="110" y="69"/>
                      <a:pt x="106" y="68"/>
                      <a:pt x="106" y="66"/>
                    </a:cubicBezTo>
                    <a:cubicBezTo>
                      <a:pt x="105" y="65"/>
                      <a:pt x="100" y="64"/>
                      <a:pt x="99" y="63"/>
                    </a:cubicBezTo>
                    <a:cubicBezTo>
                      <a:pt x="98" y="62"/>
                      <a:pt x="95" y="62"/>
                      <a:pt x="95" y="60"/>
                    </a:cubicBezTo>
                    <a:cubicBezTo>
                      <a:pt x="95" y="58"/>
                      <a:pt x="97" y="56"/>
                      <a:pt x="97" y="54"/>
                    </a:cubicBezTo>
                    <a:cubicBezTo>
                      <a:pt x="97" y="52"/>
                      <a:pt x="100" y="50"/>
                      <a:pt x="100" y="49"/>
                    </a:cubicBezTo>
                    <a:cubicBezTo>
                      <a:pt x="100" y="48"/>
                      <a:pt x="97" y="45"/>
                      <a:pt x="97" y="45"/>
                    </a:cubicBezTo>
                    <a:cubicBezTo>
                      <a:pt x="97" y="45"/>
                      <a:pt x="95" y="41"/>
                      <a:pt x="92" y="41"/>
                    </a:cubicBezTo>
                    <a:cubicBezTo>
                      <a:pt x="90" y="41"/>
                      <a:pt x="88" y="37"/>
                      <a:pt x="85" y="37"/>
                    </a:cubicBezTo>
                    <a:cubicBezTo>
                      <a:pt x="83" y="36"/>
                      <a:pt x="84" y="32"/>
                      <a:pt x="83" y="30"/>
                    </a:cubicBezTo>
                    <a:cubicBezTo>
                      <a:pt x="81" y="29"/>
                      <a:pt x="82" y="25"/>
                      <a:pt x="84" y="27"/>
                    </a:cubicBezTo>
                    <a:cubicBezTo>
                      <a:pt x="87" y="29"/>
                      <a:pt x="91" y="27"/>
                      <a:pt x="89" y="24"/>
                    </a:cubicBezTo>
                    <a:cubicBezTo>
                      <a:pt x="88" y="21"/>
                      <a:pt x="85" y="18"/>
                      <a:pt x="85" y="17"/>
                    </a:cubicBezTo>
                    <a:cubicBezTo>
                      <a:pt x="85" y="15"/>
                      <a:pt x="87" y="11"/>
                      <a:pt x="84" y="9"/>
                    </a:cubicBezTo>
                    <a:cubicBezTo>
                      <a:pt x="82" y="8"/>
                      <a:pt x="80" y="6"/>
                      <a:pt x="80" y="4"/>
                    </a:cubicBezTo>
                    <a:cubicBezTo>
                      <a:pt x="79" y="2"/>
                      <a:pt x="77" y="0"/>
                      <a:pt x="77" y="0"/>
                    </a:cubicBezTo>
                    <a:cubicBezTo>
                      <a:pt x="73" y="0"/>
                      <a:pt x="73" y="0"/>
                      <a:pt x="73" y="0"/>
                    </a:cubicBezTo>
                    <a:cubicBezTo>
                      <a:pt x="73" y="0"/>
                      <a:pt x="71" y="5"/>
                      <a:pt x="70" y="6"/>
                    </a:cubicBezTo>
                    <a:cubicBezTo>
                      <a:pt x="69" y="7"/>
                      <a:pt x="64" y="8"/>
                      <a:pt x="62" y="9"/>
                    </a:cubicBezTo>
                    <a:cubicBezTo>
                      <a:pt x="60" y="11"/>
                      <a:pt x="54" y="7"/>
                      <a:pt x="50" y="7"/>
                    </a:cubicBezTo>
                    <a:cubicBezTo>
                      <a:pt x="47" y="7"/>
                      <a:pt x="44" y="11"/>
                      <a:pt x="46" y="11"/>
                    </a:cubicBezTo>
                    <a:cubicBezTo>
                      <a:pt x="48" y="12"/>
                      <a:pt x="47" y="19"/>
                      <a:pt x="47" y="19"/>
                    </a:cubicBezTo>
                    <a:cubicBezTo>
                      <a:pt x="47" y="19"/>
                      <a:pt x="49" y="27"/>
                      <a:pt x="52" y="27"/>
                    </a:cubicBezTo>
                    <a:cubicBezTo>
                      <a:pt x="55" y="26"/>
                      <a:pt x="58" y="30"/>
                      <a:pt x="56" y="30"/>
                    </a:cubicBezTo>
                    <a:cubicBezTo>
                      <a:pt x="53" y="31"/>
                      <a:pt x="52" y="34"/>
                      <a:pt x="52" y="36"/>
                    </a:cubicBezTo>
                    <a:cubicBezTo>
                      <a:pt x="51" y="39"/>
                      <a:pt x="52" y="42"/>
                      <a:pt x="50" y="42"/>
                    </a:cubicBezTo>
                    <a:cubicBezTo>
                      <a:pt x="48" y="43"/>
                      <a:pt x="46" y="43"/>
                      <a:pt x="46" y="47"/>
                    </a:cubicBezTo>
                    <a:cubicBezTo>
                      <a:pt x="46" y="50"/>
                      <a:pt x="42" y="49"/>
                      <a:pt x="42" y="51"/>
                    </a:cubicBezTo>
                    <a:cubicBezTo>
                      <a:pt x="41" y="52"/>
                      <a:pt x="39" y="58"/>
                      <a:pt x="38" y="59"/>
                    </a:cubicBezTo>
                    <a:cubicBezTo>
                      <a:pt x="37" y="60"/>
                      <a:pt x="32" y="60"/>
                      <a:pt x="32" y="63"/>
                    </a:cubicBezTo>
                    <a:cubicBezTo>
                      <a:pt x="31" y="66"/>
                      <a:pt x="29" y="70"/>
                      <a:pt x="27" y="69"/>
                    </a:cubicBezTo>
                    <a:cubicBezTo>
                      <a:pt x="26" y="69"/>
                      <a:pt x="23" y="68"/>
                      <a:pt x="22" y="70"/>
                    </a:cubicBezTo>
                    <a:cubicBezTo>
                      <a:pt x="21" y="71"/>
                      <a:pt x="17" y="68"/>
                      <a:pt x="16" y="69"/>
                    </a:cubicBezTo>
                    <a:cubicBezTo>
                      <a:pt x="15" y="70"/>
                      <a:pt x="10" y="74"/>
                      <a:pt x="10" y="77"/>
                    </a:cubicBezTo>
                    <a:cubicBezTo>
                      <a:pt x="10" y="79"/>
                      <a:pt x="15" y="79"/>
                      <a:pt x="15" y="82"/>
                    </a:cubicBezTo>
                    <a:cubicBezTo>
                      <a:pt x="15" y="85"/>
                      <a:pt x="17" y="89"/>
                      <a:pt x="18" y="91"/>
                    </a:cubicBezTo>
                    <a:cubicBezTo>
                      <a:pt x="20" y="92"/>
                      <a:pt x="23" y="96"/>
                      <a:pt x="21" y="98"/>
                    </a:cubicBezTo>
                    <a:cubicBezTo>
                      <a:pt x="20" y="100"/>
                      <a:pt x="18" y="100"/>
                      <a:pt x="15" y="99"/>
                    </a:cubicBezTo>
                    <a:cubicBezTo>
                      <a:pt x="12" y="99"/>
                      <a:pt x="13" y="101"/>
                      <a:pt x="8" y="100"/>
                    </a:cubicBezTo>
                    <a:cubicBezTo>
                      <a:pt x="3" y="99"/>
                      <a:pt x="2" y="103"/>
                      <a:pt x="0" y="105"/>
                    </a:cubicBezTo>
                    <a:cubicBezTo>
                      <a:pt x="0" y="105"/>
                      <a:pt x="0" y="105"/>
                      <a:pt x="0" y="105"/>
                    </a:cubicBezTo>
                    <a:cubicBezTo>
                      <a:pt x="2" y="107"/>
                      <a:pt x="3" y="111"/>
                      <a:pt x="7" y="112"/>
                    </a:cubicBezTo>
                    <a:cubicBezTo>
                      <a:pt x="12" y="114"/>
                      <a:pt x="16" y="109"/>
                      <a:pt x="16" y="113"/>
                    </a:cubicBezTo>
                    <a:cubicBezTo>
                      <a:pt x="16" y="116"/>
                      <a:pt x="5" y="115"/>
                      <a:pt x="5" y="116"/>
                    </a:cubicBezTo>
                    <a:cubicBezTo>
                      <a:pt x="5" y="118"/>
                      <a:pt x="16" y="131"/>
                      <a:pt x="22" y="130"/>
                    </a:cubicBezTo>
                    <a:cubicBezTo>
                      <a:pt x="28" y="129"/>
                      <a:pt x="32" y="123"/>
                      <a:pt x="30" y="122"/>
                    </a:cubicBezTo>
                    <a:cubicBezTo>
                      <a:pt x="29" y="121"/>
                      <a:pt x="31" y="117"/>
                      <a:pt x="33" y="118"/>
                    </a:cubicBezTo>
                    <a:cubicBezTo>
                      <a:pt x="34" y="119"/>
                      <a:pt x="33" y="125"/>
                      <a:pt x="35" y="126"/>
                    </a:cubicBezTo>
                    <a:cubicBezTo>
                      <a:pt x="37" y="128"/>
                      <a:pt x="36" y="130"/>
                      <a:pt x="35" y="134"/>
                    </a:cubicBezTo>
                    <a:cubicBezTo>
                      <a:pt x="34" y="137"/>
                      <a:pt x="36" y="143"/>
                      <a:pt x="36" y="147"/>
                    </a:cubicBezTo>
                    <a:cubicBezTo>
                      <a:pt x="37" y="151"/>
                      <a:pt x="39" y="156"/>
                      <a:pt x="40" y="162"/>
                    </a:cubicBezTo>
                    <a:cubicBezTo>
                      <a:pt x="41" y="167"/>
                      <a:pt x="44" y="177"/>
                      <a:pt x="48" y="183"/>
                    </a:cubicBezTo>
                    <a:cubicBezTo>
                      <a:pt x="51" y="189"/>
                      <a:pt x="53" y="201"/>
                      <a:pt x="55" y="204"/>
                    </a:cubicBezTo>
                    <a:cubicBezTo>
                      <a:pt x="58" y="207"/>
                      <a:pt x="63" y="216"/>
                      <a:pt x="63" y="221"/>
                    </a:cubicBezTo>
                    <a:cubicBezTo>
                      <a:pt x="63" y="226"/>
                      <a:pt x="69" y="234"/>
                      <a:pt x="71" y="235"/>
                    </a:cubicBezTo>
                    <a:cubicBezTo>
                      <a:pt x="73" y="237"/>
                      <a:pt x="77" y="233"/>
                      <a:pt x="78" y="230"/>
                    </a:cubicBezTo>
                    <a:cubicBezTo>
                      <a:pt x="79" y="227"/>
                      <a:pt x="86" y="226"/>
                      <a:pt x="86" y="223"/>
                    </a:cubicBezTo>
                    <a:cubicBezTo>
                      <a:pt x="86" y="220"/>
                      <a:pt x="87" y="218"/>
                      <a:pt x="89" y="217"/>
                    </a:cubicBezTo>
                    <a:cubicBezTo>
                      <a:pt x="91" y="217"/>
                      <a:pt x="91" y="215"/>
                      <a:pt x="91" y="211"/>
                    </a:cubicBezTo>
                    <a:cubicBezTo>
                      <a:pt x="91" y="208"/>
                      <a:pt x="91" y="204"/>
                      <a:pt x="94" y="201"/>
                    </a:cubicBezTo>
                    <a:cubicBezTo>
                      <a:pt x="96" y="199"/>
                      <a:pt x="96" y="191"/>
                      <a:pt x="95" y="188"/>
                    </a:cubicBezTo>
                    <a:cubicBezTo>
                      <a:pt x="93" y="185"/>
                      <a:pt x="94" y="181"/>
                      <a:pt x="95" y="178"/>
                    </a:cubicBezTo>
                    <a:cubicBezTo>
                      <a:pt x="96" y="175"/>
                      <a:pt x="96" y="172"/>
                      <a:pt x="98" y="171"/>
                    </a:cubicBezTo>
                    <a:cubicBezTo>
                      <a:pt x="101" y="171"/>
                      <a:pt x="104" y="169"/>
                      <a:pt x="106" y="166"/>
                    </a:cubicBezTo>
                    <a:cubicBezTo>
                      <a:pt x="109" y="163"/>
                      <a:pt x="116" y="158"/>
                      <a:pt x="118" y="156"/>
                    </a:cubicBezTo>
                    <a:cubicBezTo>
                      <a:pt x="121" y="154"/>
                      <a:pt x="129" y="147"/>
                      <a:pt x="131" y="143"/>
                    </a:cubicBezTo>
                    <a:cubicBezTo>
                      <a:pt x="134" y="139"/>
                      <a:pt x="141" y="138"/>
                      <a:pt x="144" y="135"/>
                    </a:cubicBezTo>
                    <a:cubicBezTo>
                      <a:pt x="147" y="131"/>
                      <a:pt x="146" y="130"/>
                      <a:pt x="146" y="126"/>
                    </a:cubicBezTo>
                    <a:cubicBezTo>
                      <a:pt x="147" y="123"/>
                      <a:pt x="157" y="121"/>
                      <a:pt x="161" y="121"/>
                    </a:cubicBezTo>
                    <a:cubicBezTo>
                      <a:pt x="161" y="121"/>
                      <a:pt x="162" y="121"/>
                      <a:pt x="163" y="121"/>
                    </a:cubicBezTo>
                    <a:cubicBezTo>
                      <a:pt x="163" y="116"/>
                      <a:pt x="161" y="109"/>
                      <a:pt x="160" y="10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5" name="Freeform 51">
                <a:extLst>
                  <a:ext uri="{FF2B5EF4-FFF2-40B4-BE49-F238E27FC236}">
                    <a16:creationId xmlns:a16="http://schemas.microsoft.com/office/drawing/2014/main" id="{E898C675-070C-43CF-8607-6578E83B80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43330" y="3017008"/>
                <a:ext cx="583448" cy="250945"/>
              </a:xfrm>
              <a:custGeom>
                <a:avLst/>
                <a:gdLst>
                  <a:gd name="T0" fmla="*/ 235 w 253"/>
                  <a:gd name="T1" fmla="*/ 47 h 109"/>
                  <a:gd name="T2" fmla="*/ 219 w 253"/>
                  <a:gd name="T3" fmla="*/ 45 h 109"/>
                  <a:gd name="T4" fmla="*/ 220 w 253"/>
                  <a:gd name="T5" fmla="*/ 37 h 109"/>
                  <a:gd name="T6" fmla="*/ 221 w 253"/>
                  <a:gd name="T7" fmla="*/ 23 h 109"/>
                  <a:gd name="T8" fmla="*/ 204 w 253"/>
                  <a:gd name="T9" fmla="*/ 21 h 109"/>
                  <a:gd name="T10" fmla="*/ 191 w 253"/>
                  <a:gd name="T11" fmla="*/ 28 h 109"/>
                  <a:gd name="T12" fmla="*/ 170 w 253"/>
                  <a:gd name="T13" fmla="*/ 31 h 109"/>
                  <a:gd name="T14" fmla="*/ 156 w 253"/>
                  <a:gd name="T15" fmla="*/ 24 h 109"/>
                  <a:gd name="T16" fmla="*/ 143 w 253"/>
                  <a:gd name="T17" fmla="*/ 20 h 109"/>
                  <a:gd name="T18" fmla="*/ 128 w 253"/>
                  <a:gd name="T19" fmla="*/ 19 h 109"/>
                  <a:gd name="T20" fmla="*/ 115 w 253"/>
                  <a:gd name="T21" fmla="*/ 20 h 109"/>
                  <a:gd name="T22" fmla="*/ 109 w 253"/>
                  <a:gd name="T23" fmla="*/ 9 h 109"/>
                  <a:gd name="T24" fmla="*/ 95 w 253"/>
                  <a:gd name="T25" fmla="*/ 4 h 109"/>
                  <a:gd name="T26" fmla="*/ 84 w 253"/>
                  <a:gd name="T27" fmla="*/ 1 h 109"/>
                  <a:gd name="T28" fmla="*/ 77 w 253"/>
                  <a:gd name="T29" fmla="*/ 6 h 109"/>
                  <a:gd name="T30" fmla="*/ 77 w 253"/>
                  <a:gd name="T31" fmla="*/ 17 h 109"/>
                  <a:gd name="T32" fmla="*/ 70 w 253"/>
                  <a:gd name="T33" fmla="*/ 25 h 109"/>
                  <a:gd name="T34" fmla="*/ 58 w 253"/>
                  <a:gd name="T35" fmla="*/ 24 h 109"/>
                  <a:gd name="T36" fmla="*/ 49 w 253"/>
                  <a:gd name="T37" fmla="*/ 16 h 109"/>
                  <a:gd name="T38" fmla="*/ 32 w 253"/>
                  <a:gd name="T39" fmla="*/ 16 h 109"/>
                  <a:gd name="T40" fmla="*/ 21 w 253"/>
                  <a:gd name="T41" fmla="*/ 21 h 109"/>
                  <a:gd name="T42" fmla="*/ 7 w 253"/>
                  <a:gd name="T43" fmla="*/ 28 h 109"/>
                  <a:gd name="T44" fmla="*/ 0 w 253"/>
                  <a:gd name="T45" fmla="*/ 31 h 109"/>
                  <a:gd name="T46" fmla="*/ 7 w 253"/>
                  <a:gd name="T47" fmla="*/ 39 h 109"/>
                  <a:gd name="T48" fmla="*/ 21 w 253"/>
                  <a:gd name="T49" fmla="*/ 49 h 109"/>
                  <a:gd name="T50" fmla="*/ 24 w 253"/>
                  <a:gd name="T51" fmla="*/ 63 h 109"/>
                  <a:gd name="T52" fmla="*/ 41 w 253"/>
                  <a:gd name="T53" fmla="*/ 74 h 109"/>
                  <a:gd name="T54" fmla="*/ 52 w 253"/>
                  <a:gd name="T55" fmla="*/ 81 h 109"/>
                  <a:gd name="T56" fmla="*/ 63 w 253"/>
                  <a:gd name="T57" fmla="*/ 96 h 109"/>
                  <a:gd name="T58" fmla="*/ 92 w 253"/>
                  <a:gd name="T59" fmla="*/ 98 h 109"/>
                  <a:gd name="T60" fmla="*/ 116 w 253"/>
                  <a:gd name="T61" fmla="*/ 103 h 109"/>
                  <a:gd name="T62" fmla="*/ 130 w 253"/>
                  <a:gd name="T63" fmla="*/ 108 h 109"/>
                  <a:gd name="T64" fmla="*/ 162 w 253"/>
                  <a:gd name="T65" fmla="*/ 101 h 109"/>
                  <a:gd name="T66" fmla="*/ 187 w 253"/>
                  <a:gd name="T67" fmla="*/ 87 h 109"/>
                  <a:gd name="T68" fmla="*/ 192 w 253"/>
                  <a:gd name="T69" fmla="*/ 75 h 109"/>
                  <a:gd name="T70" fmla="*/ 217 w 253"/>
                  <a:gd name="T71" fmla="*/ 70 h 109"/>
                  <a:gd name="T72" fmla="*/ 234 w 253"/>
                  <a:gd name="T73" fmla="*/ 60 h 109"/>
                  <a:gd name="T74" fmla="*/ 253 w 253"/>
                  <a:gd name="T75" fmla="*/ 56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253" h="109">
                    <a:moveTo>
                      <a:pt x="243" y="46"/>
                    </a:moveTo>
                    <a:cubicBezTo>
                      <a:pt x="240" y="42"/>
                      <a:pt x="236" y="44"/>
                      <a:pt x="235" y="47"/>
                    </a:cubicBezTo>
                    <a:cubicBezTo>
                      <a:pt x="234" y="49"/>
                      <a:pt x="232" y="46"/>
                      <a:pt x="227" y="46"/>
                    </a:cubicBezTo>
                    <a:cubicBezTo>
                      <a:pt x="222" y="46"/>
                      <a:pt x="222" y="48"/>
                      <a:pt x="219" y="45"/>
                    </a:cubicBezTo>
                    <a:cubicBezTo>
                      <a:pt x="216" y="42"/>
                      <a:pt x="220" y="41"/>
                      <a:pt x="220" y="41"/>
                    </a:cubicBezTo>
                    <a:cubicBezTo>
                      <a:pt x="220" y="37"/>
                      <a:pt x="220" y="37"/>
                      <a:pt x="220" y="37"/>
                    </a:cubicBezTo>
                    <a:cubicBezTo>
                      <a:pt x="227" y="24"/>
                      <a:pt x="227" y="24"/>
                      <a:pt x="227" y="24"/>
                    </a:cubicBezTo>
                    <a:cubicBezTo>
                      <a:pt x="225" y="23"/>
                      <a:pt x="222" y="23"/>
                      <a:pt x="221" y="23"/>
                    </a:cubicBezTo>
                    <a:cubicBezTo>
                      <a:pt x="219" y="24"/>
                      <a:pt x="215" y="24"/>
                      <a:pt x="214" y="22"/>
                    </a:cubicBezTo>
                    <a:cubicBezTo>
                      <a:pt x="214" y="20"/>
                      <a:pt x="206" y="20"/>
                      <a:pt x="204" y="21"/>
                    </a:cubicBezTo>
                    <a:cubicBezTo>
                      <a:pt x="202" y="23"/>
                      <a:pt x="198" y="24"/>
                      <a:pt x="198" y="26"/>
                    </a:cubicBezTo>
                    <a:cubicBezTo>
                      <a:pt x="197" y="27"/>
                      <a:pt x="193" y="27"/>
                      <a:pt x="191" y="28"/>
                    </a:cubicBezTo>
                    <a:cubicBezTo>
                      <a:pt x="190" y="29"/>
                      <a:pt x="181" y="30"/>
                      <a:pt x="181" y="31"/>
                    </a:cubicBezTo>
                    <a:cubicBezTo>
                      <a:pt x="181" y="32"/>
                      <a:pt x="171" y="32"/>
                      <a:pt x="170" y="31"/>
                    </a:cubicBezTo>
                    <a:cubicBezTo>
                      <a:pt x="169" y="30"/>
                      <a:pt x="161" y="31"/>
                      <a:pt x="160" y="29"/>
                    </a:cubicBezTo>
                    <a:cubicBezTo>
                      <a:pt x="159" y="27"/>
                      <a:pt x="156" y="26"/>
                      <a:pt x="156" y="24"/>
                    </a:cubicBezTo>
                    <a:cubicBezTo>
                      <a:pt x="156" y="23"/>
                      <a:pt x="150" y="23"/>
                      <a:pt x="149" y="21"/>
                    </a:cubicBezTo>
                    <a:cubicBezTo>
                      <a:pt x="148" y="20"/>
                      <a:pt x="143" y="19"/>
                      <a:pt x="143" y="20"/>
                    </a:cubicBezTo>
                    <a:cubicBezTo>
                      <a:pt x="142" y="20"/>
                      <a:pt x="137" y="18"/>
                      <a:pt x="135" y="18"/>
                    </a:cubicBezTo>
                    <a:cubicBezTo>
                      <a:pt x="134" y="18"/>
                      <a:pt x="129" y="19"/>
                      <a:pt x="128" y="19"/>
                    </a:cubicBezTo>
                    <a:cubicBezTo>
                      <a:pt x="127" y="19"/>
                      <a:pt x="124" y="21"/>
                      <a:pt x="122" y="22"/>
                    </a:cubicBezTo>
                    <a:cubicBezTo>
                      <a:pt x="121" y="22"/>
                      <a:pt x="116" y="19"/>
                      <a:pt x="115" y="20"/>
                    </a:cubicBezTo>
                    <a:cubicBezTo>
                      <a:pt x="114" y="20"/>
                      <a:pt x="111" y="17"/>
                      <a:pt x="110" y="16"/>
                    </a:cubicBezTo>
                    <a:cubicBezTo>
                      <a:pt x="109" y="14"/>
                      <a:pt x="110" y="10"/>
                      <a:pt x="109" y="9"/>
                    </a:cubicBezTo>
                    <a:cubicBezTo>
                      <a:pt x="108" y="7"/>
                      <a:pt x="103" y="7"/>
                      <a:pt x="101" y="6"/>
                    </a:cubicBezTo>
                    <a:cubicBezTo>
                      <a:pt x="100" y="6"/>
                      <a:pt x="97" y="4"/>
                      <a:pt x="95" y="4"/>
                    </a:cubicBezTo>
                    <a:cubicBezTo>
                      <a:pt x="94" y="4"/>
                      <a:pt x="91" y="4"/>
                      <a:pt x="90" y="3"/>
                    </a:cubicBezTo>
                    <a:cubicBezTo>
                      <a:pt x="90" y="2"/>
                      <a:pt x="86" y="1"/>
                      <a:pt x="84" y="1"/>
                    </a:cubicBezTo>
                    <a:cubicBezTo>
                      <a:pt x="83" y="0"/>
                      <a:pt x="83" y="2"/>
                      <a:pt x="82" y="3"/>
                    </a:cubicBezTo>
                    <a:cubicBezTo>
                      <a:pt x="81" y="4"/>
                      <a:pt x="78" y="4"/>
                      <a:pt x="77" y="6"/>
                    </a:cubicBezTo>
                    <a:cubicBezTo>
                      <a:pt x="77" y="8"/>
                      <a:pt x="74" y="8"/>
                      <a:pt x="74" y="10"/>
                    </a:cubicBezTo>
                    <a:cubicBezTo>
                      <a:pt x="74" y="12"/>
                      <a:pt x="76" y="16"/>
                      <a:pt x="77" y="17"/>
                    </a:cubicBezTo>
                    <a:cubicBezTo>
                      <a:pt x="78" y="18"/>
                      <a:pt x="77" y="21"/>
                      <a:pt x="77" y="21"/>
                    </a:cubicBezTo>
                    <a:cubicBezTo>
                      <a:pt x="76" y="22"/>
                      <a:pt x="71" y="23"/>
                      <a:pt x="70" y="25"/>
                    </a:cubicBezTo>
                    <a:cubicBezTo>
                      <a:pt x="69" y="26"/>
                      <a:pt x="67" y="25"/>
                      <a:pt x="64" y="23"/>
                    </a:cubicBezTo>
                    <a:cubicBezTo>
                      <a:pt x="62" y="22"/>
                      <a:pt x="59" y="23"/>
                      <a:pt x="58" y="24"/>
                    </a:cubicBezTo>
                    <a:cubicBezTo>
                      <a:pt x="57" y="25"/>
                      <a:pt x="52" y="21"/>
                      <a:pt x="51" y="21"/>
                    </a:cubicBezTo>
                    <a:cubicBezTo>
                      <a:pt x="50" y="21"/>
                      <a:pt x="50" y="16"/>
                      <a:pt x="49" y="16"/>
                    </a:cubicBezTo>
                    <a:cubicBezTo>
                      <a:pt x="47" y="17"/>
                      <a:pt x="39" y="15"/>
                      <a:pt x="37" y="15"/>
                    </a:cubicBezTo>
                    <a:cubicBezTo>
                      <a:pt x="36" y="14"/>
                      <a:pt x="32" y="14"/>
                      <a:pt x="32" y="16"/>
                    </a:cubicBezTo>
                    <a:cubicBezTo>
                      <a:pt x="31" y="17"/>
                      <a:pt x="27" y="16"/>
                      <a:pt x="26" y="18"/>
                    </a:cubicBezTo>
                    <a:cubicBezTo>
                      <a:pt x="25" y="19"/>
                      <a:pt x="22" y="20"/>
                      <a:pt x="21" y="21"/>
                    </a:cubicBezTo>
                    <a:cubicBezTo>
                      <a:pt x="20" y="23"/>
                      <a:pt x="16" y="23"/>
                      <a:pt x="15" y="25"/>
                    </a:cubicBezTo>
                    <a:cubicBezTo>
                      <a:pt x="14" y="27"/>
                      <a:pt x="9" y="28"/>
                      <a:pt x="7" y="28"/>
                    </a:cubicBezTo>
                    <a:cubicBezTo>
                      <a:pt x="6" y="29"/>
                      <a:pt x="2" y="29"/>
                      <a:pt x="2" y="30"/>
                    </a:cubicBezTo>
                    <a:cubicBezTo>
                      <a:pt x="2" y="31"/>
                      <a:pt x="1" y="31"/>
                      <a:pt x="0" y="31"/>
                    </a:cubicBezTo>
                    <a:cubicBezTo>
                      <a:pt x="1" y="31"/>
                      <a:pt x="1" y="32"/>
                      <a:pt x="1" y="32"/>
                    </a:cubicBezTo>
                    <a:cubicBezTo>
                      <a:pt x="2" y="37"/>
                      <a:pt x="4" y="37"/>
                      <a:pt x="7" y="39"/>
                    </a:cubicBezTo>
                    <a:cubicBezTo>
                      <a:pt x="9" y="41"/>
                      <a:pt x="11" y="43"/>
                      <a:pt x="14" y="43"/>
                    </a:cubicBezTo>
                    <a:cubicBezTo>
                      <a:pt x="16" y="43"/>
                      <a:pt x="20" y="47"/>
                      <a:pt x="21" y="49"/>
                    </a:cubicBezTo>
                    <a:cubicBezTo>
                      <a:pt x="21" y="51"/>
                      <a:pt x="23" y="54"/>
                      <a:pt x="25" y="55"/>
                    </a:cubicBezTo>
                    <a:cubicBezTo>
                      <a:pt x="26" y="56"/>
                      <a:pt x="24" y="60"/>
                      <a:pt x="24" y="63"/>
                    </a:cubicBezTo>
                    <a:cubicBezTo>
                      <a:pt x="24" y="66"/>
                      <a:pt x="21" y="67"/>
                      <a:pt x="23" y="70"/>
                    </a:cubicBezTo>
                    <a:cubicBezTo>
                      <a:pt x="24" y="73"/>
                      <a:pt x="37" y="74"/>
                      <a:pt x="41" y="74"/>
                    </a:cubicBezTo>
                    <a:cubicBezTo>
                      <a:pt x="44" y="74"/>
                      <a:pt x="46" y="78"/>
                      <a:pt x="47" y="78"/>
                    </a:cubicBezTo>
                    <a:cubicBezTo>
                      <a:pt x="49" y="78"/>
                      <a:pt x="49" y="81"/>
                      <a:pt x="52" y="81"/>
                    </a:cubicBezTo>
                    <a:cubicBezTo>
                      <a:pt x="55" y="82"/>
                      <a:pt x="57" y="83"/>
                      <a:pt x="58" y="88"/>
                    </a:cubicBezTo>
                    <a:cubicBezTo>
                      <a:pt x="59" y="93"/>
                      <a:pt x="62" y="94"/>
                      <a:pt x="63" y="96"/>
                    </a:cubicBezTo>
                    <a:cubicBezTo>
                      <a:pt x="63" y="98"/>
                      <a:pt x="69" y="97"/>
                      <a:pt x="73" y="97"/>
                    </a:cubicBezTo>
                    <a:cubicBezTo>
                      <a:pt x="77" y="98"/>
                      <a:pt x="89" y="97"/>
                      <a:pt x="92" y="98"/>
                    </a:cubicBezTo>
                    <a:cubicBezTo>
                      <a:pt x="95" y="98"/>
                      <a:pt x="103" y="98"/>
                      <a:pt x="107" y="101"/>
                    </a:cubicBezTo>
                    <a:cubicBezTo>
                      <a:pt x="111" y="104"/>
                      <a:pt x="113" y="102"/>
                      <a:pt x="116" y="103"/>
                    </a:cubicBezTo>
                    <a:cubicBezTo>
                      <a:pt x="118" y="105"/>
                      <a:pt x="120" y="106"/>
                      <a:pt x="124" y="105"/>
                    </a:cubicBezTo>
                    <a:cubicBezTo>
                      <a:pt x="128" y="105"/>
                      <a:pt x="128" y="108"/>
                      <a:pt x="130" y="108"/>
                    </a:cubicBezTo>
                    <a:cubicBezTo>
                      <a:pt x="133" y="109"/>
                      <a:pt x="137" y="104"/>
                      <a:pt x="144" y="101"/>
                    </a:cubicBezTo>
                    <a:cubicBezTo>
                      <a:pt x="151" y="98"/>
                      <a:pt x="159" y="100"/>
                      <a:pt x="162" y="101"/>
                    </a:cubicBezTo>
                    <a:cubicBezTo>
                      <a:pt x="166" y="101"/>
                      <a:pt x="173" y="99"/>
                      <a:pt x="177" y="94"/>
                    </a:cubicBezTo>
                    <a:cubicBezTo>
                      <a:pt x="181" y="90"/>
                      <a:pt x="186" y="91"/>
                      <a:pt x="187" y="87"/>
                    </a:cubicBezTo>
                    <a:cubicBezTo>
                      <a:pt x="187" y="82"/>
                      <a:pt x="183" y="81"/>
                      <a:pt x="185" y="77"/>
                    </a:cubicBezTo>
                    <a:cubicBezTo>
                      <a:pt x="187" y="74"/>
                      <a:pt x="190" y="74"/>
                      <a:pt x="192" y="75"/>
                    </a:cubicBezTo>
                    <a:cubicBezTo>
                      <a:pt x="194" y="76"/>
                      <a:pt x="200" y="78"/>
                      <a:pt x="205" y="74"/>
                    </a:cubicBezTo>
                    <a:cubicBezTo>
                      <a:pt x="210" y="70"/>
                      <a:pt x="213" y="71"/>
                      <a:pt x="217" y="70"/>
                    </a:cubicBezTo>
                    <a:cubicBezTo>
                      <a:pt x="222" y="70"/>
                      <a:pt x="221" y="67"/>
                      <a:pt x="224" y="64"/>
                    </a:cubicBezTo>
                    <a:cubicBezTo>
                      <a:pt x="228" y="61"/>
                      <a:pt x="231" y="60"/>
                      <a:pt x="234" y="60"/>
                    </a:cubicBezTo>
                    <a:cubicBezTo>
                      <a:pt x="237" y="60"/>
                      <a:pt x="242" y="56"/>
                      <a:pt x="245" y="58"/>
                    </a:cubicBezTo>
                    <a:cubicBezTo>
                      <a:pt x="248" y="59"/>
                      <a:pt x="252" y="59"/>
                      <a:pt x="253" y="56"/>
                    </a:cubicBezTo>
                    <a:cubicBezTo>
                      <a:pt x="253" y="54"/>
                      <a:pt x="245" y="49"/>
                      <a:pt x="243" y="46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6" name="Freeform 52">
                <a:extLst>
                  <a:ext uri="{FF2B5EF4-FFF2-40B4-BE49-F238E27FC236}">
                    <a16:creationId xmlns:a16="http://schemas.microsoft.com/office/drawing/2014/main" id="{E4DCD4BC-3A75-4B90-9281-A1D0DB1FD1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60879" y="3457416"/>
                <a:ext cx="10038" cy="25095"/>
              </a:xfrm>
              <a:custGeom>
                <a:avLst/>
                <a:gdLst>
                  <a:gd name="T0" fmla="*/ 2 w 4"/>
                  <a:gd name="T1" fmla="*/ 0 h 11"/>
                  <a:gd name="T2" fmla="*/ 0 w 4"/>
                  <a:gd name="T3" fmla="*/ 6 h 11"/>
                  <a:gd name="T4" fmla="*/ 3 w 4"/>
                  <a:gd name="T5" fmla="*/ 11 h 11"/>
                  <a:gd name="T6" fmla="*/ 4 w 4"/>
                  <a:gd name="T7" fmla="*/ 1 h 11"/>
                  <a:gd name="T8" fmla="*/ 4 w 4"/>
                  <a:gd name="T9" fmla="*/ 0 h 11"/>
                  <a:gd name="T10" fmla="*/ 2 w 4"/>
                  <a:gd name="T11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11">
                    <a:moveTo>
                      <a:pt x="2" y="0"/>
                    </a:moveTo>
                    <a:cubicBezTo>
                      <a:pt x="1" y="0"/>
                      <a:pt x="0" y="5"/>
                      <a:pt x="0" y="6"/>
                    </a:cubicBezTo>
                    <a:cubicBezTo>
                      <a:pt x="0" y="6"/>
                      <a:pt x="1" y="8"/>
                      <a:pt x="3" y="11"/>
                    </a:cubicBezTo>
                    <a:cubicBezTo>
                      <a:pt x="4" y="7"/>
                      <a:pt x="4" y="2"/>
                      <a:pt x="4" y="1"/>
                    </a:cubicBezTo>
                    <a:cubicBezTo>
                      <a:pt x="4" y="1"/>
                      <a:pt x="4" y="0"/>
                      <a:pt x="4" y="0"/>
                    </a:cubicBezTo>
                    <a:cubicBezTo>
                      <a:pt x="3" y="0"/>
                      <a:pt x="2" y="0"/>
                      <a:pt x="2" y="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7" name="Freeform 53">
                <a:extLst>
                  <a:ext uri="{FF2B5EF4-FFF2-40B4-BE49-F238E27FC236}">
                    <a16:creationId xmlns:a16="http://schemas.microsoft.com/office/drawing/2014/main" id="{43057A79-9A5B-4FDA-B309-765AB68A86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45823" y="3441105"/>
                <a:ext cx="27604" cy="75284"/>
              </a:xfrm>
              <a:custGeom>
                <a:avLst/>
                <a:gdLst>
                  <a:gd name="T0" fmla="*/ 6 w 12"/>
                  <a:gd name="T1" fmla="*/ 33 h 33"/>
                  <a:gd name="T2" fmla="*/ 7 w 12"/>
                  <a:gd name="T3" fmla="*/ 33 h 33"/>
                  <a:gd name="T4" fmla="*/ 9 w 12"/>
                  <a:gd name="T5" fmla="*/ 22 h 33"/>
                  <a:gd name="T6" fmla="*/ 10 w 12"/>
                  <a:gd name="T7" fmla="*/ 18 h 33"/>
                  <a:gd name="T8" fmla="*/ 7 w 12"/>
                  <a:gd name="T9" fmla="*/ 13 h 33"/>
                  <a:gd name="T10" fmla="*/ 9 w 12"/>
                  <a:gd name="T11" fmla="*/ 7 h 33"/>
                  <a:gd name="T12" fmla="*/ 11 w 12"/>
                  <a:gd name="T13" fmla="*/ 7 h 33"/>
                  <a:gd name="T14" fmla="*/ 12 w 12"/>
                  <a:gd name="T15" fmla="*/ 1 h 33"/>
                  <a:gd name="T16" fmla="*/ 8 w 12"/>
                  <a:gd name="T17" fmla="*/ 0 h 33"/>
                  <a:gd name="T18" fmla="*/ 7 w 12"/>
                  <a:gd name="T19" fmla="*/ 3 h 33"/>
                  <a:gd name="T20" fmla="*/ 0 w 12"/>
                  <a:gd name="T21" fmla="*/ 18 h 33"/>
                  <a:gd name="T22" fmla="*/ 6 w 12"/>
                  <a:gd name="T23" fmla="*/ 32 h 33"/>
                  <a:gd name="T24" fmla="*/ 6 w 12"/>
                  <a:gd name="T25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" h="33">
                    <a:moveTo>
                      <a:pt x="6" y="33"/>
                    </a:moveTo>
                    <a:cubicBezTo>
                      <a:pt x="6" y="33"/>
                      <a:pt x="6" y="33"/>
                      <a:pt x="7" y="33"/>
                    </a:cubicBezTo>
                    <a:cubicBezTo>
                      <a:pt x="7" y="28"/>
                      <a:pt x="8" y="23"/>
                      <a:pt x="9" y="22"/>
                    </a:cubicBezTo>
                    <a:cubicBezTo>
                      <a:pt x="10" y="21"/>
                      <a:pt x="10" y="19"/>
                      <a:pt x="10" y="18"/>
                    </a:cubicBezTo>
                    <a:cubicBezTo>
                      <a:pt x="8" y="15"/>
                      <a:pt x="7" y="13"/>
                      <a:pt x="7" y="13"/>
                    </a:cubicBezTo>
                    <a:cubicBezTo>
                      <a:pt x="7" y="12"/>
                      <a:pt x="8" y="7"/>
                      <a:pt x="9" y="7"/>
                    </a:cubicBezTo>
                    <a:cubicBezTo>
                      <a:pt x="9" y="7"/>
                      <a:pt x="10" y="7"/>
                      <a:pt x="11" y="7"/>
                    </a:cubicBezTo>
                    <a:cubicBezTo>
                      <a:pt x="12" y="5"/>
                      <a:pt x="12" y="3"/>
                      <a:pt x="12" y="1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1"/>
                      <a:pt x="7" y="2"/>
                      <a:pt x="7" y="3"/>
                    </a:cubicBezTo>
                    <a:cubicBezTo>
                      <a:pt x="6" y="8"/>
                      <a:pt x="2" y="15"/>
                      <a:pt x="0" y="18"/>
                    </a:cubicBezTo>
                    <a:cubicBezTo>
                      <a:pt x="6" y="32"/>
                      <a:pt x="6" y="32"/>
                      <a:pt x="6" y="32"/>
                    </a:cubicBezTo>
                    <a:lnTo>
                      <a:pt x="6" y="33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8" name="Freeform 54">
                <a:extLst>
                  <a:ext uri="{FF2B5EF4-FFF2-40B4-BE49-F238E27FC236}">
                    <a16:creationId xmlns:a16="http://schemas.microsoft.com/office/drawing/2014/main" id="{20BABA54-239B-42B8-BA6A-A96F6921FA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60879" y="3438596"/>
                <a:ext cx="79048" cy="87831"/>
              </a:xfrm>
              <a:custGeom>
                <a:avLst/>
                <a:gdLst>
                  <a:gd name="T0" fmla="*/ 31 w 34"/>
                  <a:gd name="T1" fmla="*/ 0 h 38"/>
                  <a:gd name="T2" fmla="*/ 21 w 34"/>
                  <a:gd name="T3" fmla="*/ 5 h 38"/>
                  <a:gd name="T4" fmla="*/ 13 w 34"/>
                  <a:gd name="T5" fmla="*/ 9 h 38"/>
                  <a:gd name="T6" fmla="*/ 6 w 34"/>
                  <a:gd name="T7" fmla="*/ 5 h 38"/>
                  <a:gd name="T8" fmla="*/ 5 w 34"/>
                  <a:gd name="T9" fmla="*/ 2 h 38"/>
                  <a:gd name="T10" fmla="*/ 5 w 34"/>
                  <a:gd name="T11" fmla="*/ 2 h 38"/>
                  <a:gd name="T12" fmla="*/ 4 w 34"/>
                  <a:gd name="T13" fmla="*/ 9 h 38"/>
                  <a:gd name="T14" fmla="*/ 2 w 34"/>
                  <a:gd name="T15" fmla="*/ 23 h 38"/>
                  <a:gd name="T16" fmla="*/ 0 w 34"/>
                  <a:gd name="T17" fmla="*/ 34 h 38"/>
                  <a:gd name="T18" fmla="*/ 7 w 34"/>
                  <a:gd name="T19" fmla="*/ 37 h 38"/>
                  <a:gd name="T20" fmla="*/ 13 w 34"/>
                  <a:gd name="T21" fmla="*/ 33 h 38"/>
                  <a:gd name="T22" fmla="*/ 18 w 34"/>
                  <a:gd name="T23" fmla="*/ 30 h 38"/>
                  <a:gd name="T24" fmla="*/ 23 w 34"/>
                  <a:gd name="T25" fmla="*/ 26 h 38"/>
                  <a:gd name="T26" fmla="*/ 17 w 34"/>
                  <a:gd name="T27" fmla="*/ 19 h 38"/>
                  <a:gd name="T28" fmla="*/ 25 w 34"/>
                  <a:gd name="T29" fmla="*/ 14 h 38"/>
                  <a:gd name="T30" fmla="*/ 33 w 34"/>
                  <a:gd name="T31" fmla="*/ 12 h 38"/>
                  <a:gd name="T32" fmla="*/ 34 w 34"/>
                  <a:gd name="T33" fmla="*/ 12 h 38"/>
                  <a:gd name="T34" fmla="*/ 32 w 34"/>
                  <a:gd name="T35" fmla="*/ 4 h 38"/>
                  <a:gd name="T36" fmla="*/ 31 w 34"/>
                  <a:gd name="T37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4" h="38">
                    <a:moveTo>
                      <a:pt x="31" y="0"/>
                    </a:moveTo>
                    <a:cubicBezTo>
                      <a:pt x="26" y="3"/>
                      <a:pt x="22" y="5"/>
                      <a:pt x="21" y="5"/>
                    </a:cubicBezTo>
                    <a:cubicBezTo>
                      <a:pt x="19" y="5"/>
                      <a:pt x="13" y="9"/>
                      <a:pt x="13" y="9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5"/>
                      <a:pt x="4" y="8"/>
                      <a:pt x="4" y="9"/>
                    </a:cubicBezTo>
                    <a:cubicBezTo>
                      <a:pt x="4" y="11"/>
                      <a:pt x="4" y="21"/>
                      <a:pt x="2" y="23"/>
                    </a:cubicBezTo>
                    <a:cubicBezTo>
                      <a:pt x="1" y="24"/>
                      <a:pt x="0" y="29"/>
                      <a:pt x="0" y="34"/>
                    </a:cubicBezTo>
                    <a:cubicBezTo>
                      <a:pt x="2" y="36"/>
                      <a:pt x="5" y="37"/>
                      <a:pt x="7" y="37"/>
                    </a:cubicBezTo>
                    <a:cubicBezTo>
                      <a:pt x="10" y="38"/>
                      <a:pt x="13" y="34"/>
                      <a:pt x="13" y="33"/>
                    </a:cubicBezTo>
                    <a:cubicBezTo>
                      <a:pt x="13" y="31"/>
                      <a:pt x="16" y="30"/>
                      <a:pt x="18" y="30"/>
                    </a:cubicBezTo>
                    <a:cubicBezTo>
                      <a:pt x="21" y="30"/>
                      <a:pt x="21" y="27"/>
                      <a:pt x="23" y="26"/>
                    </a:cubicBezTo>
                    <a:cubicBezTo>
                      <a:pt x="25" y="26"/>
                      <a:pt x="19" y="20"/>
                      <a:pt x="17" y="19"/>
                    </a:cubicBezTo>
                    <a:cubicBezTo>
                      <a:pt x="15" y="19"/>
                      <a:pt x="19" y="15"/>
                      <a:pt x="25" y="14"/>
                    </a:cubicBezTo>
                    <a:cubicBezTo>
                      <a:pt x="31" y="14"/>
                      <a:pt x="30" y="12"/>
                      <a:pt x="33" y="12"/>
                    </a:cubicBezTo>
                    <a:cubicBezTo>
                      <a:pt x="33" y="12"/>
                      <a:pt x="34" y="12"/>
                      <a:pt x="34" y="12"/>
                    </a:cubicBezTo>
                    <a:cubicBezTo>
                      <a:pt x="33" y="9"/>
                      <a:pt x="32" y="6"/>
                      <a:pt x="32" y="4"/>
                    </a:cubicBezTo>
                    <a:cubicBezTo>
                      <a:pt x="31" y="3"/>
                      <a:pt x="31" y="1"/>
                      <a:pt x="31" y="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9" name="Freeform 55">
                <a:extLst>
                  <a:ext uri="{FF2B5EF4-FFF2-40B4-BE49-F238E27FC236}">
                    <a16:creationId xmlns:a16="http://schemas.microsoft.com/office/drawing/2014/main" id="{0CF4CECE-1445-4497-9D66-595B14CACB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9573" y="3226547"/>
                <a:ext cx="202011" cy="87831"/>
              </a:xfrm>
              <a:custGeom>
                <a:avLst/>
                <a:gdLst>
                  <a:gd name="T0" fmla="*/ 81 w 88"/>
                  <a:gd name="T1" fmla="*/ 8 h 38"/>
                  <a:gd name="T2" fmla="*/ 73 w 88"/>
                  <a:gd name="T3" fmla="*/ 5 h 38"/>
                  <a:gd name="T4" fmla="*/ 53 w 88"/>
                  <a:gd name="T5" fmla="*/ 4 h 38"/>
                  <a:gd name="T6" fmla="*/ 42 w 88"/>
                  <a:gd name="T7" fmla="*/ 1 h 38"/>
                  <a:gd name="T8" fmla="*/ 34 w 88"/>
                  <a:gd name="T9" fmla="*/ 4 h 38"/>
                  <a:gd name="T10" fmla="*/ 26 w 88"/>
                  <a:gd name="T11" fmla="*/ 6 h 38"/>
                  <a:gd name="T12" fmla="*/ 15 w 88"/>
                  <a:gd name="T13" fmla="*/ 6 h 38"/>
                  <a:gd name="T14" fmla="*/ 10 w 88"/>
                  <a:gd name="T15" fmla="*/ 11 h 38"/>
                  <a:gd name="T16" fmla="*/ 8 w 88"/>
                  <a:gd name="T17" fmla="*/ 16 h 38"/>
                  <a:gd name="T18" fmla="*/ 11 w 88"/>
                  <a:gd name="T19" fmla="*/ 18 h 38"/>
                  <a:gd name="T20" fmla="*/ 17 w 88"/>
                  <a:gd name="T21" fmla="*/ 18 h 38"/>
                  <a:gd name="T22" fmla="*/ 28 w 88"/>
                  <a:gd name="T23" fmla="*/ 23 h 38"/>
                  <a:gd name="T24" fmla="*/ 25 w 88"/>
                  <a:gd name="T25" fmla="*/ 27 h 38"/>
                  <a:gd name="T26" fmla="*/ 17 w 88"/>
                  <a:gd name="T27" fmla="*/ 29 h 38"/>
                  <a:gd name="T28" fmla="*/ 6 w 88"/>
                  <a:gd name="T29" fmla="*/ 30 h 38"/>
                  <a:gd name="T30" fmla="*/ 0 w 88"/>
                  <a:gd name="T31" fmla="*/ 35 h 38"/>
                  <a:gd name="T32" fmla="*/ 11 w 88"/>
                  <a:gd name="T33" fmla="*/ 36 h 38"/>
                  <a:gd name="T34" fmla="*/ 19 w 88"/>
                  <a:gd name="T35" fmla="*/ 36 h 38"/>
                  <a:gd name="T36" fmla="*/ 25 w 88"/>
                  <a:gd name="T37" fmla="*/ 38 h 38"/>
                  <a:gd name="T38" fmla="*/ 36 w 88"/>
                  <a:gd name="T39" fmla="*/ 37 h 38"/>
                  <a:gd name="T40" fmla="*/ 37 w 88"/>
                  <a:gd name="T41" fmla="*/ 33 h 38"/>
                  <a:gd name="T42" fmla="*/ 41 w 88"/>
                  <a:gd name="T43" fmla="*/ 31 h 38"/>
                  <a:gd name="T44" fmla="*/ 45 w 88"/>
                  <a:gd name="T45" fmla="*/ 28 h 38"/>
                  <a:gd name="T46" fmla="*/ 50 w 88"/>
                  <a:gd name="T47" fmla="*/ 26 h 38"/>
                  <a:gd name="T48" fmla="*/ 55 w 88"/>
                  <a:gd name="T49" fmla="*/ 28 h 38"/>
                  <a:gd name="T50" fmla="*/ 60 w 88"/>
                  <a:gd name="T51" fmla="*/ 25 h 38"/>
                  <a:gd name="T52" fmla="*/ 67 w 88"/>
                  <a:gd name="T53" fmla="*/ 23 h 38"/>
                  <a:gd name="T54" fmla="*/ 73 w 88"/>
                  <a:gd name="T55" fmla="*/ 19 h 38"/>
                  <a:gd name="T56" fmla="*/ 80 w 88"/>
                  <a:gd name="T57" fmla="*/ 15 h 38"/>
                  <a:gd name="T58" fmla="*/ 87 w 88"/>
                  <a:gd name="T59" fmla="*/ 12 h 38"/>
                  <a:gd name="T60" fmla="*/ 88 w 88"/>
                  <a:gd name="T61" fmla="*/ 10 h 38"/>
                  <a:gd name="T62" fmla="*/ 81 w 88"/>
                  <a:gd name="T63" fmla="*/ 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88" h="38">
                    <a:moveTo>
                      <a:pt x="81" y="8"/>
                    </a:moveTo>
                    <a:cubicBezTo>
                      <a:pt x="78" y="4"/>
                      <a:pt x="77" y="6"/>
                      <a:pt x="73" y="5"/>
                    </a:cubicBezTo>
                    <a:cubicBezTo>
                      <a:pt x="70" y="4"/>
                      <a:pt x="55" y="3"/>
                      <a:pt x="53" y="4"/>
                    </a:cubicBezTo>
                    <a:cubicBezTo>
                      <a:pt x="50" y="5"/>
                      <a:pt x="44" y="2"/>
                      <a:pt x="42" y="1"/>
                    </a:cubicBezTo>
                    <a:cubicBezTo>
                      <a:pt x="40" y="0"/>
                      <a:pt x="34" y="1"/>
                      <a:pt x="34" y="4"/>
                    </a:cubicBezTo>
                    <a:cubicBezTo>
                      <a:pt x="33" y="8"/>
                      <a:pt x="31" y="8"/>
                      <a:pt x="26" y="6"/>
                    </a:cubicBezTo>
                    <a:cubicBezTo>
                      <a:pt x="22" y="3"/>
                      <a:pt x="16" y="3"/>
                      <a:pt x="15" y="6"/>
                    </a:cubicBezTo>
                    <a:cubicBezTo>
                      <a:pt x="15" y="8"/>
                      <a:pt x="12" y="11"/>
                      <a:pt x="10" y="11"/>
                    </a:cubicBezTo>
                    <a:cubicBezTo>
                      <a:pt x="10" y="12"/>
                      <a:pt x="9" y="14"/>
                      <a:pt x="8" y="16"/>
                    </a:cubicBezTo>
                    <a:cubicBezTo>
                      <a:pt x="9" y="16"/>
                      <a:pt x="10" y="17"/>
                      <a:pt x="11" y="18"/>
                    </a:cubicBezTo>
                    <a:cubicBezTo>
                      <a:pt x="13" y="20"/>
                      <a:pt x="17" y="20"/>
                      <a:pt x="17" y="18"/>
                    </a:cubicBezTo>
                    <a:cubicBezTo>
                      <a:pt x="18" y="16"/>
                      <a:pt x="25" y="20"/>
                      <a:pt x="28" y="23"/>
                    </a:cubicBezTo>
                    <a:cubicBezTo>
                      <a:pt x="32" y="26"/>
                      <a:pt x="27" y="24"/>
                      <a:pt x="25" y="27"/>
                    </a:cubicBezTo>
                    <a:cubicBezTo>
                      <a:pt x="23" y="31"/>
                      <a:pt x="19" y="27"/>
                      <a:pt x="17" y="29"/>
                    </a:cubicBezTo>
                    <a:cubicBezTo>
                      <a:pt x="16" y="30"/>
                      <a:pt x="8" y="31"/>
                      <a:pt x="6" y="30"/>
                    </a:cubicBezTo>
                    <a:cubicBezTo>
                      <a:pt x="3" y="30"/>
                      <a:pt x="0" y="33"/>
                      <a:pt x="0" y="35"/>
                    </a:cubicBezTo>
                    <a:cubicBezTo>
                      <a:pt x="0" y="37"/>
                      <a:pt x="8" y="34"/>
                      <a:pt x="11" y="36"/>
                    </a:cubicBezTo>
                    <a:cubicBezTo>
                      <a:pt x="14" y="38"/>
                      <a:pt x="17" y="34"/>
                      <a:pt x="19" y="36"/>
                    </a:cubicBezTo>
                    <a:cubicBezTo>
                      <a:pt x="20" y="38"/>
                      <a:pt x="24" y="37"/>
                      <a:pt x="25" y="38"/>
                    </a:cubicBezTo>
                    <a:cubicBezTo>
                      <a:pt x="27" y="38"/>
                      <a:pt x="36" y="37"/>
                      <a:pt x="36" y="37"/>
                    </a:cubicBezTo>
                    <a:cubicBezTo>
                      <a:pt x="37" y="36"/>
                      <a:pt x="37" y="34"/>
                      <a:pt x="37" y="33"/>
                    </a:cubicBezTo>
                    <a:cubicBezTo>
                      <a:pt x="37" y="31"/>
                      <a:pt x="39" y="31"/>
                      <a:pt x="41" y="31"/>
                    </a:cubicBezTo>
                    <a:cubicBezTo>
                      <a:pt x="42" y="30"/>
                      <a:pt x="44" y="28"/>
                      <a:pt x="45" y="28"/>
                    </a:cubicBezTo>
                    <a:cubicBezTo>
                      <a:pt x="47" y="28"/>
                      <a:pt x="48" y="26"/>
                      <a:pt x="50" y="26"/>
                    </a:cubicBezTo>
                    <a:cubicBezTo>
                      <a:pt x="51" y="27"/>
                      <a:pt x="53" y="29"/>
                      <a:pt x="55" y="28"/>
                    </a:cubicBezTo>
                    <a:cubicBezTo>
                      <a:pt x="57" y="26"/>
                      <a:pt x="57" y="28"/>
                      <a:pt x="60" y="25"/>
                    </a:cubicBezTo>
                    <a:cubicBezTo>
                      <a:pt x="62" y="22"/>
                      <a:pt x="64" y="22"/>
                      <a:pt x="67" y="23"/>
                    </a:cubicBezTo>
                    <a:cubicBezTo>
                      <a:pt x="71" y="23"/>
                      <a:pt x="72" y="21"/>
                      <a:pt x="73" y="19"/>
                    </a:cubicBezTo>
                    <a:cubicBezTo>
                      <a:pt x="75" y="17"/>
                      <a:pt x="78" y="17"/>
                      <a:pt x="80" y="15"/>
                    </a:cubicBezTo>
                    <a:cubicBezTo>
                      <a:pt x="82" y="14"/>
                      <a:pt x="86" y="12"/>
                      <a:pt x="87" y="12"/>
                    </a:cubicBezTo>
                    <a:cubicBezTo>
                      <a:pt x="87" y="12"/>
                      <a:pt x="88" y="11"/>
                      <a:pt x="88" y="10"/>
                    </a:cubicBezTo>
                    <a:cubicBezTo>
                      <a:pt x="85" y="8"/>
                      <a:pt x="83" y="11"/>
                      <a:pt x="81" y="8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0" name="Freeform 56">
                <a:extLst>
                  <a:ext uri="{FF2B5EF4-FFF2-40B4-BE49-F238E27FC236}">
                    <a16:creationId xmlns:a16="http://schemas.microsoft.com/office/drawing/2014/main" id="{167C9983-CE57-4F8C-A492-E713F060F6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53729" y="3217764"/>
                <a:ext cx="129237" cy="57717"/>
              </a:xfrm>
              <a:custGeom>
                <a:avLst/>
                <a:gdLst>
                  <a:gd name="T0" fmla="*/ 22 w 56"/>
                  <a:gd name="T1" fmla="*/ 19 h 25"/>
                  <a:gd name="T2" fmla="*/ 27 w 56"/>
                  <a:gd name="T3" fmla="*/ 24 h 25"/>
                  <a:gd name="T4" fmla="*/ 28 w 56"/>
                  <a:gd name="T5" fmla="*/ 24 h 25"/>
                  <a:gd name="T6" fmla="*/ 36 w 56"/>
                  <a:gd name="T7" fmla="*/ 23 h 25"/>
                  <a:gd name="T8" fmla="*/ 43 w 56"/>
                  <a:gd name="T9" fmla="*/ 23 h 25"/>
                  <a:gd name="T10" fmla="*/ 43 w 56"/>
                  <a:gd name="T11" fmla="*/ 21 h 25"/>
                  <a:gd name="T12" fmla="*/ 48 w 56"/>
                  <a:gd name="T13" fmla="*/ 23 h 25"/>
                  <a:gd name="T14" fmla="*/ 54 w 56"/>
                  <a:gd name="T15" fmla="*/ 24 h 25"/>
                  <a:gd name="T16" fmla="*/ 52 w 56"/>
                  <a:gd name="T17" fmla="*/ 20 h 25"/>
                  <a:gd name="T18" fmla="*/ 53 w 56"/>
                  <a:gd name="T19" fmla="*/ 17 h 25"/>
                  <a:gd name="T20" fmla="*/ 48 w 56"/>
                  <a:gd name="T21" fmla="*/ 15 h 25"/>
                  <a:gd name="T22" fmla="*/ 46 w 56"/>
                  <a:gd name="T23" fmla="*/ 10 h 25"/>
                  <a:gd name="T24" fmla="*/ 43 w 56"/>
                  <a:gd name="T25" fmla="*/ 9 h 25"/>
                  <a:gd name="T26" fmla="*/ 35 w 56"/>
                  <a:gd name="T27" fmla="*/ 10 h 25"/>
                  <a:gd name="T28" fmla="*/ 30 w 56"/>
                  <a:gd name="T29" fmla="*/ 7 h 25"/>
                  <a:gd name="T30" fmla="*/ 25 w 56"/>
                  <a:gd name="T31" fmla="*/ 4 h 25"/>
                  <a:gd name="T32" fmla="*/ 12 w 56"/>
                  <a:gd name="T33" fmla="*/ 3 h 25"/>
                  <a:gd name="T34" fmla="*/ 3 w 56"/>
                  <a:gd name="T35" fmla="*/ 0 h 25"/>
                  <a:gd name="T36" fmla="*/ 0 w 56"/>
                  <a:gd name="T37" fmla="*/ 1 h 25"/>
                  <a:gd name="T38" fmla="*/ 12 w 56"/>
                  <a:gd name="T39" fmla="*/ 8 h 25"/>
                  <a:gd name="T40" fmla="*/ 15 w 56"/>
                  <a:gd name="T41" fmla="*/ 17 h 25"/>
                  <a:gd name="T42" fmla="*/ 13 w 56"/>
                  <a:gd name="T43" fmla="*/ 19 h 25"/>
                  <a:gd name="T44" fmla="*/ 22 w 56"/>
                  <a:gd name="T45" fmla="*/ 19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56" h="25">
                    <a:moveTo>
                      <a:pt x="22" y="19"/>
                    </a:moveTo>
                    <a:cubicBezTo>
                      <a:pt x="24" y="18"/>
                      <a:pt x="25" y="21"/>
                      <a:pt x="27" y="24"/>
                    </a:cubicBezTo>
                    <a:cubicBezTo>
                      <a:pt x="28" y="24"/>
                      <a:pt x="28" y="24"/>
                      <a:pt x="28" y="24"/>
                    </a:cubicBezTo>
                    <a:cubicBezTo>
                      <a:pt x="31" y="24"/>
                      <a:pt x="33" y="23"/>
                      <a:pt x="36" y="23"/>
                    </a:cubicBezTo>
                    <a:cubicBezTo>
                      <a:pt x="38" y="22"/>
                      <a:pt x="41" y="23"/>
                      <a:pt x="43" y="23"/>
                    </a:cubicBezTo>
                    <a:cubicBezTo>
                      <a:pt x="43" y="23"/>
                      <a:pt x="42" y="22"/>
                      <a:pt x="43" y="21"/>
                    </a:cubicBezTo>
                    <a:cubicBezTo>
                      <a:pt x="43" y="20"/>
                      <a:pt x="47" y="22"/>
                      <a:pt x="48" y="23"/>
                    </a:cubicBezTo>
                    <a:cubicBezTo>
                      <a:pt x="49" y="24"/>
                      <a:pt x="53" y="25"/>
                      <a:pt x="54" y="24"/>
                    </a:cubicBezTo>
                    <a:cubicBezTo>
                      <a:pt x="56" y="22"/>
                      <a:pt x="52" y="21"/>
                      <a:pt x="52" y="20"/>
                    </a:cubicBezTo>
                    <a:cubicBezTo>
                      <a:pt x="51" y="19"/>
                      <a:pt x="52" y="18"/>
                      <a:pt x="53" y="17"/>
                    </a:cubicBezTo>
                    <a:cubicBezTo>
                      <a:pt x="51" y="16"/>
                      <a:pt x="49" y="14"/>
                      <a:pt x="48" y="15"/>
                    </a:cubicBezTo>
                    <a:cubicBezTo>
                      <a:pt x="47" y="15"/>
                      <a:pt x="47" y="10"/>
                      <a:pt x="46" y="10"/>
                    </a:cubicBezTo>
                    <a:cubicBezTo>
                      <a:pt x="44" y="10"/>
                      <a:pt x="44" y="9"/>
                      <a:pt x="43" y="9"/>
                    </a:cubicBezTo>
                    <a:cubicBezTo>
                      <a:pt x="42" y="9"/>
                      <a:pt x="36" y="9"/>
                      <a:pt x="35" y="10"/>
                    </a:cubicBezTo>
                    <a:cubicBezTo>
                      <a:pt x="33" y="11"/>
                      <a:pt x="32" y="7"/>
                      <a:pt x="30" y="7"/>
                    </a:cubicBezTo>
                    <a:cubicBezTo>
                      <a:pt x="28" y="7"/>
                      <a:pt x="26" y="5"/>
                      <a:pt x="25" y="4"/>
                    </a:cubicBezTo>
                    <a:cubicBezTo>
                      <a:pt x="24" y="2"/>
                      <a:pt x="15" y="5"/>
                      <a:pt x="12" y="3"/>
                    </a:cubicBezTo>
                    <a:cubicBezTo>
                      <a:pt x="10" y="1"/>
                      <a:pt x="5" y="0"/>
                      <a:pt x="3" y="0"/>
                    </a:cubicBezTo>
                    <a:cubicBezTo>
                      <a:pt x="2" y="0"/>
                      <a:pt x="1" y="1"/>
                      <a:pt x="0" y="1"/>
                    </a:cubicBezTo>
                    <a:cubicBezTo>
                      <a:pt x="4" y="4"/>
                      <a:pt x="11" y="3"/>
                      <a:pt x="12" y="8"/>
                    </a:cubicBezTo>
                    <a:cubicBezTo>
                      <a:pt x="13" y="14"/>
                      <a:pt x="16" y="12"/>
                      <a:pt x="15" y="17"/>
                    </a:cubicBezTo>
                    <a:cubicBezTo>
                      <a:pt x="15" y="18"/>
                      <a:pt x="14" y="19"/>
                      <a:pt x="13" y="19"/>
                    </a:cubicBezTo>
                    <a:cubicBezTo>
                      <a:pt x="17" y="20"/>
                      <a:pt x="21" y="20"/>
                      <a:pt x="22" y="1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1" name="Freeform 57">
                <a:extLst>
                  <a:ext uri="{FF2B5EF4-FFF2-40B4-BE49-F238E27FC236}">
                    <a16:creationId xmlns:a16="http://schemas.microsoft.com/office/drawing/2014/main" id="{1FEF9A44-D5E5-4FCD-B0EA-25B748A2A1C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95256" y="3249132"/>
                <a:ext cx="350069" cy="136765"/>
              </a:xfrm>
              <a:custGeom>
                <a:avLst/>
                <a:gdLst>
                  <a:gd name="T0" fmla="*/ 147 w 152"/>
                  <a:gd name="T1" fmla="*/ 41 h 59"/>
                  <a:gd name="T2" fmla="*/ 147 w 152"/>
                  <a:gd name="T3" fmla="*/ 33 h 59"/>
                  <a:gd name="T4" fmla="*/ 147 w 152"/>
                  <a:gd name="T5" fmla="*/ 26 h 59"/>
                  <a:gd name="T6" fmla="*/ 149 w 152"/>
                  <a:gd name="T7" fmla="*/ 22 h 59"/>
                  <a:gd name="T8" fmla="*/ 148 w 152"/>
                  <a:gd name="T9" fmla="*/ 19 h 59"/>
                  <a:gd name="T10" fmla="*/ 142 w 152"/>
                  <a:gd name="T11" fmla="*/ 17 h 59"/>
                  <a:gd name="T12" fmla="*/ 139 w 152"/>
                  <a:gd name="T13" fmla="*/ 10 h 59"/>
                  <a:gd name="T14" fmla="*/ 134 w 152"/>
                  <a:gd name="T15" fmla="*/ 5 h 59"/>
                  <a:gd name="T16" fmla="*/ 125 w 152"/>
                  <a:gd name="T17" fmla="*/ 5 h 59"/>
                  <a:gd name="T18" fmla="*/ 110 w 152"/>
                  <a:gd name="T19" fmla="*/ 10 h 59"/>
                  <a:gd name="T20" fmla="*/ 96 w 152"/>
                  <a:gd name="T21" fmla="*/ 11 h 59"/>
                  <a:gd name="T22" fmla="*/ 87 w 152"/>
                  <a:gd name="T23" fmla="*/ 8 h 59"/>
                  <a:gd name="T24" fmla="*/ 80 w 152"/>
                  <a:gd name="T25" fmla="*/ 4 h 59"/>
                  <a:gd name="T26" fmla="*/ 68 w 152"/>
                  <a:gd name="T27" fmla="*/ 1 h 59"/>
                  <a:gd name="T28" fmla="*/ 43 w 152"/>
                  <a:gd name="T29" fmla="*/ 9 h 59"/>
                  <a:gd name="T30" fmla="*/ 26 w 152"/>
                  <a:gd name="T31" fmla="*/ 10 h 59"/>
                  <a:gd name="T32" fmla="*/ 22 w 152"/>
                  <a:gd name="T33" fmla="*/ 16 h 59"/>
                  <a:gd name="T34" fmla="*/ 5 w 152"/>
                  <a:gd name="T35" fmla="*/ 17 h 59"/>
                  <a:gd name="T36" fmla="*/ 3 w 152"/>
                  <a:gd name="T37" fmla="*/ 23 h 59"/>
                  <a:gd name="T38" fmla="*/ 7 w 152"/>
                  <a:gd name="T39" fmla="*/ 25 h 59"/>
                  <a:gd name="T40" fmla="*/ 7 w 152"/>
                  <a:gd name="T41" fmla="*/ 31 h 59"/>
                  <a:gd name="T42" fmla="*/ 7 w 152"/>
                  <a:gd name="T43" fmla="*/ 37 h 59"/>
                  <a:gd name="T44" fmla="*/ 7 w 152"/>
                  <a:gd name="T45" fmla="*/ 41 h 59"/>
                  <a:gd name="T46" fmla="*/ 12 w 152"/>
                  <a:gd name="T47" fmla="*/ 46 h 59"/>
                  <a:gd name="T48" fmla="*/ 17 w 152"/>
                  <a:gd name="T49" fmla="*/ 49 h 59"/>
                  <a:gd name="T50" fmla="*/ 21 w 152"/>
                  <a:gd name="T51" fmla="*/ 50 h 59"/>
                  <a:gd name="T52" fmla="*/ 26 w 152"/>
                  <a:gd name="T53" fmla="*/ 55 h 59"/>
                  <a:gd name="T54" fmla="*/ 36 w 152"/>
                  <a:gd name="T55" fmla="*/ 53 h 59"/>
                  <a:gd name="T56" fmla="*/ 43 w 152"/>
                  <a:gd name="T57" fmla="*/ 50 h 59"/>
                  <a:gd name="T58" fmla="*/ 54 w 152"/>
                  <a:gd name="T59" fmla="*/ 57 h 59"/>
                  <a:gd name="T60" fmla="*/ 62 w 152"/>
                  <a:gd name="T61" fmla="*/ 55 h 59"/>
                  <a:gd name="T62" fmla="*/ 69 w 152"/>
                  <a:gd name="T63" fmla="*/ 50 h 59"/>
                  <a:gd name="T64" fmla="*/ 76 w 152"/>
                  <a:gd name="T65" fmla="*/ 52 h 59"/>
                  <a:gd name="T66" fmla="*/ 82 w 152"/>
                  <a:gd name="T67" fmla="*/ 50 h 59"/>
                  <a:gd name="T68" fmla="*/ 80 w 152"/>
                  <a:gd name="T69" fmla="*/ 57 h 59"/>
                  <a:gd name="T70" fmla="*/ 80 w 152"/>
                  <a:gd name="T71" fmla="*/ 59 h 59"/>
                  <a:gd name="T72" fmla="*/ 85 w 152"/>
                  <a:gd name="T73" fmla="*/ 54 h 59"/>
                  <a:gd name="T74" fmla="*/ 88 w 152"/>
                  <a:gd name="T75" fmla="*/ 52 h 59"/>
                  <a:gd name="T76" fmla="*/ 95 w 152"/>
                  <a:gd name="T77" fmla="*/ 52 h 59"/>
                  <a:gd name="T78" fmla="*/ 100 w 152"/>
                  <a:gd name="T79" fmla="*/ 51 h 59"/>
                  <a:gd name="T80" fmla="*/ 109 w 152"/>
                  <a:gd name="T81" fmla="*/ 51 h 59"/>
                  <a:gd name="T82" fmla="*/ 120 w 152"/>
                  <a:gd name="T83" fmla="*/ 48 h 59"/>
                  <a:gd name="T84" fmla="*/ 129 w 152"/>
                  <a:gd name="T85" fmla="*/ 47 h 59"/>
                  <a:gd name="T86" fmla="*/ 132 w 152"/>
                  <a:gd name="T87" fmla="*/ 48 h 59"/>
                  <a:gd name="T88" fmla="*/ 136 w 152"/>
                  <a:gd name="T89" fmla="*/ 45 h 59"/>
                  <a:gd name="T90" fmla="*/ 143 w 152"/>
                  <a:gd name="T91" fmla="*/ 46 h 59"/>
                  <a:gd name="T92" fmla="*/ 151 w 152"/>
                  <a:gd name="T93" fmla="*/ 48 h 59"/>
                  <a:gd name="T94" fmla="*/ 147 w 152"/>
                  <a:gd name="T95" fmla="*/ 41 h 59"/>
                  <a:gd name="T96" fmla="*/ 14 w 152"/>
                  <a:gd name="T97" fmla="*/ 11 h 59"/>
                  <a:gd name="T98" fmla="*/ 24 w 152"/>
                  <a:gd name="T99" fmla="*/ 10 h 59"/>
                  <a:gd name="T100" fmla="*/ 18 w 152"/>
                  <a:gd name="T101" fmla="*/ 5 h 59"/>
                  <a:gd name="T102" fmla="*/ 16 w 152"/>
                  <a:gd name="T103" fmla="*/ 1 h 59"/>
                  <a:gd name="T104" fmla="*/ 13 w 152"/>
                  <a:gd name="T105" fmla="*/ 1 h 59"/>
                  <a:gd name="T106" fmla="*/ 5 w 152"/>
                  <a:gd name="T107" fmla="*/ 1 h 59"/>
                  <a:gd name="T108" fmla="*/ 6 w 152"/>
                  <a:gd name="T109" fmla="*/ 7 h 59"/>
                  <a:gd name="T110" fmla="*/ 3 w 152"/>
                  <a:gd name="T111" fmla="*/ 10 h 59"/>
                  <a:gd name="T112" fmla="*/ 1 w 152"/>
                  <a:gd name="T113" fmla="*/ 13 h 59"/>
                  <a:gd name="T114" fmla="*/ 6 w 152"/>
                  <a:gd name="T115" fmla="*/ 15 h 59"/>
                  <a:gd name="T116" fmla="*/ 14 w 152"/>
                  <a:gd name="T117" fmla="*/ 11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52" h="59">
                    <a:moveTo>
                      <a:pt x="147" y="41"/>
                    </a:moveTo>
                    <a:cubicBezTo>
                      <a:pt x="146" y="41"/>
                      <a:pt x="148" y="34"/>
                      <a:pt x="147" y="33"/>
                    </a:cubicBezTo>
                    <a:cubicBezTo>
                      <a:pt x="147" y="32"/>
                      <a:pt x="145" y="26"/>
                      <a:pt x="147" y="26"/>
                    </a:cubicBezTo>
                    <a:cubicBezTo>
                      <a:pt x="149" y="26"/>
                      <a:pt x="147" y="22"/>
                      <a:pt x="149" y="22"/>
                    </a:cubicBezTo>
                    <a:cubicBezTo>
                      <a:pt x="149" y="21"/>
                      <a:pt x="148" y="20"/>
                      <a:pt x="148" y="19"/>
                    </a:cubicBezTo>
                    <a:cubicBezTo>
                      <a:pt x="147" y="18"/>
                      <a:pt x="143" y="20"/>
                      <a:pt x="142" y="17"/>
                    </a:cubicBezTo>
                    <a:cubicBezTo>
                      <a:pt x="140" y="13"/>
                      <a:pt x="142" y="12"/>
                      <a:pt x="139" y="10"/>
                    </a:cubicBezTo>
                    <a:cubicBezTo>
                      <a:pt x="137" y="7"/>
                      <a:pt x="136" y="4"/>
                      <a:pt x="134" y="5"/>
                    </a:cubicBezTo>
                    <a:cubicBezTo>
                      <a:pt x="133" y="6"/>
                      <a:pt x="129" y="6"/>
                      <a:pt x="125" y="5"/>
                    </a:cubicBezTo>
                    <a:cubicBezTo>
                      <a:pt x="121" y="9"/>
                      <a:pt x="113" y="11"/>
                      <a:pt x="110" y="10"/>
                    </a:cubicBezTo>
                    <a:cubicBezTo>
                      <a:pt x="107" y="9"/>
                      <a:pt x="101" y="11"/>
                      <a:pt x="96" y="11"/>
                    </a:cubicBezTo>
                    <a:cubicBezTo>
                      <a:pt x="92" y="11"/>
                      <a:pt x="90" y="7"/>
                      <a:pt x="87" y="8"/>
                    </a:cubicBezTo>
                    <a:cubicBezTo>
                      <a:pt x="83" y="8"/>
                      <a:pt x="83" y="4"/>
                      <a:pt x="80" y="4"/>
                    </a:cubicBezTo>
                    <a:cubicBezTo>
                      <a:pt x="76" y="4"/>
                      <a:pt x="79" y="3"/>
                      <a:pt x="68" y="1"/>
                    </a:cubicBezTo>
                    <a:cubicBezTo>
                      <a:pt x="57" y="0"/>
                      <a:pt x="47" y="6"/>
                      <a:pt x="43" y="9"/>
                    </a:cubicBezTo>
                    <a:cubicBezTo>
                      <a:pt x="40" y="12"/>
                      <a:pt x="27" y="9"/>
                      <a:pt x="26" y="10"/>
                    </a:cubicBezTo>
                    <a:cubicBezTo>
                      <a:pt x="25" y="10"/>
                      <a:pt x="26" y="14"/>
                      <a:pt x="22" y="16"/>
                    </a:cubicBezTo>
                    <a:cubicBezTo>
                      <a:pt x="17" y="17"/>
                      <a:pt x="8" y="16"/>
                      <a:pt x="5" y="17"/>
                    </a:cubicBezTo>
                    <a:cubicBezTo>
                      <a:pt x="2" y="19"/>
                      <a:pt x="0" y="23"/>
                      <a:pt x="3" y="23"/>
                    </a:cubicBezTo>
                    <a:cubicBezTo>
                      <a:pt x="6" y="23"/>
                      <a:pt x="7" y="24"/>
                      <a:pt x="7" y="25"/>
                    </a:cubicBezTo>
                    <a:cubicBezTo>
                      <a:pt x="6" y="27"/>
                      <a:pt x="9" y="30"/>
                      <a:pt x="7" y="31"/>
                    </a:cubicBezTo>
                    <a:cubicBezTo>
                      <a:pt x="6" y="33"/>
                      <a:pt x="6" y="36"/>
                      <a:pt x="7" y="37"/>
                    </a:cubicBezTo>
                    <a:cubicBezTo>
                      <a:pt x="9" y="38"/>
                      <a:pt x="10" y="41"/>
                      <a:pt x="7" y="41"/>
                    </a:cubicBezTo>
                    <a:cubicBezTo>
                      <a:pt x="5" y="42"/>
                      <a:pt x="11" y="44"/>
                      <a:pt x="12" y="46"/>
                    </a:cubicBezTo>
                    <a:cubicBezTo>
                      <a:pt x="12" y="47"/>
                      <a:pt x="17" y="47"/>
                      <a:pt x="17" y="49"/>
                    </a:cubicBezTo>
                    <a:cubicBezTo>
                      <a:pt x="17" y="50"/>
                      <a:pt x="18" y="51"/>
                      <a:pt x="21" y="50"/>
                    </a:cubicBezTo>
                    <a:cubicBezTo>
                      <a:pt x="23" y="49"/>
                      <a:pt x="24" y="53"/>
                      <a:pt x="26" y="55"/>
                    </a:cubicBezTo>
                    <a:cubicBezTo>
                      <a:pt x="27" y="57"/>
                      <a:pt x="36" y="56"/>
                      <a:pt x="36" y="53"/>
                    </a:cubicBezTo>
                    <a:cubicBezTo>
                      <a:pt x="36" y="51"/>
                      <a:pt x="39" y="50"/>
                      <a:pt x="43" y="50"/>
                    </a:cubicBezTo>
                    <a:cubicBezTo>
                      <a:pt x="47" y="51"/>
                      <a:pt x="52" y="56"/>
                      <a:pt x="54" y="57"/>
                    </a:cubicBezTo>
                    <a:cubicBezTo>
                      <a:pt x="56" y="57"/>
                      <a:pt x="59" y="55"/>
                      <a:pt x="62" y="55"/>
                    </a:cubicBezTo>
                    <a:cubicBezTo>
                      <a:pt x="64" y="55"/>
                      <a:pt x="68" y="51"/>
                      <a:pt x="69" y="50"/>
                    </a:cubicBezTo>
                    <a:cubicBezTo>
                      <a:pt x="71" y="50"/>
                      <a:pt x="73" y="53"/>
                      <a:pt x="76" y="52"/>
                    </a:cubicBezTo>
                    <a:cubicBezTo>
                      <a:pt x="78" y="51"/>
                      <a:pt x="80" y="49"/>
                      <a:pt x="82" y="50"/>
                    </a:cubicBezTo>
                    <a:cubicBezTo>
                      <a:pt x="83" y="51"/>
                      <a:pt x="78" y="55"/>
                      <a:pt x="80" y="57"/>
                    </a:cubicBezTo>
                    <a:cubicBezTo>
                      <a:pt x="80" y="57"/>
                      <a:pt x="80" y="58"/>
                      <a:pt x="80" y="59"/>
                    </a:cubicBezTo>
                    <a:cubicBezTo>
                      <a:pt x="85" y="59"/>
                      <a:pt x="84" y="55"/>
                      <a:pt x="85" y="54"/>
                    </a:cubicBezTo>
                    <a:cubicBezTo>
                      <a:pt x="85" y="52"/>
                      <a:pt x="86" y="51"/>
                      <a:pt x="88" y="52"/>
                    </a:cubicBezTo>
                    <a:cubicBezTo>
                      <a:pt x="89" y="53"/>
                      <a:pt x="92" y="54"/>
                      <a:pt x="95" y="52"/>
                    </a:cubicBezTo>
                    <a:cubicBezTo>
                      <a:pt x="99" y="50"/>
                      <a:pt x="99" y="49"/>
                      <a:pt x="100" y="51"/>
                    </a:cubicBezTo>
                    <a:cubicBezTo>
                      <a:pt x="101" y="53"/>
                      <a:pt x="104" y="51"/>
                      <a:pt x="109" y="51"/>
                    </a:cubicBezTo>
                    <a:cubicBezTo>
                      <a:pt x="114" y="51"/>
                      <a:pt x="115" y="48"/>
                      <a:pt x="120" y="48"/>
                    </a:cubicBezTo>
                    <a:cubicBezTo>
                      <a:pt x="125" y="48"/>
                      <a:pt x="129" y="47"/>
                      <a:pt x="129" y="47"/>
                    </a:cubicBezTo>
                    <a:cubicBezTo>
                      <a:pt x="132" y="48"/>
                      <a:pt x="132" y="48"/>
                      <a:pt x="132" y="48"/>
                    </a:cubicBezTo>
                    <a:cubicBezTo>
                      <a:pt x="133" y="47"/>
                      <a:pt x="133" y="45"/>
                      <a:pt x="136" y="45"/>
                    </a:cubicBezTo>
                    <a:cubicBezTo>
                      <a:pt x="139" y="45"/>
                      <a:pt x="141" y="47"/>
                      <a:pt x="143" y="46"/>
                    </a:cubicBezTo>
                    <a:cubicBezTo>
                      <a:pt x="145" y="46"/>
                      <a:pt x="151" y="52"/>
                      <a:pt x="151" y="48"/>
                    </a:cubicBezTo>
                    <a:cubicBezTo>
                      <a:pt x="152" y="47"/>
                      <a:pt x="149" y="42"/>
                      <a:pt x="147" y="41"/>
                    </a:cubicBezTo>
                    <a:close/>
                    <a:moveTo>
                      <a:pt x="14" y="11"/>
                    </a:moveTo>
                    <a:cubicBezTo>
                      <a:pt x="16" y="10"/>
                      <a:pt x="23" y="11"/>
                      <a:pt x="24" y="10"/>
                    </a:cubicBezTo>
                    <a:cubicBezTo>
                      <a:pt x="26" y="8"/>
                      <a:pt x="20" y="7"/>
                      <a:pt x="18" y="5"/>
                    </a:cubicBezTo>
                    <a:cubicBezTo>
                      <a:pt x="17" y="4"/>
                      <a:pt x="17" y="2"/>
                      <a:pt x="16" y="1"/>
                    </a:cubicBezTo>
                    <a:cubicBezTo>
                      <a:pt x="15" y="1"/>
                      <a:pt x="14" y="2"/>
                      <a:pt x="13" y="1"/>
                    </a:cubicBezTo>
                    <a:cubicBezTo>
                      <a:pt x="11" y="0"/>
                      <a:pt x="6" y="1"/>
                      <a:pt x="5" y="1"/>
                    </a:cubicBezTo>
                    <a:cubicBezTo>
                      <a:pt x="4" y="2"/>
                      <a:pt x="6" y="5"/>
                      <a:pt x="6" y="7"/>
                    </a:cubicBezTo>
                    <a:cubicBezTo>
                      <a:pt x="6" y="9"/>
                      <a:pt x="3" y="9"/>
                      <a:pt x="3" y="10"/>
                    </a:cubicBezTo>
                    <a:cubicBezTo>
                      <a:pt x="3" y="11"/>
                      <a:pt x="2" y="12"/>
                      <a:pt x="1" y="13"/>
                    </a:cubicBezTo>
                    <a:cubicBezTo>
                      <a:pt x="3" y="14"/>
                      <a:pt x="4" y="15"/>
                      <a:pt x="6" y="15"/>
                    </a:cubicBezTo>
                    <a:cubicBezTo>
                      <a:pt x="9" y="15"/>
                      <a:pt x="11" y="12"/>
                      <a:pt x="14" y="1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2" name="Freeform 58">
                <a:extLst>
                  <a:ext uri="{FF2B5EF4-FFF2-40B4-BE49-F238E27FC236}">
                    <a16:creationId xmlns:a16="http://schemas.microsoft.com/office/drawing/2014/main" id="{27941950-983A-460E-8858-110F525BB7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67668" y="3388407"/>
                <a:ext cx="43915" cy="41406"/>
              </a:xfrm>
              <a:custGeom>
                <a:avLst/>
                <a:gdLst>
                  <a:gd name="T0" fmla="*/ 9 w 19"/>
                  <a:gd name="T1" fmla="*/ 0 h 18"/>
                  <a:gd name="T2" fmla="*/ 0 w 19"/>
                  <a:gd name="T3" fmla="*/ 6 h 18"/>
                  <a:gd name="T4" fmla="*/ 2 w 19"/>
                  <a:gd name="T5" fmla="*/ 8 h 18"/>
                  <a:gd name="T6" fmla="*/ 6 w 19"/>
                  <a:gd name="T7" fmla="*/ 13 h 18"/>
                  <a:gd name="T8" fmla="*/ 7 w 19"/>
                  <a:gd name="T9" fmla="*/ 18 h 18"/>
                  <a:gd name="T10" fmla="*/ 11 w 19"/>
                  <a:gd name="T11" fmla="*/ 18 h 18"/>
                  <a:gd name="T12" fmla="*/ 19 w 19"/>
                  <a:gd name="T13" fmla="*/ 8 h 18"/>
                  <a:gd name="T14" fmla="*/ 9 w 19"/>
                  <a:gd name="T15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" h="18">
                    <a:moveTo>
                      <a:pt x="9" y="0"/>
                    </a:moveTo>
                    <a:cubicBezTo>
                      <a:pt x="7" y="0"/>
                      <a:pt x="1" y="3"/>
                      <a:pt x="0" y="6"/>
                    </a:cubicBezTo>
                    <a:cubicBezTo>
                      <a:pt x="1" y="6"/>
                      <a:pt x="1" y="7"/>
                      <a:pt x="2" y="8"/>
                    </a:cubicBezTo>
                    <a:cubicBezTo>
                      <a:pt x="2" y="10"/>
                      <a:pt x="4" y="12"/>
                      <a:pt x="6" y="13"/>
                    </a:cubicBezTo>
                    <a:cubicBezTo>
                      <a:pt x="8" y="14"/>
                      <a:pt x="8" y="16"/>
                      <a:pt x="7" y="18"/>
                    </a:cubicBezTo>
                    <a:cubicBezTo>
                      <a:pt x="9" y="18"/>
                      <a:pt x="10" y="18"/>
                      <a:pt x="11" y="18"/>
                    </a:cubicBezTo>
                    <a:cubicBezTo>
                      <a:pt x="13" y="17"/>
                      <a:pt x="18" y="10"/>
                      <a:pt x="19" y="8"/>
                    </a:cubicBezTo>
                    <a:cubicBezTo>
                      <a:pt x="19" y="6"/>
                      <a:pt x="12" y="1"/>
                      <a:pt x="9" y="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3" name="Freeform 59">
                <a:extLst>
                  <a:ext uri="{FF2B5EF4-FFF2-40B4-BE49-F238E27FC236}">
                    <a16:creationId xmlns:a16="http://schemas.microsoft.com/office/drawing/2014/main" id="{56ABC612-EB28-40AB-83E8-5A93413A6A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04570" y="3232821"/>
                <a:ext cx="129237" cy="122963"/>
              </a:xfrm>
              <a:custGeom>
                <a:avLst/>
                <a:gdLst>
                  <a:gd name="T0" fmla="*/ 54 w 56"/>
                  <a:gd name="T1" fmla="*/ 3 h 53"/>
                  <a:gd name="T2" fmla="*/ 47 w 56"/>
                  <a:gd name="T3" fmla="*/ 0 h 53"/>
                  <a:gd name="T4" fmla="*/ 42 w 56"/>
                  <a:gd name="T5" fmla="*/ 7 h 53"/>
                  <a:gd name="T6" fmla="*/ 36 w 56"/>
                  <a:gd name="T7" fmla="*/ 11 h 53"/>
                  <a:gd name="T8" fmla="*/ 33 w 56"/>
                  <a:gd name="T9" fmla="*/ 14 h 53"/>
                  <a:gd name="T10" fmla="*/ 28 w 56"/>
                  <a:gd name="T11" fmla="*/ 15 h 53"/>
                  <a:gd name="T12" fmla="*/ 23 w 56"/>
                  <a:gd name="T13" fmla="*/ 13 h 53"/>
                  <a:gd name="T14" fmla="*/ 18 w 56"/>
                  <a:gd name="T15" fmla="*/ 19 h 53"/>
                  <a:gd name="T16" fmla="*/ 3 w 56"/>
                  <a:gd name="T17" fmla="*/ 27 h 53"/>
                  <a:gd name="T18" fmla="*/ 0 w 56"/>
                  <a:gd name="T19" fmla="*/ 31 h 53"/>
                  <a:gd name="T20" fmla="*/ 10 w 56"/>
                  <a:gd name="T21" fmla="*/ 35 h 53"/>
                  <a:gd name="T22" fmla="*/ 5 w 56"/>
                  <a:gd name="T23" fmla="*/ 44 h 53"/>
                  <a:gd name="T24" fmla="*/ 6 w 56"/>
                  <a:gd name="T25" fmla="*/ 49 h 53"/>
                  <a:gd name="T26" fmla="*/ 10 w 56"/>
                  <a:gd name="T27" fmla="*/ 51 h 53"/>
                  <a:gd name="T28" fmla="*/ 17 w 56"/>
                  <a:gd name="T29" fmla="*/ 50 h 53"/>
                  <a:gd name="T30" fmla="*/ 18 w 56"/>
                  <a:gd name="T31" fmla="*/ 51 h 53"/>
                  <a:gd name="T32" fmla="*/ 23 w 56"/>
                  <a:gd name="T33" fmla="*/ 47 h 53"/>
                  <a:gd name="T34" fmla="*/ 31 w 56"/>
                  <a:gd name="T35" fmla="*/ 46 h 53"/>
                  <a:gd name="T36" fmla="*/ 35 w 56"/>
                  <a:gd name="T37" fmla="*/ 44 h 53"/>
                  <a:gd name="T38" fmla="*/ 28 w 56"/>
                  <a:gd name="T39" fmla="*/ 37 h 53"/>
                  <a:gd name="T40" fmla="*/ 30 w 56"/>
                  <a:gd name="T41" fmla="*/ 30 h 53"/>
                  <a:gd name="T42" fmla="*/ 44 w 56"/>
                  <a:gd name="T43" fmla="*/ 22 h 53"/>
                  <a:gd name="T44" fmla="*/ 47 w 56"/>
                  <a:gd name="T45" fmla="*/ 12 h 53"/>
                  <a:gd name="T46" fmla="*/ 56 w 56"/>
                  <a:gd name="T47" fmla="*/ 3 h 53"/>
                  <a:gd name="T48" fmla="*/ 54 w 56"/>
                  <a:gd name="T49" fmla="*/ 3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6" h="53">
                    <a:moveTo>
                      <a:pt x="54" y="3"/>
                    </a:moveTo>
                    <a:cubicBezTo>
                      <a:pt x="50" y="4"/>
                      <a:pt x="49" y="0"/>
                      <a:pt x="47" y="0"/>
                    </a:cubicBezTo>
                    <a:cubicBezTo>
                      <a:pt x="44" y="0"/>
                      <a:pt x="45" y="7"/>
                      <a:pt x="42" y="7"/>
                    </a:cubicBezTo>
                    <a:cubicBezTo>
                      <a:pt x="40" y="7"/>
                      <a:pt x="40" y="10"/>
                      <a:pt x="36" y="11"/>
                    </a:cubicBezTo>
                    <a:cubicBezTo>
                      <a:pt x="33" y="11"/>
                      <a:pt x="32" y="11"/>
                      <a:pt x="33" y="14"/>
                    </a:cubicBezTo>
                    <a:cubicBezTo>
                      <a:pt x="35" y="16"/>
                      <a:pt x="31" y="15"/>
                      <a:pt x="28" y="15"/>
                    </a:cubicBezTo>
                    <a:cubicBezTo>
                      <a:pt x="25" y="15"/>
                      <a:pt x="25" y="13"/>
                      <a:pt x="23" y="13"/>
                    </a:cubicBezTo>
                    <a:cubicBezTo>
                      <a:pt x="21" y="13"/>
                      <a:pt x="19" y="17"/>
                      <a:pt x="18" y="19"/>
                    </a:cubicBezTo>
                    <a:cubicBezTo>
                      <a:pt x="16" y="21"/>
                      <a:pt x="6" y="26"/>
                      <a:pt x="3" y="27"/>
                    </a:cubicBezTo>
                    <a:cubicBezTo>
                      <a:pt x="2" y="28"/>
                      <a:pt x="1" y="29"/>
                      <a:pt x="0" y="31"/>
                    </a:cubicBezTo>
                    <a:cubicBezTo>
                      <a:pt x="4" y="31"/>
                      <a:pt x="8" y="33"/>
                      <a:pt x="10" y="35"/>
                    </a:cubicBezTo>
                    <a:cubicBezTo>
                      <a:pt x="12" y="38"/>
                      <a:pt x="7" y="41"/>
                      <a:pt x="5" y="44"/>
                    </a:cubicBezTo>
                    <a:cubicBezTo>
                      <a:pt x="3" y="47"/>
                      <a:pt x="6" y="47"/>
                      <a:pt x="6" y="49"/>
                    </a:cubicBezTo>
                    <a:cubicBezTo>
                      <a:pt x="6" y="51"/>
                      <a:pt x="9" y="53"/>
                      <a:pt x="10" y="51"/>
                    </a:cubicBezTo>
                    <a:cubicBezTo>
                      <a:pt x="11" y="49"/>
                      <a:pt x="13" y="50"/>
                      <a:pt x="17" y="50"/>
                    </a:cubicBezTo>
                    <a:cubicBezTo>
                      <a:pt x="18" y="50"/>
                      <a:pt x="18" y="50"/>
                      <a:pt x="18" y="51"/>
                    </a:cubicBezTo>
                    <a:cubicBezTo>
                      <a:pt x="20" y="49"/>
                      <a:pt x="22" y="48"/>
                      <a:pt x="23" y="47"/>
                    </a:cubicBezTo>
                    <a:cubicBezTo>
                      <a:pt x="24" y="46"/>
                      <a:pt x="28" y="46"/>
                      <a:pt x="31" y="46"/>
                    </a:cubicBezTo>
                    <a:cubicBezTo>
                      <a:pt x="32" y="46"/>
                      <a:pt x="33" y="45"/>
                      <a:pt x="35" y="44"/>
                    </a:cubicBezTo>
                    <a:cubicBezTo>
                      <a:pt x="32" y="41"/>
                      <a:pt x="29" y="38"/>
                      <a:pt x="28" y="37"/>
                    </a:cubicBezTo>
                    <a:cubicBezTo>
                      <a:pt x="25" y="36"/>
                      <a:pt x="27" y="31"/>
                      <a:pt x="30" y="30"/>
                    </a:cubicBezTo>
                    <a:cubicBezTo>
                      <a:pt x="33" y="29"/>
                      <a:pt x="41" y="23"/>
                      <a:pt x="44" y="22"/>
                    </a:cubicBezTo>
                    <a:cubicBezTo>
                      <a:pt x="46" y="20"/>
                      <a:pt x="45" y="16"/>
                      <a:pt x="47" y="12"/>
                    </a:cubicBezTo>
                    <a:cubicBezTo>
                      <a:pt x="48" y="10"/>
                      <a:pt x="52" y="6"/>
                      <a:pt x="56" y="3"/>
                    </a:cubicBezTo>
                    <a:cubicBezTo>
                      <a:pt x="55" y="3"/>
                      <a:pt x="54" y="3"/>
                      <a:pt x="54" y="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4" name="Freeform 60">
                <a:extLst>
                  <a:ext uri="{FF2B5EF4-FFF2-40B4-BE49-F238E27FC236}">
                    <a16:creationId xmlns:a16="http://schemas.microsoft.com/office/drawing/2014/main" id="{7C6D609B-DCC4-48CF-B71A-247DB10805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07819" y="3505096"/>
                <a:ext cx="143039" cy="81557"/>
              </a:xfrm>
              <a:custGeom>
                <a:avLst/>
                <a:gdLst>
                  <a:gd name="T0" fmla="*/ 61 w 62"/>
                  <a:gd name="T1" fmla="*/ 22 h 35"/>
                  <a:gd name="T2" fmla="*/ 59 w 62"/>
                  <a:gd name="T3" fmla="*/ 22 h 35"/>
                  <a:gd name="T4" fmla="*/ 48 w 62"/>
                  <a:gd name="T5" fmla="*/ 20 h 35"/>
                  <a:gd name="T6" fmla="*/ 33 w 62"/>
                  <a:gd name="T7" fmla="*/ 14 h 35"/>
                  <a:gd name="T8" fmla="*/ 17 w 62"/>
                  <a:gd name="T9" fmla="*/ 2 h 35"/>
                  <a:gd name="T10" fmla="*/ 10 w 62"/>
                  <a:gd name="T11" fmla="*/ 1 h 35"/>
                  <a:gd name="T12" fmla="*/ 5 w 62"/>
                  <a:gd name="T13" fmla="*/ 2 h 35"/>
                  <a:gd name="T14" fmla="*/ 2 w 62"/>
                  <a:gd name="T15" fmla="*/ 7 h 35"/>
                  <a:gd name="T16" fmla="*/ 0 w 62"/>
                  <a:gd name="T17" fmla="*/ 13 h 35"/>
                  <a:gd name="T18" fmla="*/ 4 w 62"/>
                  <a:gd name="T19" fmla="*/ 16 h 35"/>
                  <a:gd name="T20" fmla="*/ 11 w 62"/>
                  <a:gd name="T21" fmla="*/ 19 h 35"/>
                  <a:gd name="T22" fmla="*/ 17 w 62"/>
                  <a:gd name="T23" fmla="*/ 23 h 35"/>
                  <a:gd name="T24" fmla="*/ 23 w 62"/>
                  <a:gd name="T25" fmla="*/ 26 h 35"/>
                  <a:gd name="T26" fmla="*/ 31 w 62"/>
                  <a:gd name="T27" fmla="*/ 25 h 35"/>
                  <a:gd name="T28" fmla="*/ 36 w 62"/>
                  <a:gd name="T29" fmla="*/ 30 h 35"/>
                  <a:gd name="T30" fmla="*/ 46 w 62"/>
                  <a:gd name="T31" fmla="*/ 34 h 35"/>
                  <a:gd name="T32" fmla="*/ 60 w 62"/>
                  <a:gd name="T33" fmla="*/ 32 h 35"/>
                  <a:gd name="T34" fmla="*/ 60 w 62"/>
                  <a:gd name="T35" fmla="*/ 24 h 35"/>
                  <a:gd name="T36" fmla="*/ 61 w 62"/>
                  <a:gd name="T37" fmla="*/ 22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2" h="35">
                    <a:moveTo>
                      <a:pt x="61" y="22"/>
                    </a:moveTo>
                    <a:cubicBezTo>
                      <a:pt x="60" y="22"/>
                      <a:pt x="60" y="22"/>
                      <a:pt x="59" y="22"/>
                    </a:cubicBezTo>
                    <a:cubicBezTo>
                      <a:pt x="54" y="22"/>
                      <a:pt x="51" y="20"/>
                      <a:pt x="48" y="20"/>
                    </a:cubicBezTo>
                    <a:cubicBezTo>
                      <a:pt x="45" y="21"/>
                      <a:pt x="37" y="17"/>
                      <a:pt x="33" y="14"/>
                    </a:cubicBezTo>
                    <a:cubicBezTo>
                      <a:pt x="29" y="11"/>
                      <a:pt x="19" y="5"/>
                      <a:pt x="17" y="2"/>
                    </a:cubicBezTo>
                    <a:cubicBezTo>
                      <a:pt x="14" y="0"/>
                      <a:pt x="10" y="0"/>
                      <a:pt x="10" y="1"/>
                    </a:cubicBezTo>
                    <a:cubicBezTo>
                      <a:pt x="10" y="2"/>
                      <a:pt x="8" y="2"/>
                      <a:pt x="5" y="2"/>
                    </a:cubicBezTo>
                    <a:cubicBezTo>
                      <a:pt x="4" y="4"/>
                      <a:pt x="2" y="5"/>
                      <a:pt x="2" y="7"/>
                    </a:cubicBezTo>
                    <a:cubicBezTo>
                      <a:pt x="2" y="9"/>
                      <a:pt x="0" y="11"/>
                      <a:pt x="0" y="13"/>
                    </a:cubicBezTo>
                    <a:cubicBezTo>
                      <a:pt x="0" y="15"/>
                      <a:pt x="3" y="15"/>
                      <a:pt x="4" y="16"/>
                    </a:cubicBezTo>
                    <a:cubicBezTo>
                      <a:pt x="5" y="17"/>
                      <a:pt x="10" y="18"/>
                      <a:pt x="11" y="19"/>
                    </a:cubicBezTo>
                    <a:cubicBezTo>
                      <a:pt x="11" y="21"/>
                      <a:pt x="15" y="22"/>
                      <a:pt x="17" y="23"/>
                    </a:cubicBezTo>
                    <a:cubicBezTo>
                      <a:pt x="19" y="23"/>
                      <a:pt x="22" y="25"/>
                      <a:pt x="23" y="26"/>
                    </a:cubicBezTo>
                    <a:cubicBezTo>
                      <a:pt x="25" y="27"/>
                      <a:pt x="29" y="25"/>
                      <a:pt x="31" y="25"/>
                    </a:cubicBezTo>
                    <a:cubicBezTo>
                      <a:pt x="33" y="25"/>
                      <a:pt x="35" y="28"/>
                      <a:pt x="36" y="30"/>
                    </a:cubicBezTo>
                    <a:cubicBezTo>
                      <a:pt x="36" y="31"/>
                      <a:pt x="44" y="32"/>
                      <a:pt x="46" y="34"/>
                    </a:cubicBezTo>
                    <a:cubicBezTo>
                      <a:pt x="48" y="35"/>
                      <a:pt x="58" y="34"/>
                      <a:pt x="60" y="32"/>
                    </a:cubicBezTo>
                    <a:cubicBezTo>
                      <a:pt x="62" y="31"/>
                      <a:pt x="60" y="27"/>
                      <a:pt x="60" y="24"/>
                    </a:cubicBezTo>
                    <a:cubicBezTo>
                      <a:pt x="60" y="23"/>
                      <a:pt x="60" y="23"/>
                      <a:pt x="61" y="2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5" name="Freeform 61">
                <a:extLst>
                  <a:ext uri="{FF2B5EF4-FFF2-40B4-BE49-F238E27FC236}">
                    <a16:creationId xmlns:a16="http://schemas.microsoft.com/office/drawing/2014/main" id="{CCF8698C-9111-440A-9B10-E709585977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14849" y="3542738"/>
                <a:ext cx="159350" cy="350068"/>
              </a:xfrm>
              <a:custGeom>
                <a:avLst/>
                <a:gdLst>
                  <a:gd name="T0" fmla="*/ 55 w 69"/>
                  <a:gd name="T1" fmla="*/ 138 h 152"/>
                  <a:gd name="T2" fmla="*/ 53 w 69"/>
                  <a:gd name="T3" fmla="*/ 132 h 152"/>
                  <a:gd name="T4" fmla="*/ 50 w 69"/>
                  <a:gd name="T5" fmla="*/ 122 h 152"/>
                  <a:gd name="T6" fmla="*/ 47 w 69"/>
                  <a:gd name="T7" fmla="*/ 114 h 152"/>
                  <a:gd name="T8" fmla="*/ 48 w 69"/>
                  <a:gd name="T9" fmla="*/ 108 h 152"/>
                  <a:gd name="T10" fmla="*/ 48 w 69"/>
                  <a:gd name="T11" fmla="*/ 104 h 152"/>
                  <a:gd name="T12" fmla="*/ 47 w 69"/>
                  <a:gd name="T13" fmla="*/ 99 h 152"/>
                  <a:gd name="T14" fmla="*/ 41 w 69"/>
                  <a:gd name="T15" fmla="*/ 91 h 152"/>
                  <a:gd name="T16" fmla="*/ 42 w 69"/>
                  <a:gd name="T17" fmla="*/ 79 h 152"/>
                  <a:gd name="T18" fmla="*/ 47 w 69"/>
                  <a:gd name="T19" fmla="*/ 76 h 152"/>
                  <a:gd name="T20" fmla="*/ 53 w 69"/>
                  <a:gd name="T21" fmla="*/ 74 h 152"/>
                  <a:gd name="T22" fmla="*/ 60 w 69"/>
                  <a:gd name="T23" fmla="*/ 70 h 152"/>
                  <a:gd name="T24" fmla="*/ 64 w 69"/>
                  <a:gd name="T25" fmla="*/ 67 h 152"/>
                  <a:gd name="T26" fmla="*/ 68 w 69"/>
                  <a:gd name="T27" fmla="*/ 60 h 152"/>
                  <a:gd name="T28" fmla="*/ 69 w 69"/>
                  <a:gd name="T29" fmla="*/ 60 h 152"/>
                  <a:gd name="T30" fmla="*/ 65 w 69"/>
                  <a:gd name="T31" fmla="*/ 61 h 152"/>
                  <a:gd name="T32" fmla="*/ 60 w 69"/>
                  <a:gd name="T33" fmla="*/ 58 h 152"/>
                  <a:gd name="T34" fmla="*/ 55 w 69"/>
                  <a:gd name="T35" fmla="*/ 56 h 152"/>
                  <a:gd name="T36" fmla="*/ 55 w 69"/>
                  <a:gd name="T37" fmla="*/ 51 h 152"/>
                  <a:gd name="T38" fmla="*/ 52 w 69"/>
                  <a:gd name="T39" fmla="*/ 47 h 152"/>
                  <a:gd name="T40" fmla="*/ 50 w 69"/>
                  <a:gd name="T41" fmla="*/ 40 h 152"/>
                  <a:gd name="T42" fmla="*/ 43 w 69"/>
                  <a:gd name="T43" fmla="*/ 39 h 152"/>
                  <a:gd name="T44" fmla="*/ 41 w 69"/>
                  <a:gd name="T45" fmla="*/ 35 h 152"/>
                  <a:gd name="T46" fmla="*/ 48 w 69"/>
                  <a:gd name="T47" fmla="*/ 24 h 152"/>
                  <a:gd name="T48" fmla="*/ 50 w 69"/>
                  <a:gd name="T49" fmla="*/ 12 h 152"/>
                  <a:gd name="T50" fmla="*/ 47 w 69"/>
                  <a:gd name="T51" fmla="*/ 8 h 152"/>
                  <a:gd name="T52" fmla="*/ 45 w 69"/>
                  <a:gd name="T53" fmla="*/ 4 h 152"/>
                  <a:gd name="T54" fmla="*/ 39 w 69"/>
                  <a:gd name="T55" fmla="*/ 1 h 152"/>
                  <a:gd name="T56" fmla="*/ 38 w 69"/>
                  <a:gd name="T57" fmla="*/ 2 h 152"/>
                  <a:gd name="T58" fmla="*/ 38 w 69"/>
                  <a:gd name="T59" fmla="*/ 2 h 152"/>
                  <a:gd name="T60" fmla="*/ 36 w 69"/>
                  <a:gd name="T61" fmla="*/ 6 h 152"/>
                  <a:gd name="T62" fmla="*/ 37 w 69"/>
                  <a:gd name="T63" fmla="*/ 11 h 152"/>
                  <a:gd name="T64" fmla="*/ 33 w 69"/>
                  <a:gd name="T65" fmla="*/ 11 h 152"/>
                  <a:gd name="T66" fmla="*/ 27 w 69"/>
                  <a:gd name="T67" fmla="*/ 14 h 152"/>
                  <a:gd name="T68" fmla="*/ 21 w 69"/>
                  <a:gd name="T69" fmla="*/ 21 h 152"/>
                  <a:gd name="T70" fmla="*/ 19 w 69"/>
                  <a:gd name="T71" fmla="*/ 30 h 152"/>
                  <a:gd name="T72" fmla="*/ 16 w 69"/>
                  <a:gd name="T73" fmla="*/ 40 h 152"/>
                  <a:gd name="T74" fmla="*/ 10 w 69"/>
                  <a:gd name="T75" fmla="*/ 40 h 152"/>
                  <a:gd name="T76" fmla="*/ 8 w 69"/>
                  <a:gd name="T77" fmla="*/ 48 h 152"/>
                  <a:gd name="T78" fmla="*/ 6 w 69"/>
                  <a:gd name="T79" fmla="*/ 56 h 152"/>
                  <a:gd name="T80" fmla="*/ 3 w 69"/>
                  <a:gd name="T81" fmla="*/ 62 h 152"/>
                  <a:gd name="T82" fmla="*/ 0 w 69"/>
                  <a:gd name="T83" fmla="*/ 65 h 152"/>
                  <a:gd name="T84" fmla="*/ 7 w 69"/>
                  <a:gd name="T85" fmla="*/ 73 h 152"/>
                  <a:gd name="T86" fmla="*/ 16 w 69"/>
                  <a:gd name="T87" fmla="*/ 89 h 152"/>
                  <a:gd name="T88" fmla="*/ 15 w 69"/>
                  <a:gd name="T89" fmla="*/ 102 h 152"/>
                  <a:gd name="T90" fmla="*/ 19 w 69"/>
                  <a:gd name="T91" fmla="*/ 106 h 152"/>
                  <a:gd name="T92" fmla="*/ 26 w 69"/>
                  <a:gd name="T93" fmla="*/ 105 h 152"/>
                  <a:gd name="T94" fmla="*/ 33 w 69"/>
                  <a:gd name="T95" fmla="*/ 97 h 152"/>
                  <a:gd name="T96" fmla="*/ 37 w 69"/>
                  <a:gd name="T97" fmla="*/ 101 h 152"/>
                  <a:gd name="T98" fmla="*/ 41 w 69"/>
                  <a:gd name="T99" fmla="*/ 109 h 152"/>
                  <a:gd name="T100" fmla="*/ 45 w 69"/>
                  <a:gd name="T101" fmla="*/ 127 h 152"/>
                  <a:gd name="T102" fmla="*/ 48 w 69"/>
                  <a:gd name="T103" fmla="*/ 140 h 152"/>
                  <a:gd name="T104" fmla="*/ 49 w 69"/>
                  <a:gd name="T105" fmla="*/ 149 h 152"/>
                  <a:gd name="T106" fmla="*/ 48 w 69"/>
                  <a:gd name="T107" fmla="*/ 151 h 152"/>
                  <a:gd name="T108" fmla="*/ 55 w 69"/>
                  <a:gd name="T109" fmla="*/ 138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69" h="152">
                    <a:moveTo>
                      <a:pt x="55" y="138"/>
                    </a:moveTo>
                    <a:cubicBezTo>
                      <a:pt x="55" y="135"/>
                      <a:pt x="53" y="135"/>
                      <a:pt x="53" y="132"/>
                    </a:cubicBezTo>
                    <a:cubicBezTo>
                      <a:pt x="53" y="129"/>
                      <a:pt x="53" y="125"/>
                      <a:pt x="50" y="122"/>
                    </a:cubicBezTo>
                    <a:cubicBezTo>
                      <a:pt x="46" y="119"/>
                      <a:pt x="45" y="115"/>
                      <a:pt x="47" y="114"/>
                    </a:cubicBezTo>
                    <a:cubicBezTo>
                      <a:pt x="49" y="112"/>
                      <a:pt x="47" y="108"/>
                      <a:pt x="48" y="108"/>
                    </a:cubicBezTo>
                    <a:cubicBezTo>
                      <a:pt x="49" y="108"/>
                      <a:pt x="50" y="105"/>
                      <a:pt x="48" y="104"/>
                    </a:cubicBezTo>
                    <a:cubicBezTo>
                      <a:pt x="46" y="103"/>
                      <a:pt x="48" y="99"/>
                      <a:pt x="47" y="99"/>
                    </a:cubicBezTo>
                    <a:cubicBezTo>
                      <a:pt x="45" y="98"/>
                      <a:pt x="41" y="93"/>
                      <a:pt x="41" y="91"/>
                    </a:cubicBezTo>
                    <a:cubicBezTo>
                      <a:pt x="41" y="90"/>
                      <a:pt x="42" y="81"/>
                      <a:pt x="42" y="79"/>
                    </a:cubicBezTo>
                    <a:cubicBezTo>
                      <a:pt x="43" y="76"/>
                      <a:pt x="46" y="76"/>
                      <a:pt x="47" y="76"/>
                    </a:cubicBezTo>
                    <a:cubicBezTo>
                      <a:pt x="48" y="76"/>
                      <a:pt x="52" y="76"/>
                      <a:pt x="53" y="74"/>
                    </a:cubicBezTo>
                    <a:cubicBezTo>
                      <a:pt x="54" y="72"/>
                      <a:pt x="59" y="72"/>
                      <a:pt x="60" y="70"/>
                    </a:cubicBezTo>
                    <a:cubicBezTo>
                      <a:pt x="61" y="68"/>
                      <a:pt x="64" y="68"/>
                      <a:pt x="64" y="67"/>
                    </a:cubicBezTo>
                    <a:cubicBezTo>
                      <a:pt x="64" y="65"/>
                      <a:pt x="68" y="60"/>
                      <a:pt x="68" y="60"/>
                    </a:cubicBezTo>
                    <a:cubicBezTo>
                      <a:pt x="68" y="60"/>
                      <a:pt x="68" y="60"/>
                      <a:pt x="69" y="60"/>
                    </a:cubicBezTo>
                    <a:cubicBezTo>
                      <a:pt x="68" y="59"/>
                      <a:pt x="67" y="60"/>
                      <a:pt x="65" y="61"/>
                    </a:cubicBezTo>
                    <a:cubicBezTo>
                      <a:pt x="61" y="62"/>
                      <a:pt x="60" y="60"/>
                      <a:pt x="60" y="58"/>
                    </a:cubicBezTo>
                    <a:cubicBezTo>
                      <a:pt x="60" y="56"/>
                      <a:pt x="57" y="56"/>
                      <a:pt x="55" y="56"/>
                    </a:cubicBezTo>
                    <a:cubicBezTo>
                      <a:pt x="54" y="56"/>
                      <a:pt x="55" y="53"/>
                      <a:pt x="55" y="51"/>
                    </a:cubicBezTo>
                    <a:cubicBezTo>
                      <a:pt x="56" y="48"/>
                      <a:pt x="55" y="47"/>
                      <a:pt x="52" y="47"/>
                    </a:cubicBezTo>
                    <a:cubicBezTo>
                      <a:pt x="50" y="47"/>
                      <a:pt x="49" y="42"/>
                      <a:pt x="50" y="40"/>
                    </a:cubicBezTo>
                    <a:cubicBezTo>
                      <a:pt x="51" y="39"/>
                      <a:pt x="45" y="38"/>
                      <a:pt x="43" y="39"/>
                    </a:cubicBezTo>
                    <a:cubicBezTo>
                      <a:pt x="40" y="40"/>
                      <a:pt x="42" y="37"/>
                      <a:pt x="41" y="35"/>
                    </a:cubicBezTo>
                    <a:cubicBezTo>
                      <a:pt x="40" y="33"/>
                      <a:pt x="44" y="27"/>
                      <a:pt x="48" y="24"/>
                    </a:cubicBezTo>
                    <a:cubicBezTo>
                      <a:pt x="51" y="20"/>
                      <a:pt x="50" y="16"/>
                      <a:pt x="50" y="12"/>
                    </a:cubicBezTo>
                    <a:cubicBezTo>
                      <a:pt x="50" y="8"/>
                      <a:pt x="48" y="8"/>
                      <a:pt x="47" y="8"/>
                    </a:cubicBezTo>
                    <a:cubicBezTo>
                      <a:pt x="45" y="8"/>
                      <a:pt x="45" y="6"/>
                      <a:pt x="45" y="4"/>
                    </a:cubicBezTo>
                    <a:cubicBezTo>
                      <a:pt x="45" y="1"/>
                      <a:pt x="41" y="0"/>
                      <a:pt x="39" y="1"/>
                    </a:cubicBezTo>
                    <a:cubicBezTo>
                      <a:pt x="39" y="1"/>
                      <a:pt x="39" y="2"/>
                      <a:pt x="38" y="2"/>
                    </a:cubicBezTo>
                    <a:cubicBezTo>
                      <a:pt x="38" y="2"/>
                      <a:pt x="38" y="2"/>
                      <a:pt x="38" y="2"/>
                    </a:cubicBezTo>
                    <a:cubicBezTo>
                      <a:pt x="38" y="2"/>
                      <a:pt x="38" y="5"/>
                      <a:pt x="36" y="6"/>
                    </a:cubicBezTo>
                    <a:cubicBezTo>
                      <a:pt x="35" y="7"/>
                      <a:pt x="35" y="8"/>
                      <a:pt x="37" y="11"/>
                    </a:cubicBezTo>
                    <a:cubicBezTo>
                      <a:pt x="39" y="14"/>
                      <a:pt x="34" y="13"/>
                      <a:pt x="33" y="11"/>
                    </a:cubicBezTo>
                    <a:cubicBezTo>
                      <a:pt x="33" y="10"/>
                      <a:pt x="29" y="12"/>
                      <a:pt x="27" y="14"/>
                    </a:cubicBezTo>
                    <a:cubicBezTo>
                      <a:pt x="25" y="16"/>
                      <a:pt x="21" y="17"/>
                      <a:pt x="21" y="21"/>
                    </a:cubicBezTo>
                    <a:cubicBezTo>
                      <a:pt x="21" y="24"/>
                      <a:pt x="19" y="28"/>
                      <a:pt x="19" y="30"/>
                    </a:cubicBezTo>
                    <a:cubicBezTo>
                      <a:pt x="20" y="33"/>
                      <a:pt x="16" y="39"/>
                      <a:pt x="16" y="40"/>
                    </a:cubicBezTo>
                    <a:cubicBezTo>
                      <a:pt x="17" y="42"/>
                      <a:pt x="11" y="40"/>
                      <a:pt x="10" y="40"/>
                    </a:cubicBezTo>
                    <a:cubicBezTo>
                      <a:pt x="9" y="40"/>
                      <a:pt x="10" y="46"/>
                      <a:pt x="8" y="48"/>
                    </a:cubicBezTo>
                    <a:cubicBezTo>
                      <a:pt x="7" y="50"/>
                      <a:pt x="8" y="56"/>
                      <a:pt x="6" y="56"/>
                    </a:cubicBezTo>
                    <a:cubicBezTo>
                      <a:pt x="4" y="56"/>
                      <a:pt x="3" y="62"/>
                      <a:pt x="3" y="62"/>
                    </a:cubicBezTo>
                    <a:cubicBezTo>
                      <a:pt x="3" y="62"/>
                      <a:pt x="1" y="63"/>
                      <a:pt x="0" y="65"/>
                    </a:cubicBezTo>
                    <a:cubicBezTo>
                      <a:pt x="1" y="68"/>
                      <a:pt x="4" y="71"/>
                      <a:pt x="7" y="73"/>
                    </a:cubicBezTo>
                    <a:cubicBezTo>
                      <a:pt x="12" y="75"/>
                      <a:pt x="15" y="84"/>
                      <a:pt x="16" y="89"/>
                    </a:cubicBezTo>
                    <a:cubicBezTo>
                      <a:pt x="18" y="94"/>
                      <a:pt x="17" y="99"/>
                      <a:pt x="15" y="102"/>
                    </a:cubicBezTo>
                    <a:cubicBezTo>
                      <a:pt x="14" y="105"/>
                      <a:pt x="16" y="105"/>
                      <a:pt x="19" y="106"/>
                    </a:cubicBezTo>
                    <a:cubicBezTo>
                      <a:pt x="21" y="108"/>
                      <a:pt x="24" y="108"/>
                      <a:pt x="26" y="105"/>
                    </a:cubicBezTo>
                    <a:cubicBezTo>
                      <a:pt x="28" y="103"/>
                      <a:pt x="33" y="101"/>
                      <a:pt x="33" y="97"/>
                    </a:cubicBezTo>
                    <a:cubicBezTo>
                      <a:pt x="34" y="94"/>
                      <a:pt x="36" y="99"/>
                      <a:pt x="37" y="101"/>
                    </a:cubicBezTo>
                    <a:cubicBezTo>
                      <a:pt x="39" y="102"/>
                      <a:pt x="40" y="105"/>
                      <a:pt x="41" y="109"/>
                    </a:cubicBezTo>
                    <a:cubicBezTo>
                      <a:pt x="41" y="114"/>
                      <a:pt x="41" y="124"/>
                      <a:pt x="45" y="127"/>
                    </a:cubicBezTo>
                    <a:cubicBezTo>
                      <a:pt x="48" y="130"/>
                      <a:pt x="49" y="137"/>
                      <a:pt x="48" y="140"/>
                    </a:cubicBezTo>
                    <a:cubicBezTo>
                      <a:pt x="47" y="142"/>
                      <a:pt x="50" y="146"/>
                      <a:pt x="49" y="149"/>
                    </a:cubicBezTo>
                    <a:cubicBezTo>
                      <a:pt x="49" y="150"/>
                      <a:pt x="49" y="150"/>
                      <a:pt x="48" y="151"/>
                    </a:cubicBezTo>
                    <a:cubicBezTo>
                      <a:pt x="52" y="152"/>
                      <a:pt x="55" y="138"/>
                      <a:pt x="55" y="138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6" name="Freeform 62">
                <a:extLst>
                  <a:ext uri="{FF2B5EF4-FFF2-40B4-BE49-F238E27FC236}">
                    <a16:creationId xmlns:a16="http://schemas.microsoft.com/office/drawing/2014/main" id="{7678E276-C32B-4902-BB3C-706A4D640A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59641" y="3546502"/>
                <a:ext cx="57717" cy="35132"/>
              </a:xfrm>
              <a:custGeom>
                <a:avLst/>
                <a:gdLst>
                  <a:gd name="T0" fmla="*/ 24 w 25"/>
                  <a:gd name="T1" fmla="*/ 5 h 15"/>
                  <a:gd name="T2" fmla="*/ 15 w 25"/>
                  <a:gd name="T3" fmla="*/ 3 h 15"/>
                  <a:gd name="T4" fmla="*/ 8 w 25"/>
                  <a:gd name="T5" fmla="*/ 2 h 15"/>
                  <a:gd name="T6" fmla="*/ 2 w 25"/>
                  <a:gd name="T7" fmla="*/ 7 h 15"/>
                  <a:gd name="T8" fmla="*/ 0 w 25"/>
                  <a:gd name="T9" fmla="*/ 10 h 15"/>
                  <a:gd name="T10" fmla="*/ 3 w 25"/>
                  <a:gd name="T11" fmla="*/ 12 h 15"/>
                  <a:gd name="T12" fmla="*/ 8 w 25"/>
                  <a:gd name="T13" fmla="*/ 13 h 15"/>
                  <a:gd name="T14" fmla="*/ 16 w 25"/>
                  <a:gd name="T15" fmla="*/ 14 h 15"/>
                  <a:gd name="T16" fmla="*/ 23 w 25"/>
                  <a:gd name="T17" fmla="*/ 13 h 15"/>
                  <a:gd name="T18" fmla="*/ 23 w 25"/>
                  <a:gd name="T19" fmla="*/ 6 h 15"/>
                  <a:gd name="T20" fmla="*/ 24 w 25"/>
                  <a:gd name="T21" fmla="*/ 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" h="15">
                    <a:moveTo>
                      <a:pt x="24" y="5"/>
                    </a:moveTo>
                    <a:cubicBezTo>
                      <a:pt x="19" y="1"/>
                      <a:pt x="18" y="4"/>
                      <a:pt x="15" y="3"/>
                    </a:cubicBezTo>
                    <a:cubicBezTo>
                      <a:pt x="11" y="1"/>
                      <a:pt x="10" y="0"/>
                      <a:pt x="8" y="2"/>
                    </a:cubicBezTo>
                    <a:cubicBezTo>
                      <a:pt x="6" y="3"/>
                      <a:pt x="4" y="3"/>
                      <a:pt x="2" y="7"/>
                    </a:cubicBezTo>
                    <a:cubicBezTo>
                      <a:pt x="2" y="8"/>
                      <a:pt x="1" y="9"/>
                      <a:pt x="0" y="10"/>
                    </a:cubicBezTo>
                    <a:cubicBezTo>
                      <a:pt x="1" y="11"/>
                      <a:pt x="2" y="12"/>
                      <a:pt x="3" y="12"/>
                    </a:cubicBezTo>
                    <a:cubicBezTo>
                      <a:pt x="4" y="12"/>
                      <a:pt x="5" y="14"/>
                      <a:pt x="8" y="13"/>
                    </a:cubicBezTo>
                    <a:cubicBezTo>
                      <a:pt x="10" y="13"/>
                      <a:pt x="12" y="15"/>
                      <a:pt x="16" y="14"/>
                    </a:cubicBezTo>
                    <a:cubicBezTo>
                      <a:pt x="19" y="13"/>
                      <a:pt x="22" y="15"/>
                      <a:pt x="23" y="13"/>
                    </a:cubicBezTo>
                    <a:cubicBezTo>
                      <a:pt x="25" y="11"/>
                      <a:pt x="23" y="6"/>
                      <a:pt x="23" y="6"/>
                    </a:cubicBezTo>
                    <a:cubicBezTo>
                      <a:pt x="23" y="6"/>
                      <a:pt x="23" y="6"/>
                      <a:pt x="24" y="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7" name="Freeform 63">
                <a:extLst>
                  <a:ext uri="{FF2B5EF4-FFF2-40B4-BE49-F238E27FC236}">
                    <a16:creationId xmlns:a16="http://schemas.microsoft.com/office/drawing/2014/main" id="{5AFF8436-0D27-47C6-8A60-72E9E02279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91766" y="3645625"/>
                <a:ext cx="139275" cy="283568"/>
              </a:xfrm>
              <a:custGeom>
                <a:avLst/>
                <a:gdLst>
                  <a:gd name="T0" fmla="*/ 44 w 60"/>
                  <a:gd name="T1" fmla="*/ 15 h 123"/>
                  <a:gd name="T2" fmla="*/ 36 w 60"/>
                  <a:gd name="T3" fmla="*/ 9 h 123"/>
                  <a:gd name="T4" fmla="*/ 34 w 60"/>
                  <a:gd name="T5" fmla="*/ 4 h 123"/>
                  <a:gd name="T6" fmla="*/ 27 w 60"/>
                  <a:gd name="T7" fmla="*/ 1 h 123"/>
                  <a:gd name="T8" fmla="*/ 21 w 60"/>
                  <a:gd name="T9" fmla="*/ 5 h 123"/>
                  <a:gd name="T10" fmla="*/ 16 w 60"/>
                  <a:gd name="T11" fmla="*/ 6 h 123"/>
                  <a:gd name="T12" fmla="*/ 9 w 60"/>
                  <a:gd name="T13" fmla="*/ 6 h 123"/>
                  <a:gd name="T14" fmla="*/ 2 w 60"/>
                  <a:gd name="T15" fmla="*/ 6 h 123"/>
                  <a:gd name="T16" fmla="*/ 0 w 60"/>
                  <a:gd name="T17" fmla="*/ 8 h 123"/>
                  <a:gd name="T18" fmla="*/ 3 w 60"/>
                  <a:gd name="T19" fmla="*/ 12 h 123"/>
                  <a:gd name="T20" fmla="*/ 7 w 60"/>
                  <a:gd name="T21" fmla="*/ 18 h 123"/>
                  <a:gd name="T22" fmla="*/ 14 w 60"/>
                  <a:gd name="T23" fmla="*/ 22 h 123"/>
                  <a:gd name="T24" fmla="*/ 20 w 60"/>
                  <a:gd name="T25" fmla="*/ 23 h 123"/>
                  <a:gd name="T26" fmla="*/ 22 w 60"/>
                  <a:gd name="T27" fmla="*/ 30 h 123"/>
                  <a:gd name="T28" fmla="*/ 16 w 60"/>
                  <a:gd name="T29" fmla="*/ 33 h 123"/>
                  <a:gd name="T30" fmla="*/ 25 w 60"/>
                  <a:gd name="T31" fmla="*/ 41 h 123"/>
                  <a:gd name="T32" fmla="*/ 29 w 60"/>
                  <a:gd name="T33" fmla="*/ 48 h 123"/>
                  <a:gd name="T34" fmla="*/ 35 w 60"/>
                  <a:gd name="T35" fmla="*/ 57 h 123"/>
                  <a:gd name="T36" fmla="*/ 42 w 60"/>
                  <a:gd name="T37" fmla="*/ 63 h 123"/>
                  <a:gd name="T38" fmla="*/ 43 w 60"/>
                  <a:gd name="T39" fmla="*/ 71 h 123"/>
                  <a:gd name="T40" fmla="*/ 46 w 60"/>
                  <a:gd name="T41" fmla="*/ 84 h 123"/>
                  <a:gd name="T42" fmla="*/ 40 w 60"/>
                  <a:gd name="T43" fmla="*/ 93 h 123"/>
                  <a:gd name="T44" fmla="*/ 33 w 60"/>
                  <a:gd name="T45" fmla="*/ 98 h 123"/>
                  <a:gd name="T46" fmla="*/ 33 w 60"/>
                  <a:gd name="T47" fmla="*/ 105 h 123"/>
                  <a:gd name="T48" fmla="*/ 24 w 60"/>
                  <a:gd name="T49" fmla="*/ 105 h 123"/>
                  <a:gd name="T50" fmla="*/ 19 w 60"/>
                  <a:gd name="T51" fmla="*/ 109 h 123"/>
                  <a:gd name="T52" fmla="*/ 23 w 60"/>
                  <a:gd name="T53" fmla="*/ 112 h 123"/>
                  <a:gd name="T54" fmla="*/ 20 w 60"/>
                  <a:gd name="T55" fmla="*/ 119 h 123"/>
                  <a:gd name="T56" fmla="*/ 24 w 60"/>
                  <a:gd name="T57" fmla="*/ 122 h 123"/>
                  <a:gd name="T58" fmla="*/ 32 w 60"/>
                  <a:gd name="T59" fmla="*/ 116 h 123"/>
                  <a:gd name="T60" fmla="*/ 34 w 60"/>
                  <a:gd name="T61" fmla="*/ 113 h 123"/>
                  <a:gd name="T62" fmla="*/ 36 w 60"/>
                  <a:gd name="T63" fmla="*/ 109 h 123"/>
                  <a:gd name="T64" fmla="*/ 41 w 60"/>
                  <a:gd name="T65" fmla="*/ 108 h 123"/>
                  <a:gd name="T66" fmla="*/ 52 w 60"/>
                  <a:gd name="T67" fmla="*/ 103 h 123"/>
                  <a:gd name="T68" fmla="*/ 58 w 60"/>
                  <a:gd name="T69" fmla="*/ 92 h 123"/>
                  <a:gd name="T70" fmla="*/ 56 w 60"/>
                  <a:gd name="T71" fmla="*/ 73 h 123"/>
                  <a:gd name="T72" fmla="*/ 49 w 60"/>
                  <a:gd name="T73" fmla="*/ 61 h 123"/>
                  <a:gd name="T74" fmla="*/ 36 w 60"/>
                  <a:gd name="T75" fmla="*/ 50 h 123"/>
                  <a:gd name="T76" fmla="*/ 32 w 60"/>
                  <a:gd name="T77" fmla="*/ 44 h 123"/>
                  <a:gd name="T78" fmla="*/ 30 w 60"/>
                  <a:gd name="T79" fmla="*/ 33 h 123"/>
                  <a:gd name="T80" fmla="*/ 36 w 60"/>
                  <a:gd name="T81" fmla="*/ 26 h 123"/>
                  <a:gd name="T82" fmla="*/ 39 w 60"/>
                  <a:gd name="T83" fmla="*/ 21 h 123"/>
                  <a:gd name="T84" fmla="*/ 45 w 60"/>
                  <a:gd name="T85" fmla="*/ 17 h 123"/>
                  <a:gd name="T86" fmla="*/ 46 w 60"/>
                  <a:gd name="T87" fmla="*/ 16 h 123"/>
                  <a:gd name="T88" fmla="*/ 44 w 60"/>
                  <a:gd name="T89" fmla="*/ 15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60" h="123">
                    <a:moveTo>
                      <a:pt x="44" y="15"/>
                    </a:moveTo>
                    <a:cubicBezTo>
                      <a:pt x="42" y="15"/>
                      <a:pt x="36" y="10"/>
                      <a:pt x="36" y="9"/>
                    </a:cubicBezTo>
                    <a:cubicBezTo>
                      <a:pt x="36" y="7"/>
                      <a:pt x="39" y="5"/>
                      <a:pt x="34" y="4"/>
                    </a:cubicBezTo>
                    <a:cubicBezTo>
                      <a:pt x="29" y="3"/>
                      <a:pt x="28" y="2"/>
                      <a:pt x="27" y="1"/>
                    </a:cubicBezTo>
                    <a:cubicBezTo>
                      <a:pt x="26" y="0"/>
                      <a:pt x="22" y="3"/>
                      <a:pt x="21" y="5"/>
                    </a:cubicBezTo>
                    <a:cubicBezTo>
                      <a:pt x="20" y="7"/>
                      <a:pt x="18" y="4"/>
                      <a:pt x="16" y="6"/>
                    </a:cubicBezTo>
                    <a:cubicBezTo>
                      <a:pt x="13" y="7"/>
                      <a:pt x="10" y="3"/>
                      <a:pt x="9" y="6"/>
                    </a:cubicBezTo>
                    <a:cubicBezTo>
                      <a:pt x="7" y="8"/>
                      <a:pt x="4" y="4"/>
                      <a:pt x="2" y="6"/>
                    </a:cubicBezTo>
                    <a:cubicBezTo>
                      <a:pt x="2" y="7"/>
                      <a:pt x="1" y="8"/>
                      <a:pt x="0" y="8"/>
                    </a:cubicBezTo>
                    <a:cubicBezTo>
                      <a:pt x="2" y="10"/>
                      <a:pt x="3" y="11"/>
                      <a:pt x="3" y="12"/>
                    </a:cubicBezTo>
                    <a:cubicBezTo>
                      <a:pt x="3" y="14"/>
                      <a:pt x="7" y="16"/>
                      <a:pt x="7" y="18"/>
                    </a:cubicBezTo>
                    <a:cubicBezTo>
                      <a:pt x="7" y="21"/>
                      <a:pt x="12" y="23"/>
                      <a:pt x="14" y="22"/>
                    </a:cubicBezTo>
                    <a:cubicBezTo>
                      <a:pt x="15" y="21"/>
                      <a:pt x="19" y="20"/>
                      <a:pt x="20" y="23"/>
                    </a:cubicBezTo>
                    <a:cubicBezTo>
                      <a:pt x="20" y="27"/>
                      <a:pt x="22" y="27"/>
                      <a:pt x="22" y="30"/>
                    </a:cubicBezTo>
                    <a:cubicBezTo>
                      <a:pt x="22" y="32"/>
                      <a:pt x="17" y="31"/>
                      <a:pt x="16" y="33"/>
                    </a:cubicBezTo>
                    <a:cubicBezTo>
                      <a:pt x="15" y="36"/>
                      <a:pt x="25" y="39"/>
                      <a:pt x="25" y="41"/>
                    </a:cubicBezTo>
                    <a:cubicBezTo>
                      <a:pt x="25" y="43"/>
                      <a:pt x="28" y="45"/>
                      <a:pt x="29" y="48"/>
                    </a:cubicBezTo>
                    <a:cubicBezTo>
                      <a:pt x="30" y="50"/>
                      <a:pt x="34" y="54"/>
                      <a:pt x="35" y="57"/>
                    </a:cubicBezTo>
                    <a:cubicBezTo>
                      <a:pt x="36" y="60"/>
                      <a:pt x="40" y="61"/>
                      <a:pt x="42" y="63"/>
                    </a:cubicBezTo>
                    <a:cubicBezTo>
                      <a:pt x="43" y="64"/>
                      <a:pt x="44" y="68"/>
                      <a:pt x="43" y="71"/>
                    </a:cubicBezTo>
                    <a:cubicBezTo>
                      <a:pt x="43" y="74"/>
                      <a:pt x="43" y="80"/>
                      <a:pt x="46" y="84"/>
                    </a:cubicBezTo>
                    <a:cubicBezTo>
                      <a:pt x="49" y="89"/>
                      <a:pt x="42" y="91"/>
                      <a:pt x="40" y="93"/>
                    </a:cubicBezTo>
                    <a:cubicBezTo>
                      <a:pt x="38" y="96"/>
                      <a:pt x="39" y="99"/>
                      <a:pt x="33" y="98"/>
                    </a:cubicBezTo>
                    <a:cubicBezTo>
                      <a:pt x="27" y="96"/>
                      <a:pt x="34" y="103"/>
                      <a:pt x="33" y="105"/>
                    </a:cubicBezTo>
                    <a:cubicBezTo>
                      <a:pt x="32" y="107"/>
                      <a:pt x="24" y="103"/>
                      <a:pt x="24" y="105"/>
                    </a:cubicBezTo>
                    <a:cubicBezTo>
                      <a:pt x="24" y="106"/>
                      <a:pt x="21" y="108"/>
                      <a:pt x="19" y="109"/>
                    </a:cubicBezTo>
                    <a:cubicBezTo>
                      <a:pt x="20" y="110"/>
                      <a:pt x="21" y="111"/>
                      <a:pt x="23" y="112"/>
                    </a:cubicBezTo>
                    <a:cubicBezTo>
                      <a:pt x="25" y="113"/>
                      <a:pt x="20" y="115"/>
                      <a:pt x="20" y="119"/>
                    </a:cubicBezTo>
                    <a:cubicBezTo>
                      <a:pt x="21" y="122"/>
                      <a:pt x="23" y="123"/>
                      <a:pt x="24" y="122"/>
                    </a:cubicBezTo>
                    <a:cubicBezTo>
                      <a:pt x="26" y="120"/>
                      <a:pt x="30" y="117"/>
                      <a:pt x="32" y="116"/>
                    </a:cubicBezTo>
                    <a:cubicBezTo>
                      <a:pt x="34" y="116"/>
                      <a:pt x="32" y="113"/>
                      <a:pt x="34" y="113"/>
                    </a:cubicBezTo>
                    <a:cubicBezTo>
                      <a:pt x="36" y="113"/>
                      <a:pt x="35" y="110"/>
                      <a:pt x="36" y="109"/>
                    </a:cubicBezTo>
                    <a:cubicBezTo>
                      <a:pt x="37" y="107"/>
                      <a:pt x="38" y="108"/>
                      <a:pt x="41" y="108"/>
                    </a:cubicBezTo>
                    <a:cubicBezTo>
                      <a:pt x="44" y="108"/>
                      <a:pt x="48" y="105"/>
                      <a:pt x="52" y="103"/>
                    </a:cubicBezTo>
                    <a:cubicBezTo>
                      <a:pt x="56" y="100"/>
                      <a:pt x="56" y="100"/>
                      <a:pt x="58" y="92"/>
                    </a:cubicBezTo>
                    <a:cubicBezTo>
                      <a:pt x="60" y="85"/>
                      <a:pt x="56" y="76"/>
                      <a:pt x="56" y="73"/>
                    </a:cubicBezTo>
                    <a:cubicBezTo>
                      <a:pt x="56" y="71"/>
                      <a:pt x="51" y="61"/>
                      <a:pt x="49" y="61"/>
                    </a:cubicBezTo>
                    <a:cubicBezTo>
                      <a:pt x="46" y="61"/>
                      <a:pt x="37" y="51"/>
                      <a:pt x="36" y="50"/>
                    </a:cubicBezTo>
                    <a:cubicBezTo>
                      <a:pt x="34" y="48"/>
                      <a:pt x="34" y="46"/>
                      <a:pt x="32" y="44"/>
                    </a:cubicBezTo>
                    <a:cubicBezTo>
                      <a:pt x="30" y="42"/>
                      <a:pt x="29" y="36"/>
                      <a:pt x="30" y="33"/>
                    </a:cubicBezTo>
                    <a:cubicBezTo>
                      <a:pt x="31" y="29"/>
                      <a:pt x="36" y="28"/>
                      <a:pt x="36" y="26"/>
                    </a:cubicBezTo>
                    <a:cubicBezTo>
                      <a:pt x="36" y="23"/>
                      <a:pt x="36" y="21"/>
                      <a:pt x="39" y="21"/>
                    </a:cubicBezTo>
                    <a:cubicBezTo>
                      <a:pt x="41" y="21"/>
                      <a:pt x="44" y="19"/>
                      <a:pt x="45" y="17"/>
                    </a:cubicBezTo>
                    <a:cubicBezTo>
                      <a:pt x="45" y="17"/>
                      <a:pt x="45" y="16"/>
                      <a:pt x="46" y="16"/>
                    </a:cubicBezTo>
                    <a:cubicBezTo>
                      <a:pt x="45" y="15"/>
                      <a:pt x="45" y="15"/>
                      <a:pt x="44" y="1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8" name="Freeform 64">
                <a:extLst>
                  <a:ext uri="{FF2B5EF4-FFF2-40B4-BE49-F238E27FC236}">
                    <a16:creationId xmlns:a16="http://schemas.microsoft.com/office/drawing/2014/main" id="{78E698BF-5E47-4047-90E5-CF8E6A186B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91766" y="3816268"/>
                <a:ext cx="112925" cy="81557"/>
              </a:xfrm>
              <a:custGeom>
                <a:avLst/>
                <a:gdLst>
                  <a:gd name="T0" fmla="*/ 24 w 49"/>
                  <a:gd name="T1" fmla="*/ 31 h 35"/>
                  <a:gd name="T2" fmla="*/ 33 w 49"/>
                  <a:gd name="T3" fmla="*/ 31 h 35"/>
                  <a:gd name="T4" fmla="*/ 33 w 49"/>
                  <a:gd name="T5" fmla="*/ 24 h 35"/>
                  <a:gd name="T6" fmla="*/ 40 w 49"/>
                  <a:gd name="T7" fmla="*/ 19 h 35"/>
                  <a:gd name="T8" fmla="*/ 46 w 49"/>
                  <a:gd name="T9" fmla="*/ 10 h 35"/>
                  <a:gd name="T10" fmla="*/ 43 w 49"/>
                  <a:gd name="T11" fmla="*/ 0 h 35"/>
                  <a:gd name="T12" fmla="*/ 38 w 49"/>
                  <a:gd name="T13" fmla="*/ 1 h 35"/>
                  <a:gd name="T14" fmla="*/ 32 w 49"/>
                  <a:gd name="T15" fmla="*/ 3 h 35"/>
                  <a:gd name="T16" fmla="*/ 30 w 49"/>
                  <a:gd name="T17" fmla="*/ 5 h 35"/>
                  <a:gd name="T18" fmla="*/ 25 w 49"/>
                  <a:gd name="T19" fmla="*/ 2 h 35"/>
                  <a:gd name="T20" fmla="*/ 14 w 49"/>
                  <a:gd name="T21" fmla="*/ 2 h 35"/>
                  <a:gd name="T22" fmla="*/ 3 w 49"/>
                  <a:gd name="T23" fmla="*/ 7 h 35"/>
                  <a:gd name="T24" fmla="*/ 4 w 49"/>
                  <a:gd name="T25" fmla="*/ 14 h 35"/>
                  <a:gd name="T26" fmla="*/ 5 w 49"/>
                  <a:gd name="T27" fmla="*/ 20 h 35"/>
                  <a:gd name="T28" fmla="*/ 4 w 49"/>
                  <a:gd name="T29" fmla="*/ 21 h 35"/>
                  <a:gd name="T30" fmla="*/ 7 w 49"/>
                  <a:gd name="T31" fmla="*/ 28 h 35"/>
                  <a:gd name="T32" fmla="*/ 12 w 49"/>
                  <a:gd name="T33" fmla="*/ 29 h 35"/>
                  <a:gd name="T34" fmla="*/ 12 w 49"/>
                  <a:gd name="T35" fmla="*/ 33 h 35"/>
                  <a:gd name="T36" fmla="*/ 18 w 49"/>
                  <a:gd name="T37" fmla="*/ 34 h 35"/>
                  <a:gd name="T38" fmla="*/ 19 w 49"/>
                  <a:gd name="T39" fmla="*/ 35 h 35"/>
                  <a:gd name="T40" fmla="*/ 24 w 49"/>
                  <a:gd name="T41" fmla="*/ 31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9" h="35">
                    <a:moveTo>
                      <a:pt x="24" y="31"/>
                    </a:moveTo>
                    <a:cubicBezTo>
                      <a:pt x="24" y="29"/>
                      <a:pt x="32" y="33"/>
                      <a:pt x="33" y="31"/>
                    </a:cubicBezTo>
                    <a:cubicBezTo>
                      <a:pt x="34" y="29"/>
                      <a:pt x="27" y="22"/>
                      <a:pt x="33" y="24"/>
                    </a:cubicBezTo>
                    <a:cubicBezTo>
                      <a:pt x="39" y="25"/>
                      <a:pt x="38" y="22"/>
                      <a:pt x="40" y="19"/>
                    </a:cubicBezTo>
                    <a:cubicBezTo>
                      <a:pt x="42" y="17"/>
                      <a:pt x="49" y="15"/>
                      <a:pt x="46" y="10"/>
                    </a:cubicBezTo>
                    <a:cubicBezTo>
                      <a:pt x="44" y="7"/>
                      <a:pt x="43" y="3"/>
                      <a:pt x="43" y="0"/>
                    </a:cubicBezTo>
                    <a:cubicBezTo>
                      <a:pt x="41" y="2"/>
                      <a:pt x="39" y="2"/>
                      <a:pt x="38" y="1"/>
                    </a:cubicBezTo>
                    <a:cubicBezTo>
                      <a:pt x="36" y="1"/>
                      <a:pt x="32" y="0"/>
                      <a:pt x="32" y="3"/>
                    </a:cubicBezTo>
                    <a:cubicBezTo>
                      <a:pt x="32" y="6"/>
                      <a:pt x="29" y="6"/>
                      <a:pt x="30" y="5"/>
                    </a:cubicBezTo>
                    <a:cubicBezTo>
                      <a:pt x="30" y="4"/>
                      <a:pt x="27" y="4"/>
                      <a:pt x="25" y="2"/>
                    </a:cubicBezTo>
                    <a:cubicBezTo>
                      <a:pt x="23" y="0"/>
                      <a:pt x="17" y="3"/>
                      <a:pt x="14" y="2"/>
                    </a:cubicBezTo>
                    <a:cubicBezTo>
                      <a:pt x="11" y="1"/>
                      <a:pt x="6" y="3"/>
                      <a:pt x="3" y="7"/>
                    </a:cubicBezTo>
                    <a:cubicBezTo>
                      <a:pt x="0" y="11"/>
                      <a:pt x="4" y="11"/>
                      <a:pt x="4" y="14"/>
                    </a:cubicBezTo>
                    <a:cubicBezTo>
                      <a:pt x="4" y="18"/>
                      <a:pt x="6" y="18"/>
                      <a:pt x="5" y="20"/>
                    </a:cubicBezTo>
                    <a:cubicBezTo>
                      <a:pt x="5" y="21"/>
                      <a:pt x="5" y="21"/>
                      <a:pt x="4" y="21"/>
                    </a:cubicBezTo>
                    <a:cubicBezTo>
                      <a:pt x="8" y="22"/>
                      <a:pt x="6" y="26"/>
                      <a:pt x="7" y="28"/>
                    </a:cubicBezTo>
                    <a:cubicBezTo>
                      <a:pt x="7" y="30"/>
                      <a:pt x="10" y="29"/>
                      <a:pt x="12" y="29"/>
                    </a:cubicBezTo>
                    <a:cubicBezTo>
                      <a:pt x="13" y="29"/>
                      <a:pt x="11" y="31"/>
                      <a:pt x="12" y="33"/>
                    </a:cubicBezTo>
                    <a:cubicBezTo>
                      <a:pt x="13" y="35"/>
                      <a:pt x="18" y="32"/>
                      <a:pt x="18" y="34"/>
                    </a:cubicBezTo>
                    <a:cubicBezTo>
                      <a:pt x="19" y="34"/>
                      <a:pt x="19" y="35"/>
                      <a:pt x="19" y="35"/>
                    </a:cubicBezTo>
                    <a:cubicBezTo>
                      <a:pt x="21" y="34"/>
                      <a:pt x="24" y="32"/>
                      <a:pt x="24" y="3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9" name="Freeform 65">
                <a:extLst>
                  <a:ext uri="{FF2B5EF4-FFF2-40B4-BE49-F238E27FC236}">
                    <a16:creationId xmlns:a16="http://schemas.microsoft.com/office/drawing/2014/main" id="{B580E777-9096-4DF8-8EFA-F10045F6DF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55379" y="3661937"/>
                <a:ext cx="138020" cy="168133"/>
              </a:xfrm>
              <a:custGeom>
                <a:avLst/>
                <a:gdLst>
                  <a:gd name="T0" fmla="*/ 41 w 60"/>
                  <a:gd name="T1" fmla="*/ 34 h 73"/>
                  <a:gd name="T2" fmla="*/ 32 w 60"/>
                  <a:gd name="T3" fmla="*/ 26 h 73"/>
                  <a:gd name="T4" fmla="*/ 38 w 60"/>
                  <a:gd name="T5" fmla="*/ 23 h 73"/>
                  <a:gd name="T6" fmla="*/ 36 w 60"/>
                  <a:gd name="T7" fmla="*/ 16 h 73"/>
                  <a:gd name="T8" fmla="*/ 30 w 60"/>
                  <a:gd name="T9" fmla="*/ 15 h 73"/>
                  <a:gd name="T10" fmla="*/ 23 w 60"/>
                  <a:gd name="T11" fmla="*/ 11 h 73"/>
                  <a:gd name="T12" fmla="*/ 19 w 60"/>
                  <a:gd name="T13" fmla="*/ 5 h 73"/>
                  <a:gd name="T14" fmla="*/ 16 w 60"/>
                  <a:gd name="T15" fmla="*/ 1 h 73"/>
                  <a:gd name="T16" fmla="*/ 13 w 60"/>
                  <a:gd name="T17" fmla="*/ 1 h 73"/>
                  <a:gd name="T18" fmla="*/ 12 w 60"/>
                  <a:gd name="T19" fmla="*/ 5 h 73"/>
                  <a:gd name="T20" fmla="*/ 12 w 60"/>
                  <a:gd name="T21" fmla="*/ 12 h 73"/>
                  <a:gd name="T22" fmla="*/ 7 w 60"/>
                  <a:gd name="T23" fmla="*/ 8 h 73"/>
                  <a:gd name="T24" fmla="*/ 3 w 60"/>
                  <a:gd name="T25" fmla="*/ 15 h 73"/>
                  <a:gd name="T26" fmla="*/ 0 w 60"/>
                  <a:gd name="T27" fmla="*/ 17 h 73"/>
                  <a:gd name="T28" fmla="*/ 2 w 60"/>
                  <a:gd name="T29" fmla="*/ 18 h 73"/>
                  <a:gd name="T30" fmla="*/ 3 w 60"/>
                  <a:gd name="T31" fmla="*/ 25 h 73"/>
                  <a:gd name="T32" fmla="*/ 8 w 60"/>
                  <a:gd name="T33" fmla="*/ 27 h 73"/>
                  <a:gd name="T34" fmla="*/ 8 w 60"/>
                  <a:gd name="T35" fmla="*/ 35 h 73"/>
                  <a:gd name="T36" fmla="*/ 5 w 60"/>
                  <a:gd name="T37" fmla="*/ 41 h 73"/>
                  <a:gd name="T38" fmla="*/ 13 w 60"/>
                  <a:gd name="T39" fmla="*/ 39 h 73"/>
                  <a:gd name="T40" fmla="*/ 18 w 60"/>
                  <a:gd name="T41" fmla="*/ 38 h 73"/>
                  <a:gd name="T42" fmla="*/ 24 w 60"/>
                  <a:gd name="T43" fmla="*/ 37 h 73"/>
                  <a:gd name="T44" fmla="*/ 31 w 60"/>
                  <a:gd name="T45" fmla="*/ 37 h 73"/>
                  <a:gd name="T46" fmla="*/ 37 w 60"/>
                  <a:gd name="T47" fmla="*/ 43 h 73"/>
                  <a:gd name="T48" fmla="*/ 38 w 60"/>
                  <a:gd name="T49" fmla="*/ 52 h 73"/>
                  <a:gd name="T50" fmla="*/ 43 w 60"/>
                  <a:gd name="T51" fmla="*/ 61 h 73"/>
                  <a:gd name="T52" fmla="*/ 42 w 60"/>
                  <a:gd name="T53" fmla="*/ 70 h 73"/>
                  <a:gd name="T54" fmla="*/ 46 w 60"/>
                  <a:gd name="T55" fmla="*/ 72 h 73"/>
                  <a:gd name="T56" fmla="*/ 48 w 60"/>
                  <a:gd name="T57" fmla="*/ 70 h 73"/>
                  <a:gd name="T58" fmla="*/ 54 w 60"/>
                  <a:gd name="T59" fmla="*/ 68 h 73"/>
                  <a:gd name="T60" fmla="*/ 59 w 60"/>
                  <a:gd name="T61" fmla="*/ 67 h 73"/>
                  <a:gd name="T62" fmla="*/ 59 w 60"/>
                  <a:gd name="T63" fmla="*/ 64 h 73"/>
                  <a:gd name="T64" fmla="*/ 58 w 60"/>
                  <a:gd name="T65" fmla="*/ 56 h 73"/>
                  <a:gd name="T66" fmla="*/ 51 w 60"/>
                  <a:gd name="T67" fmla="*/ 50 h 73"/>
                  <a:gd name="T68" fmla="*/ 45 w 60"/>
                  <a:gd name="T69" fmla="*/ 41 h 73"/>
                  <a:gd name="T70" fmla="*/ 41 w 60"/>
                  <a:gd name="T71" fmla="*/ 3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60" h="73">
                    <a:moveTo>
                      <a:pt x="41" y="34"/>
                    </a:moveTo>
                    <a:cubicBezTo>
                      <a:pt x="41" y="32"/>
                      <a:pt x="31" y="29"/>
                      <a:pt x="32" y="26"/>
                    </a:cubicBezTo>
                    <a:cubicBezTo>
                      <a:pt x="33" y="24"/>
                      <a:pt x="38" y="25"/>
                      <a:pt x="38" y="23"/>
                    </a:cubicBezTo>
                    <a:cubicBezTo>
                      <a:pt x="38" y="20"/>
                      <a:pt x="36" y="20"/>
                      <a:pt x="36" y="16"/>
                    </a:cubicBezTo>
                    <a:cubicBezTo>
                      <a:pt x="35" y="13"/>
                      <a:pt x="31" y="14"/>
                      <a:pt x="30" y="15"/>
                    </a:cubicBezTo>
                    <a:cubicBezTo>
                      <a:pt x="28" y="16"/>
                      <a:pt x="23" y="14"/>
                      <a:pt x="23" y="11"/>
                    </a:cubicBezTo>
                    <a:cubicBezTo>
                      <a:pt x="23" y="9"/>
                      <a:pt x="19" y="7"/>
                      <a:pt x="19" y="5"/>
                    </a:cubicBezTo>
                    <a:cubicBezTo>
                      <a:pt x="19" y="4"/>
                      <a:pt x="18" y="3"/>
                      <a:pt x="16" y="1"/>
                    </a:cubicBezTo>
                    <a:cubicBezTo>
                      <a:pt x="15" y="2"/>
                      <a:pt x="14" y="2"/>
                      <a:pt x="13" y="1"/>
                    </a:cubicBezTo>
                    <a:cubicBezTo>
                      <a:pt x="12" y="0"/>
                      <a:pt x="11" y="4"/>
                      <a:pt x="12" y="5"/>
                    </a:cubicBezTo>
                    <a:cubicBezTo>
                      <a:pt x="13" y="6"/>
                      <a:pt x="14" y="12"/>
                      <a:pt x="12" y="12"/>
                    </a:cubicBezTo>
                    <a:cubicBezTo>
                      <a:pt x="9" y="11"/>
                      <a:pt x="9" y="8"/>
                      <a:pt x="7" y="8"/>
                    </a:cubicBezTo>
                    <a:cubicBezTo>
                      <a:pt x="7" y="8"/>
                      <a:pt x="3" y="13"/>
                      <a:pt x="3" y="15"/>
                    </a:cubicBezTo>
                    <a:cubicBezTo>
                      <a:pt x="3" y="16"/>
                      <a:pt x="2" y="16"/>
                      <a:pt x="0" y="17"/>
                    </a:cubicBezTo>
                    <a:cubicBezTo>
                      <a:pt x="1" y="18"/>
                      <a:pt x="2" y="18"/>
                      <a:pt x="2" y="18"/>
                    </a:cubicBezTo>
                    <a:cubicBezTo>
                      <a:pt x="3" y="20"/>
                      <a:pt x="2" y="22"/>
                      <a:pt x="3" y="25"/>
                    </a:cubicBezTo>
                    <a:cubicBezTo>
                      <a:pt x="4" y="27"/>
                      <a:pt x="7" y="23"/>
                      <a:pt x="8" y="27"/>
                    </a:cubicBezTo>
                    <a:cubicBezTo>
                      <a:pt x="9" y="30"/>
                      <a:pt x="8" y="32"/>
                      <a:pt x="8" y="35"/>
                    </a:cubicBezTo>
                    <a:cubicBezTo>
                      <a:pt x="8" y="39"/>
                      <a:pt x="5" y="38"/>
                      <a:pt x="5" y="41"/>
                    </a:cubicBezTo>
                    <a:cubicBezTo>
                      <a:pt x="6" y="45"/>
                      <a:pt x="10" y="41"/>
                      <a:pt x="13" y="39"/>
                    </a:cubicBezTo>
                    <a:cubicBezTo>
                      <a:pt x="15" y="37"/>
                      <a:pt x="17" y="37"/>
                      <a:pt x="18" y="38"/>
                    </a:cubicBezTo>
                    <a:cubicBezTo>
                      <a:pt x="20" y="40"/>
                      <a:pt x="23" y="39"/>
                      <a:pt x="24" y="37"/>
                    </a:cubicBezTo>
                    <a:cubicBezTo>
                      <a:pt x="24" y="35"/>
                      <a:pt x="29" y="35"/>
                      <a:pt x="31" y="37"/>
                    </a:cubicBezTo>
                    <a:cubicBezTo>
                      <a:pt x="33" y="39"/>
                      <a:pt x="35" y="41"/>
                      <a:pt x="37" y="43"/>
                    </a:cubicBezTo>
                    <a:cubicBezTo>
                      <a:pt x="39" y="44"/>
                      <a:pt x="35" y="51"/>
                      <a:pt x="38" y="52"/>
                    </a:cubicBezTo>
                    <a:cubicBezTo>
                      <a:pt x="40" y="53"/>
                      <a:pt x="44" y="57"/>
                      <a:pt x="43" y="61"/>
                    </a:cubicBezTo>
                    <a:cubicBezTo>
                      <a:pt x="43" y="64"/>
                      <a:pt x="45" y="67"/>
                      <a:pt x="42" y="70"/>
                    </a:cubicBezTo>
                    <a:cubicBezTo>
                      <a:pt x="44" y="71"/>
                      <a:pt x="46" y="71"/>
                      <a:pt x="46" y="72"/>
                    </a:cubicBezTo>
                    <a:cubicBezTo>
                      <a:pt x="45" y="73"/>
                      <a:pt x="48" y="73"/>
                      <a:pt x="48" y="70"/>
                    </a:cubicBezTo>
                    <a:cubicBezTo>
                      <a:pt x="48" y="67"/>
                      <a:pt x="52" y="68"/>
                      <a:pt x="54" y="68"/>
                    </a:cubicBezTo>
                    <a:cubicBezTo>
                      <a:pt x="55" y="69"/>
                      <a:pt x="57" y="69"/>
                      <a:pt x="59" y="67"/>
                    </a:cubicBezTo>
                    <a:cubicBezTo>
                      <a:pt x="59" y="66"/>
                      <a:pt x="59" y="65"/>
                      <a:pt x="59" y="64"/>
                    </a:cubicBezTo>
                    <a:cubicBezTo>
                      <a:pt x="60" y="61"/>
                      <a:pt x="59" y="57"/>
                      <a:pt x="58" y="56"/>
                    </a:cubicBezTo>
                    <a:cubicBezTo>
                      <a:pt x="56" y="54"/>
                      <a:pt x="52" y="53"/>
                      <a:pt x="51" y="50"/>
                    </a:cubicBezTo>
                    <a:cubicBezTo>
                      <a:pt x="50" y="47"/>
                      <a:pt x="46" y="43"/>
                      <a:pt x="45" y="41"/>
                    </a:cubicBezTo>
                    <a:cubicBezTo>
                      <a:pt x="44" y="38"/>
                      <a:pt x="41" y="36"/>
                      <a:pt x="41" y="34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0" name="Freeform 66">
                <a:extLst>
                  <a:ext uri="{FF2B5EF4-FFF2-40B4-BE49-F238E27FC236}">
                    <a16:creationId xmlns:a16="http://schemas.microsoft.com/office/drawing/2014/main" id="{193A8D87-778C-4AD1-A14C-347200D592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08954" y="3702088"/>
                <a:ext cx="150567" cy="281058"/>
              </a:xfrm>
              <a:custGeom>
                <a:avLst/>
                <a:gdLst>
                  <a:gd name="T0" fmla="*/ 40 w 65"/>
                  <a:gd name="T1" fmla="*/ 64 h 122"/>
                  <a:gd name="T2" fmla="*/ 39 w 65"/>
                  <a:gd name="T3" fmla="*/ 57 h 122"/>
                  <a:gd name="T4" fmla="*/ 50 w 65"/>
                  <a:gd name="T5" fmla="*/ 52 h 122"/>
                  <a:gd name="T6" fmla="*/ 61 w 65"/>
                  <a:gd name="T7" fmla="*/ 52 h 122"/>
                  <a:gd name="T8" fmla="*/ 62 w 65"/>
                  <a:gd name="T9" fmla="*/ 53 h 122"/>
                  <a:gd name="T10" fmla="*/ 63 w 65"/>
                  <a:gd name="T11" fmla="*/ 44 h 122"/>
                  <a:gd name="T12" fmla="*/ 58 w 65"/>
                  <a:gd name="T13" fmla="*/ 35 h 122"/>
                  <a:gd name="T14" fmla="*/ 57 w 65"/>
                  <a:gd name="T15" fmla="*/ 26 h 122"/>
                  <a:gd name="T16" fmla="*/ 51 w 65"/>
                  <a:gd name="T17" fmla="*/ 20 h 122"/>
                  <a:gd name="T18" fmla="*/ 44 w 65"/>
                  <a:gd name="T19" fmla="*/ 20 h 122"/>
                  <a:gd name="T20" fmla="*/ 38 w 65"/>
                  <a:gd name="T21" fmla="*/ 21 h 122"/>
                  <a:gd name="T22" fmla="*/ 33 w 65"/>
                  <a:gd name="T23" fmla="*/ 22 h 122"/>
                  <a:gd name="T24" fmla="*/ 25 w 65"/>
                  <a:gd name="T25" fmla="*/ 24 h 122"/>
                  <a:gd name="T26" fmla="*/ 28 w 65"/>
                  <a:gd name="T27" fmla="*/ 18 h 122"/>
                  <a:gd name="T28" fmla="*/ 28 w 65"/>
                  <a:gd name="T29" fmla="*/ 10 h 122"/>
                  <a:gd name="T30" fmla="*/ 23 w 65"/>
                  <a:gd name="T31" fmla="*/ 8 h 122"/>
                  <a:gd name="T32" fmla="*/ 22 w 65"/>
                  <a:gd name="T33" fmla="*/ 1 h 122"/>
                  <a:gd name="T34" fmla="*/ 20 w 65"/>
                  <a:gd name="T35" fmla="*/ 0 h 122"/>
                  <a:gd name="T36" fmla="*/ 19 w 65"/>
                  <a:gd name="T37" fmla="*/ 1 h 122"/>
                  <a:gd name="T38" fmla="*/ 12 w 65"/>
                  <a:gd name="T39" fmla="*/ 5 h 122"/>
                  <a:gd name="T40" fmla="*/ 6 w 65"/>
                  <a:gd name="T41" fmla="*/ 7 h 122"/>
                  <a:gd name="T42" fmla="*/ 1 w 65"/>
                  <a:gd name="T43" fmla="*/ 10 h 122"/>
                  <a:gd name="T44" fmla="*/ 0 w 65"/>
                  <a:gd name="T45" fmla="*/ 22 h 122"/>
                  <a:gd name="T46" fmla="*/ 6 w 65"/>
                  <a:gd name="T47" fmla="*/ 30 h 122"/>
                  <a:gd name="T48" fmla="*/ 7 w 65"/>
                  <a:gd name="T49" fmla="*/ 35 h 122"/>
                  <a:gd name="T50" fmla="*/ 7 w 65"/>
                  <a:gd name="T51" fmla="*/ 39 h 122"/>
                  <a:gd name="T52" fmla="*/ 6 w 65"/>
                  <a:gd name="T53" fmla="*/ 45 h 122"/>
                  <a:gd name="T54" fmla="*/ 9 w 65"/>
                  <a:gd name="T55" fmla="*/ 53 h 122"/>
                  <a:gd name="T56" fmla="*/ 12 w 65"/>
                  <a:gd name="T57" fmla="*/ 63 h 122"/>
                  <a:gd name="T58" fmla="*/ 14 w 65"/>
                  <a:gd name="T59" fmla="*/ 69 h 122"/>
                  <a:gd name="T60" fmla="*/ 7 w 65"/>
                  <a:gd name="T61" fmla="*/ 82 h 122"/>
                  <a:gd name="T62" fmla="*/ 5 w 65"/>
                  <a:gd name="T63" fmla="*/ 94 h 122"/>
                  <a:gd name="T64" fmla="*/ 6 w 65"/>
                  <a:gd name="T65" fmla="*/ 101 h 122"/>
                  <a:gd name="T66" fmla="*/ 16 w 65"/>
                  <a:gd name="T67" fmla="*/ 112 h 122"/>
                  <a:gd name="T68" fmla="*/ 19 w 65"/>
                  <a:gd name="T69" fmla="*/ 116 h 122"/>
                  <a:gd name="T70" fmla="*/ 23 w 65"/>
                  <a:gd name="T71" fmla="*/ 116 h 122"/>
                  <a:gd name="T72" fmla="*/ 27 w 65"/>
                  <a:gd name="T73" fmla="*/ 121 h 122"/>
                  <a:gd name="T74" fmla="*/ 34 w 65"/>
                  <a:gd name="T75" fmla="*/ 121 h 122"/>
                  <a:gd name="T76" fmla="*/ 36 w 65"/>
                  <a:gd name="T77" fmla="*/ 118 h 122"/>
                  <a:gd name="T78" fmla="*/ 27 w 65"/>
                  <a:gd name="T79" fmla="*/ 113 h 122"/>
                  <a:gd name="T80" fmla="*/ 21 w 65"/>
                  <a:gd name="T81" fmla="*/ 104 h 122"/>
                  <a:gd name="T82" fmla="*/ 18 w 65"/>
                  <a:gd name="T83" fmla="*/ 96 h 122"/>
                  <a:gd name="T84" fmla="*/ 13 w 65"/>
                  <a:gd name="T85" fmla="*/ 92 h 122"/>
                  <a:gd name="T86" fmla="*/ 14 w 65"/>
                  <a:gd name="T87" fmla="*/ 79 h 122"/>
                  <a:gd name="T88" fmla="*/ 19 w 65"/>
                  <a:gd name="T89" fmla="*/ 63 h 122"/>
                  <a:gd name="T90" fmla="*/ 25 w 65"/>
                  <a:gd name="T91" fmla="*/ 61 h 122"/>
                  <a:gd name="T92" fmla="*/ 31 w 65"/>
                  <a:gd name="T93" fmla="*/ 66 h 122"/>
                  <a:gd name="T94" fmla="*/ 40 w 65"/>
                  <a:gd name="T95" fmla="*/ 70 h 122"/>
                  <a:gd name="T96" fmla="*/ 40 w 65"/>
                  <a:gd name="T97" fmla="*/ 71 h 122"/>
                  <a:gd name="T98" fmla="*/ 41 w 65"/>
                  <a:gd name="T99" fmla="*/ 70 h 122"/>
                  <a:gd name="T100" fmla="*/ 40 w 65"/>
                  <a:gd name="T101" fmla="*/ 64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65" h="122">
                    <a:moveTo>
                      <a:pt x="40" y="64"/>
                    </a:moveTo>
                    <a:cubicBezTo>
                      <a:pt x="40" y="61"/>
                      <a:pt x="36" y="61"/>
                      <a:pt x="39" y="57"/>
                    </a:cubicBezTo>
                    <a:cubicBezTo>
                      <a:pt x="42" y="53"/>
                      <a:pt x="47" y="51"/>
                      <a:pt x="50" y="52"/>
                    </a:cubicBezTo>
                    <a:cubicBezTo>
                      <a:pt x="53" y="53"/>
                      <a:pt x="59" y="50"/>
                      <a:pt x="61" y="52"/>
                    </a:cubicBezTo>
                    <a:cubicBezTo>
                      <a:pt x="61" y="52"/>
                      <a:pt x="62" y="53"/>
                      <a:pt x="62" y="53"/>
                    </a:cubicBezTo>
                    <a:cubicBezTo>
                      <a:pt x="65" y="50"/>
                      <a:pt x="63" y="47"/>
                      <a:pt x="63" y="44"/>
                    </a:cubicBezTo>
                    <a:cubicBezTo>
                      <a:pt x="64" y="40"/>
                      <a:pt x="60" y="36"/>
                      <a:pt x="58" y="35"/>
                    </a:cubicBezTo>
                    <a:cubicBezTo>
                      <a:pt x="55" y="34"/>
                      <a:pt x="59" y="27"/>
                      <a:pt x="57" y="26"/>
                    </a:cubicBezTo>
                    <a:cubicBezTo>
                      <a:pt x="55" y="24"/>
                      <a:pt x="53" y="22"/>
                      <a:pt x="51" y="20"/>
                    </a:cubicBezTo>
                    <a:cubicBezTo>
                      <a:pt x="49" y="18"/>
                      <a:pt x="44" y="18"/>
                      <a:pt x="44" y="20"/>
                    </a:cubicBezTo>
                    <a:cubicBezTo>
                      <a:pt x="43" y="22"/>
                      <a:pt x="40" y="23"/>
                      <a:pt x="38" y="21"/>
                    </a:cubicBezTo>
                    <a:cubicBezTo>
                      <a:pt x="37" y="20"/>
                      <a:pt x="35" y="20"/>
                      <a:pt x="33" y="22"/>
                    </a:cubicBezTo>
                    <a:cubicBezTo>
                      <a:pt x="30" y="24"/>
                      <a:pt x="26" y="28"/>
                      <a:pt x="25" y="24"/>
                    </a:cubicBezTo>
                    <a:cubicBezTo>
                      <a:pt x="25" y="21"/>
                      <a:pt x="28" y="22"/>
                      <a:pt x="28" y="18"/>
                    </a:cubicBezTo>
                    <a:cubicBezTo>
                      <a:pt x="28" y="15"/>
                      <a:pt x="29" y="13"/>
                      <a:pt x="28" y="10"/>
                    </a:cubicBezTo>
                    <a:cubicBezTo>
                      <a:pt x="27" y="6"/>
                      <a:pt x="24" y="10"/>
                      <a:pt x="23" y="8"/>
                    </a:cubicBezTo>
                    <a:cubicBezTo>
                      <a:pt x="22" y="5"/>
                      <a:pt x="23" y="3"/>
                      <a:pt x="22" y="1"/>
                    </a:cubicBezTo>
                    <a:cubicBezTo>
                      <a:pt x="22" y="1"/>
                      <a:pt x="21" y="1"/>
                      <a:pt x="20" y="0"/>
                    </a:cubicBezTo>
                    <a:cubicBezTo>
                      <a:pt x="20" y="0"/>
                      <a:pt x="19" y="1"/>
                      <a:pt x="19" y="1"/>
                    </a:cubicBezTo>
                    <a:cubicBezTo>
                      <a:pt x="18" y="3"/>
                      <a:pt x="13" y="3"/>
                      <a:pt x="12" y="5"/>
                    </a:cubicBezTo>
                    <a:cubicBezTo>
                      <a:pt x="11" y="7"/>
                      <a:pt x="7" y="7"/>
                      <a:pt x="6" y="7"/>
                    </a:cubicBezTo>
                    <a:cubicBezTo>
                      <a:pt x="5" y="7"/>
                      <a:pt x="2" y="7"/>
                      <a:pt x="1" y="10"/>
                    </a:cubicBezTo>
                    <a:cubicBezTo>
                      <a:pt x="1" y="12"/>
                      <a:pt x="0" y="21"/>
                      <a:pt x="0" y="22"/>
                    </a:cubicBezTo>
                    <a:cubicBezTo>
                      <a:pt x="0" y="24"/>
                      <a:pt x="4" y="29"/>
                      <a:pt x="6" y="30"/>
                    </a:cubicBezTo>
                    <a:cubicBezTo>
                      <a:pt x="7" y="30"/>
                      <a:pt x="5" y="34"/>
                      <a:pt x="7" y="35"/>
                    </a:cubicBezTo>
                    <a:cubicBezTo>
                      <a:pt x="9" y="36"/>
                      <a:pt x="8" y="39"/>
                      <a:pt x="7" y="39"/>
                    </a:cubicBezTo>
                    <a:cubicBezTo>
                      <a:pt x="6" y="39"/>
                      <a:pt x="8" y="43"/>
                      <a:pt x="6" y="45"/>
                    </a:cubicBezTo>
                    <a:cubicBezTo>
                      <a:pt x="4" y="46"/>
                      <a:pt x="5" y="50"/>
                      <a:pt x="9" y="53"/>
                    </a:cubicBezTo>
                    <a:cubicBezTo>
                      <a:pt x="12" y="56"/>
                      <a:pt x="12" y="60"/>
                      <a:pt x="12" y="63"/>
                    </a:cubicBezTo>
                    <a:cubicBezTo>
                      <a:pt x="12" y="66"/>
                      <a:pt x="14" y="66"/>
                      <a:pt x="14" y="69"/>
                    </a:cubicBezTo>
                    <a:cubicBezTo>
                      <a:pt x="14" y="69"/>
                      <a:pt x="11" y="83"/>
                      <a:pt x="7" y="82"/>
                    </a:cubicBezTo>
                    <a:cubicBezTo>
                      <a:pt x="7" y="86"/>
                      <a:pt x="6" y="91"/>
                      <a:pt x="5" y="94"/>
                    </a:cubicBezTo>
                    <a:cubicBezTo>
                      <a:pt x="4" y="98"/>
                      <a:pt x="4" y="101"/>
                      <a:pt x="6" y="101"/>
                    </a:cubicBezTo>
                    <a:cubicBezTo>
                      <a:pt x="8" y="101"/>
                      <a:pt x="12" y="106"/>
                      <a:pt x="16" y="112"/>
                    </a:cubicBezTo>
                    <a:cubicBezTo>
                      <a:pt x="17" y="113"/>
                      <a:pt x="18" y="114"/>
                      <a:pt x="19" y="116"/>
                    </a:cubicBezTo>
                    <a:cubicBezTo>
                      <a:pt x="20" y="115"/>
                      <a:pt x="22" y="116"/>
                      <a:pt x="23" y="116"/>
                    </a:cubicBezTo>
                    <a:cubicBezTo>
                      <a:pt x="26" y="116"/>
                      <a:pt x="27" y="119"/>
                      <a:pt x="27" y="121"/>
                    </a:cubicBezTo>
                    <a:cubicBezTo>
                      <a:pt x="27" y="122"/>
                      <a:pt x="33" y="122"/>
                      <a:pt x="34" y="121"/>
                    </a:cubicBezTo>
                    <a:cubicBezTo>
                      <a:pt x="34" y="121"/>
                      <a:pt x="33" y="119"/>
                      <a:pt x="36" y="118"/>
                    </a:cubicBezTo>
                    <a:cubicBezTo>
                      <a:pt x="34" y="116"/>
                      <a:pt x="30" y="113"/>
                      <a:pt x="27" y="113"/>
                    </a:cubicBezTo>
                    <a:cubicBezTo>
                      <a:pt x="23" y="112"/>
                      <a:pt x="21" y="106"/>
                      <a:pt x="21" y="104"/>
                    </a:cubicBezTo>
                    <a:cubicBezTo>
                      <a:pt x="22" y="101"/>
                      <a:pt x="18" y="99"/>
                      <a:pt x="18" y="96"/>
                    </a:cubicBezTo>
                    <a:cubicBezTo>
                      <a:pt x="18" y="94"/>
                      <a:pt x="16" y="94"/>
                      <a:pt x="13" y="92"/>
                    </a:cubicBezTo>
                    <a:cubicBezTo>
                      <a:pt x="10" y="91"/>
                      <a:pt x="14" y="83"/>
                      <a:pt x="14" y="79"/>
                    </a:cubicBezTo>
                    <a:cubicBezTo>
                      <a:pt x="14" y="76"/>
                      <a:pt x="20" y="66"/>
                      <a:pt x="19" y="63"/>
                    </a:cubicBezTo>
                    <a:cubicBezTo>
                      <a:pt x="17" y="60"/>
                      <a:pt x="24" y="58"/>
                      <a:pt x="25" y="61"/>
                    </a:cubicBezTo>
                    <a:cubicBezTo>
                      <a:pt x="26" y="65"/>
                      <a:pt x="27" y="66"/>
                      <a:pt x="31" y="66"/>
                    </a:cubicBezTo>
                    <a:cubicBezTo>
                      <a:pt x="36" y="66"/>
                      <a:pt x="36" y="69"/>
                      <a:pt x="40" y="70"/>
                    </a:cubicBezTo>
                    <a:cubicBezTo>
                      <a:pt x="40" y="71"/>
                      <a:pt x="40" y="71"/>
                      <a:pt x="40" y="71"/>
                    </a:cubicBezTo>
                    <a:cubicBezTo>
                      <a:pt x="41" y="71"/>
                      <a:pt x="41" y="71"/>
                      <a:pt x="41" y="70"/>
                    </a:cubicBezTo>
                    <a:cubicBezTo>
                      <a:pt x="42" y="68"/>
                      <a:pt x="40" y="68"/>
                      <a:pt x="40" y="64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1" name="Freeform 67">
                <a:extLst>
                  <a:ext uri="{FF2B5EF4-FFF2-40B4-BE49-F238E27FC236}">
                    <a16:creationId xmlns:a16="http://schemas.microsoft.com/office/drawing/2014/main" id="{6EB773F2-971F-406F-9498-FCA24DFB0F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5716" y="2940470"/>
                <a:ext cx="176916" cy="145548"/>
              </a:xfrm>
              <a:custGeom>
                <a:avLst/>
                <a:gdLst>
                  <a:gd name="T0" fmla="*/ 1 w 77"/>
                  <a:gd name="T1" fmla="*/ 13 h 63"/>
                  <a:gd name="T2" fmla="*/ 1 w 77"/>
                  <a:gd name="T3" fmla="*/ 22 h 63"/>
                  <a:gd name="T4" fmla="*/ 1 w 77"/>
                  <a:gd name="T5" fmla="*/ 25 h 63"/>
                  <a:gd name="T6" fmla="*/ 3 w 77"/>
                  <a:gd name="T7" fmla="*/ 29 h 63"/>
                  <a:gd name="T8" fmla="*/ 4 w 77"/>
                  <a:gd name="T9" fmla="*/ 33 h 63"/>
                  <a:gd name="T10" fmla="*/ 6 w 77"/>
                  <a:gd name="T11" fmla="*/ 39 h 63"/>
                  <a:gd name="T12" fmla="*/ 6 w 77"/>
                  <a:gd name="T13" fmla="*/ 43 h 63"/>
                  <a:gd name="T14" fmla="*/ 11 w 77"/>
                  <a:gd name="T15" fmla="*/ 46 h 63"/>
                  <a:gd name="T16" fmla="*/ 16 w 77"/>
                  <a:gd name="T17" fmla="*/ 49 h 63"/>
                  <a:gd name="T18" fmla="*/ 21 w 77"/>
                  <a:gd name="T19" fmla="*/ 51 h 63"/>
                  <a:gd name="T20" fmla="*/ 25 w 77"/>
                  <a:gd name="T21" fmla="*/ 50 h 63"/>
                  <a:gd name="T22" fmla="*/ 27 w 77"/>
                  <a:gd name="T23" fmla="*/ 53 h 63"/>
                  <a:gd name="T24" fmla="*/ 33 w 77"/>
                  <a:gd name="T25" fmla="*/ 55 h 63"/>
                  <a:gd name="T26" fmla="*/ 36 w 77"/>
                  <a:gd name="T27" fmla="*/ 59 h 63"/>
                  <a:gd name="T28" fmla="*/ 41 w 77"/>
                  <a:gd name="T29" fmla="*/ 59 h 63"/>
                  <a:gd name="T30" fmla="*/ 48 w 77"/>
                  <a:gd name="T31" fmla="*/ 60 h 63"/>
                  <a:gd name="T32" fmla="*/ 54 w 77"/>
                  <a:gd name="T33" fmla="*/ 60 h 63"/>
                  <a:gd name="T34" fmla="*/ 61 w 77"/>
                  <a:gd name="T35" fmla="*/ 62 h 63"/>
                  <a:gd name="T36" fmla="*/ 66 w 77"/>
                  <a:gd name="T37" fmla="*/ 63 h 63"/>
                  <a:gd name="T38" fmla="*/ 65 w 77"/>
                  <a:gd name="T39" fmla="*/ 58 h 63"/>
                  <a:gd name="T40" fmla="*/ 73 w 77"/>
                  <a:gd name="T41" fmla="*/ 50 h 63"/>
                  <a:gd name="T42" fmla="*/ 76 w 77"/>
                  <a:gd name="T43" fmla="*/ 47 h 63"/>
                  <a:gd name="T44" fmla="*/ 73 w 77"/>
                  <a:gd name="T45" fmla="*/ 39 h 63"/>
                  <a:gd name="T46" fmla="*/ 73 w 77"/>
                  <a:gd name="T47" fmla="*/ 32 h 63"/>
                  <a:gd name="T48" fmla="*/ 70 w 77"/>
                  <a:gd name="T49" fmla="*/ 28 h 63"/>
                  <a:gd name="T50" fmla="*/ 75 w 77"/>
                  <a:gd name="T51" fmla="*/ 24 h 63"/>
                  <a:gd name="T52" fmla="*/ 74 w 77"/>
                  <a:gd name="T53" fmla="*/ 17 h 63"/>
                  <a:gd name="T54" fmla="*/ 73 w 77"/>
                  <a:gd name="T55" fmla="*/ 11 h 63"/>
                  <a:gd name="T56" fmla="*/ 67 w 77"/>
                  <a:gd name="T57" fmla="*/ 7 h 63"/>
                  <a:gd name="T58" fmla="*/ 66 w 77"/>
                  <a:gd name="T59" fmla="*/ 6 h 63"/>
                  <a:gd name="T60" fmla="*/ 46 w 77"/>
                  <a:gd name="T61" fmla="*/ 5 h 63"/>
                  <a:gd name="T62" fmla="*/ 42 w 77"/>
                  <a:gd name="T63" fmla="*/ 4 h 63"/>
                  <a:gd name="T64" fmla="*/ 37 w 77"/>
                  <a:gd name="T65" fmla="*/ 6 h 63"/>
                  <a:gd name="T66" fmla="*/ 33 w 77"/>
                  <a:gd name="T67" fmla="*/ 1 h 63"/>
                  <a:gd name="T68" fmla="*/ 16 w 77"/>
                  <a:gd name="T69" fmla="*/ 6 h 63"/>
                  <a:gd name="T70" fmla="*/ 3 w 77"/>
                  <a:gd name="T71" fmla="*/ 10 h 63"/>
                  <a:gd name="T72" fmla="*/ 1 w 77"/>
                  <a:gd name="T73" fmla="*/ 12 h 63"/>
                  <a:gd name="T74" fmla="*/ 1 w 77"/>
                  <a:gd name="T75" fmla="*/ 13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7" h="63">
                    <a:moveTo>
                      <a:pt x="1" y="13"/>
                    </a:moveTo>
                    <a:cubicBezTo>
                      <a:pt x="2" y="15"/>
                      <a:pt x="2" y="20"/>
                      <a:pt x="1" y="22"/>
                    </a:cubicBezTo>
                    <a:cubicBezTo>
                      <a:pt x="0" y="23"/>
                      <a:pt x="0" y="24"/>
                      <a:pt x="1" y="25"/>
                    </a:cubicBezTo>
                    <a:cubicBezTo>
                      <a:pt x="3" y="25"/>
                      <a:pt x="3" y="27"/>
                      <a:pt x="3" y="29"/>
                    </a:cubicBezTo>
                    <a:cubicBezTo>
                      <a:pt x="3" y="30"/>
                      <a:pt x="4" y="30"/>
                      <a:pt x="4" y="33"/>
                    </a:cubicBezTo>
                    <a:cubicBezTo>
                      <a:pt x="4" y="36"/>
                      <a:pt x="5" y="38"/>
                      <a:pt x="6" y="39"/>
                    </a:cubicBezTo>
                    <a:cubicBezTo>
                      <a:pt x="7" y="40"/>
                      <a:pt x="7" y="42"/>
                      <a:pt x="6" y="43"/>
                    </a:cubicBezTo>
                    <a:cubicBezTo>
                      <a:pt x="8" y="44"/>
                      <a:pt x="10" y="45"/>
                      <a:pt x="11" y="46"/>
                    </a:cubicBezTo>
                    <a:cubicBezTo>
                      <a:pt x="15" y="47"/>
                      <a:pt x="16" y="48"/>
                      <a:pt x="16" y="49"/>
                    </a:cubicBezTo>
                    <a:cubicBezTo>
                      <a:pt x="17" y="51"/>
                      <a:pt x="20" y="53"/>
                      <a:pt x="21" y="51"/>
                    </a:cubicBezTo>
                    <a:cubicBezTo>
                      <a:pt x="21" y="49"/>
                      <a:pt x="24" y="50"/>
                      <a:pt x="25" y="50"/>
                    </a:cubicBezTo>
                    <a:cubicBezTo>
                      <a:pt x="27" y="50"/>
                      <a:pt x="27" y="52"/>
                      <a:pt x="27" y="53"/>
                    </a:cubicBezTo>
                    <a:cubicBezTo>
                      <a:pt x="28" y="54"/>
                      <a:pt x="31" y="54"/>
                      <a:pt x="33" y="55"/>
                    </a:cubicBezTo>
                    <a:cubicBezTo>
                      <a:pt x="34" y="55"/>
                      <a:pt x="34" y="58"/>
                      <a:pt x="36" y="59"/>
                    </a:cubicBezTo>
                    <a:cubicBezTo>
                      <a:pt x="38" y="61"/>
                      <a:pt x="40" y="58"/>
                      <a:pt x="41" y="59"/>
                    </a:cubicBezTo>
                    <a:cubicBezTo>
                      <a:pt x="42" y="60"/>
                      <a:pt x="46" y="61"/>
                      <a:pt x="48" y="60"/>
                    </a:cubicBezTo>
                    <a:cubicBezTo>
                      <a:pt x="50" y="59"/>
                      <a:pt x="51" y="61"/>
                      <a:pt x="54" y="60"/>
                    </a:cubicBezTo>
                    <a:cubicBezTo>
                      <a:pt x="57" y="60"/>
                      <a:pt x="60" y="61"/>
                      <a:pt x="61" y="62"/>
                    </a:cubicBezTo>
                    <a:cubicBezTo>
                      <a:pt x="61" y="62"/>
                      <a:pt x="64" y="63"/>
                      <a:pt x="66" y="63"/>
                    </a:cubicBezTo>
                    <a:cubicBezTo>
                      <a:pt x="66" y="62"/>
                      <a:pt x="65" y="59"/>
                      <a:pt x="65" y="58"/>
                    </a:cubicBezTo>
                    <a:cubicBezTo>
                      <a:pt x="66" y="57"/>
                      <a:pt x="72" y="51"/>
                      <a:pt x="73" y="50"/>
                    </a:cubicBezTo>
                    <a:cubicBezTo>
                      <a:pt x="74" y="49"/>
                      <a:pt x="76" y="49"/>
                      <a:pt x="76" y="47"/>
                    </a:cubicBezTo>
                    <a:cubicBezTo>
                      <a:pt x="77" y="46"/>
                      <a:pt x="74" y="40"/>
                      <a:pt x="73" y="39"/>
                    </a:cubicBezTo>
                    <a:cubicBezTo>
                      <a:pt x="72" y="38"/>
                      <a:pt x="72" y="34"/>
                      <a:pt x="73" y="32"/>
                    </a:cubicBezTo>
                    <a:cubicBezTo>
                      <a:pt x="73" y="30"/>
                      <a:pt x="70" y="29"/>
                      <a:pt x="70" y="28"/>
                    </a:cubicBezTo>
                    <a:cubicBezTo>
                      <a:pt x="70" y="27"/>
                      <a:pt x="73" y="25"/>
                      <a:pt x="75" y="24"/>
                    </a:cubicBezTo>
                    <a:cubicBezTo>
                      <a:pt x="76" y="23"/>
                      <a:pt x="76" y="18"/>
                      <a:pt x="74" y="17"/>
                    </a:cubicBezTo>
                    <a:cubicBezTo>
                      <a:pt x="73" y="16"/>
                      <a:pt x="72" y="14"/>
                      <a:pt x="73" y="11"/>
                    </a:cubicBezTo>
                    <a:cubicBezTo>
                      <a:pt x="74" y="9"/>
                      <a:pt x="68" y="7"/>
                      <a:pt x="67" y="7"/>
                    </a:cubicBezTo>
                    <a:cubicBezTo>
                      <a:pt x="67" y="7"/>
                      <a:pt x="67" y="6"/>
                      <a:pt x="66" y="6"/>
                    </a:cubicBezTo>
                    <a:cubicBezTo>
                      <a:pt x="61" y="7"/>
                      <a:pt x="47" y="6"/>
                      <a:pt x="46" y="5"/>
                    </a:cubicBezTo>
                    <a:cubicBezTo>
                      <a:pt x="45" y="5"/>
                      <a:pt x="43" y="4"/>
                      <a:pt x="42" y="4"/>
                    </a:cubicBezTo>
                    <a:cubicBezTo>
                      <a:pt x="41" y="5"/>
                      <a:pt x="39" y="6"/>
                      <a:pt x="37" y="6"/>
                    </a:cubicBezTo>
                    <a:cubicBezTo>
                      <a:pt x="34" y="6"/>
                      <a:pt x="33" y="3"/>
                      <a:pt x="33" y="1"/>
                    </a:cubicBezTo>
                    <a:cubicBezTo>
                      <a:pt x="33" y="0"/>
                      <a:pt x="19" y="2"/>
                      <a:pt x="16" y="6"/>
                    </a:cubicBezTo>
                    <a:cubicBezTo>
                      <a:pt x="12" y="10"/>
                      <a:pt x="3" y="8"/>
                      <a:pt x="3" y="10"/>
                    </a:cubicBezTo>
                    <a:cubicBezTo>
                      <a:pt x="3" y="12"/>
                      <a:pt x="2" y="13"/>
                      <a:pt x="1" y="12"/>
                    </a:cubicBezTo>
                    <a:cubicBezTo>
                      <a:pt x="1" y="13"/>
                      <a:pt x="1" y="13"/>
                      <a:pt x="1" y="1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2" name="Freeform 68">
                <a:extLst>
                  <a:ext uri="{FF2B5EF4-FFF2-40B4-BE49-F238E27FC236}">
                    <a16:creationId xmlns:a16="http://schemas.microsoft.com/office/drawing/2014/main" id="{88B3C971-3E3A-440F-9366-053A7B334D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10811" y="3177613"/>
                <a:ext cx="66500" cy="62736"/>
              </a:xfrm>
              <a:custGeom>
                <a:avLst/>
                <a:gdLst>
                  <a:gd name="T0" fmla="*/ 21 w 29"/>
                  <a:gd name="T1" fmla="*/ 25 h 27"/>
                  <a:gd name="T2" fmla="*/ 28 w 29"/>
                  <a:gd name="T3" fmla="*/ 16 h 27"/>
                  <a:gd name="T4" fmla="*/ 29 w 29"/>
                  <a:gd name="T5" fmla="*/ 5 h 27"/>
                  <a:gd name="T6" fmla="*/ 21 w 29"/>
                  <a:gd name="T7" fmla="*/ 2 h 27"/>
                  <a:gd name="T8" fmla="*/ 9 w 29"/>
                  <a:gd name="T9" fmla="*/ 0 h 27"/>
                  <a:gd name="T10" fmla="*/ 4 w 29"/>
                  <a:gd name="T11" fmla="*/ 1 h 27"/>
                  <a:gd name="T12" fmla="*/ 0 w 29"/>
                  <a:gd name="T13" fmla="*/ 3 h 27"/>
                  <a:gd name="T14" fmla="*/ 4 w 29"/>
                  <a:gd name="T15" fmla="*/ 9 h 27"/>
                  <a:gd name="T16" fmla="*/ 10 w 29"/>
                  <a:gd name="T17" fmla="*/ 17 h 27"/>
                  <a:gd name="T18" fmla="*/ 17 w 29"/>
                  <a:gd name="T19" fmla="*/ 24 h 27"/>
                  <a:gd name="T20" fmla="*/ 21 w 29"/>
                  <a:gd name="T21" fmla="*/ 27 h 27"/>
                  <a:gd name="T22" fmla="*/ 21 w 29"/>
                  <a:gd name="T23" fmla="*/ 25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9" h="27">
                    <a:moveTo>
                      <a:pt x="21" y="25"/>
                    </a:moveTo>
                    <a:cubicBezTo>
                      <a:pt x="21" y="23"/>
                      <a:pt x="26" y="16"/>
                      <a:pt x="28" y="16"/>
                    </a:cubicBezTo>
                    <a:cubicBezTo>
                      <a:pt x="29" y="16"/>
                      <a:pt x="29" y="9"/>
                      <a:pt x="29" y="5"/>
                    </a:cubicBezTo>
                    <a:cubicBezTo>
                      <a:pt x="25" y="2"/>
                      <a:pt x="21" y="2"/>
                      <a:pt x="21" y="2"/>
                    </a:cubicBezTo>
                    <a:cubicBezTo>
                      <a:pt x="21" y="2"/>
                      <a:pt x="11" y="1"/>
                      <a:pt x="9" y="0"/>
                    </a:cubicBezTo>
                    <a:cubicBezTo>
                      <a:pt x="7" y="0"/>
                      <a:pt x="5" y="3"/>
                      <a:pt x="4" y="1"/>
                    </a:cubicBezTo>
                    <a:cubicBezTo>
                      <a:pt x="2" y="0"/>
                      <a:pt x="0" y="2"/>
                      <a:pt x="0" y="3"/>
                    </a:cubicBezTo>
                    <a:cubicBezTo>
                      <a:pt x="1" y="5"/>
                      <a:pt x="4" y="6"/>
                      <a:pt x="4" y="9"/>
                    </a:cubicBezTo>
                    <a:cubicBezTo>
                      <a:pt x="4" y="12"/>
                      <a:pt x="11" y="16"/>
                      <a:pt x="10" y="17"/>
                    </a:cubicBezTo>
                    <a:cubicBezTo>
                      <a:pt x="10" y="18"/>
                      <a:pt x="15" y="21"/>
                      <a:pt x="17" y="24"/>
                    </a:cubicBezTo>
                    <a:cubicBezTo>
                      <a:pt x="18" y="25"/>
                      <a:pt x="20" y="26"/>
                      <a:pt x="21" y="27"/>
                    </a:cubicBezTo>
                    <a:cubicBezTo>
                      <a:pt x="21" y="26"/>
                      <a:pt x="22" y="25"/>
                      <a:pt x="21" y="2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3" name="Freeform 69">
                <a:extLst>
                  <a:ext uri="{FF2B5EF4-FFF2-40B4-BE49-F238E27FC236}">
                    <a16:creationId xmlns:a16="http://schemas.microsoft.com/office/drawing/2014/main" id="{50A48F5A-2A5F-4B3F-A3AE-A7F8446341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8188" y="3147499"/>
                <a:ext cx="99123" cy="85321"/>
              </a:xfrm>
              <a:custGeom>
                <a:avLst/>
                <a:gdLst>
                  <a:gd name="T0" fmla="*/ 24 w 43"/>
                  <a:gd name="T1" fmla="*/ 30 h 37"/>
                  <a:gd name="T2" fmla="*/ 18 w 43"/>
                  <a:gd name="T3" fmla="*/ 22 h 37"/>
                  <a:gd name="T4" fmla="*/ 14 w 43"/>
                  <a:gd name="T5" fmla="*/ 16 h 37"/>
                  <a:gd name="T6" fmla="*/ 18 w 43"/>
                  <a:gd name="T7" fmla="*/ 14 h 37"/>
                  <a:gd name="T8" fmla="*/ 23 w 43"/>
                  <a:gd name="T9" fmla="*/ 13 h 37"/>
                  <a:gd name="T10" fmla="*/ 35 w 43"/>
                  <a:gd name="T11" fmla="*/ 15 h 37"/>
                  <a:gd name="T12" fmla="*/ 43 w 43"/>
                  <a:gd name="T13" fmla="*/ 18 h 37"/>
                  <a:gd name="T14" fmla="*/ 42 w 43"/>
                  <a:gd name="T15" fmla="*/ 16 h 37"/>
                  <a:gd name="T16" fmla="*/ 40 w 43"/>
                  <a:gd name="T17" fmla="*/ 11 h 37"/>
                  <a:gd name="T18" fmla="*/ 38 w 43"/>
                  <a:gd name="T19" fmla="*/ 6 h 37"/>
                  <a:gd name="T20" fmla="*/ 35 w 43"/>
                  <a:gd name="T21" fmla="*/ 7 h 37"/>
                  <a:gd name="T22" fmla="*/ 27 w 43"/>
                  <a:gd name="T23" fmla="*/ 5 h 37"/>
                  <a:gd name="T24" fmla="*/ 20 w 43"/>
                  <a:gd name="T25" fmla="*/ 0 h 37"/>
                  <a:gd name="T26" fmla="*/ 15 w 43"/>
                  <a:gd name="T27" fmla="*/ 3 h 37"/>
                  <a:gd name="T28" fmla="*/ 13 w 43"/>
                  <a:gd name="T29" fmla="*/ 7 h 37"/>
                  <a:gd name="T30" fmla="*/ 10 w 43"/>
                  <a:gd name="T31" fmla="*/ 11 h 37"/>
                  <a:gd name="T32" fmla="*/ 5 w 43"/>
                  <a:gd name="T33" fmla="*/ 10 h 37"/>
                  <a:gd name="T34" fmla="*/ 0 w 43"/>
                  <a:gd name="T35" fmla="*/ 11 h 37"/>
                  <a:gd name="T36" fmla="*/ 1 w 43"/>
                  <a:gd name="T37" fmla="*/ 15 h 37"/>
                  <a:gd name="T38" fmla="*/ 7 w 43"/>
                  <a:gd name="T39" fmla="*/ 17 h 37"/>
                  <a:gd name="T40" fmla="*/ 14 w 43"/>
                  <a:gd name="T41" fmla="*/ 29 h 37"/>
                  <a:gd name="T42" fmla="*/ 21 w 43"/>
                  <a:gd name="T43" fmla="*/ 32 h 37"/>
                  <a:gd name="T44" fmla="*/ 28 w 43"/>
                  <a:gd name="T45" fmla="*/ 36 h 37"/>
                  <a:gd name="T46" fmla="*/ 31 w 43"/>
                  <a:gd name="T47" fmla="*/ 37 h 37"/>
                  <a:gd name="T48" fmla="*/ 24 w 43"/>
                  <a:gd name="T49" fmla="*/ 3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3" h="37">
                    <a:moveTo>
                      <a:pt x="24" y="30"/>
                    </a:moveTo>
                    <a:cubicBezTo>
                      <a:pt x="25" y="29"/>
                      <a:pt x="18" y="25"/>
                      <a:pt x="18" y="22"/>
                    </a:cubicBezTo>
                    <a:cubicBezTo>
                      <a:pt x="18" y="19"/>
                      <a:pt x="15" y="18"/>
                      <a:pt x="14" y="16"/>
                    </a:cubicBezTo>
                    <a:cubicBezTo>
                      <a:pt x="14" y="15"/>
                      <a:pt x="16" y="13"/>
                      <a:pt x="18" y="14"/>
                    </a:cubicBezTo>
                    <a:cubicBezTo>
                      <a:pt x="19" y="16"/>
                      <a:pt x="21" y="13"/>
                      <a:pt x="23" y="13"/>
                    </a:cubicBezTo>
                    <a:cubicBezTo>
                      <a:pt x="25" y="14"/>
                      <a:pt x="35" y="15"/>
                      <a:pt x="35" y="15"/>
                    </a:cubicBezTo>
                    <a:cubicBezTo>
                      <a:pt x="35" y="15"/>
                      <a:pt x="39" y="15"/>
                      <a:pt x="43" y="18"/>
                    </a:cubicBezTo>
                    <a:cubicBezTo>
                      <a:pt x="42" y="17"/>
                      <a:pt x="42" y="17"/>
                      <a:pt x="42" y="16"/>
                    </a:cubicBezTo>
                    <a:cubicBezTo>
                      <a:pt x="41" y="14"/>
                      <a:pt x="42" y="12"/>
                      <a:pt x="40" y="11"/>
                    </a:cubicBezTo>
                    <a:cubicBezTo>
                      <a:pt x="38" y="10"/>
                      <a:pt x="38" y="8"/>
                      <a:pt x="38" y="6"/>
                    </a:cubicBezTo>
                    <a:cubicBezTo>
                      <a:pt x="36" y="6"/>
                      <a:pt x="35" y="7"/>
                      <a:pt x="35" y="7"/>
                    </a:cubicBezTo>
                    <a:cubicBezTo>
                      <a:pt x="33" y="7"/>
                      <a:pt x="28" y="7"/>
                      <a:pt x="27" y="5"/>
                    </a:cubicBezTo>
                    <a:cubicBezTo>
                      <a:pt x="25" y="3"/>
                      <a:pt x="22" y="1"/>
                      <a:pt x="20" y="0"/>
                    </a:cubicBezTo>
                    <a:cubicBezTo>
                      <a:pt x="19" y="0"/>
                      <a:pt x="16" y="3"/>
                      <a:pt x="15" y="3"/>
                    </a:cubicBezTo>
                    <a:cubicBezTo>
                      <a:pt x="14" y="3"/>
                      <a:pt x="14" y="7"/>
                      <a:pt x="13" y="7"/>
                    </a:cubicBezTo>
                    <a:cubicBezTo>
                      <a:pt x="12" y="7"/>
                      <a:pt x="11" y="9"/>
                      <a:pt x="10" y="11"/>
                    </a:cubicBezTo>
                    <a:cubicBezTo>
                      <a:pt x="10" y="12"/>
                      <a:pt x="7" y="10"/>
                      <a:pt x="5" y="10"/>
                    </a:cubicBezTo>
                    <a:cubicBezTo>
                      <a:pt x="4" y="11"/>
                      <a:pt x="1" y="11"/>
                      <a:pt x="0" y="11"/>
                    </a:cubicBezTo>
                    <a:cubicBezTo>
                      <a:pt x="0" y="13"/>
                      <a:pt x="0" y="15"/>
                      <a:pt x="1" y="15"/>
                    </a:cubicBezTo>
                    <a:cubicBezTo>
                      <a:pt x="3" y="15"/>
                      <a:pt x="7" y="15"/>
                      <a:pt x="7" y="17"/>
                    </a:cubicBezTo>
                    <a:cubicBezTo>
                      <a:pt x="7" y="20"/>
                      <a:pt x="12" y="27"/>
                      <a:pt x="14" y="29"/>
                    </a:cubicBezTo>
                    <a:cubicBezTo>
                      <a:pt x="16" y="31"/>
                      <a:pt x="21" y="30"/>
                      <a:pt x="21" y="32"/>
                    </a:cubicBezTo>
                    <a:cubicBezTo>
                      <a:pt x="21" y="34"/>
                      <a:pt x="24" y="36"/>
                      <a:pt x="28" y="36"/>
                    </a:cubicBezTo>
                    <a:cubicBezTo>
                      <a:pt x="29" y="36"/>
                      <a:pt x="30" y="37"/>
                      <a:pt x="31" y="37"/>
                    </a:cubicBezTo>
                    <a:cubicBezTo>
                      <a:pt x="29" y="34"/>
                      <a:pt x="24" y="31"/>
                      <a:pt x="24" y="3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4" name="Freeform 70">
                <a:extLst>
                  <a:ext uri="{FF2B5EF4-FFF2-40B4-BE49-F238E27FC236}">
                    <a16:creationId xmlns:a16="http://schemas.microsoft.com/office/drawing/2014/main" id="{20264324-39B7-4822-A538-3484AC548A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3547" y="3237839"/>
                <a:ext cx="33878" cy="69010"/>
              </a:xfrm>
              <a:custGeom>
                <a:avLst/>
                <a:gdLst>
                  <a:gd name="T0" fmla="*/ 10 w 15"/>
                  <a:gd name="T1" fmla="*/ 25 h 30"/>
                  <a:gd name="T2" fmla="*/ 12 w 15"/>
                  <a:gd name="T3" fmla="*/ 22 h 30"/>
                  <a:gd name="T4" fmla="*/ 15 w 15"/>
                  <a:gd name="T5" fmla="*/ 18 h 30"/>
                  <a:gd name="T6" fmla="*/ 15 w 15"/>
                  <a:gd name="T7" fmla="*/ 17 h 30"/>
                  <a:gd name="T8" fmla="*/ 10 w 15"/>
                  <a:gd name="T9" fmla="*/ 12 h 30"/>
                  <a:gd name="T10" fmla="*/ 11 w 15"/>
                  <a:gd name="T11" fmla="*/ 4 h 30"/>
                  <a:gd name="T12" fmla="*/ 4 w 15"/>
                  <a:gd name="T13" fmla="*/ 0 h 30"/>
                  <a:gd name="T14" fmla="*/ 0 w 15"/>
                  <a:gd name="T15" fmla="*/ 6 h 30"/>
                  <a:gd name="T16" fmla="*/ 2 w 15"/>
                  <a:gd name="T17" fmla="*/ 11 h 30"/>
                  <a:gd name="T18" fmla="*/ 2 w 15"/>
                  <a:gd name="T19" fmla="*/ 23 h 30"/>
                  <a:gd name="T20" fmla="*/ 8 w 15"/>
                  <a:gd name="T21" fmla="*/ 30 h 30"/>
                  <a:gd name="T22" fmla="*/ 10 w 15"/>
                  <a:gd name="T23" fmla="*/ 2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" h="30">
                    <a:moveTo>
                      <a:pt x="10" y="25"/>
                    </a:moveTo>
                    <a:cubicBezTo>
                      <a:pt x="12" y="25"/>
                      <a:pt x="11" y="23"/>
                      <a:pt x="12" y="22"/>
                    </a:cubicBezTo>
                    <a:cubicBezTo>
                      <a:pt x="13" y="21"/>
                      <a:pt x="15" y="18"/>
                      <a:pt x="15" y="18"/>
                    </a:cubicBezTo>
                    <a:cubicBezTo>
                      <a:pt x="15" y="17"/>
                      <a:pt x="15" y="17"/>
                      <a:pt x="15" y="17"/>
                    </a:cubicBezTo>
                    <a:cubicBezTo>
                      <a:pt x="12" y="16"/>
                      <a:pt x="11" y="14"/>
                      <a:pt x="10" y="12"/>
                    </a:cubicBezTo>
                    <a:cubicBezTo>
                      <a:pt x="10" y="10"/>
                      <a:pt x="10" y="7"/>
                      <a:pt x="11" y="4"/>
                    </a:cubicBezTo>
                    <a:cubicBezTo>
                      <a:pt x="10" y="3"/>
                      <a:pt x="5" y="0"/>
                      <a:pt x="4" y="0"/>
                    </a:cubicBezTo>
                    <a:cubicBezTo>
                      <a:pt x="3" y="0"/>
                      <a:pt x="1" y="3"/>
                      <a:pt x="0" y="6"/>
                    </a:cubicBezTo>
                    <a:cubicBezTo>
                      <a:pt x="3" y="7"/>
                      <a:pt x="5" y="9"/>
                      <a:pt x="2" y="11"/>
                    </a:cubicBezTo>
                    <a:cubicBezTo>
                      <a:pt x="0" y="13"/>
                      <a:pt x="0" y="21"/>
                      <a:pt x="2" y="23"/>
                    </a:cubicBezTo>
                    <a:cubicBezTo>
                      <a:pt x="5" y="25"/>
                      <a:pt x="5" y="28"/>
                      <a:pt x="8" y="30"/>
                    </a:cubicBezTo>
                    <a:cubicBezTo>
                      <a:pt x="8" y="28"/>
                      <a:pt x="9" y="25"/>
                      <a:pt x="10" y="2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5" name="Freeform 71">
                <a:extLst>
                  <a:ext uri="{FF2B5EF4-FFF2-40B4-BE49-F238E27FC236}">
                    <a16:creationId xmlns:a16="http://schemas.microsoft.com/office/drawing/2014/main" id="{3596EB34-E1FE-44D4-9843-5C02EBDCE0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02904" y="3088527"/>
                <a:ext cx="135510" cy="61482"/>
              </a:xfrm>
              <a:custGeom>
                <a:avLst/>
                <a:gdLst>
                  <a:gd name="T0" fmla="*/ 50 w 59"/>
                  <a:gd name="T1" fmla="*/ 2 h 27"/>
                  <a:gd name="T2" fmla="*/ 43 w 59"/>
                  <a:gd name="T3" fmla="*/ 0 h 27"/>
                  <a:gd name="T4" fmla="*/ 41 w 59"/>
                  <a:gd name="T5" fmla="*/ 4 h 27"/>
                  <a:gd name="T6" fmla="*/ 34 w 59"/>
                  <a:gd name="T7" fmla="*/ 4 h 27"/>
                  <a:gd name="T8" fmla="*/ 30 w 59"/>
                  <a:gd name="T9" fmla="*/ 7 h 27"/>
                  <a:gd name="T10" fmla="*/ 27 w 59"/>
                  <a:gd name="T11" fmla="*/ 12 h 27"/>
                  <a:gd name="T12" fmla="*/ 23 w 59"/>
                  <a:gd name="T13" fmla="*/ 14 h 27"/>
                  <a:gd name="T14" fmla="*/ 15 w 59"/>
                  <a:gd name="T15" fmla="*/ 16 h 27"/>
                  <a:gd name="T16" fmla="*/ 11 w 59"/>
                  <a:gd name="T17" fmla="*/ 16 h 27"/>
                  <a:gd name="T18" fmla="*/ 6 w 59"/>
                  <a:gd name="T19" fmla="*/ 17 h 27"/>
                  <a:gd name="T20" fmla="*/ 1 w 59"/>
                  <a:gd name="T21" fmla="*/ 16 h 27"/>
                  <a:gd name="T22" fmla="*/ 0 w 59"/>
                  <a:gd name="T23" fmla="*/ 20 h 27"/>
                  <a:gd name="T24" fmla="*/ 4 w 59"/>
                  <a:gd name="T25" fmla="*/ 22 h 27"/>
                  <a:gd name="T26" fmla="*/ 9 w 59"/>
                  <a:gd name="T27" fmla="*/ 23 h 27"/>
                  <a:gd name="T28" fmla="*/ 14 w 59"/>
                  <a:gd name="T29" fmla="*/ 22 h 27"/>
                  <a:gd name="T30" fmla="*/ 21 w 59"/>
                  <a:gd name="T31" fmla="*/ 21 h 27"/>
                  <a:gd name="T32" fmla="*/ 22 w 59"/>
                  <a:gd name="T33" fmla="*/ 24 h 27"/>
                  <a:gd name="T34" fmla="*/ 30 w 59"/>
                  <a:gd name="T35" fmla="*/ 25 h 27"/>
                  <a:gd name="T36" fmla="*/ 39 w 59"/>
                  <a:gd name="T37" fmla="*/ 27 h 27"/>
                  <a:gd name="T38" fmla="*/ 46 w 59"/>
                  <a:gd name="T39" fmla="*/ 24 h 27"/>
                  <a:gd name="T40" fmla="*/ 51 w 59"/>
                  <a:gd name="T41" fmla="*/ 23 h 27"/>
                  <a:gd name="T42" fmla="*/ 51 w 59"/>
                  <a:gd name="T43" fmla="*/ 23 h 27"/>
                  <a:gd name="T44" fmla="*/ 52 w 59"/>
                  <a:gd name="T45" fmla="*/ 21 h 27"/>
                  <a:gd name="T46" fmla="*/ 54 w 59"/>
                  <a:gd name="T47" fmla="*/ 17 h 27"/>
                  <a:gd name="T48" fmla="*/ 55 w 59"/>
                  <a:gd name="T49" fmla="*/ 14 h 27"/>
                  <a:gd name="T50" fmla="*/ 58 w 59"/>
                  <a:gd name="T51" fmla="*/ 12 h 27"/>
                  <a:gd name="T52" fmla="*/ 59 w 59"/>
                  <a:gd name="T53" fmla="*/ 10 h 27"/>
                  <a:gd name="T54" fmla="*/ 56 w 59"/>
                  <a:gd name="T55" fmla="*/ 3 h 27"/>
                  <a:gd name="T56" fmla="*/ 50 w 59"/>
                  <a:gd name="T57" fmla="*/ 2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59" h="27">
                    <a:moveTo>
                      <a:pt x="50" y="2"/>
                    </a:moveTo>
                    <a:cubicBezTo>
                      <a:pt x="48" y="0"/>
                      <a:pt x="43" y="0"/>
                      <a:pt x="43" y="0"/>
                    </a:cubicBezTo>
                    <a:cubicBezTo>
                      <a:pt x="43" y="0"/>
                      <a:pt x="42" y="2"/>
                      <a:pt x="41" y="4"/>
                    </a:cubicBezTo>
                    <a:cubicBezTo>
                      <a:pt x="41" y="5"/>
                      <a:pt x="37" y="5"/>
                      <a:pt x="34" y="4"/>
                    </a:cubicBezTo>
                    <a:cubicBezTo>
                      <a:pt x="33" y="5"/>
                      <a:pt x="30" y="6"/>
                      <a:pt x="30" y="7"/>
                    </a:cubicBezTo>
                    <a:cubicBezTo>
                      <a:pt x="29" y="9"/>
                      <a:pt x="25" y="8"/>
                      <a:pt x="27" y="12"/>
                    </a:cubicBezTo>
                    <a:cubicBezTo>
                      <a:pt x="28" y="16"/>
                      <a:pt x="25" y="15"/>
                      <a:pt x="23" y="14"/>
                    </a:cubicBezTo>
                    <a:cubicBezTo>
                      <a:pt x="22" y="14"/>
                      <a:pt x="17" y="15"/>
                      <a:pt x="15" y="16"/>
                    </a:cubicBezTo>
                    <a:cubicBezTo>
                      <a:pt x="14" y="17"/>
                      <a:pt x="12" y="17"/>
                      <a:pt x="11" y="16"/>
                    </a:cubicBezTo>
                    <a:cubicBezTo>
                      <a:pt x="9" y="16"/>
                      <a:pt x="7" y="15"/>
                      <a:pt x="6" y="17"/>
                    </a:cubicBezTo>
                    <a:cubicBezTo>
                      <a:pt x="5" y="19"/>
                      <a:pt x="3" y="16"/>
                      <a:pt x="1" y="16"/>
                    </a:cubicBezTo>
                    <a:cubicBezTo>
                      <a:pt x="0" y="16"/>
                      <a:pt x="0" y="19"/>
                      <a:pt x="0" y="20"/>
                    </a:cubicBezTo>
                    <a:cubicBezTo>
                      <a:pt x="0" y="21"/>
                      <a:pt x="3" y="23"/>
                      <a:pt x="4" y="22"/>
                    </a:cubicBezTo>
                    <a:cubicBezTo>
                      <a:pt x="6" y="22"/>
                      <a:pt x="8" y="22"/>
                      <a:pt x="9" y="23"/>
                    </a:cubicBezTo>
                    <a:cubicBezTo>
                      <a:pt x="11" y="24"/>
                      <a:pt x="13" y="23"/>
                      <a:pt x="14" y="22"/>
                    </a:cubicBezTo>
                    <a:cubicBezTo>
                      <a:pt x="15" y="21"/>
                      <a:pt x="20" y="21"/>
                      <a:pt x="21" y="21"/>
                    </a:cubicBezTo>
                    <a:cubicBezTo>
                      <a:pt x="21" y="21"/>
                      <a:pt x="21" y="24"/>
                      <a:pt x="22" y="24"/>
                    </a:cubicBezTo>
                    <a:cubicBezTo>
                      <a:pt x="23" y="25"/>
                      <a:pt x="27" y="25"/>
                      <a:pt x="30" y="25"/>
                    </a:cubicBezTo>
                    <a:cubicBezTo>
                      <a:pt x="33" y="25"/>
                      <a:pt x="37" y="27"/>
                      <a:pt x="39" y="27"/>
                    </a:cubicBezTo>
                    <a:cubicBezTo>
                      <a:pt x="40" y="27"/>
                      <a:pt x="42" y="24"/>
                      <a:pt x="46" y="24"/>
                    </a:cubicBezTo>
                    <a:cubicBezTo>
                      <a:pt x="49" y="24"/>
                      <a:pt x="51" y="22"/>
                      <a:pt x="51" y="23"/>
                    </a:cubicBezTo>
                    <a:cubicBezTo>
                      <a:pt x="51" y="23"/>
                      <a:pt x="51" y="23"/>
                      <a:pt x="51" y="23"/>
                    </a:cubicBezTo>
                    <a:cubicBezTo>
                      <a:pt x="51" y="22"/>
                      <a:pt x="52" y="21"/>
                      <a:pt x="52" y="21"/>
                    </a:cubicBezTo>
                    <a:cubicBezTo>
                      <a:pt x="54" y="21"/>
                      <a:pt x="53" y="18"/>
                      <a:pt x="54" y="17"/>
                    </a:cubicBezTo>
                    <a:cubicBezTo>
                      <a:pt x="55" y="16"/>
                      <a:pt x="53" y="14"/>
                      <a:pt x="55" y="14"/>
                    </a:cubicBezTo>
                    <a:cubicBezTo>
                      <a:pt x="56" y="14"/>
                      <a:pt x="58" y="14"/>
                      <a:pt x="58" y="12"/>
                    </a:cubicBezTo>
                    <a:cubicBezTo>
                      <a:pt x="58" y="11"/>
                      <a:pt x="59" y="10"/>
                      <a:pt x="59" y="10"/>
                    </a:cubicBezTo>
                    <a:cubicBezTo>
                      <a:pt x="57" y="7"/>
                      <a:pt x="56" y="3"/>
                      <a:pt x="56" y="3"/>
                    </a:cubicBezTo>
                    <a:cubicBezTo>
                      <a:pt x="56" y="3"/>
                      <a:pt x="52" y="5"/>
                      <a:pt x="50" y="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6" name="Freeform 72">
                <a:extLst>
                  <a:ext uri="{FF2B5EF4-FFF2-40B4-BE49-F238E27FC236}">
                    <a16:creationId xmlns:a16="http://schemas.microsoft.com/office/drawing/2014/main" id="{E5F81B6F-AC58-40B7-8698-856EB1A973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20849" y="3094801"/>
                <a:ext cx="119199" cy="69010"/>
              </a:xfrm>
              <a:custGeom>
                <a:avLst/>
                <a:gdLst>
                  <a:gd name="T0" fmla="*/ 51 w 52"/>
                  <a:gd name="T1" fmla="*/ 6 h 30"/>
                  <a:gd name="T2" fmla="*/ 49 w 52"/>
                  <a:gd name="T3" fmla="*/ 5 h 30"/>
                  <a:gd name="T4" fmla="*/ 44 w 52"/>
                  <a:gd name="T5" fmla="*/ 3 h 30"/>
                  <a:gd name="T6" fmla="*/ 36 w 52"/>
                  <a:gd name="T7" fmla="*/ 1 h 30"/>
                  <a:gd name="T8" fmla="*/ 29 w 52"/>
                  <a:gd name="T9" fmla="*/ 5 h 30"/>
                  <a:gd name="T10" fmla="*/ 20 w 52"/>
                  <a:gd name="T11" fmla="*/ 8 h 30"/>
                  <a:gd name="T12" fmla="*/ 9 w 52"/>
                  <a:gd name="T13" fmla="*/ 8 h 30"/>
                  <a:gd name="T14" fmla="*/ 8 w 52"/>
                  <a:gd name="T15" fmla="*/ 7 h 30"/>
                  <a:gd name="T16" fmla="*/ 7 w 52"/>
                  <a:gd name="T17" fmla="*/ 9 h 30"/>
                  <a:gd name="T18" fmla="*/ 4 w 52"/>
                  <a:gd name="T19" fmla="*/ 11 h 30"/>
                  <a:gd name="T20" fmla="*/ 3 w 52"/>
                  <a:gd name="T21" fmla="*/ 14 h 30"/>
                  <a:gd name="T22" fmla="*/ 1 w 52"/>
                  <a:gd name="T23" fmla="*/ 18 h 30"/>
                  <a:gd name="T24" fmla="*/ 0 w 52"/>
                  <a:gd name="T25" fmla="*/ 20 h 30"/>
                  <a:gd name="T26" fmla="*/ 2 w 52"/>
                  <a:gd name="T27" fmla="*/ 23 h 30"/>
                  <a:gd name="T28" fmla="*/ 2 w 52"/>
                  <a:gd name="T29" fmla="*/ 23 h 30"/>
                  <a:gd name="T30" fmla="*/ 9 w 52"/>
                  <a:gd name="T31" fmla="*/ 28 h 30"/>
                  <a:gd name="T32" fmla="*/ 17 w 52"/>
                  <a:gd name="T33" fmla="*/ 30 h 30"/>
                  <a:gd name="T34" fmla="*/ 28 w 52"/>
                  <a:gd name="T35" fmla="*/ 26 h 30"/>
                  <a:gd name="T36" fmla="*/ 31 w 52"/>
                  <a:gd name="T37" fmla="*/ 27 h 30"/>
                  <a:gd name="T38" fmla="*/ 34 w 52"/>
                  <a:gd name="T39" fmla="*/ 28 h 30"/>
                  <a:gd name="T40" fmla="*/ 38 w 52"/>
                  <a:gd name="T41" fmla="*/ 24 h 30"/>
                  <a:gd name="T42" fmla="*/ 46 w 52"/>
                  <a:gd name="T43" fmla="*/ 12 h 30"/>
                  <a:gd name="T44" fmla="*/ 51 w 52"/>
                  <a:gd name="T45" fmla="*/ 9 h 30"/>
                  <a:gd name="T46" fmla="*/ 51 w 52"/>
                  <a:gd name="T47" fmla="*/ 6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2" h="30">
                    <a:moveTo>
                      <a:pt x="51" y="6"/>
                    </a:moveTo>
                    <a:cubicBezTo>
                      <a:pt x="50" y="6"/>
                      <a:pt x="49" y="5"/>
                      <a:pt x="49" y="5"/>
                    </a:cubicBezTo>
                    <a:cubicBezTo>
                      <a:pt x="46" y="4"/>
                      <a:pt x="44" y="4"/>
                      <a:pt x="44" y="3"/>
                    </a:cubicBezTo>
                    <a:cubicBezTo>
                      <a:pt x="42" y="2"/>
                      <a:pt x="37" y="1"/>
                      <a:pt x="36" y="1"/>
                    </a:cubicBezTo>
                    <a:cubicBezTo>
                      <a:pt x="35" y="0"/>
                      <a:pt x="30" y="5"/>
                      <a:pt x="29" y="5"/>
                    </a:cubicBezTo>
                    <a:cubicBezTo>
                      <a:pt x="27" y="5"/>
                      <a:pt x="20" y="6"/>
                      <a:pt x="20" y="8"/>
                    </a:cubicBezTo>
                    <a:cubicBezTo>
                      <a:pt x="20" y="10"/>
                      <a:pt x="12" y="10"/>
                      <a:pt x="9" y="8"/>
                    </a:cubicBezTo>
                    <a:cubicBezTo>
                      <a:pt x="9" y="8"/>
                      <a:pt x="9" y="7"/>
                      <a:pt x="8" y="7"/>
                    </a:cubicBezTo>
                    <a:cubicBezTo>
                      <a:pt x="8" y="7"/>
                      <a:pt x="7" y="8"/>
                      <a:pt x="7" y="9"/>
                    </a:cubicBezTo>
                    <a:cubicBezTo>
                      <a:pt x="7" y="11"/>
                      <a:pt x="5" y="11"/>
                      <a:pt x="4" y="11"/>
                    </a:cubicBezTo>
                    <a:cubicBezTo>
                      <a:pt x="2" y="11"/>
                      <a:pt x="4" y="13"/>
                      <a:pt x="3" y="14"/>
                    </a:cubicBezTo>
                    <a:cubicBezTo>
                      <a:pt x="2" y="15"/>
                      <a:pt x="3" y="18"/>
                      <a:pt x="1" y="18"/>
                    </a:cubicBezTo>
                    <a:cubicBezTo>
                      <a:pt x="1" y="18"/>
                      <a:pt x="0" y="19"/>
                      <a:pt x="0" y="20"/>
                    </a:cubicBezTo>
                    <a:cubicBezTo>
                      <a:pt x="1" y="20"/>
                      <a:pt x="2" y="23"/>
                      <a:pt x="2" y="23"/>
                    </a:cubicBezTo>
                    <a:cubicBezTo>
                      <a:pt x="2" y="23"/>
                      <a:pt x="2" y="23"/>
                      <a:pt x="2" y="23"/>
                    </a:cubicBezTo>
                    <a:cubicBezTo>
                      <a:pt x="4" y="24"/>
                      <a:pt x="7" y="26"/>
                      <a:pt x="9" y="28"/>
                    </a:cubicBezTo>
                    <a:cubicBezTo>
                      <a:pt x="10" y="30"/>
                      <a:pt x="15" y="30"/>
                      <a:pt x="17" y="30"/>
                    </a:cubicBezTo>
                    <a:cubicBezTo>
                      <a:pt x="19" y="29"/>
                      <a:pt x="28" y="26"/>
                      <a:pt x="28" y="26"/>
                    </a:cubicBezTo>
                    <a:cubicBezTo>
                      <a:pt x="28" y="26"/>
                      <a:pt x="30" y="27"/>
                      <a:pt x="31" y="27"/>
                    </a:cubicBezTo>
                    <a:cubicBezTo>
                      <a:pt x="32" y="27"/>
                      <a:pt x="33" y="27"/>
                      <a:pt x="34" y="28"/>
                    </a:cubicBezTo>
                    <a:cubicBezTo>
                      <a:pt x="34" y="27"/>
                      <a:pt x="36" y="26"/>
                      <a:pt x="38" y="24"/>
                    </a:cubicBezTo>
                    <a:cubicBezTo>
                      <a:pt x="41" y="22"/>
                      <a:pt x="45" y="13"/>
                      <a:pt x="46" y="12"/>
                    </a:cubicBezTo>
                    <a:cubicBezTo>
                      <a:pt x="47" y="11"/>
                      <a:pt x="50" y="10"/>
                      <a:pt x="51" y="9"/>
                    </a:cubicBezTo>
                    <a:cubicBezTo>
                      <a:pt x="52" y="8"/>
                      <a:pt x="52" y="7"/>
                      <a:pt x="51" y="6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7" name="Freeform 73">
                <a:extLst>
                  <a:ext uri="{FF2B5EF4-FFF2-40B4-BE49-F238E27FC236}">
                    <a16:creationId xmlns:a16="http://schemas.microsoft.com/office/drawing/2014/main" id="{18E9FD24-7C83-47C3-A65F-2DC8B85917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9329" y="3039593"/>
                <a:ext cx="116690" cy="60227"/>
              </a:xfrm>
              <a:custGeom>
                <a:avLst/>
                <a:gdLst>
                  <a:gd name="T0" fmla="*/ 49 w 51"/>
                  <a:gd name="T1" fmla="*/ 12 h 26"/>
                  <a:gd name="T2" fmla="*/ 43 w 51"/>
                  <a:gd name="T3" fmla="*/ 10 h 26"/>
                  <a:gd name="T4" fmla="*/ 41 w 51"/>
                  <a:gd name="T5" fmla="*/ 7 h 26"/>
                  <a:gd name="T6" fmla="*/ 37 w 51"/>
                  <a:gd name="T7" fmla="*/ 8 h 26"/>
                  <a:gd name="T8" fmla="*/ 32 w 51"/>
                  <a:gd name="T9" fmla="*/ 6 h 26"/>
                  <a:gd name="T10" fmla="*/ 27 w 51"/>
                  <a:gd name="T11" fmla="*/ 3 h 26"/>
                  <a:gd name="T12" fmla="*/ 22 w 51"/>
                  <a:gd name="T13" fmla="*/ 0 h 26"/>
                  <a:gd name="T14" fmla="*/ 22 w 51"/>
                  <a:gd name="T15" fmla="*/ 1 h 26"/>
                  <a:gd name="T16" fmla="*/ 18 w 51"/>
                  <a:gd name="T17" fmla="*/ 1 h 26"/>
                  <a:gd name="T18" fmla="*/ 11 w 51"/>
                  <a:gd name="T19" fmla="*/ 4 h 26"/>
                  <a:gd name="T20" fmla="*/ 3 w 51"/>
                  <a:gd name="T21" fmla="*/ 7 h 26"/>
                  <a:gd name="T22" fmla="*/ 3 w 51"/>
                  <a:gd name="T23" fmla="*/ 12 h 26"/>
                  <a:gd name="T24" fmla="*/ 6 w 51"/>
                  <a:gd name="T25" fmla="*/ 18 h 26"/>
                  <a:gd name="T26" fmla="*/ 14 w 51"/>
                  <a:gd name="T27" fmla="*/ 25 h 26"/>
                  <a:gd name="T28" fmla="*/ 14 w 51"/>
                  <a:gd name="T29" fmla="*/ 25 h 26"/>
                  <a:gd name="T30" fmla="*/ 21 w 51"/>
                  <a:gd name="T31" fmla="*/ 25 h 26"/>
                  <a:gd name="T32" fmla="*/ 23 w 51"/>
                  <a:gd name="T33" fmla="*/ 21 h 26"/>
                  <a:gd name="T34" fmla="*/ 30 w 51"/>
                  <a:gd name="T35" fmla="*/ 23 h 26"/>
                  <a:gd name="T36" fmla="*/ 36 w 51"/>
                  <a:gd name="T37" fmla="*/ 24 h 26"/>
                  <a:gd name="T38" fmla="*/ 37 w 51"/>
                  <a:gd name="T39" fmla="*/ 26 h 26"/>
                  <a:gd name="T40" fmla="*/ 39 w 51"/>
                  <a:gd name="T41" fmla="*/ 23 h 26"/>
                  <a:gd name="T42" fmla="*/ 47 w 51"/>
                  <a:gd name="T43" fmla="*/ 19 h 26"/>
                  <a:gd name="T44" fmla="*/ 51 w 51"/>
                  <a:gd name="T45" fmla="*/ 16 h 26"/>
                  <a:gd name="T46" fmla="*/ 49 w 51"/>
                  <a:gd name="T47" fmla="*/ 12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1" h="26">
                    <a:moveTo>
                      <a:pt x="49" y="12"/>
                    </a:moveTo>
                    <a:cubicBezTo>
                      <a:pt x="47" y="11"/>
                      <a:pt x="44" y="11"/>
                      <a:pt x="43" y="10"/>
                    </a:cubicBezTo>
                    <a:cubicBezTo>
                      <a:pt x="43" y="9"/>
                      <a:pt x="43" y="7"/>
                      <a:pt x="41" y="7"/>
                    </a:cubicBezTo>
                    <a:cubicBezTo>
                      <a:pt x="40" y="7"/>
                      <a:pt x="37" y="6"/>
                      <a:pt x="37" y="8"/>
                    </a:cubicBezTo>
                    <a:cubicBezTo>
                      <a:pt x="36" y="10"/>
                      <a:pt x="33" y="8"/>
                      <a:pt x="32" y="6"/>
                    </a:cubicBezTo>
                    <a:cubicBezTo>
                      <a:pt x="32" y="5"/>
                      <a:pt x="31" y="4"/>
                      <a:pt x="27" y="3"/>
                    </a:cubicBezTo>
                    <a:cubicBezTo>
                      <a:pt x="26" y="2"/>
                      <a:pt x="24" y="1"/>
                      <a:pt x="22" y="0"/>
                    </a:cubicBezTo>
                    <a:cubicBezTo>
                      <a:pt x="22" y="0"/>
                      <a:pt x="22" y="1"/>
                      <a:pt x="22" y="1"/>
                    </a:cubicBezTo>
                    <a:cubicBezTo>
                      <a:pt x="21" y="2"/>
                      <a:pt x="19" y="0"/>
                      <a:pt x="18" y="1"/>
                    </a:cubicBezTo>
                    <a:cubicBezTo>
                      <a:pt x="17" y="2"/>
                      <a:pt x="13" y="2"/>
                      <a:pt x="11" y="4"/>
                    </a:cubicBezTo>
                    <a:cubicBezTo>
                      <a:pt x="9" y="6"/>
                      <a:pt x="5" y="7"/>
                      <a:pt x="3" y="7"/>
                    </a:cubicBezTo>
                    <a:cubicBezTo>
                      <a:pt x="0" y="8"/>
                      <a:pt x="2" y="10"/>
                      <a:pt x="3" y="12"/>
                    </a:cubicBezTo>
                    <a:cubicBezTo>
                      <a:pt x="4" y="13"/>
                      <a:pt x="4" y="17"/>
                      <a:pt x="6" y="18"/>
                    </a:cubicBezTo>
                    <a:cubicBezTo>
                      <a:pt x="8" y="20"/>
                      <a:pt x="14" y="23"/>
                      <a:pt x="14" y="25"/>
                    </a:cubicBezTo>
                    <a:cubicBezTo>
                      <a:pt x="14" y="25"/>
                      <a:pt x="14" y="25"/>
                      <a:pt x="14" y="25"/>
                    </a:cubicBezTo>
                    <a:cubicBezTo>
                      <a:pt x="17" y="26"/>
                      <a:pt x="21" y="26"/>
                      <a:pt x="21" y="25"/>
                    </a:cubicBezTo>
                    <a:cubicBezTo>
                      <a:pt x="22" y="23"/>
                      <a:pt x="23" y="21"/>
                      <a:pt x="23" y="21"/>
                    </a:cubicBezTo>
                    <a:cubicBezTo>
                      <a:pt x="23" y="21"/>
                      <a:pt x="28" y="21"/>
                      <a:pt x="30" y="23"/>
                    </a:cubicBezTo>
                    <a:cubicBezTo>
                      <a:pt x="32" y="26"/>
                      <a:pt x="36" y="24"/>
                      <a:pt x="36" y="24"/>
                    </a:cubicBezTo>
                    <a:cubicBezTo>
                      <a:pt x="36" y="24"/>
                      <a:pt x="36" y="25"/>
                      <a:pt x="37" y="26"/>
                    </a:cubicBezTo>
                    <a:cubicBezTo>
                      <a:pt x="37" y="24"/>
                      <a:pt x="38" y="23"/>
                      <a:pt x="39" y="23"/>
                    </a:cubicBezTo>
                    <a:cubicBezTo>
                      <a:pt x="41" y="23"/>
                      <a:pt x="44" y="23"/>
                      <a:pt x="47" y="19"/>
                    </a:cubicBezTo>
                    <a:cubicBezTo>
                      <a:pt x="48" y="18"/>
                      <a:pt x="50" y="16"/>
                      <a:pt x="51" y="16"/>
                    </a:cubicBezTo>
                    <a:cubicBezTo>
                      <a:pt x="50" y="14"/>
                      <a:pt x="50" y="12"/>
                      <a:pt x="49" y="1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8" name="Freeform 74">
                <a:extLst>
                  <a:ext uri="{FF2B5EF4-FFF2-40B4-BE49-F238E27FC236}">
                    <a16:creationId xmlns:a16="http://schemas.microsoft.com/office/drawing/2014/main" id="{D19AC202-5831-42E3-826F-29E56CB1D6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34651" y="3074725"/>
                <a:ext cx="102888" cy="43915"/>
              </a:xfrm>
              <a:custGeom>
                <a:avLst/>
                <a:gdLst>
                  <a:gd name="T0" fmla="*/ 33 w 45"/>
                  <a:gd name="T1" fmla="*/ 2 h 19"/>
                  <a:gd name="T2" fmla="*/ 27 w 45"/>
                  <a:gd name="T3" fmla="*/ 2 h 19"/>
                  <a:gd name="T4" fmla="*/ 20 w 45"/>
                  <a:gd name="T5" fmla="*/ 1 h 19"/>
                  <a:gd name="T6" fmla="*/ 15 w 45"/>
                  <a:gd name="T7" fmla="*/ 1 h 19"/>
                  <a:gd name="T8" fmla="*/ 14 w 45"/>
                  <a:gd name="T9" fmla="*/ 1 h 19"/>
                  <a:gd name="T10" fmla="*/ 10 w 45"/>
                  <a:gd name="T11" fmla="*/ 4 h 19"/>
                  <a:gd name="T12" fmla="*/ 2 w 45"/>
                  <a:gd name="T13" fmla="*/ 8 h 19"/>
                  <a:gd name="T14" fmla="*/ 0 w 45"/>
                  <a:gd name="T15" fmla="*/ 11 h 19"/>
                  <a:gd name="T16" fmla="*/ 3 w 45"/>
                  <a:gd name="T17" fmla="*/ 17 h 19"/>
                  <a:gd name="T18" fmla="*/ 14 w 45"/>
                  <a:gd name="T19" fmla="*/ 17 h 19"/>
                  <a:gd name="T20" fmla="*/ 23 w 45"/>
                  <a:gd name="T21" fmla="*/ 14 h 19"/>
                  <a:gd name="T22" fmla="*/ 30 w 45"/>
                  <a:gd name="T23" fmla="*/ 10 h 19"/>
                  <a:gd name="T24" fmla="*/ 38 w 45"/>
                  <a:gd name="T25" fmla="*/ 12 h 19"/>
                  <a:gd name="T26" fmla="*/ 43 w 45"/>
                  <a:gd name="T27" fmla="*/ 14 h 19"/>
                  <a:gd name="T28" fmla="*/ 41 w 45"/>
                  <a:gd name="T29" fmla="*/ 11 h 19"/>
                  <a:gd name="T30" fmla="*/ 45 w 45"/>
                  <a:gd name="T31" fmla="*/ 5 h 19"/>
                  <a:gd name="T32" fmla="*/ 45 w 45"/>
                  <a:gd name="T33" fmla="*/ 5 h 19"/>
                  <a:gd name="T34" fmla="*/ 40 w 45"/>
                  <a:gd name="T35" fmla="*/ 4 h 19"/>
                  <a:gd name="T36" fmla="*/ 33 w 45"/>
                  <a:gd name="T37" fmla="*/ 2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5" h="19">
                    <a:moveTo>
                      <a:pt x="33" y="2"/>
                    </a:moveTo>
                    <a:cubicBezTo>
                      <a:pt x="30" y="3"/>
                      <a:pt x="29" y="1"/>
                      <a:pt x="27" y="2"/>
                    </a:cubicBezTo>
                    <a:cubicBezTo>
                      <a:pt x="25" y="3"/>
                      <a:pt x="21" y="2"/>
                      <a:pt x="20" y="1"/>
                    </a:cubicBezTo>
                    <a:cubicBezTo>
                      <a:pt x="19" y="0"/>
                      <a:pt x="17" y="3"/>
                      <a:pt x="15" y="1"/>
                    </a:cubicBezTo>
                    <a:cubicBezTo>
                      <a:pt x="15" y="1"/>
                      <a:pt x="15" y="1"/>
                      <a:pt x="14" y="1"/>
                    </a:cubicBezTo>
                    <a:cubicBezTo>
                      <a:pt x="13" y="1"/>
                      <a:pt x="11" y="3"/>
                      <a:pt x="10" y="4"/>
                    </a:cubicBezTo>
                    <a:cubicBezTo>
                      <a:pt x="7" y="8"/>
                      <a:pt x="4" y="8"/>
                      <a:pt x="2" y="8"/>
                    </a:cubicBezTo>
                    <a:cubicBezTo>
                      <a:pt x="1" y="8"/>
                      <a:pt x="0" y="9"/>
                      <a:pt x="0" y="11"/>
                    </a:cubicBezTo>
                    <a:cubicBezTo>
                      <a:pt x="0" y="13"/>
                      <a:pt x="2" y="16"/>
                      <a:pt x="3" y="17"/>
                    </a:cubicBezTo>
                    <a:cubicBezTo>
                      <a:pt x="6" y="19"/>
                      <a:pt x="14" y="19"/>
                      <a:pt x="14" y="17"/>
                    </a:cubicBezTo>
                    <a:cubicBezTo>
                      <a:pt x="14" y="15"/>
                      <a:pt x="21" y="14"/>
                      <a:pt x="23" y="14"/>
                    </a:cubicBezTo>
                    <a:cubicBezTo>
                      <a:pt x="24" y="14"/>
                      <a:pt x="29" y="9"/>
                      <a:pt x="30" y="10"/>
                    </a:cubicBezTo>
                    <a:cubicBezTo>
                      <a:pt x="31" y="10"/>
                      <a:pt x="36" y="11"/>
                      <a:pt x="38" y="12"/>
                    </a:cubicBezTo>
                    <a:cubicBezTo>
                      <a:pt x="38" y="13"/>
                      <a:pt x="40" y="13"/>
                      <a:pt x="43" y="14"/>
                    </a:cubicBezTo>
                    <a:cubicBezTo>
                      <a:pt x="42" y="13"/>
                      <a:pt x="41" y="12"/>
                      <a:pt x="41" y="11"/>
                    </a:cubicBezTo>
                    <a:cubicBezTo>
                      <a:pt x="41" y="10"/>
                      <a:pt x="44" y="6"/>
                      <a:pt x="45" y="5"/>
                    </a:cubicBezTo>
                    <a:cubicBezTo>
                      <a:pt x="45" y="5"/>
                      <a:pt x="45" y="5"/>
                      <a:pt x="45" y="5"/>
                    </a:cubicBezTo>
                    <a:cubicBezTo>
                      <a:pt x="43" y="5"/>
                      <a:pt x="40" y="4"/>
                      <a:pt x="40" y="4"/>
                    </a:cubicBezTo>
                    <a:cubicBezTo>
                      <a:pt x="39" y="3"/>
                      <a:pt x="36" y="2"/>
                      <a:pt x="33" y="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9" name="Freeform 75">
                <a:extLst>
                  <a:ext uri="{FF2B5EF4-FFF2-40B4-BE49-F238E27FC236}">
                    <a16:creationId xmlns:a16="http://schemas.microsoft.com/office/drawing/2014/main" id="{42B78536-ABFA-4078-B08C-79001FC35D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40289" y="3249132"/>
                <a:ext cx="70265" cy="115435"/>
              </a:xfrm>
              <a:custGeom>
                <a:avLst/>
                <a:gdLst>
                  <a:gd name="T0" fmla="*/ 22 w 30"/>
                  <a:gd name="T1" fmla="*/ 40 h 50"/>
                  <a:gd name="T2" fmla="*/ 20 w 30"/>
                  <a:gd name="T3" fmla="*/ 36 h 50"/>
                  <a:gd name="T4" fmla="*/ 22 w 30"/>
                  <a:gd name="T5" fmla="*/ 32 h 50"/>
                  <a:gd name="T6" fmla="*/ 20 w 30"/>
                  <a:gd name="T7" fmla="*/ 28 h 50"/>
                  <a:gd name="T8" fmla="*/ 22 w 30"/>
                  <a:gd name="T9" fmla="*/ 24 h 50"/>
                  <a:gd name="T10" fmla="*/ 23 w 30"/>
                  <a:gd name="T11" fmla="*/ 19 h 50"/>
                  <a:gd name="T12" fmla="*/ 23 w 30"/>
                  <a:gd name="T13" fmla="*/ 11 h 50"/>
                  <a:gd name="T14" fmla="*/ 28 w 30"/>
                  <a:gd name="T15" fmla="*/ 7 h 50"/>
                  <a:gd name="T16" fmla="*/ 26 w 30"/>
                  <a:gd name="T17" fmla="*/ 4 h 50"/>
                  <a:gd name="T18" fmla="*/ 21 w 30"/>
                  <a:gd name="T19" fmla="*/ 3 h 50"/>
                  <a:gd name="T20" fmla="*/ 18 w 30"/>
                  <a:gd name="T21" fmla="*/ 3 h 50"/>
                  <a:gd name="T22" fmla="*/ 13 w 30"/>
                  <a:gd name="T23" fmla="*/ 2 h 50"/>
                  <a:gd name="T24" fmla="*/ 10 w 30"/>
                  <a:gd name="T25" fmla="*/ 1 h 50"/>
                  <a:gd name="T26" fmla="*/ 8 w 30"/>
                  <a:gd name="T27" fmla="*/ 2 h 50"/>
                  <a:gd name="T28" fmla="*/ 8 w 30"/>
                  <a:gd name="T29" fmla="*/ 8 h 50"/>
                  <a:gd name="T30" fmla="*/ 3 w 30"/>
                  <a:gd name="T31" fmla="*/ 27 h 50"/>
                  <a:gd name="T32" fmla="*/ 6 w 30"/>
                  <a:gd name="T33" fmla="*/ 34 h 50"/>
                  <a:gd name="T34" fmla="*/ 7 w 30"/>
                  <a:gd name="T35" fmla="*/ 48 h 50"/>
                  <a:gd name="T36" fmla="*/ 13 w 30"/>
                  <a:gd name="T37" fmla="*/ 49 h 50"/>
                  <a:gd name="T38" fmla="*/ 20 w 30"/>
                  <a:gd name="T39" fmla="*/ 48 h 50"/>
                  <a:gd name="T40" fmla="*/ 19 w 30"/>
                  <a:gd name="T41" fmla="*/ 45 h 50"/>
                  <a:gd name="T42" fmla="*/ 22 w 30"/>
                  <a:gd name="T43" fmla="*/ 4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0" h="50">
                    <a:moveTo>
                      <a:pt x="22" y="40"/>
                    </a:moveTo>
                    <a:cubicBezTo>
                      <a:pt x="25" y="40"/>
                      <a:pt x="21" y="37"/>
                      <a:pt x="20" y="36"/>
                    </a:cubicBezTo>
                    <a:cubicBezTo>
                      <a:pt x="19" y="35"/>
                      <a:pt x="20" y="32"/>
                      <a:pt x="22" y="32"/>
                    </a:cubicBezTo>
                    <a:cubicBezTo>
                      <a:pt x="24" y="32"/>
                      <a:pt x="22" y="30"/>
                      <a:pt x="20" y="28"/>
                    </a:cubicBezTo>
                    <a:cubicBezTo>
                      <a:pt x="18" y="25"/>
                      <a:pt x="20" y="24"/>
                      <a:pt x="22" y="24"/>
                    </a:cubicBezTo>
                    <a:cubicBezTo>
                      <a:pt x="24" y="24"/>
                      <a:pt x="21" y="21"/>
                      <a:pt x="23" y="19"/>
                    </a:cubicBezTo>
                    <a:cubicBezTo>
                      <a:pt x="25" y="17"/>
                      <a:pt x="23" y="13"/>
                      <a:pt x="23" y="11"/>
                    </a:cubicBezTo>
                    <a:cubicBezTo>
                      <a:pt x="23" y="10"/>
                      <a:pt x="26" y="9"/>
                      <a:pt x="28" y="7"/>
                    </a:cubicBezTo>
                    <a:cubicBezTo>
                      <a:pt x="30" y="4"/>
                      <a:pt x="26" y="5"/>
                      <a:pt x="26" y="4"/>
                    </a:cubicBezTo>
                    <a:cubicBezTo>
                      <a:pt x="26" y="2"/>
                      <a:pt x="23" y="1"/>
                      <a:pt x="21" y="3"/>
                    </a:cubicBezTo>
                    <a:cubicBezTo>
                      <a:pt x="19" y="4"/>
                      <a:pt x="20" y="3"/>
                      <a:pt x="18" y="3"/>
                    </a:cubicBezTo>
                    <a:cubicBezTo>
                      <a:pt x="16" y="3"/>
                      <a:pt x="13" y="3"/>
                      <a:pt x="13" y="2"/>
                    </a:cubicBezTo>
                    <a:cubicBezTo>
                      <a:pt x="13" y="0"/>
                      <a:pt x="12" y="0"/>
                      <a:pt x="10" y="1"/>
                    </a:cubicBezTo>
                    <a:cubicBezTo>
                      <a:pt x="10" y="2"/>
                      <a:pt x="9" y="2"/>
                      <a:pt x="8" y="2"/>
                    </a:cubicBezTo>
                    <a:cubicBezTo>
                      <a:pt x="8" y="4"/>
                      <a:pt x="7" y="7"/>
                      <a:pt x="8" y="8"/>
                    </a:cubicBezTo>
                    <a:cubicBezTo>
                      <a:pt x="10" y="10"/>
                      <a:pt x="6" y="23"/>
                      <a:pt x="3" y="27"/>
                    </a:cubicBezTo>
                    <a:cubicBezTo>
                      <a:pt x="0" y="30"/>
                      <a:pt x="3" y="31"/>
                      <a:pt x="6" y="34"/>
                    </a:cubicBezTo>
                    <a:cubicBezTo>
                      <a:pt x="9" y="36"/>
                      <a:pt x="7" y="45"/>
                      <a:pt x="7" y="48"/>
                    </a:cubicBezTo>
                    <a:cubicBezTo>
                      <a:pt x="7" y="50"/>
                      <a:pt x="10" y="49"/>
                      <a:pt x="13" y="49"/>
                    </a:cubicBezTo>
                    <a:cubicBezTo>
                      <a:pt x="15" y="49"/>
                      <a:pt x="18" y="48"/>
                      <a:pt x="20" y="48"/>
                    </a:cubicBezTo>
                    <a:cubicBezTo>
                      <a:pt x="19" y="47"/>
                      <a:pt x="19" y="46"/>
                      <a:pt x="19" y="45"/>
                    </a:cubicBezTo>
                    <a:cubicBezTo>
                      <a:pt x="19" y="43"/>
                      <a:pt x="19" y="41"/>
                      <a:pt x="22" y="4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0" name="Freeform 76">
                <a:extLst>
                  <a:ext uri="{FF2B5EF4-FFF2-40B4-BE49-F238E27FC236}">
                    <a16:creationId xmlns:a16="http://schemas.microsoft.com/office/drawing/2014/main" id="{57849B8D-7CA7-46AA-87D3-E0B72CCB79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82451" y="2979366"/>
                <a:ext cx="76538" cy="65246"/>
              </a:xfrm>
              <a:custGeom>
                <a:avLst/>
                <a:gdLst>
                  <a:gd name="T0" fmla="*/ 10 w 33"/>
                  <a:gd name="T1" fmla="*/ 22 h 28"/>
                  <a:gd name="T2" fmla="*/ 16 w 33"/>
                  <a:gd name="T3" fmla="*/ 23 h 28"/>
                  <a:gd name="T4" fmla="*/ 22 w 33"/>
                  <a:gd name="T5" fmla="*/ 27 h 28"/>
                  <a:gd name="T6" fmla="*/ 23 w 33"/>
                  <a:gd name="T7" fmla="*/ 28 h 28"/>
                  <a:gd name="T8" fmla="*/ 24 w 33"/>
                  <a:gd name="T9" fmla="*/ 22 h 28"/>
                  <a:gd name="T10" fmla="*/ 25 w 33"/>
                  <a:gd name="T11" fmla="*/ 18 h 28"/>
                  <a:gd name="T12" fmla="*/ 29 w 33"/>
                  <a:gd name="T13" fmla="*/ 16 h 28"/>
                  <a:gd name="T14" fmla="*/ 31 w 33"/>
                  <a:gd name="T15" fmla="*/ 13 h 28"/>
                  <a:gd name="T16" fmla="*/ 28 w 33"/>
                  <a:gd name="T17" fmla="*/ 9 h 28"/>
                  <a:gd name="T18" fmla="*/ 32 w 33"/>
                  <a:gd name="T19" fmla="*/ 5 h 28"/>
                  <a:gd name="T20" fmla="*/ 32 w 33"/>
                  <a:gd name="T21" fmla="*/ 0 h 28"/>
                  <a:gd name="T22" fmla="*/ 30 w 33"/>
                  <a:gd name="T23" fmla="*/ 1 h 28"/>
                  <a:gd name="T24" fmla="*/ 22 w 33"/>
                  <a:gd name="T25" fmla="*/ 1 h 28"/>
                  <a:gd name="T26" fmla="*/ 19 w 33"/>
                  <a:gd name="T27" fmla="*/ 7 h 28"/>
                  <a:gd name="T28" fmla="*/ 15 w 33"/>
                  <a:gd name="T29" fmla="*/ 7 h 28"/>
                  <a:gd name="T30" fmla="*/ 11 w 33"/>
                  <a:gd name="T31" fmla="*/ 9 h 28"/>
                  <a:gd name="T32" fmla="*/ 8 w 33"/>
                  <a:gd name="T33" fmla="*/ 15 h 28"/>
                  <a:gd name="T34" fmla="*/ 1 w 33"/>
                  <a:gd name="T35" fmla="*/ 23 h 28"/>
                  <a:gd name="T36" fmla="*/ 0 w 33"/>
                  <a:gd name="T37" fmla="*/ 23 h 28"/>
                  <a:gd name="T38" fmla="*/ 3 w 33"/>
                  <a:gd name="T39" fmla="*/ 24 h 28"/>
                  <a:gd name="T40" fmla="*/ 10 w 33"/>
                  <a:gd name="T41" fmla="*/ 22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3" h="28">
                    <a:moveTo>
                      <a:pt x="10" y="22"/>
                    </a:moveTo>
                    <a:cubicBezTo>
                      <a:pt x="12" y="20"/>
                      <a:pt x="14" y="21"/>
                      <a:pt x="16" y="23"/>
                    </a:cubicBezTo>
                    <a:cubicBezTo>
                      <a:pt x="17" y="24"/>
                      <a:pt x="19" y="24"/>
                      <a:pt x="22" y="27"/>
                    </a:cubicBezTo>
                    <a:cubicBezTo>
                      <a:pt x="22" y="27"/>
                      <a:pt x="23" y="28"/>
                      <a:pt x="23" y="28"/>
                    </a:cubicBezTo>
                    <a:cubicBezTo>
                      <a:pt x="24" y="27"/>
                      <a:pt x="24" y="24"/>
                      <a:pt x="24" y="22"/>
                    </a:cubicBezTo>
                    <a:cubicBezTo>
                      <a:pt x="25" y="20"/>
                      <a:pt x="24" y="18"/>
                      <a:pt x="25" y="18"/>
                    </a:cubicBezTo>
                    <a:cubicBezTo>
                      <a:pt x="26" y="18"/>
                      <a:pt x="29" y="18"/>
                      <a:pt x="29" y="16"/>
                    </a:cubicBezTo>
                    <a:cubicBezTo>
                      <a:pt x="29" y="14"/>
                      <a:pt x="30" y="15"/>
                      <a:pt x="31" y="13"/>
                    </a:cubicBezTo>
                    <a:cubicBezTo>
                      <a:pt x="32" y="12"/>
                      <a:pt x="29" y="10"/>
                      <a:pt x="28" y="9"/>
                    </a:cubicBezTo>
                    <a:cubicBezTo>
                      <a:pt x="28" y="8"/>
                      <a:pt x="30" y="8"/>
                      <a:pt x="32" y="5"/>
                    </a:cubicBezTo>
                    <a:cubicBezTo>
                      <a:pt x="33" y="4"/>
                      <a:pt x="33" y="2"/>
                      <a:pt x="32" y="0"/>
                    </a:cubicBezTo>
                    <a:cubicBezTo>
                      <a:pt x="32" y="1"/>
                      <a:pt x="31" y="1"/>
                      <a:pt x="30" y="1"/>
                    </a:cubicBezTo>
                    <a:cubicBezTo>
                      <a:pt x="28" y="0"/>
                      <a:pt x="26" y="0"/>
                      <a:pt x="22" y="1"/>
                    </a:cubicBezTo>
                    <a:cubicBezTo>
                      <a:pt x="18" y="2"/>
                      <a:pt x="17" y="5"/>
                      <a:pt x="19" y="7"/>
                    </a:cubicBezTo>
                    <a:cubicBezTo>
                      <a:pt x="20" y="8"/>
                      <a:pt x="15" y="9"/>
                      <a:pt x="15" y="7"/>
                    </a:cubicBezTo>
                    <a:cubicBezTo>
                      <a:pt x="15" y="5"/>
                      <a:pt x="11" y="6"/>
                      <a:pt x="11" y="9"/>
                    </a:cubicBezTo>
                    <a:cubicBezTo>
                      <a:pt x="11" y="11"/>
                      <a:pt x="7" y="12"/>
                      <a:pt x="8" y="15"/>
                    </a:cubicBezTo>
                    <a:cubicBezTo>
                      <a:pt x="8" y="18"/>
                      <a:pt x="4" y="21"/>
                      <a:pt x="1" y="23"/>
                    </a:cubicBezTo>
                    <a:cubicBezTo>
                      <a:pt x="1" y="23"/>
                      <a:pt x="0" y="23"/>
                      <a:pt x="0" y="23"/>
                    </a:cubicBezTo>
                    <a:cubicBezTo>
                      <a:pt x="1" y="24"/>
                      <a:pt x="2" y="24"/>
                      <a:pt x="3" y="24"/>
                    </a:cubicBezTo>
                    <a:cubicBezTo>
                      <a:pt x="5" y="24"/>
                      <a:pt x="9" y="23"/>
                      <a:pt x="10" y="2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1" name="Freeform 77">
                <a:extLst>
                  <a:ext uri="{FF2B5EF4-FFF2-40B4-BE49-F238E27FC236}">
                    <a16:creationId xmlns:a16="http://schemas.microsoft.com/office/drawing/2014/main" id="{87907663-2A2F-4EC2-BC1B-3C8C76EFE8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1385" y="3063433"/>
                <a:ext cx="11293" cy="15057"/>
              </a:xfrm>
              <a:custGeom>
                <a:avLst/>
                <a:gdLst>
                  <a:gd name="T0" fmla="*/ 3 w 5"/>
                  <a:gd name="T1" fmla="*/ 0 h 7"/>
                  <a:gd name="T2" fmla="*/ 0 w 5"/>
                  <a:gd name="T3" fmla="*/ 7 h 7"/>
                  <a:gd name="T4" fmla="*/ 5 w 5"/>
                  <a:gd name="T5" fmla="*/ 7 h 7"/>
                  <a:gd name="T6" fmla="*/ 3 w 5"/>
                  <a:gd name="T7" fmla="*/ 1 h 7"/>
                  <a:gd name="T8" fmla="*/ 3 w 5"/>
                  <a:gd name="T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7">
                    <a:moveTo>
                      <a:pt x="3" y="0"/>
                    </a:moveTo>
                    <a:cubicBezTo>
                      <a:pt x="1" y="1"/>
                      <a:pt x="0" y="3"/>
                      <a:pt x="0" y="7"/>
                    </a:cubicBezTo>
                    <a:cubicBezTo>
                      <a:pt x="2" y="7"/>
                      <a:pt x="4" y="7"/>
                      <a:pt x="5" y="7"/>
                    </a:cubicBezTo>
                    <a:cubicBezTo>
                      <a:pt x="5" y="3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2" name="Freeform 78">
                <a:extLst>
                  <a:ext uri="{FF2B5EF4-FFF2-40B4-BE49-F238E27FC236}">
                    <a16:creationId xmlns:a16="http://schemas.microsoft.com/office/drawing/2014/main" id="{CDCADA37-44E8-42CD-8E1C-E80BD43A17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8649" y="3025791"/>
                <a:ext cx="74029" cy="52698"/>
              </a:xfrm>
              <a:custGeom>
                <a:avLst/>
                <a:gdLst>
                  <a:gd name="T0" fmla="*/ 2 w 32"/>
                  <a:gd name="T1" fmla="*/ 7 h 23"/>
                  <a:gd name="T2" fmla="*/ 4 w 32"/>
                  <a:gd name="T3" fmla="*/ 10 h 23"/>
                  <a:gd name="T4" fmla="*/ 8 w 32"/>
                  <a:gd name="T5" fmla="*/ 12 h 23"/>
                  <a:gd name="T6" fmla="*/ 13 w 32"/>
                  <a:gd name="T7" fmla="*/ 15 h 23"/>
                  <a:gd name="T8" fmla="*/ 16 w 32"/>
                  <a:gd name="T9" fmla="*/ 18 h 23"/>
                  <a:gd name="T10" fmla="*/ 19 w 32"/>
                  <a:gd name="T11" fmla="*/ 16 h 23"/>
                  <a:gd name="T12" fmla="*/ 22 w 32"/>
                  <a:gd name="T13" fmla="*/ 20 h 23"/>
                  <a:gd name="T14" fmla="*/ 26 w 32"/>
                  <a:gd name="T15" fmla="*/ 23 h 23"/>
                  <a:gd name="T16" fmla="*/ 27 w 32"/>
                  <a:gd name="T17" fmla="*/ 23 h 23"/>
                  <a:gd name="T18" fmla="*/ 30 w 32"/>
                  <a:gd name="T19" fmla="*/ 16 h 23"/>
                  <a:gd name="T20" fmla="*/ 31 w 32"/>
                  <a:gd name="T21" fmla="*/ 13 h 23"/>
                  <a:gd name="T22" fmla="*/ 29 w 32"/>
                  <a:gd name="T23" fmla="*/ 8 h 23"/>
                  <a:gd name="T24" fmla="*/ 29 w 32"/>
                  <a:gd name="T25" fmla="*/ 8 h 23"/>
                  <a:gd name="T26" fmla="*/ 28 w 32"/>
                  <a:gd name="T27" fmla="*/ 7 h 23"/>
                  <a:gd name="T28" fmla="*/ 22 w 32"/>
                  <a:gd name="T29" fmla="*/ 3 h 23"/>
                  <a:gd name="T30" fmla="*/ 16 w 32"/>
                  <a:gd name="T31" fmla="*/ 2 h 23"/>
                  <a:gd name="T32" fmla="*/ 9 w 32"/>
                  <a:gd name="T33" fmla="*/ 4 h 23"/>
                  <a:gd name="T34" fmla="*/ 6 w 32"/>
                  <a:gd name="T35" fmla="*/ 3 h 23"/>
                  <a:gd name="T36" fmla="*/ 0 w 32"/>
                  <a:gd name="T37" fmla="*/ 6 h 23"/>
                  <a:gd name="T38" fmla="*/ 2 w 32"/>
                  <a:gd name="T39" fmla="*/ 7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32" h="23">
                    <a:moveTo>
                      <a:pt x="2" y="7"/>
                    </a:moveTo>
                    <a:cubicBezTo>
                      <a:pt x="2" y="8"/>
                      <a:pt x="4" y="11"/>
                      <a:pt x="4" y="10"/>
                    </a:cubicBezTo>
                    <a:cubicBezTo>
                      <a:pt x="5" y="9"/>
                      <a:pt x="7" y="11"/>
                      <a:pt x="8" y="12"/>
                    </a:cubicBezTo>
                    <a:cubicBezTo>
                      <a:pt x="10" y="13"/>
                      <a:pt x="13" y="14"/>
                      <a:pt x="13" y="15"/>
                    </a:cubicBezTo>
                    <a:cubicBezTo>
                      <a:pt x="14" y="16"/>
                      <a:pt x="14" y="19"/>
                      <a:pt x="16" y="18"/>
                    </a:cubicBezTo>
                    <a:cubicBezTo>
                      <a:pt x="17" y="17"/>
                      <a:pt x="19" y="15"/>
                      <a:pt x="19" y="16"/>
                    </a:cubicBezTo>
                    <a:cubicBezTo>
                      <a:pt x="19" y="18"/>
                      <a:pt x="20" y="20"/>
                      <a:pt x="22" y="20"/>
                    </a:cubicBezTo>
                    <a:cubicBezTo>
                      <a:pt x="23" y="20"/>
                      <a:pt x="24" y="23"/>
                      <a:pt x="26" y="23"/>
                    </a:cubicBezTo>
                    <a:cubicBezTo>
                      <a:pt x="26" y="23"/>
                      <a:pt x="27" y="23"/>
                      <a:pt x="27" y="23"/>
                    </a:cubicBezTo>
                    <a:cubicBezTo>
                      <a:pt x="27" y="19"/>
                      <a:pt x="28" y="17"/>
                      <a:pt x="30" y="16"/>
                    </a:cubicBezTo>
                    <a:cubicBezTo>
                      <a:pt x="30" y="15"/>
                      <a:pt x="31" y="14"/>
                      <a:pt x="31" y="13"/>
                    </a:cubicBezTo>
                    <a:cubicBezTo>
                      <a:pt x="32" y="12"/>
                      <a:pt x="29" y="10"/>
                      <a:pt x="29" y="8"/>
                    </a:cubicBezTo>
                    <a:cubicBezTo>
                      <a:pt x="29" y="8"/>
                      <a:pt x="29" y="8"/>
                      <a:pt x="29" y="8"/>
                    </a:cubicBezTo>
                    <a:cubicBezTo>
                      <a:pt x="29" y="8"/>
                      <a:pt x="28" y="7"/>
                      <a:pt x="28" y="7"/>
                    </a:cubicBezTo>
                    <a:cubicBezTo>
                      <a:pt x="25" y="4"/>
                      <a:pt x="23" y="4"/>
                      <a:pt x="22" y="3"/>
                    </a:cubicBezTo>
                    <a:cubicBezTo>
                      <a:pt x="20" y="1"/>
                      <a:pt x="18" y="0"/>
                      <a:pt x="16" y="2"/>
                    </a:cubicBezTo>
                    <a:cubicBezTo>
                      <a:pt x="15" y="3"/>
                      <a:pt x="11" y="4"/>
                      <a:pt x="9" y="4"/>
                    </a:cubicBezTo>
                    <a:cubicBezTo>
                      <a:pt x="8" y="4"/>
                      <a:pt x="7" y="4"/>
                      <a:pt x="6" y="3"/>
                    </a:cubicBezTo>
                    <a:cubicBezTo>
                      <a:pt x="4" y="4"/>
                      <a:pt x="2" y="5"/>
                      <a:pt x="0" y="6"/>
                    </a:cubicBezTo>
                    <a:cubicBezTo>
                      <a:pt x="1" y="6"/>
                      <a:pt x="1" y="6"/>
                      <a:pt x="2" y="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3" name="Freeform 79">
                <a:extLst>
                  <a:ext uri="{FF2B5EF4-FFF2-40B4-BE49-F238E27FC236}">
                    <a16:creationId xmlns:a16="http://schemas.microsoft.com/office/drawing/2014/main" id="{F5D02EE1-7058-49F8-8255-A0D49B940D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6132" y="3104839"/>
                <a:ext cx="168133" cy="107906"/>
              </a:xfrm>
              <a:custGeom>
                <a:avLst/>
                <a:gdLst>
                  <a:gd name="T0" fmla="*/ 65 w 73"/>
                  <a:gd name="T1" fmla="*/ 31 h 47"/>
                  <a:gd name="T2" fmla="*/ 62 w 73"/>
                  <a:gd name="T3" fmla="*/ 30 h 47"/>
                  <a:gd name="T4" fmla="*/ 63 w 73"/>
                  <a:gd name="T5" fmla="*/ 29 h 47"/>
                  <a:gd name="T6" fmla="*/ 61 w 73"/>
                  <a:gd name="T7" fmla="*/ 20 h 47"/>
                  <a:gd name="T8" fmla="*/ 56 w 73"/>
                  <a:gd name="T9" fmla="*/ 9 h 47"/>
                  <a:gd name="T10" fmla="*/ 51 w 73"/>
                  <a:gd name="T11" fmla="*/ 0 h 47"/>
                  <a:gd name="T12" fmla="*/ 47 w 73"/>
                  <a:gd name="T13" fmla="*/ 2 h 47"/>
                  <a:gd name="T14" fmla="*/ 42 w 73"/>
                  <a:gd name="T15" fmla="*/ 4 h 47"/>
                  <a:gd name="T16" fmla="*/ 38 w 73"/>
                  <a:gd name="T17" fmla="*/ 5 h 47"/>
                  <a:gd name="T18" fmla="*/ 35 w 73"/>
                  <a:gd name="T19" fmla="*/ 6 h 47"/>
                  <a:gd name="T20" fmla="*/ 30 w 73"/>
                  <a:gd name="T21" fmla="*/ 4 h 47"/>
                  <a:gd name="T22" fmla="*/ 22 w 73"/>
                  <a:gd name="T23" fmla="*/ 3 h 47"/>
                  <a:gd name="T24" fmla="*/ 19 w 73"/>
                  <a:gd name="T25" fmla="*/ 3 h 47"/>
                  <a:gd name="T26" fmla="*/ 18 w 73"/>
                  <a:gd name="T27" fmla="*/ 5 h 47"/>
                  <a:gd name="T28" fmla="*/ 13 w 73"/>
                  <a:gd name="T29" fmla="*/ 8 h 47"/>
                  <a:gd name="T30" fmla="*/ 5 w 73"/>
                  <a:gd name="T31" fmla="*/ 20 h 47"/>
                  <a:gd name="T32" fmla="*/ 0 w 73"/>
                  <a:gd name="T33" fmla="*/ 24 h 47"/>
                  <a:gd name="T34" fmla="*/ 3 w 73"/>
                  <a:gd name="T35" fmla="*/ 29 h 47"/>
                  <a:gd name="T36" fmla="*/ 6 w 73"/>
                  <a:gd name="T37" fmla="*/ 31 h 47"/>
                  <a:gd name="T38" fmla="*/ 7 w 73"/>
                  <a:gd name="T39" fmla="*/ 36 h 47"/>
                  <a:gd name="T40" fmla="*/ 16 w 73"/>
                  <a:gd name="T41" fmla="*/ 39 h 47"/>
                  <a:gd name="T42" fmla="*/ 16 w 73"/>
                  <a:gd name="T43" fmla="*/ 43 h 47"/>
                  <a:gd name="T44" fmla="*/ 21 w 73"/>
                  <a:gd name="T45" fmla="*/ 46 h 47"/>
                  <a:gd name="T46" fmla="*/ 30 w 73"/>
                  <a:gd name="T47" fmla="*/ 47 h 47"/>
                  <a:gd name="T48" fmla="*/ 38 w 73"/>
                  <a:gd name="T49" fmla="*/ 47 h 47"/>
                  <a:gd name="T50" fmla="*/ 44 w 73"/>
                  <a:gd name="T51" fmla="*/ 45 h 47"/>
                  <a:gd name="T52" fmla="*/ 53 w 73"/>
                  <a:gd name="T53" fmla="*/ 43 h 47"/>
                  <a:gd name="T54" fmla="*/ 60 w 73"/>
                  <a:gd name="T55" fmla="*/ 45 h 47"/>
                  <a:gd name="T56" fmla="*/ 65 w 73"/>
                  <a:gd name="T57" fmla="*/ 47 h 47"/>
                  <a:gd name="T58" fmla="*/ 65 w 73"/>
                  <a:gd name="T59" fmla="*/ 43 h 47"/>
                  <a:gd name="T60" fmla="*/ 69 w 73"/>
                  <a:gd name="T61" fmla="*/ 36 h 47"/>
                  <a:gd name="T62" fmla="*/ 73 w 73"/>
                  <a:gd name="T63" fmla="*/ 32 h 47"/>
                  <a:gd name="T64" fmla="*/ 73 w 73"/>
                  <a:gd name="T65" fmla="*/ 32 h 47"/>
                  <a:gd name="T66" fmla="*/ 70 w 73"/>
                  <a:gd name="T67" fmla="*/ 30 h 47"/>
                  <a:gd name="T68" fmla="*/ 65 w 73"/>
                  <a:gd name="T69" fmla="*/ 31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73" h="47">
                    <a:moveTo>
                      <a:pt x="65" y="31"/>
                    </a:moveTo>
                    <a:cubicBezTo>
                      <a:pt x="64" y="31"/>
                      <a:pt x="62" y="31"/>
                      <a:pt x="62" y="30"/>
                    </a:cubicBezTo>
                    <a:cubicBezTo>
                      <a:pt x="62" y="30"/>
                      <a:pt x="63" y="29"/>
                      <a:pt x="63" y="29"/>
                    </a:cubicBezTo>
                    <a:cubicBezTo>
                      <a:pt x="60" y="28"/>
                      <a:pt x="60" y="22"/>
                      <a:pt x="61" y="20"/>
                    </a:cubicBezTo>
                    <a:cubicBezTo>
                      <a:pt x="63" y="18"/>
                      <a:pt x="58" y="12"/>
                      <a:pt x="56" y="9"/>
                    </a:cubicBezTo>
                    <a:cubicBezTo>
                      <a:pt x="55" y="8"/>
                      <a:pt x="53" y="4"/>
                      <a:pt x="51" y="0"/>
                    </a:cubicBezTo>
                    <a:cubicBezTo>
                      <a:pt x="49" y="1"/>
                      <a:pt x="47" y="1"/>
                      <a:pt x="47" y="2"/>
                    </a:cubicBezTo>
                    <a:cubicBezTo>
                      <a:pt x="46" y="3"/>
                      <a:pt x="44" y="4"/>
                      <a:pt x="42" y="4"/>
                    </a:cubicBezTo>
                    <a:cubicBezTo>
                      <a:pt x="41" y="4"/>
                      <a:pt x="40" y="3"/>
                      <a:pt x="38" y="5"/>
                    </a:cubicBezTo>
                    <a:cubicBezTo>
                      <a:pt x="37" y="6"/>
                      <a:pt x="35" y="6"/>
                      <a:pt x="35" y="6"/>
                    </a:cubicBezTo>
                    <a:cubicBezTo>
                      <a:pt x="34" y="5"/>
                      <a:pt x="32" y="4"/>
                      <a:pt x="30" y="4"/>
                    </a:cubicBezTo>
                    <a:cubicBezTo>
                      <a:pt x="28" y="4"/>
                      <a:pt x="23" y="3"/>
                      <a:pt x="22" y="3"/>
                    </a:cubicBezTo>
                    <a:cubicBezTo>
                      <a:pt x="21" y="3"/>
                      <a:pt x="20" y="3"/>
                      <a:pt x="19" y="3"/>
                    </a:cubicBezTo>
                    <a:cubicBezTo>
                      <a:pt x="19" y="4"/>
                      <a:pt x="19" y="4"/>
                      <a:pt x="18" y="5"/>
                    </a:cubicBezTo>
                    <a:cubicBezTo>
                      <a:pt x="17" y="6"/>
                      <a:pt x="14" y="7"/>
                      <a:pt x="13" y="8"/>
                    </a:cubicBezTo>
                    <a:cubicBezTo>
                      <a:pt x="12" y="9"/>
                      <a:pt x="8" y="18"/>
                      <a:pt x="5" y="20"/>
                    </a:cubicBezTo>
                    <a:cubicBezTo>
                      <a:pt x="3" y="23"/>
                      <a:pt x="1" y="23"/>
                      <a:pt x="0" y="24"/>
                    </a:cubicBezTo>
                    <a:cubicBezTo>
                      <a:pt x="0" y="25"/>
                      <a:pt x="3" y="27"/>
                      <a:pt x="3" y="29"/>
                    </a:cubicBezTo>
                    <a:cubicBezTo>
                      <a:pt x="3" y="30"/>
                      <a:pt x="4" y="31"/>
                      <a:pt x="6" y="31"/>
                    </a:cubicBezTo>
                    <a:cubicBezTo>
                      <a:pt x="8" y="31"/>
                      <a:pt x="6" y="36"/>
                      <a:pt x="7" y="36"/>
                    </a:cubicBezTo>
                    <a:cubicBezTo>
                      <a:pt x="8" y="37"/>
                      <a:pt x="16" y="37"/>
                      <a:pt x="16" y="39"/>
                    </a:cubicBezTo>
                    <a:cubicBezTo>
                      <a:pt x="16" y="41"/>
                      <a:pt x="17" y="42"/>
                      <a:pt x="16" y="43"/>
                    </a:cubicBezTo>
                    <a:cubicBezTo>
                      <a:pt x="19" y="43"/>
                      <a:pt x="20" y="46"/>
                      <a:pt x="21" y="46"/>
                    </a:cubicBezTo>
                    <a:cubicBezTo>
                      <a:pt x="22" y="46"/>
                      <a:pt x="28" y="47"/>
                      <a:pt x="30" y="47"/>
                    </a:cubicBezTo>
                    <a:cubicBezTo>
                      <a:pt x="31" y="46"/>
                      <a:pt x="36" y="47"/>
                      <a:pt x="38" y="47"/>
                    </a:cubicBezTo>
                    <a:cubicBezTo>
                      <a:pt x="40" y="47"/>
                      <a:pt x="42" y="46"/>
                      <a:pt x="44" y="45"/>
                    </a:cubicBezTo>
                    <a:cubicBezTo>
                      <a:pt x="45" y="43"/>
                      <a:pt x="51" y="43"/>
                      <a:pt x="53" y="43"/>
                    </a:cubicBezTo>
                    <a:cubicBezTo>
                      <a:pt x="55" y="43"/>
                      <a:pt x="59" y="44"/>
                      <a:pt x="60" y="45"/>
                    </a:cubicBezTo>
                    <a:cubicBezTo>
                      <a:pt x="60" y="45"/>
                      <a:pt x="62" y="46"/>
                      <a:pt x="65" y="47"/>
                    </a:cubicBezTo>
                    <a:cubicBezTo>
                      <a:pt x="65" y="46"/>
                      <a:pt x="65" y="44"/>
                      <a:pt x="65" y="43"/>
                    </a:cubicBezTo>
                    <a:cubicBezTo>
                      <a:pt x="65" y="40"/>
                      <a:pt x="66" y="37"/>
                      <a:pt x="69" y="36"/>
                    </a:cubicBezTo>
                    <a:cubicBezTo>
                      <a:pt x="71" y="36"/>
                      <a:pt x="73" y="36"/>
                      <a:pt x="73" y="32"/>
                    </a:cubicBezTo>
                    <a:cubicBezTo>
                      <a:pt x="73" y="32"/>
                      <a:pt x="73" y="32"/>
                      <a:pt x="73" y="32"/>
                    </a:cubicBezTo>
                    <a:cubicBezTo>
                      <a:pt x="72" y="31"/>
                      <a:pt x="70" y="30"/>
                      <a:pt x="70" y="30"/>
                    </a:cubicBezTo>
                    <a:cubicBezTo>
                      <a:pt x="69" y="30"/>
                      <a:pt x="66" y="32"/>
                      <a:pt x="65" y="3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4" name="Freeform 80">
                <a:extLst>
                  <a:ext uri="{FF2B5EF4-FFF2-40B4-BE49-F238E27FC236}">
                    <a16:creationId xmlns:a16="http://schemas.microsoft.com/office/drawing/2014/main" id="{073ED889-686E-41A6-8069-20F6CAA2DC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14076" y="3099820"/>
                <a:ext cx="57717" cy="71519"/>
              </a:xfrm>
              <a:custGeom>
                <a:avLst/>
                <a:gdLst>
                  <a:gd name="T0" fmla="*/ 18 w 25"/>
                  <a:gd name="T1" fmla="*/ 8 h 31"/>
                  <a:gd name="T2" fmla="*/ 12 w 25"/>
                  <a:gd name="T3" fmla="*/ 4 h 31"/>
                  <a:gd name="T4" fmla="*/ 6 w 25"/>
                  <a:gd name="T5" fmla="*/ 0 h 31"/>
                  <a:gd name="T6" fmla="*/ 0 w 25"/>
                  <a:gd name="T7" fmla="*/ 2 h 31"/>
                  <a:gd name="T8" fmla="*/ 5 w 25"/>
                  <a:gd name="T9" fmla="*/ 11 h 31"/>
                  <a:gd name="T10" fmla="*/ 10 w 25"/>
                  <a:gd name="T11" fmla="*/ 22 h 31"/>
                  <a:gd name="T12" fmla="*/ 12 w 25"/>
                  <a:gd name="T13" fmla="*/ 31 h 31"/>
                  <a:gd name="T14" fmla="*/ 16 w 25"/>
                  <a:gd name="T15" fmla="*/ 24 h 31"/>
                  <a:gd name="T16" fmla="*/ 19 w 25"/>
                  <a:gd name="T17" fmla="*/ 21 h 31"/>
                  <a:gd name="T18" fmla="*/ 25 w 25"/>
                  <a:gd name="T19" fmla="*/ 22 h 31"/>
                  <a:gd name="T20" fmla="*/ 23 w 25"/>
                  <a:gd name="T21" fmla="*/ 16 h 31"/>
                  <a:gd name="T22" fmla="*/ 18 w 25"/>
                  <a:gd name="T23" fmla="*/ 8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5" h="31">
                    <a:moveTo>
                      <a:pt x="18" y="8"/>
                    </a:moveTo>
                    <a:cubicBezTo>
                      <a:pt x="17" y="5"/>
                      <a:pt x="14" y="4"/>
                      <a:pt x="12" y="4"/>
                    </a:cubicBezTo>
                    <a:cubicBezTo>
                      <a:pt x="10" y="4"/>
                      <a:pt x="8" y="0"/>
                      <a:pt x="6" y="0"/>
                    </a:cubicBezTo>
                    <a:cubicBezTo>
                      <a:pt x="5" y="1"/>
                      <a:pt x="2" y="1"/>
                      <a:pt x="0" y="2"/>
                    </a:cubicBezTo>
                    <a:cubicBezTo>
                      <a:pt x="2" y="6"/>
                      <a:pt x="4" y="10"/>
                      <a:pt x="5" y="11"/>
                    </a:cubicBezTo>
                    <a:cubicBezTo>
                      <a:pt x="7" y="14"/>
                      <a:pt x="12" y="20"/>
                      <a:pt x="10" y="22"/>
                    </a:cubicBezTo>
                    <a:cubicBezTo>
                      <a:pt x="9" y="24"/>
                      <a:pt x="9" y="30"/>
                      <a:pt x="12" y="31"/>
                    </a:cubicBezTo>
                    <a:cubicBezTo>
                      <a:pt x="13" y="30"/>
                      <a:pt x="16" y="26"/>
                      <a:pt x="16" y="24"/>
                    </a:cubicBezTo>
                    <a:cubicBezTo>
                      <a:pt x="16" y="23"/>
                      <a:pt x="16" y="20"/>
                      <a:pt x="19" y="21"/>
                    </a:cubicBezTo>
                    <a:cubicBezTo>
                      <a:pt x="22" y="21"/>
                      <a:pt x="25" y="23"/>
                      <a:pt x="25" y="22"/>
                    </a:cubicBezTo>
                    <a:cubicBezTo>
                      <a:pt x="25" y="21"/>
                      <a:pt x="24" y="18"/>
                      <a:pt x="23" y="16"/>
                    </a:cubicBezTo>
                    <a:cubicBezTo>
                      <a:pt x="22" y="15"/>
                      <a:pt x="19" y="11"/>
                      <a:pt x="18" y="8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5" name="Freeform 81">
                <a:extLst>
                  <a:ext uri="{FF2B5EF4-FFF2-40B4-BE49-F238E27FC236}">
                    <a16:creationId xmlns:a16="http://schemas.microsoft.com/office/drawing/2014/main" id="{18ED64BF-A2CD-474D-AB05-053D599BA6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28755" y="3203962"/>
                <a:ext cx="117944" cy="61482"/>
              </a:xfrm>
              <a:custGeom>
                <a:avLst/>
                <a:gdLst>
                  <a:gd name="T0" fmla="*/ 39 w 51"/>
                  <a:gd name="T1" fmla="*/ 0 h 27"/>
                  <a:gd name="T2" fmla="*/ 30 w 51"/>
                  <a:gd name="T3" fmla="*/ 2 h 27"/>
                  <a:gd name="T4" fmla="*/ 24 w 51"/>
                  <a:gd name="T5" fmla="*/ 4 h 27"/>
                  <a:gd name="T6" fmla="*/ 16 w 51"/>
                  <a:gd name="T7" fmla="*/ 4 h 27"/>
                  <a:gd name="T8" fmla="*/ 7 w 51"/>
                  <a:gd name="T9" fmla="*/ 3 h 27"/>
                  <a:gd name="T10" fmla="*/ 2 w 51"/>
                  <a:gd name="T11" fmla="*/ 0 h 27"/>
                  <a:gd name="T12" fmla="*/ 2 w 51"/>
                  <a:gd name="T13" fmla="*/ 0 h 27"/>
                  <a:gd name="T14" fmla="*/ 2 w 51"/>
                  <a:gd name="T15" fmla="*/ 6 h 27"/>
                  <a:gd name="T16" fmla="*/ 4 w 51"/>
                  <a:gd name="T17" fmla="*/ 11 h 27"/>
                  <a:gd name="T18" fmla="*/ 2 w 51"/>
                  <a:gd name="T19" fmla="*/ 14 h 27"/>
                  <a:gd name="T20" fmla="*/ 2 w 51"/>
                  <a:gd name="T21" fmla="*/ 18 h 27"/>
                  <a:gd name="T22" fmla="*/ 6 w 51"/>
                  <a:gd name="T23" fmla="*/ 23 h 27"/>
                  <a:gd name="T24" fmla="*/ 8 w 51"/>
                  <a:gd name="T25" fmla="*/ 26 h 27"/>
                  <a:gd name="T26" fmla="*/ 18 w 51"/>
                  <a:gd name="T27" fmla="*/ 26 h 27"/>
                  <a:gd name="T28" fmla="*/ 27 w 51"/>
                  <a:gd name="T29" fmla="*/ 27 h 27"/>
                  <a:gd name="T30" fmla="*/ 30 w 51"/>
                  <a:gd name="T31" fmla="*/ 25 h 27"/>
                  <a:gd name="T32" fmla="*/ 34 w 51"/>
                  <a:gd name="T33" fmla="*/ 24 h 27"/>
                  <a:gd name="T34" fmla="*/ 34 w 51"/>
                  <a:gd name="T35" fmla="*/ 21 h 27"/>
                  <a:gd name="T36" fmla="*/ 42 w 51"/>
                  <a:gd name="T37" fmla="*/ 21 h 27"/>
                  <a:gd name="T38" fmla="*/ 45 w 51"/>
                  <a:gd name="T39" fmla="*/ 21 h 27"/>
                  <a:gd name="T40" fmla="*/ 44 w 51"/>
                  <a:gd name="T41" fmla="*/ 19 h 27"/>
                  <a:gd name="T42" fmla="*/ 43 w 51"/>
                  <a:gd name="T43" fmla="*/ 13 h 27"/>
                  <a:gd name="T44" fmla="*/ 49 w 51"/>
                  <a:gd name="T45" fmla="*/ 6 h 27"/>
                  <a:gd name="T46" fmla="*/ 51 w 51"/>
                  <a:gd name="T47" fmla="*/ 4 h 27"/>
                  <a:gd name="T48" fmla="*/ 46 w 51"/>
                  <a:gd name="T49" fmla="*/ 2 h 27"/>
                  <a:gd name="T50" fmla="*/ 39 w 51"/>
                  <a:gd name="T51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51" h="27">
                    <a:moveTo>
                      <a:pt x="39" y="0"/>
                    </a:moveTo>
                    <a:cubicBezTo>
                      <a:pt x="37" y="0"/>
                      <a:pt x="31" y="0"/>
                      <a:pt x="30" y="2"/>
                    </a:cubicBezTo>
                    <a:cubicBezTo>
                      <a:pt x="28" y="3"/>
                      <a:pt x="26" y="4"/>
                      <a:pt x="24" y="4"/>
                    </a:cubicBezTo>
                    <a:cubicBezTo>
                      <a:pt x="22" y="4"/>
                      <a:pt x="17" y="3"/>
                      <a:pt x="16" y="4"/>
                    </a:cubicBezTo>
                    <a:cubicBezTo>
                      <a:pt x="14" y="4"/>
                      <a:pt x="8" y="3"/>
                      <a:pt x="7" y="3"/>
                    </a:cubicBezTo>
                    <a:cubicBezTo>
                      <a:pt x="6" y="3"/>
                      <a:pt x="5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2"/>
                      <a:pt x="0" y="4"/>
                      <a:pt x="2" y="6"/>
                    </a:cubicBezTo>
                    <a:cubicBezTo>
                      <a:pt x="4" y="8"/>
                      <a:pt x="6" y="11"/>
                      <a:pt x="4" y="11"/>
                    </a:cubicBezTo>
                    <a:cubicBezTo>
                      <a:pt x="3" y="11"/>
                      <a:pt x="1" y="13"/>
                      <a:pt x="2" y="14"/>
                    </a:cubicBezTo>
                    <a:cubicBezTo>
                      <a:pt x="2" y="15"/>
                      <a:pt x="1" y="18"/>
                      <a:pt x="2" y="18"/>
                    </a:cubicBezTo>
                    <a:cubicBezTo>
                      <a:pt x="2" y="19"/>
                      <a:pt x="6" y="22"/>
                      <a:pt x="6" y="23"/>
                    </a:cubicBezTo>
                    <a:cubicBezTo>
                      <a:pt x="6" y="24"/>
                      <a:pt x="8" y="25"/>
                      <a:pt x="8" y="26"/>
                    </a:cubicBezTo>
                    <a:cubicBezTo>
                      <a:pt x="11" y="25"/>
                      <a:pt x="17" y="25"/>
                      <a:pt x="18" y="26"/>
                    </a:cubicBezTo>
                    <a:cubicBezTo>
                      <a:pt x="20" y="27"/>
                      <a:pt x="27" y="27"/>
                      <a:pt x="27" y="27"/>
                    </a:cubicBezTo>
                    <a:cubicBezTo>
                      <a:pt x="29" y="27"/>
                      <a:pt x="31" y="27"/>
                      <a:pt x="30" y="25"/>
                    </a:cubicBezTo>
                    <a:cubicBezTo>
                      <a:pt x="30" y="24"/>
                      <a:pt x="32" y="24"/>
                      <a:pt x="34" y="24"/>
                    </a:cubicBezTo>
                    <a:cubicBezTo>
                      <a:pt x="34" y="22"/>
                      <a:pt x="33" y="22"/>
                      <a:pt x="34" y="21"/>
                    </a:cubicBezTo>
                    <a:cubicBezTo>
                      <a:pt x="35" y="21"/>
                      <a:pt x="40" y="20"/>
                      <a:pt x="42" y="21"/>
                    </a:cubicBezTo>
                    <a:cubicBezTo>
                      <a:pt x="43" y="22"/>
                      <a:pt x="44" y="21"/>
                      <a:pt x="45" y="21"/>
                    </a:cubicBezTo>
                    <a:cubicBezTo>
                      <a:pt x="45" y="20"/>
                      <a:pt x="45" y="19"/>
                      <a:pt x="44" y="19"/>
                    </a:cubicBezTo>
                    <a:cubicBezTo>
                      <a:pt x="43" y="19"/>
                      <a:pt x="41" y="13"/>
                      <a:pt x="43" y="13"/>
                    </a:cubicBezTo>
                    <a:cubicBezTo>
                      <a:pt x="44" y="12"/>
                      <a:pt x="46" y="7"/>
                      <a:pt x="49" y="6"/>
                    </a:cubicBezTo>
                    <a:cubicBezTo>
                      <a:pt x="50" y="6"/>
                      <a:pt x="50" y="5"/>
                      <a:pt x="51" y="4"/>
                    </a:cubicBezTo>
                    <a:cubicBezTo>
                      <a:pt x="48" y="3"/>
                      <a:pt x="46" y="2"/>
                      <a:pt x="46" y="2"/>
                    </a:cubicBezTo>
                    <a:cubicBezTo>
                      <a:pt x="45" y="1"/>
                      <a:pt x="41" y="0"/>
                      <a:pt x="39" y="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6" name="Freeform 82">
                <a:extLst>
                  <a:ext uri="{FF2B5EF4-FFF2-40B4-BE49-F238E27FC236}">
                    <a16:creationId xmlns:a16="http://schemas.microsoft.com/office/drawing/2014/main" id="{9F789697-920B-40A2-AF86-EA13CC8CBE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6132" y="3242858"/>
                <a:ext cx="51444" cy="33878"/>
              </a:xfrm>
              <a:custGeom>
                <a:avLst/>
                <a:gdLst>
                  <a:gd name="T0" fmla="*/ 5 w 22"/>
                  <a:gd name="T1" fmla="*/ 15 h 15"/>
                  <a:gd name="T2" fmla="*/ 5 w 22"/>
                  <a:gd name="T3" fmla="*/ 15 h 15"/>
                  <a:gd name="T4" fmla="*/ 5 w 22"/>
                  <a:gd name="T5" fmla="*/ 15 h 15"/>
                  <a:gd name="T6" fmla="*/ 5 w 22"/>
                  <a:gd name="T7" fmla="*/ 15 h 15"/>
                  <a:gd name="T8" fmla="*/ 6 w 22"/>
                  <a:gd name="T9" fmla="*/ 15 h 15"/>
                  <a:gd name="T10" fmla="*/ 6 w 22"/>
                  <a:gd name="T11" fmla="*/ 15 h 15"/>
                  <a:gd name="T12" fmla="*/ 8 w 22"/>
                  <a:gd name="T13" fmla="*/ 15 h 15"/>
                  <a:gd name="T14" fmla="*/ 9 w 22"/>
                  <a:gd name="T15" fmla="*/ 15 h 15"/>
                  <a:gd name="T16" fmla="*/ 9 w 22"/>
                  <a:gd name="T17" fmla="*/ 15 h 15"/>
                  <a:gd name="T18" fmla="*/ 9 w 22"/>
                  <a:gd name="T19" fmla="*/ 15 h 15"/>
                  <a:gd name="T20" fmla="*/ 10 w 22"/>
                  <a:gd name="T21" fmla="*/ 15 h 15"/>
                  <a:gd name="T22" fmla="*/ 14 w 22"/>
                  <a:gd name="T23" fmla="*/ 13 h 15"/>
                  <a:gd name="T24" fmla="*/ 21 w 22"/>
                  <a:gd name="T25" fmla="*/ 9 h 15"/>
                  <a:gd name="T26" fmla="*/ 22 w 22"/>
                  <a:gd name="T27" fmla="*/ 9 h 15"/>
                  <a:gd name="T28" fmla="*/ 20 w 22"/>
                  <a:gd name="T29" fmla="*/ 6 h 15"/>
                  <a:gd name="T30" fmla="*/ 16 w 22"/>
                  <a:gd name="T31" fmla="*/ 1 h 15"/>
                  <a:gd name="T32" fmla="*/ 15 w 22"/>
                  <a:gd name="T33" fmla="*/ 1 h 15"/>
                  <a:gd name="T34" fmla="*/ 15 w 22"/>
                  <a:gd name="T35" fmla="*/ 1 h 15"/>
                  <a:gd name="T36" fmla="*/ 15 w 22"/>
                  <a:gd name="T37" fmla="*/ 0 h 15"/>
                  <a:gd name="T38" fmla="*/ 2 w 22"/>
                  <a:gd name="T39" fmla="*/ 2 h 15"/>
                  <a:gd name="T40" fmla="*/ 1 w 22"/>
                  <a:gd name="T41" fmla="*/ 2 h 15"/>
                  <a:gd name="T42" fmla="*/ 0 w 22"/>
                  <a:gd name="T43" fmla="*/ 10 h 15"/>
                  <a:gd name="T44" fmla="*/ 5 w 22"/>
                  <a:gd name="T45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2" h="15">
                    <a:moveTo>
                      <a:pt x="5" y="15"/>
                    </a:move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6" y="15"/>
                      <a:pt x="6" y="15"/>
                    </a:cubicBezTo>
                    <a:cubicBezTo>
                      <a:pt x="6" y="15"/>
                      <a:pt x="6" y="15"/>
                      <a:pt x="6" y="15"/>
                    </a:cubicBezTo>
                    <a:cubicBezTo>
                      <a:pt x="6" y="15"/>
                      <a:pt x="7" y="15"/>
                      <a:pt x="8" y="15"/>
                    </a:cubicBezTo>
                    <a:cubicBezTo>
                      <a:pt x="8" y="15"/>
                      <a:pt x="8" y="15"/>
                      <a:pt x="9" y="15"/>
                    </a:cubicBezTo>
                    <a:cubicBezTo>
                      <a:pt x="9" y="15"/>
                      <a:pt x="9" y="15"/>
                      <a:pt x="9" y="15"/>
                    </a:cubicBezTo>
                    <a:cubicBezTo>
                      <a:pt x="9" y="15"/>
                      <a:pt x="9" y="15"/>
                      <a:pt x="9" y="15"/>
                    </a:cubicBezTo>
                    <a:cubicBezTo>
                      <a:pt x="10" y="15"/>
                      <a:pt x="10" y="15"/>
                      <a:pt x="10" y="15"/>
                    </a:cubicBezTo>
                    <a:cubicBezTo>
                      <a:pt x="12" y="14"/>
                      <a:pt x="13" y="12"/>
                      <a:pt x="14" y="13"/>
                    </a:cubicBezTo>
                    <a:cubicBezTo>
                      <a:pt x="15" y="13"/>
                      <a:pt x="21" y="10"/>
                      <a:pt x="21" y="9"/>
                    </a:cubicBezTo>
                    <a:cubicBezTo>
                      <a:pt x="22" y="9"/>
                      <a:pt x="22" y="9"/>
                      <a:pt x="22" y="9"/>
                    </a:cubicBezTo>
                    <a:cubicBezTo>
                      <a:pt x="22" y="8"/>
                      <a:pt x="20" y="7"/>
                      <a:pt x="20" y="6"/>
                    </a:cubicBezTo>
                    <a:cubicBezTo>
                      <a:pt x="20" y="5"/>
                      <a:pt x="16" y="2"/>
                      <a:pt x="16" y="1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0" y="1"/>
                      <a:pt x="2" y="2"/>
                      <a:pt x="2" y="2"/>
                    </a:cubicBezTo>
                    <a:cubicBezTo>
                      <a:pt x="2" y="2"/>
                      <a:pt x="1" y="2"/>
                      <a:pt x="1" y="2"/>
                    </a:cubicBezTo>
                    <a:cubicBezTo>
                      <a:pt x="0" y="5"/>
                      <a:pt x="0" y="8"/>
                      <a:pt x="0" y="10"/>
                    </a:cubicBezTo>
                    <a:cubicBezTo>
                      <a:pt x="1" y="12"/>
                      <a:pt x="2" y="14"/>
                      <a:pt x="5" y="1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7" name="Freeform 83">
                <a:extLst>
                  <a:ext uri="{FF2B5EF4-FFF2-40B4-BE49-F238E27FC236}">
                    <a16:creationId xmlns:a16="http://schemas.microsoft.com/office/drawing/2014/main" id="{AE521EE0-4FFF-4BC3-8446-B5C0DD4D4E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28755" y="3005715"/>
                <a:ext cx="329993" cy="190718"/>
              </a:xfrm>
              <a:custGeom>
                <a:avLst/>
                <a:gdLst>
                  <a:gd name="T0" fmla="*/ 134 w 143"/>
                  <a:gd name="T1" fmla="*/ 48 h 83"/>
                  <a:gd name="T2" fmla="*/ 142 w 143"/>
                  <a:gd name="T3" fmla="*/ 43 h 83"/>
                  <a:gd name="T4" fmla="*/ 143 w 143"/>
                  <a:gd name="T5" fmla="*/ 38 h 83"/>
                  <a:gd name="T6" fmla="*/ 143 w 143"/>
                  <a:gd name="T7" fmla="*/ 32 h 83"/>
                  <a:gd name="T8" fmla="*/ 132 w 143"/>
                  <a:gd name="T9" fmla="*/ 28 h 83"/>
                  <a:gd name="T10" fmla="*/ 122 w 143"/>
                  <a:gd name="T11" fmla="*/ 22 h 83"/>
                  <a:gd name="T12" fmla="*/ 113 w 143"/>
                  <a:gd name="T13" fmla="*/ 23 h 83"/>
                  <a:gd name="T14" fmla="*/ 106 w 143"/>
                  <a:gd name="T15" fmla="*/ 20 h 83"/>
                  <a:gd name="T16" fmla="*/ 97 w 143"/>
                  <a:gd name="T17" fmla="*/ 12 h 83"/>
                  <a:gd name="T18" fmla="*/ 94 w 143"/>
                  <a:gd name="T19" fmla="*/ 1 h 83"/>
                  <a:gd name="T20" fmla="*/ 82 w 143"/>
                  <a:gd name="T21" fmla="*/ 1 h 83"/>
                  <a:gd name="T22" fmla="*/ 76 w 143"/>
                  <a:gd name="T23" fmla="*/ 2 h 83"/>
                  <a:gd name="T24" fmla="*/ 66 w 143"/>
                  <a:gd name="T25" fmla="*/ 8 h 83"/>
                  <a:gd name="T26" fmla="*/ 57 w 143"/>
                  <a:gd name="T27" fmla="*/ 10 h 83"/>
                  <a:gd name="T28" fmla="*/ 47 w 143"/>
                  <a:gd name="T29" fmla="*/ 8 h 83"/>
                  <a:gd name="T30" fmla="*/ 34 w 143"/>
                  <a:gd name="T31" fmla="*/ 6 h 83"/>
                  <a:gd name="T32" fmla="*/ 15 w 143"/>
                  <a:gd name="T33" fmla="*/ 8 h 83"/>
                  <a:gd name="T34" fmla="*/ 11 w 143"/>
                  <a:gd name="T35" fmla="*/ 11 h 83"/>
                  <a:gd name="T36" fmla="*/ 11 w 143"/>
                  <a:gd name="T37" fmla="*/ 22 h 83"/>
                  <a:gd name="T38" fmla="*/ 4 w 143"/>
                  <a:gd name="T39" fmla="*/ 35 h 83"/>
                  <a:gd name="T40" fmla="*/ 4 w 143"/>
                  <a:gd name="T41" fmla="*/ 45 h 83"/>
                  <a:gd name="T42" fmla="*/ 8 w 143"/>
                  <a:gd name="T43" fmla="*/ 46 h 83"/>
                  <a:gd name="T44" fmla="*/ 21 w 143"/>
                  <a:gd name="T45" fmla="*/ 49 h 83"/>
                  <a:gd name="T46" fmla="*/ 28 w 143"/>
                  <a:gd name="T47" fmla="*/ 47 h 83"/>
                  <a:gd name="T48" fmla="*/ 43 w 143"/>
                  <a:gd name="T49" fmla="*/ 41 h 83"/>
                  <a:gd name="T50" fmla="*/ 55 w 143"/>
                  <a:gd name="T51" fmla="*/ 49 h 83"/>
                  <a:gd name="T52" fmla="*/ 62 w 143"/>
                  <a:gd name="T53" fmla="*/ 63 h 83"/>
                  <a:gd name="T54" fmla="*/ 53 w 143"/>
                  <a:gd name="T55" fmla="*/ 65 h 83"/>
                  <a:gd name="T56" fmla="*/ 51 w 143"/>
                  <a:gd name="T57" fmla="*/ 74 h 83"/>
                  <a:gd name="T58" fmla="*/ 59 w 143"/>
                  <a:gd name="T59" fmla="*/ 75 h 83"/>
                  <a:gd name="T60" fmla="*/ 70 w 143"/>
                  <a:gd name="T61" fmla="*/ 60 h 83"/>
                  <a:gd name="T62" fmla="*/ 79 w 143"/>
                  <a:gd name="T63" fmla="*/ 64 h 83"/>
                  <a:gd name="T64" fmla="*/ 82 w 143"/>
                  <a:gd name="T65" fmla="*/ 72 h 83"/>
                  <a:gd name="T66" fmla="*/ 90 w 143"/>
                  <a:gd name="T67" fmla="*/ 82 h 83"/>
                  <a:gd name="T68" fmla="*/ 104 w 143"/>
                  <a:gd name="T69" fmla="*/ 77 h 83"/>
                  <a:gd name="T70" fmla="*/ 107 w 143"/>
                  <a:gd name="T71" fmla="*/ 74 h 83"/>
                  <a:gd name="T72" fmla="*/ 111 w 143"/>
                  <a:gd name="T73" fmla="*/ 61 h 83"/>
                  <a:gd name="T74" fmla="*/ 127 w 143"/>
                  <a:gd name="T75" fmla="*/ 56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43" h="83">
                    <a:moveTo>
                      <a:pt x="127" y="52"/>
                    </a:moveTo>
                    <a:cubicBezTo>
                      <a:pt x="129" y="52"/>
                      <a:pt x="132" y="48"/>
                      <a:pt x="134" y="48"/>
                    </a:cubicBezTo>
                    <a:cubicBezTo>
                      <a:pt x="135" y="48"/>
                      <a:pt x="140" y="49"/>
                      <a:pt x="140" y="48"/>
                    </a:cubicBezTo>
                    <a:cubicBezTo>
                      <a:pt x="140" y="47"/>
                      <a:pt x="142" y="44"/>
                      <a:pt x="142" y="43"/>
                    </a:cubicBezTo>
                    <a:cubicBezTo>
                      <a:pt x="141" y="42"/>
                      <a:pt x="140" y="41"/>
                      <a:pt x="140" y="40"/>
                    </a:cubicBezTo>
                    <a:cubicBezTo>
                      <a:pt x="140" y="39"/>
                      <a:pt x="143" y="39"/>
                      <a:pt x="143" y="38"/>
                    </a:cubicBezTo>
                    <a:cubicBezTo>
                      <a:pt x="143" y="37"/>
                      <a:pt x="141" y="36"/>
                      <a:pt x="141" y="36"/>
                    </a:cubicBezTo>
                    <a:cubicBezTo>
                      <a:pt x="141" y="35"/>
                      <a:pt x="143" y="34"/>
                      <a:pt x="143" y="32"/>
                    </a:cubicBezTo>
                    <a:cubicBezTo>
                      <a:pt x="143" y="31"/>
                      <a:pt x="141" y="31"/>
                      <a:pt x="139" y="29"/>
                    </a:cubicBezTo>
                    <a:cubicBezTo>
                      <a:pt x="136" y="28"/>
                      <a:pt x="134" y="29"/>
                      <a:pt x="132" y="28"/>
                    </a:cubicBezTo>
                    <a:cubicBezTo>
                      <a:pt x="130" y="27"/>
                      <a:pt x="125" y="27"/>
                      <a:pt x="125" y="27"/>
                    </a:cubicBezTo>
                    <a:cubicBezTo>
                      <a:pt x="125" y="26"/>
                      <a:pt x="122" y="23"/>
                      <a:pt x="122" y="22"/>
                    </a:cubicBezTo>
                    <a:cubicBezTo>
                      <a:pt x="121" y="21"/>
                      <a:pt x="119" y="22"/>
                      <a:pt x="117" y="23"/>
                    </a:cubicBezTo>
                    <a:cubicBezTo>
                      <a:pt x="116" y="23"/>
                      <a:pt x="114" y="24"/>
                      <a:pt x="113" y="23"/>
                    </a:cubicBezTo>
                    <a:cubicBezTo>
                      <a:pt x="112" y="22"/>
                      <a:pt x="110" y="21"/>
                      <a:pt x="109" y="21"/>
                    </a:cubicBezTo>
                    <a:cubicBezTo>
                      <a:pt x="108" y="22"/>
                      <a:pt x="106" y="21"/>
                      <a:pt x="106" y="20"/>
                    </a:cubicBezTo>
                    <a:cubicBezTo>
                      <a:pt x="107" y="18"/>
                      <a:pt x="104" y="14"/>
                      <a:pt x="103" y="13"/>
                    </a:cubicBezTo>
                    <a:cubicBezTo>
                      <a:pt x="101" y="13"/>
                      <a:pt x="98" y="14"/>
                      <a:pt x="97" y="12"/>
                    </a:cubicBezTo>
                    <a:cubicBezTo>
                      <a:pt x="96" y="10"/>
                      <a:pt x="94" y="9"/>
                      <a:pt x="95" y="7"/>
                    </a:cubicBezTo>
                    <a:cubicBezTo>
                      <a:pt x="96" y="6"/>
                      <a:pt x="95" y="3"/>
                      <a:pt x="94" y="1"/>
                    </a:cubicBezTo>
                    <a:cubicBezTo>
                      <a:pt x="93" y="0"/>
                      <a:pt x="88" y="0"/>
                      <a:pt x="87" y="1"/>
                    </a:cubicBezTo>
                    <a:cubicBezTo>
                      <a:pt x="86" y="1"/>
                      <a:pt x="83" y="0"/>
                      <a:pt x="82" y="1"/>
                    </a:cubicBezTo>
                    <a:cubicBezTo>
                      <a:pt x="81" y="2"/>
                      <a:pt x="80" y="3"/>
                      <a:pt x="78" y="3"/>
                    </a:cubicBezTo>
                    <a:cubicBezTo>
                      <a:pt x="77" y="3"/>
                      <a:pt x="76" y="3"/>
                      <a:pt x="76" y="2"/>
                    </a:cubicBezTo>
                    <a:cubicBezTo>
                      <a:pt x="74" y="3"/>
                      <a:pt x="71" y="3"/>
                      <a:pt x="71" y="3"/>
                    </a:cubicBezTo>
                    <a:cubicBezTo>
                      <a:pt x="71" y="3"/>
                      <a:pt x="66" y="7"/>
                      <a:pt x="66" y="8"/>
                    </a:cubicBezTo>
                    <a:cubicBezTo>
                      <a:pt x="66" y="10"/>
                      <a:pt x="66" y="12"/>
                      <a:pt x="65" y="11"/>
                    </a:cubicBezTo>
                    <a:cubicBezTo>
                      <a:pt x="63" y="10"/>
                      <a:pt x="58" y="10"/>
                      <a:pt x="57" y="10"/>
                    </a:cubicBezTo>
                    <a:cubicBezTo>
                      <a:pt x="56" y="11"/>
                      <a:pt x="54" y="7"/>
                      <a:pt x="52" y="9"/>
                    </a:cubicBezTo>
                    <a:cubicBezTo>
                      <a:pt x="50" y="10"/>
                      <a:pt x="47" y="7"/>
                      <a:pt x="47" y="8"/>
                    </a:cubicBezTo>
                    <a:cubicBezTo>
                      <a:pt x="46" y="9"/>
                      <a:pt x="43" y="8"/>
                      <a:pt x="41" y="7"/>
                    </a:cubicBezTo>
                    <a:cubicBezTo>
                      <a:pt x="39" y="6"/>
                      <a:pt x="35" y="8"/>
                      <a:pt x="34" y="6"/>
                    </a:cubicBezTo>
                    <a:cubicBezTo>
                      <a:pt x="32" y="5"/>
                      <a:pt x="23" y="5"/>
                      <a:pt x="20" y="5"/>
                    </a:cubicBezTo>
                    <a:cubicBezTo>
                      <a:pt x="17" y="5"/>
                      <a:pt x="16" y="6"/>
                      <a:pt x="15" y="8"/>
                    </a:cubicBezTo>
                    <a:cubicBezTo>
                      <a:pt x="14" y="9"/>
                      <a:pt x="12" y="9"/>
                      <a:pt x="11" y="9"/>
                    </a:cubicBezTo>
                    <a:cubicBezTo>
                      <a:pt x="11" y="10"/>
                      <a:pt x="11" y="11"/>
                      <a:pt x="11" y="11"/>
                    </a:cubicBezTo>
                    <a:cubicBezTo>
                      <a:pt x="12" y="12"/>
                      <a:pt x="15" y="18"/>
                      <a:pt x="14" y="19"/>
                    </a:cubicBezTo>
                    <a:cubicBezTo>
                      <a:pt x="14" y="21"/>
                      <a:pt x="12" y="21"/>
                      <a:pt x="11" y="22"/>
                    </a:cubicBezTo>
                    <a:cubicBezTo>
                      <a:pt x="10" y="23"/>
                      <a:pt x="4" y="29"/>
                      <a:pt x="3" y="30"/>
                    </a:cubicBezTo>
                    <a:cubicBezTo>
                      <a:pt x="3" y="31"/>
                      <a:pt x="4" y="35"/>
                      <a:pt x="4" y="35"/>
                    </a:cubicBezTo>
                    <a:cubicBezTo>
                      <a:pt x="3" y="36"/>
                      <a:pt x="0" y="40"/>
                      <a:pt x="0" y="41"/>
                    </a:cubicBezTo>
                    <a:cubicBezTo>
                      <a:pt x="0" y="43"/>
                      <a:pt x="2" y="45"/>
                      <a:pt x="4" y="45"/>
                    </a:cubicBezTo>
                    <a:cubicBezTo>
                      <a:pt x="4" y="45"/>
                      <a:pt x="5" y="46"/>
                      <a:pt x="5" y="46"/>
                    </a:cubicBezTo>
                    <a:cubicBezTo>
                      <a:pt x="6" y="46"/>
                      <a:pt x="7" y="46"/>
                      <a:pt x="8" y="46"/>
                    </a:cubicBezTo>
                    <a:cubicBezTo>
                      <a:pt x="9" y="46"/>
                      <a:pt x="14" y="47"/>
                      <a:pt x="16" y="47"/>
                    </a:cubicBezTo>
                    <a:cubicBezTo>
                      <a:pt x="18" y="47"/>
                      <a:pt x="20" y="48"/>
                      <a:pt x="21" y="49"/>
                    </a:cubicBezTo>
                    <a:cubicBezTo>
                      <a:pt x="21" y="49"/>
                      <a:pt x="23" y="49"/>
                      <a:pt x="24" y="48"/>
                    </a:cubicBezTo>
                    <a:cubicBezTo>
                      <a:pt x="26" y="46"/>
                      <a:pt x="27" y="47"/>
                      <a:pt x="28" y="47"/>
                    </a:cubicBezTo>
                    <a:cubicBezTo>
                      <a:pt x="30" y="47"/>
                      <a:pt x="32" y="46"/>
                      <a:pt x="33" y="45"/>
                    </a:cubicBezTo>
                    <a:cubicBezTo>
                      <a:pt x="34" y="44"/>
                      <a:pt x="41" y="42"/>
                      <a:pt x="43" y="41"/>
                    </a:cubicBezTo>
                    <a:cubicBezTo>
                      <a:pt x="45" y="41"/>
                      <a:pt x="47" y="45"/>
                      <a:pt x="49" y="45"/>
                    </a:cubicBezTo>
                    <a:cubicBezTo>
                      <a:pt x="51" y="45"/>
                      <a:pt x="54" y="46"/>
                      <a:pt x="55" y="49"/>
                    </a:cubicBezTo>
                    <a:cubicBezTo>
                      <a:pt x="56" y="52"/>
                      <a:pt x="59" y="56"/>
                      <a:pt x="60" y="57"/>
                    </a:cubicBezTo>
                    <a:cubicBezTo>
                      <a:pt x="61" y="59"/>
                      <a:pt x="62" y="62"/>
                      <a:pt x="62" y="63"/>
                    </a:cubicBezTo>
                    <a:cubicBezTo>
                      <a:pt x="62" y="64"/>
                      <a:pt x="59" y="62"/>
                      <a:pt x="56" y="62"/>
                    </a:cubicBezTo>
                    <a:cubicBezTo>
                      <a:pt x="53" y="61"/>
                      <a:pt x="53" y="64"/>
                      <a:pt x="53" y="65"/>
                    </a:cubicBezTo>
                    <a:cubicBezTo>
                      <a:pt x="53" y="67"/>
                      <a:pt x="49" y="72"/>
                      <a:pt x="48" y="73"/>
                    </a:cubicBezTo>
                    <a:cubicBezTo>
                      <a:pt x="48" y="74"/>
                      <a:pt x="50" y="74"/>
                      <a:pt x="51" y="74"/>
                    </a:cubicBezTo>
                    <a:cubicBezTo>
                      <a:pt x="52" y="75"/>
                      <a:pt x="55" y="73"/>
                      <a:pt x="56" y="73"/>
                    </a:cubicBezTo>
                    <a:cubicBezTo>
                      <a:pt x="56" y="73"/>
                      <a:pt x="58" y="74"/>
                      <a:pt x="59" y="75"/>
                    </a:cubicBezTo>
                    <a:cubicBezTo>
                      <a:pt x="59" y="71"/>
                      <a:pt x="59" y="71"/>
                      <a:pt x="63" y="69"/>
                    </a:cubicBezTo>
                    <a:cubicBezTo>
                      <a:pt x="66" y="66"/>
                      <a:pt x="66" y="61"/>
                      <a:pt x="70" y="60"/>
                    </a:cubicBezTo>
                    <a:cubicBezTo>
                      <a:pt x="73" y="60"/>
                      <a:pt x="74" y="58"/>
                      <a:pt x="78" y="59"/>
                    </a:cubicBezTo>
                    <a:cubicBezTo>
                      <a:pt x="83" y="60"/>
                      <a:pt x="76" y="63"/>
                      <a:pt x="79" y="64"/>
                    </a:cubicBezTo>
                    <a:cubicBezTo>
                      <a:pt x="82" y="66"/>
                      <a:pt x="92" y="64"/>
                      <a:pt x="92" y="66"/>
                    </a:cubicBezTo>
                    <a:cubicBezTo>
                      <a:pt x="93" y="69"/>
                      <a:pt x="81" y="71"/>
                      <a:pt x="82" y="72"/>
                    </a:cubicBezTo>
                    <a:cubicBezTo>
                      <a:pt x="82" y="73"/>
                      <a:pt x="88" y="75"/>
                      <a:pt x="90" y="76"/>
                    </a:cubicBezTo>
                    <a:cubicBezTo>
                      <a:pt x="92" y="77"/>
                      <a:pt x="89" y="81"/>
                      <a:pt x="90" y="82"/>
                    </a:cubicBezTo>
                    <a:cubicBezTo>
                      <a:pt x="91" y="83"/>
                      <a:pt x="94" y="82"/>
                      <a:pt x="97" y="81"/>
                    </a:cubicBezTo>
                    <a:cubicBezTo>
                      <a:pt x="99" y="79"/>
                      <a:pt x="101" y="79"/>
                      <a:pt x="104" y="77"/>
                    </a:cubicBezTo>
                    <a:cubicBezTo>
                      <a:pt x="108" y="75"/>
                      <a:pt x="114" y="77"/>
                      <a:pt x="115" y="76"/>
                    </a:cubicBezTo>
                    <a:cubicBezTo>
                      <a:pt x="116" y="74"/>
                      <a:pt x="113" y="73"/>
                      <a:pt x="107" y="74"/>
                    </a:cubicBezTo>
                    <a:cubicBezTo>
                      <a:pt x="101" y="74"/>
                      <a:pt x="100" y="68"/>
                      <a:pt x="100" y="67"/>
                    </a:cubicBezTo>
                    <a:cubicBezTo>
                      <a:pt x="100" y="66"/>
                      <a:pt x="107" y="61"/>
                      <a:pt x="111" y="61"/>
                    </a:cubicBezTo>
                    <a:cubicBezTo>
                      <a:pt x="114" y="60"/>
                      <a:pt x="117" y="59"/>
                      <a:pt x="121" y="57"/>
                    </a:cubicBezTo>
                    <a:cubicBezTo>
                      <a:pt x="122" y="57"/>
                      <a:pt x="125" y="56"/>
                      <a:pt x="127" y="56"/>
                    </a:cubicBezTo>
                    <a:cubicBezTo>
                      <a:pt x="127" y="54"/>
                      <a:pt x="126" y="52"/>
                      <a:pt x="127" y="5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8" name="Freeform 84">
                <a:extLst>
                  <a:ext uri="{FF2B5EF4-FFF2-40B4-BE49-F238E27FC236}">
                    <a16:creationId xmlns:a16="http://schemas.microsoft.com/office/drawing/2014/main" id="{E667E14A-C710-4F2F-9AC0-D429687476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7576" y="2906592"/>
                <a:ext cx="174407" cy="126727"/>
              </a:xfrm>
              <a:custGeom>
                <a:avLst/>
                <a:gdLst>
                  <a:gd name="T0" fmla="*/ 71 w 76"/>
                  <a:gd name="T1" fmla="*/ 27 h 55"/>
                  <a:gd name="T2" fmla="*/ 66 w 76"/>
                  <a:gd name="T3" fmla="*/ 23 h 55"/>
                  <a:gd name="T4" fmla="*/ 62 w 76"/>
                  <a:gd name="T5" fmla="*/ 18 h 55"/>
                  <a:gd name="T6" fmla="*/ 62 w 76"/>
                  <a:gd name="T7" fmla="*/ 12 h 55"/>
                  <a:gd name="T8" fmla="*/ 61 w 76"/>
                  <a:gd name="T9" fmla="*/ 6 h 55"/>
                  <a:gd name="T10" fmla="*/ 53 w 76"/>
                  <a:gd name="T11" fmla="*/ 4 h 55"/>
                  <a:gd name="T12" fmla="*/ 49 w 76"/>
                  <a:gd name="T13" fmla="*/ 4 h 55"/>
                  <a:gd name="T14" fmla="*/ 45 w 76"/>
                  <a:gd name="T15" fmla="*/ 2 h 55"/>
                  <a:gd name="T16" fmla="*/ 41 w 76"/>
                  <a:gd name="T17" fmla="*/ 1 h 55"/>
                  <a:gd name="T18" fmla="*/ 40 w 76"/>
                  <a:gd name="T19" fmla="*/ 0 h 55"/>
                  <a:gd name="T20" fmla="*/ 38 w 76"/>
                  <a:gd name="T21" fmla="*/ 1 h 55"/>
                  <a:gd name="T22" fmla="*/ 35 w 76"/>
                  <a:gd name="T23" fmla="*/ 4 h 55"/>
                  <a:gd name="T24" fmla="*/ 29 w 76"/>
                  <a:gd name="T25" fmla="*/ 5 h 55"/>
                  <a:gd name="T26" fmla="*/ 27 w 76"/>
                  <a:gd name="T27" fmla="*/ 9 h 55"/>
                  <a:gd name="T28" fmla="*/ 26 w 76"/>
                  <a:gd name="T29" fmla="*/ 12 h 55"/>
                  <a:gd name="T30" fmla="*/ 23 w 76"/>
                  <a:gd name="T31" fmla="*/ 15 h 55"/>
                  <a:gd name="T32" fmla="*/ 19 w 76"/>
                  <a:gd name="T33" fmla="*/ 18 h 55"/>
                  <a:gd name="T34" fmla="*/ 18 w 76"/>
                  <a:gd name="T35" fmla="*/ 22 h 55"/>
                  <a:gd name="T36" fmla="*/ 13 w 76"/>
                  <a:gd name="T37" fmla="*/ 24 h 55"/>
                  <a:gd name="T38" fmla="*/ 9 w 76"/>
                  <a:gd name="T39" fmla="*/ 26 h 55"/>
                  <a:gd name="T40" fmla="*/ 3 w 76"/>
                  <a:gd name="T41" fmla="*/ 25 h 55"/>
                  <a:gd name="T42" fmla="*/ 3 w 76"/>
                  <a:gd name="T43" fmla="*/ 26 h 55"/>
                  <a:gd name="T44" fmla="*/ 4 w 76"/>
                  <a:gd name="T45" fmla="*/ 32 h 55"/>
                  <a:gd name="T46" fmla="*/ 5 w 76"/>
                  <a:gd name="T47" fmla="*/ 39 h 55"/>
                  <a:gd name="T48" fmla="*/ 0 w 76"/>
                  <a:gd name="T49" fmla="*/ 43 h 55"/>
                  <a:gd name="T50" fmla="*/ 3 w 76"/>
                  <a:gd name="T51" fmla="*/ 47 h 55"/>
                  <a:gd name="T52" fmla="*/ 3 w 76"/>
                  <a:gd name="T53" fmla="*/ 52 h 55"/>
                  <a:gd name="T54" fmla="*/ 7 w 76"/>
                  <a:gd name="T55" fmla="*/ 51 h 55"/>
                  <a:gd name="T56" fmla="*/ 12 w 76"/>
                  <a:gd name="T57" fmla="*/ 48 h 55"/>
                  <a:gd name="T58" fmla="*/ 26 w 76"/>
                  <a:gd name="T59" fmla="*/ 49 h 55"/>
                  <a:gd name="T60" fmla="*/ 33 w 76"/>
                  <a:gd name="T61" fmla="*/ 50 h 55"/>
                  <a:gd name="T62" fmla="*/ 39 w 76"/>
                  <a:gd name="T63" fmla="*/ 51 h 55"/>
                  <a:gd name="T64" fmla="*/ 44 w 76"/>
                  <a:gd name="T65" fmla="*/ 52 h 55"/>
                  <a:gd name="T66" fmla="*/ 49 w 76"/>
                  <a:gd name="T67" fmla="*/ 53 h 55"/>
                  <a:gd name="T68" fmla="*/ 57 w 76"/>
                  <a:gd name="T69" fmla="*/ 54 h 55"/>
                  <a:gd name="T70" fmla="*/ 58 w 76"/>
                  <a:gd name="T71" fmla="*/ 51 h 55"/>
                  <a:gd name="T72" fmla="*/ 63 w 76"/>
                  <a:gd name="T73" fmla="*/ 46 h 55"/>
                  <a:gd name="T74" fmla="*/ 68 w 76"/>
                  <a:gd name="T75" fmla="*/ 45 h 55"/>
                  <a:gd name="T76" fmla="*/ 67 w 76"/>
                  <a:gd name="T77" fmla="*/ 42 h 55"/>
                  <a:gd name="T78" fmla="*/ 65 w 76"/>
                  <a:gd name="T79" fmla="*/ 34 h 55"/>
                  <a:gd name="T80" fmla="*/ 71 w 76"/>
                  <a:gd name="T81" fmla="*/ 35 h 55"/>
                  <a:gd name="T82" fmla="*/ 75 w 76"/>
                  <a:gd name="T83" fmla="*/ 31 h 55"/>
                  <a:gd name="T84" fmla="*/ 71 w 76"/>
                  <a:gd name="T85" fmla="*/ 27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76" h="55">
                    <a:moveTo>
                      <a:pt x="71" y="27"/>
                    </a:moveTo>
                    <a:cubicBezTo>
                      <a:pt x="69" y="27"/>
                      <a:pt x="68" y="24"/>
                      <a:pt x="66" y="23"/>
                    </a:cubicBezTo>
                    <a:cubicBezTo>
                      <a:pt x="64" y="22"/>
                      <a:pt x="64" y="19"/>
                      <a:pt x="62" y="18"/>
                    </a:cubicBezTo>
                    <a:cubicBezTo>
                      <a:pt x="60" y="16"/>
                      <a:pt x="62" y="14"/>
                      <a:pt x="62" y="12"/>
                    </a:cubicBezTo>
                    <a:cubicBezTo>
                      <a:pt x="61" y="10"/>
                      <a:pt x="62" y="7"/>
                      <a:pt x="61" y="6"/>
                    </a:cubicBezTo>
                    <a:cubicBezTo>
                      <a:pt x="60" y="6"/>
                      <a:pt x="55" y="3"/>
                      <a:pt x="53" y="4"/>
                    </a:cubicBezTo>
                    <a:cubicBezTo>
                      <a:pt x="51" y="5"/>
                      <a:pt x="50" y="6"/>
                      <a:pt x="49" y="4"/>
                    </a:cubicBezTo>
                    <a:cubicBezTo>
                      <a:pt x="48" y="3"/>
                      <a:pt x="47" y="2"/>
                      <a:pt x="45" y="2"/>
                    </a:cubicBezTo>
                    <a:cubicBezTo>
                      <a:pt x="43" y="3"/>
                      <a:pt x="42" y="2"/>
                      <a:pt x="41" y="1"/>
                    </a:cubicBezTo>
                    <a:cubicBezTo>
                      <a:pt x="40" y="1"/>
                      <a:pt x="40" y="1"/>
                      <a:pt x="40" y="0"/>
                    </a:cubicBezTo>
                    <a:cubicBezTo>
                      <a:pt x="39" y="1"/>
                      <a:pt x="38" y="1"/>
                      <a:pt x="38" y="1"/>
                    </a:cubicBezTo>
                    <a:cubicBezTo>
                      <a:pt x="37" y="2"/>
                      <a:pt x="36" y="4"/>
                      <a:pt x="35" y="4"/>
                    </a:cubicBezTo>
                    <a:cubicBezTo>
                      <a:pt x="33" y="4"/>
                      <a:pt x="31" y="4"/>
                      <a:pt x="29" y="5"/>
                    </a:cubicBezTo>
                    <a:cubicBezTo>
                      <a:pt x="27" y="6"/>
                      <a:pt x="27" y="8"/>
                      <a:pt x="27" y="9"/>
                    </a:cubicBezTo>
                    <a:cubicBezTo>
                      <a:pt x="27" y="10"/>
                      <a:pt x="28" y="12"/>
                      <a:pt x="26" y="12"/>
                    </a:cubicBezTo>
                    <a:cubicBezTo>
                      <a:pt x="25" y="12"/>
                      <a:pt x="25" y="14"/>
                      <a:pt x="23" y="15"/>
                    </a:cubicBezTo>
                    <a:cubicBezTo>
                      <a:pt x="22" y="15"/>
                      <a:pt x="20" y="17"/>
                      <a:pt x="19" y="18"/>
                    </a:cubicBezTo>
                    <a:cubicBezTo>
                      <a:pt x="19" y="20"/>
                      <a:pt x="19" y="22"/>
                      <a:pt x="18" y="22"/>
                    </a:cubicBezTo>
                    <a:cubicBezTo>
                      <a:pt x="17" y="22"/>
                      <a:pt x="14" y="23"/>
                      <a:pt x="13" y="24"/>
                    </a:cubicBezTo>
                    <a:cubicBezTo>
                      <a:pt x="12" y="25"/>
                      <a:pt x="11" y="26"/>
                      <a:pt x="9" y="26"/>
                    </a:cubicBezTo>
                    <a:cubicBezTo>
                      <a:pt x="8" y="25"/>
                      <a:pt x="5" y="25"/>
                      <a:pt x="3" y="25"/>
                    </a:cubicBezTo>
                    <a:cubicBezTo>
                      <a:pt x="3" y="26"/>
                      <a:pt x="3" y="26"/>
                      <a:pt x="3" y="26"/>
                    </a:cubicBezTo>
                    <a:cubicBezTo>
                      <a:pt x="2" y="29"/>
                      <a:pt x="3" y="31"/>
                      <a:pt x="4" y="32"/>
                    </a:cubicBezTo>
                    <a:cubicBezTo>
                      <a:pt x="6" y="33"/>
                      <a:pt x="6" y="38"/>
                      <a:pt x="5" y="39"/>
                    </a:cubicBezTo>
                    <a:cubicBezTo>
                      <a:pt x="3" y="40"/>
                      <a:pt x="0" y="42"/>
                      <a:pt x="0" y="43"/>
                    </a:cubicBezTo>
                    <a:cubicBezTo>
                      <a:pt x="0" y="44"/>
                      <a:pt x="3" y="45"/>
                      <a:pt x="3" y="47"/>
                    </a:cubicBezTo>
                    <a:cubicBezTo>
                      <a:pt x="2" y="48"/>
                      <a:pt x="2" y="50"/>
                      <a:pt x="3" y="52"/>
                    </a:cubicBezTo>
                    <a:cubicBezTo>
                      <a:pt x="4" y="52"/>
                      <a:pt x="6" y="52"/>
                      <a:pt x="7" y="51"/>
                    </a:cubicBezTo>
                    <a:cubicBezTo>
                      <a:pt x="8" y="49"/>
                      <a:pt x="9" y="48"/>
                      <a:pt x="12" y="48"/>
                    </a:cubicBezTo>
                    <a:cubicBezTo>
                      <a:pt x="15" y="48"/>
                      <a:pt x="24" y="48"/>
                      <a:pt x="26" y="49"/>
                    </a:cubicBezTo>
                    <a:cubicBezTo>
                      <a:pt x="27" y="51"/>
                      <a:pt x="31" y="49"/>
                      <a:pt x="33" y="50"/>
                    </a:cubicBezTo>
                    <a:cubicBezTo>
                      <a:pt x="35" y="51"/>
                      <a:pt x="38" y="52"/>
                      <a:pt x="39" y="51"/>
                    </a:cubicBezTo>
                    <a:cubicBezTo>
                      <a:pt x="39" y="50"/>
                      <a:pt x="42" y="53"/>
                      <a:pt x="44" y="52"/>
                    </a:cubicBezTo>
                    <a:cubicBezTo>
                      <a:pt x="46" y="50"/>
                      <a:pt x="48" y="54"/>
                      <a:pt x="49" y="53"/>
                    </a:cubicBezTo>
                    <a:cubicBezTo>
                      <a:pt x="50" y="53"/>
                      <a:pt x="55" y="53"/>
                      <a:pt x="57" y="54"/>
                    </a:cubicBezTo>
                    <a:cubicBezTo>
                      <a:pt x="58" y="55"/>
                      <a:pt x="58" y="53"/>
                      <a:pt x="58" y="51"/>
                    </a:cubicBezTo>
                    <a:cubicBezTo>
                      <a:pt x="58" y="50"/>
                      <a:pt x="63" y="46"/>
                      <a:pt x="63" y="46"/>
                    </a:cubicBezTo>
                    <a:cubicBezTo>
                      <a:pt x="63" y="46"/>
                      <a:pt x="66" y="46"/>
                      <a:pt x="68" y="45"/>
                    </a:cubicBezTo>
                    <a:cubicBezTo>
                      <a:pt x="67" y="44"/>
                      <a:pt x="67" y="43"/>
                      <a:pt x="67" y="42"/>
                    </a:cubicBezTo>
                    <a:cubicBezTo>
                      <a:pt x="66" y="38"/>
                      <a:pt x="64" y="35"/>
                      <a:pt x="65" y="34"/>
                    </a:cubicBezTo>
                    <a:cubicBezTo>
                      <a:pt x="67" y="33"/>
                      <a:pt x="70" y="36"/>
                      <a:pt x="71" y="35"/>
                    </a:cubicBezTo>
                    <a:cubicBezTo>
                      <a:pt x="73" y="34"/>
                      <a:pt x="76" y="33"/>
                      <a:pt x="75" y="31"/>
                    </a:cubicBezTo>
                    <a:cubicBezTo>
                      <a:pt x="75" y="30"/>
                      <a:pt x="72" y="27"/>
                      <a:pt x="71" y="2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9" name="Freeform 85">
                <a:extLst>
                  <a:ext uri="{FF2B5EF4-FFF2-40B4-BE49-F238E27FC236}">
                    <a16:creationId xmlns:a16="http://schemas.microsoft.com/office/drawing/2014/main" id="{57F43134-4FA4-4AD5-8A61-A5EF810B4C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3661" y="2857658"/>
                <a:ext cx="135510" cy="63991"/>
              </a:xfrm>
              <a:custGeom>
                <a:avLst/>
                <a:gdLst>
                  <a:gd name="T0" fmla="*/ 20 w 59"/>
                  <a:gd name="T1" fmla="*/ 19 h 28"/>
                  <a:gd name="T2" fmla="*/ 30 w 59"/>
                  <a:gd name="T3" fmla="*/ 19 h 28"/>
                  <a:gd name="T4" fmla="*/ 35 w 59"/>
                  <a:gd name="T5" fmla="*/ 21 h 28"/>
                  <a:gd name="T6" fmla="*/ 43 w 59"/>
                  <a:gd name="T7" fmla="*/ 25 h 28"/>
                  <a:gd name="T8" fmla="*/ 47 w 59"/>
                  <a:gd name="T9" fmla="*/ 28 h 28"/>
                  <a:gd name="T10" fmla="*/ 48 w 59"/>
                  <a:gd name="T11" fmla="*/ 26 h 28"/>
                  <a:gd name="T12" fmla="*/ 54 w 59"/>
                  <a:gd name="T13" fmla="*/ 25 h 28"/>
                  <a:gd name="T14" fmla="*/ 57 w 59"/>
                  <a:gd name="T15" fmla="*/ 22 h 28"/>
                  <a:gd name="T16" fmla="*/ 59 w 59"/>
                  <a:gd name="T17" fmla="*/ 21 h 28"/>
                  <a:gd name="T18" fmla="*/ 58 w 59"/>
                  <a:gd name="T19" fmla="*/ 17 h 28"/>
                  <a:gd name="T20" fmla="*/ 55 w 59"/>
                  <a:gd name="T21" fmla="*/ 12 h 28"/>
                  <a:gd name="T22" fmla="*/ 54 w 59"/>
                  <a:gd name="T23" fmla="*/ 7 h 28"/>
                  <a:gd name="T24" fmla="*/ 53 w 59"/>
                  <a:gd name="T25" fmla="*/ 5 h 28"/>
                  <a:gd name="T26" fmla="*/ 45 w 59"/>
                  <a:gd name="T27" fmla="*/ 5 h 28"/>
                  <a:gd name="T28" fmla="*/ 37 w 59"/>
                  <a:gd name="T29" fmla="*/ 0 h 28"/>
                  <a:gd name="T30" fmla="*/ 28 w 59"/>
                  <a:gd name="T31" fmla="*/ 0 h 28"/>
                  <a:gd name="T32" fmla="*/ 28 w 59"/>
                  <a:gd name="T33" fmla="*/ 8 h 28"/>
                  <a:gd name="T34" fmla="*/ 21 w 59"/>
                  <a:gd name="T35" fmla="*/ 11 h 28"/>
                  <a:gd name="T36" fmla="*/ 14 w 59"/>
                  <a:gd name="T37" fmla="*/ 3 h 28"/>
                  <a:gd name="T38" fmla="*/ 6 w 59"/>
                  <a:gd name="T39" fmla="*/ 7 h 28"/>
                  <a:gd name="T40" fmla="*/ 3 w 59"/>
                  <a:gd name="T41" fmla="*/ 13 h 28"/>
                  <a:gd name="T42" fmla="*/ 2 w 59"/>
                  <a:gd name="T43" fmla="*/ 21 h 28"/>
                  <a:gd name="T44" fmla="*/ 2 w 59"/>
                  <a:gd name="T45" fmla="*/ 21 h 28"/>
                  <a:gd name="T46" fmla="*/ 8 w 59"/>
                  <a:gd name="T47" fmla="*/ 19 h 28"/>
                  <a:gd name="T48" fmla="*/ 20 w 59"/>
                  <a:gd name="T49" fmla="*/ 19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9" h="28">
                    <a:moveTo>
                      <a:pt x="20" y="19"/>
                    </a:moveTo>
                    <a:cubicBezTo>
                      <a:pt x="22" y="19"/>
                      <a:pt x="27" y="20"/>
                      <a:pt x="30" y="19"/>
                    </a:cubicBezTo>
                    <a:cubicBezTo>
                      <a:pt x="33" y="18"/>
                      <a:pt x="33" y="21"/>
                      <a:pt x="35" y="21"/>
                    </a:cubicBezTo>
                    <a:cubicBezTo>
                      <a:pt x="37" y="21"/>
                      <a:pt x="40" y="23"/>
                      <a:pt x="43" y="25"/>
                    </a:cubicBezTo>
                    <a:cubicBezTo>
                      <a:pt x="44" y="26"/>
                      <a:pt x="45" y="27"/>
                      <a:pt x="47" y="28"/>
                    </a:cubicBezTo>
                    <a:cubicBezTo>
                      <a:pt x="47" y="27"/>
                      <a:pt x="47" y="27"/>
                      <a:pt x="48" y="26"/>
                    </a:cubicBezTo>
                    <a:cubicBezTo>
                      <a:pt x="50" y="25"/>
                      <a:pt x="52" y="25"/>
                      <a:pt x="54" y="25"/>
                    </a:cubicBezTo>
                    <a:cubicBezTo>
                      <a:pt x="55" y="25"/>
                      <a:pt x="56" y="23"/>
                      <a:pt x="57" y="22"/>
                    </a:cubicBezTo>
                    <a:cubicBezTo>
                      <a:pt x="57" y="22"/>
                      <a:pt x="58" y="22"/>
                      <a:pt x="59" y="21"/>
                    </a:cubicBezTo>
                    <a:cubicBezTo>
                      <a:pt x="59" y="20"/>
                      <a:pt x="59" y="18"/>
                      <a:pt x="58" y="17"/>
                    </a:cubicBezTo>
                    <a:cubicBezTo>
                      <a:pt x="56" y="15"/>
                      <a:pt x="54" y="13"/>
                      <a:pt x="55" y="12"/>
                    </a:cubicBezTo>
                    <a:cubicBezTo>
                      <a:pt x="56" y="11"/>
                      <a:pt x="56" y="9"/>
                      <a:pt x="54" y="7"/>
                    </a:cubicBezTo>
                    <a:cubicBezTo>
                      <a:pt x="54" y="7"/>
                      <a:pt x="53" y="6"/>
                      <a:pt x="53" y="5"/>
                    </a:cubicBezTo>
                    <a:cubicBezTo>
                      <a:pt x="50" y="5"/>
                      <a:pt x="46" y="5"/>
                      <a:pt x="45" y="5"/>
                    </a:cubicBezTo>
                    <a:cubicBezTo>
                      <a:pt x="44" y="5"/>
                      <a:pt x="38" y="1"/>
                      <a:pt x="37" y="0"/>
                    </a:cubicBezTo>
                    <a:cubicBezTo>
                      <a:pt x="36" y="0"/>
                      <a:pt x="32" y="0"/>
                      <a:pt x="28" y="0"/>
                    </a:cubicBezTo>
                    <a:cubicBezTo>
                      <a:pt x="26" y="3"/>
                      <a:pt x="28" y="4"/>
                      <a:pt x="28" y="8"/>
                    </a:cubicBezTo>
                    <a:cubicBezTo>
                      <a:pt x="27" y="12"/>
                      <a:pt x="23" y="11"/>
                      <a:pt x="21" y="11"/>
                    </a:cubicBezTo>
                    <a:cubicBezTo>
                      <a:pt x="19" y="11"/>
                      <a:pt x="15" y="5"/>
                      <a:pt x="14" y="3"/>
                    </a:cubicBezTo>
                    <a:cubicBezTo>
                      <a:pt x="13" y="1"/>
                      <a:pt x="9" y="5"/>
                      <a:pt x="6" y="7"/>
                    </a:cubicBezTo>
                    <a:cubicBezTo>
                      <a:pt x="3" y="8"/>
                      <a:pt x="5" y="11"/>
                      <a:pt x="3" y="13"/>
                    </a:cubicBezTo>
                    <a:cubicBezTo>
                      <a:pt x="1" y="14"/>
                      <a:pt x="0" y="17"/>
                      <a:pt x="2" y="21"/>
                    </a:cubicBezTo>
                    <a:cubicBezTo>
                      <a:pt x="2" y="21"/>
                      <a:pt x="2" y="21"/>
                      <a:pt x="2" y="21"/>
                    </a:cubicBezTo>
                    <a:cubicBezTo>
                      <a:pt x="4" y="21"/>
                      <a:pt x="7" y="20"/>
                      <a:pt x="8" y="19"/>
                    </a:cubicBezTo>
                    <a:cubicBezTo>
                      <a:pt x="11" y="17"/>
                      <a:pt x="18" y="19"/>
                      <a:pt x="20" y="1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0" name="Freeform 86">
                <a:extLst>
                  <a:ext uri="{FF2B5EF4-FFF2-40B4-BE49-F238E27FC236}">
                    <a16:creationId xmlns:a16="http://schemas.microsoft.com/office/drawing/2014/main" id="{E4866CED-8D58-4C97-8E46-D614531F88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3661" y="2896554"/>
                <a:ext cx="107906" cy="69010"/>
              </a:xfrm>
              <a:custGeom>
                <a:avLst/>
                <a:gdLst>
                  <a:gd name="T0" fmla="*/ 7 w 47"/>
                  <a:gd name="T1" fmla="*/ 15 h 30"/>
                  <a:gd name="T2" fmla="*/ 11 w 47"/>
                  <a:gd name="T3" fmla="*/ 17 h 30"/>
                  <a:gd name="T4" fmla="*/ 16 w 47"/>
                  <a:gd name="T5" fmla="*/ 20 h 30"/>
                  <a:gd name="T6" fmla="*/ 16 w 47"/>
                  <a:gd name="T7" fmla="*/ 26 h 30"/>
                  <a:gd name="T8" fmla="*/ 22 w 47"/>
                  <a:gd name="T9" fmla="*/ 29 h 30"/>
                  <a:gd name="T10" fmla="*/ 28 w 47"/>
                  <a:gd name="T11" fmla="*/ 30 h 30"/>
                  <a:gd name="T12" fmla="*/ 32 w 47"/>
                  <a:gd name="T13" fmla="*/ 28 h 30"/>
                  <a:gd name="T14" fmla="*/ 37 w 47"/>
                  <a:gd name="T15" fmla="*/ 26 h 30"/>
                  <a:gd name="T16" fmla="*/ 38 w 47"/>
                  <a:gd name="T17" fmla="*/ 22 h 30"/>
                  <a:gd name="T18" fmla="*/ 42 w 47"/>
                  <a:gd name="T19" fmla="*/ 19 h 30"/>
                  <a:gd name="T20" fmla="*/ 45 w 47"/>
                  <a:gd name="T21" fmla="*/ 16 h 30"/>
                  <a:gd name="T22" fmla="*/ 46 w 47"/>
                  <a:gd name="T23" fmla="*/ 13 h 30"/>
                  <a:gd name="T24" fmla="*/ 47 w 47"/>
                  <a:gd name="T25" fmla="*/ 11 h 30"/>
                  <a:gd name="T26" fmla="*/ 43 w 47"/>
                  <a:gd name="T27" fmla="*/ 8 h 30"/>
                  <a:gd name="T28" fmla="*/ 35 w 47"/>
                  <a:gd name="T29" fmla="*/ 4 h 30"/>
                  <a:gd name="T30" fmla="*/ 30 w 47"/>
                  <a:gd name="T31" fmla="*/ 2 h 30"/>
                  <a:gd name="T32" fmla="*/ 20 w 47"/>
                  <a:gd name="T33" fmla="*/ 2 h 30"/>
                  <a:gd name="T34" fmla="*/ 8 w 47"/>
                  <a:gd name="T35" fmla="*/ 2 h 30"/>
                  <a:gd name="T36" fmla="*/ 2 w 47"/>
                  <a:gd name="T37" fmla="*/ 4 h 30"/>
                  <a:gd name="T38" fmla="*/ 1 w 47"/>
                  <a:gd name="T39" fmla="*/ 13 h 30"/>
                  <a:gd name="T40" fmla="*/ 2 w 47"/>
                  <a:gd name="T41" fmla="*/ 15 h 30"/>
                  <a:gd name="T42" fmla="*/ 7 w 47"/>
                  <a:gd name="T43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7" h="30">
                    <a:moveTo>
                      <a:pt x="7" y="15"/>
                    </a:moveTo>
                    <a:cubicBezTo>
                      <a:pt x="7" y="17"/>
                      <a:pt x="10" y="18"/>
                      <a:pt x="11" y="17"/>
                    </a:cubicBezTo>
                    <a:cubicBezTo>
                      <a:pt x="12" y="17"/>
                      <a:pt x="16" y="18"/>
                      <a:pt x="16" y="20"/>
                    </a:cubicBezTo>
                    <a:cubicBezTo>
                      <a:pt x="16" y="21"/>
                      <a:pt x="15" y="26"/>
                      <a:pt x="16" y="26"/>
                    </a:cubicBezTo>
                    <a:cubicBezTo>
                      <a:pt x="17" y="26"/>
                      <a:pt x="22" y="27"/>
                      <a:pt x="22" y="29"/>
                    </a:cubicBezTo>
                    <a:cubicBezTo>
                      <a:pt x="24" y="29"/>
                      <a:pt x="27" y="29"/>
                      <a:pt x="28" y="30"/>
                    </a:cubicBezTo>
                    <a:cubicBezTo>
                      <a:pt x="30" y="30"/>
                      <a:pt x="31" y="29"/>
                      <a:pt x="32" y="28"/>
                    </a:cubicBezTo>
                    <a:cubicBezTo>
                      <a:pt x="33" y="27"/>
                      <a:pt x="36" y="26"/>
                      <a:pt x="37" y="26"/>
                    </a:cubicBezTo>
                    <a:cubicBezTo>
                      <a:pt x="38" y="26"/>
                      <a:pt x="38" y="24"/>
                      <a:pt x="38" y="22"/>
                    </a:cubicBezTo>
                    <a:cubicBezTo>
                      <a:pt x="39" y="21"/>
                      <a:pt x="41" y="19"/>
                      <a:pt x="42" y="19"/>
                    </a:cubicBezTo>
                    <a:cubicBezTo>
                      <a:pt x="44" y="18"/>
                      <a:pt x="44" y="16"/>
                      <a:pt x="45" y="16"/>
                    </a:cubicBezTo>
                    <a:cubicBezTo>
                      <a:pt x="47" y="16"/>
                      <a:pt x="46" y="14"/>
                      <a:pt x="46" y="13"/>
                    </a:cubicBezTo>
                    <a:cubicBezTo>
                      <a:pt x="46" y="13"/>
                      <a:pt x="46" y="12"/>
                      <a:pt x="47" y="11"/>
                    </a:cubicBezTo>
                    <a:cubicBezTo>
                      <a:pt x="45" y="10"/>
                      <a:pt x="44" y="9"/>
                      <a:pt x="43" y="8"/>
                    </a:cubicBezTo>
                    <a:cubicBezTo>
                      <a:pt x="40" y="6"/>
                      <a:pt x="37" y="4"/>
                      <a:pt x="35" y="4"/>
                    </a:cubicBezTo>
                    <a:cubicBezTo>
                      <a:pt x="33" y="4"/>
                      <a:pt x="33" y="1"/>
                      <a:pt x="30" y="2"/>
                    </a:cubicBezTo>
                    <a:cubicBezTo>
                      <a:pt x="27" y="3"/>
                      <a:pt x="22" y="2"/>
                      <a:pt x="20" y="2"/>
                    </a:cubicBezTo>
                    <a:cubicBezTo>
                      <a:pt x="18" y="2"/>
                      <a:pt x="11" y="0"/>
                      <a:pt x="8" y="2"/>
                    </a:cubicBezTo>
                    <a:cubicBezTo>
                      <a:pt x="7" y="3"/>
                      <a:pt x="4" y="4"/>
                      <a:pt x="2" y="4"/>
                    </a:cubicBezTo>
                    <a:cubicBezTo>
                      <a:pt x="4" y="7"/>
                      <a:pt x="3" y="11"/>
                      <a:pt x="1" y="13"/>
                    </a:cubicBezTo>
                    <a:cubicBezTo>
                      <a:pt x="0" y="14"/>
                      <a:pt x="1" y="14"/>
                      <a:pt x="2" y="15"/>
                    </a:cubicBezTo>
                    <a:cubicBezTo>
                      <a:pt x="4" y="15"/>
                      <a:pt x="6" y="14"/>
                      <a:pt x="7" y="1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1" name="Freeform 87">
                <a:extLst>
                  <a:ext uri="{FF2B5EF4-FFF2-40B4-BE49-F238E27FC236}">
                    <a16:creationId xmlns:a16="http://schemas.microsoft.com/office/drawing/2014/main" id="{4CABC660-9AF0-4149-B14C-7A53F8D933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7659" y="3119895"/>
                <a:ext cx="84067" cy="46425"/>
              </a:xfrm>
              <a:custGeom>
                <a:avLst/>
                <a:gdLst>
                  <a:gd name="T0" fmla="*/ 32 w 36"/>
                  <a:gd name="T1" fmla="*/ 8 h 20"/>
                  <a:gd name="T2" fmla="*/ 28 w 36"/>
                  <a:gd name="T3" fmla="*/ 6 h 20"/>
                  <a:gd name="T4" fmla="*/ 28 w 36"/>
                  <a:gd name="T5" fmla="*/ 3 h 20"/>
                  <a:gd name="T6" fmla="*/ 24 w 36"/>
                  <a:gd name="T7" fmla="*/ 1 h 20"/>
                  <a:gd name="T8" fmla="*/ 18 w 36"/>
                  <a:gd name="T9" fmla="*/ 1 h 20"/>
                  <a:gd name="T10" fmla="*/ 11 w 36"/>
                  <a:gd name="T11" fmla="*/ 1 h 20"/>
                  <a:gd name="T12" fmla="*/ 10 w 36"/>
                  <a:gd name="T13" fmla="*/ 2 h 20"/>
                  <a:gd name="T14" fmla="*/ 6 w 36"/>
                  <a:gd name="T15" fmla="*/ 6 h 20"/>
                  <a:gd name="T16" fmla="*/ 1 w 36"/>
                  <a:gd name="T17" fmla="*/ 12 h 20"/>
                  <a:gd name="T18" fmla="*/ 2 w 36"/>
                  <a:gd name="T19" fmla="*/ 15 h 20"/>
                  <a:gd name="T20" fmla="*/ 6 w 36"/>
                  <a:gd name="T21" fmla="*/ 15 h 20"/>
                  <a:gd name="T22" fmla="*/ 7 w 36"/>
                  <a:gd name="T23" fmla="*/ 19 h 20"/>
                  <a:gd name="T24" fmla="*/ 7 w 36"/>
                  <a:gd name="T25" fmla="*/ 19 h 20"/>
                  <a:gd name="T26" fmla="*/ 14 w 36"/>
                  <a:gd name="T27" fmla="*/ 19 h 20"/>
                  <a:gd name="T28" fmla="*/ 18 w 36"/>
                  <a:gd name="T29" fmla="*/ 13 h 20"/>
                  <a:gd name="T30" fmla="*/ 22 w 36"/>
                  <a:gd name="T31" fmla="*/ 19 h 20"/>
                  <a:gd name="T32" fmla="*/ 25 w 36"/>
                  <a:gd name="T33" fmla="*/ 16 h 20"/>
                  <a:gd name="T34" fmla="*/ 27 w 36"/>
                  <a:gd name="T35" fmla="*/ 14 h 20"/>
                  <a:gd name="T36" fmla="*/ 31 w 36"/>
                  <a:gd name="T37" fmla="*/ 13 h 20"/>
                  <a:gd name="T38" fmla="*/ 34 w 36"/>
                  <a:gd name="T39" fmla="*/ 12 h 20"/>
                  <a:gd name="T40" fmla="*/ 35 w 36"/>
                  <a:gd name="T41" fmla="*/ 10 h 20"/>
                  <a:gd name="T42" fmla="*/ 36 w 36"/>
                  <a:gd name="T43" fmla="*/ 9 h 20"/>
                  <a:gd name="T44" fmla="*/ 32 w 36"/>
                  <a:gd name="T45" fmla="*/ 8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6" h="20">
                    <a:moveTo>
                      <a:pt x="32" y="8"/>
                    </a:moveTo>
                    <a:cubicBezTo>
                      <a:pt x="31" y="9"/>
                      <a:pt x="28" y="7"/>
                      <a:pt x="28" y="6"/>
                    </a:cubicBezTo>
                    <a:cubicBezTo>
                      <a:pt x="28" y="6"/>
                      <a:pt x="28" y="4"/>
                      <a:pt x="28" y="3"/>
                    </a:cubicBezTo>
                    <a:cubicBezTo>
                      <a:pt x="27" y="2"/>
                      <a:pt x="25" y="1"/>
                      <a:pt x="24" y="1"/>
                    </a:cubicBezTo>
                    <a:cubicBezTo>
                      <a:pt x="21" y="0"/>
                      <a:pt x="20" y="0"/>
                      <a:pt x="18" y="1"/>
                    </a:cubicBezTo>
                    <a:cubicBezTo>
                      <a:pt x="17" y="2"/>
                      <a:pt x="14" y="1"/>
                      <a:pt x="11" y="1"/>
                    </a:cubicBezTo>
                    <a:cubicBezTo>
                      <a:pt x="11" y="2"/>
                      <a:pt x="11" y="2"/>
                      <a:pt x="10" y="2"/>
                    </a:cubicBezTo>
                    <a:cubicBezTo>
                      <a:pt x="9" y="2"/>
                      <a:pt x="6" y="4"/>
                      <a:pt x="6" y="6"/>
                    </a:cubicBezTo>
                    <a:cubicBezTo>
                      <a:pt x="6" y="8"/>
                      <a:pt x="2" y="9"/>
                      <a:pt x="1" y="12"/>
                    </a:cubicBezTo>
                    <a:cubicBezTo>
                      <a:pt x="0" y="15"/>
                      <a:pt x="0" y="17"/>
                      <a:pt x="2" y="15"/>
                    </a:cubicBezTo>
                    <a:cubicBezTo>
                      <a:pt x="4" y="13"/>
                      <a:pt x="6" y="14"/>
                      <a:pt x="6" y="15"/>
                    </a:cubicBezTo>
                    <a:cubicBezTo>
                      <a:pt x="6" y="17"/>
                      <a:pt x="8" y="17"/>
                      <a:pt x="7" y="19"/>
                    </a:cubicBezTo>
                    <a:cubicBezTo>
                      <a:pt x="7" y="19"/>
                      <a:pt x="7" y="19"/>
                      <a:pt x="7" y="19"/>
                    </a:cubicBezTo>
                    <a:cubicBezTo>
                      <a:pt x="9" y="19"/>
                      <a:pt x="13" y="19"/>
                      <a:pt x="14" y="19"/>
                    </a:cubicBezTo>
                    <a:cubicBezTo>
                      <a:pt x="16" y="19"/>
                      <a:pt x="17" y="14"/>
                      <a:pt x="18" y="13"/>
                    </a:cubicBezTo>
                    <a:cubicBezTo>
                      <a:pt x="19" y="13"/>
                      <a:pt x="21" y="17"/>
                      <a:pt x="22" y="19"/>
                    </a:cubicBezTo>
                    <a:cubicBezTo>
                      <a:pt x="24" y="20"/>
                      <a:pt x="25" y="17"/>
                      <a:pt x="25" y="16"/>
                    </a:cubicBezTo>
                    <a:cubicBezTo>
                      <a:pt x="25" y="14"/>
                      <a:pt x="26" y="14"/>
                      <a:pt x="27" y="14"/>
                    </a:cubicBezTo>
                    <a:cubicBezTo>
                      <a:pt x="29" y="14"/>
                      <a:pt x="31" y="15"/>
                      <a:pt x="31" y="13"/>
                    </a:cubicBezTo>
                    <a:cubicBezTo>
                      <a:pt x="31" y="11"/>
                      <a:pt x="33" y="12"/>
                      <a:pt x="34" y="12"/>
                    </a:cubicBezTo>
                    <a:cubicBezTo>
                      <a:pt x="35" y="12"/>
                      <a:pt x="35" y="10"/>
                      <a:pt x="35" y="10"/>
                    </a:cubicBezTo>
                    <a:cubicBezTo>
                      <a:pt x="36" y="9"/>
                      <a:pt x="36" y="9"/>
                      <a:pt x="36" y="9"/>
                    </a:cubicBezTo>
                    <a:cubicBezTo>
                      <a:pt x="35" y="8"/>
                      <a:pt x="34" y="8"/>
                      <a:pt x="32" y="8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2" name="Freeform 88">
                <a:extLst>
                  <a:ext uri="{FF2B5EF4-FFF2-40B4-BE49-F238E27FC236}">
                    <a16:creationId xmlns:a16="http://schemas.microsoft.com/office/drawing/2014/main" id="{5B13A227-23B3-4342-854B-6D368F23CA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6404" y="2942979"/>
                <a:ext cx="165624" cy="189464"/>
              </a:xfrm>
              <a:custGeom>
                <a:avLst/>
                <a:gdLst>
                  <a:gd name="T0" fmla="*/ 9 w 72"/>
                  <a:gd name="T1" fmla="*/ 21 h 82"/>
                  <a:gd name="T2" fmla="*/ 5 w 72"/>
                  <a:gd name="T3" fmla="*/ 25 h 82"/>
                  <a:gd name="T4" fmla="*/ 8 w 72"/>
                  <a:gd name="T5" fmla="*/ 29 h 82"/>
                  <a:gd name="T6" fmla="*/ 6 w 72"/>
                  <a:gd name="T7" fmla="*/ 32 h 82"/>
                  <a:gd name="T8" fmla="*/ 2 w 72"/>
                  <a:gd name="T9" fmla="*/ 34 h 82"/>
                  <a:gd name="T10" fmla="*/ 1 w 72"/>
                  <a:gd name="T11" fmla="*/ 38 h 82"/>
                  <a:gd name="T12" fmla="*/ 0 w 72"/>
                  <a:gd name="T13" fmla="*/ 44 h 82"/>
                  <a:gd name="T14" fmla="*/ 2 w 72"/>
                  <a:gd name="T15" fmla="*/ 49 h 82"/>
                  <a:gd name="T16" fmla="*/ 1 w 72"/>
                  <a:gd name="T17" fmla="*/ 53 h 82"/>
                  <a:gd name="T18" fmla="*/ 3 w 72"/>
                  <a:gd name="T19" fmla="*/ 59 h 82"/>
                  <a:gd name="T20" fmla="*/ 5 w 72"/>
                  <a:gd name="T21" fmla="*/ 60 h 82"/>
                  <a:gd name="T22" fmla="*/ 10 w 72"/>
                  <a:gd name="T23" fmla="*/ 63 h 82"/>
                  <a:gd name="T24" fmla="*/ 15 w 72"/>
                  <a:gd name="T25" fmla="*/ 64 h 82"/>
                  <a:gd name="T26" fmla="*/ 16 w 72"/>
                  <a:gd name="T27" fmla="*/ 67 h 82"/>
                  <a:gd name="T28" fmla="*/ 13 w 72"/>
                  <a:gd name="T29" fmla="*/ 73 h 82"/>
                  <a:gd name="T30" fmla="*/ 12 w 72"/>
                  <a:gd name="T31" fmla="*/ 78 h 82"/>
                  <a:gd name="T32" fmla="*/ 19 w 72"/>
                  <a:gd name="T33" fmla="*/ 78 h 82"/>
                  <a:gd name="T34" fmla="*/ 25 w 72"/>
                  <a:gd name="T35" fmla="*/ 78 h 82"/>
                  <a:gd name="T36" fmla="*/ 29 w 72"/>
                  <a:gd name="T37" fmla="*/ 80 h 82"/>
                  <a:gd name="T38" fmla="*/ 30 w 72"/>
                  <a:gd name="T39" fmla="*/ 79 h 82"/>
                  <a:gd name="T40" fmla="*/ 35 w 72"/>
                  <a:gd name="T41" fmla="*/ 80 h 82"/>
                  <a:gd name="T42" fmla="*/ 40 w 72"/>
                  <a:gd name="T43" fmla="*/ 79 h 82"/>
                  <a:gd name="T44" fmla="*/ 44 w 72"/>
                  <a:gd name="T45" fmla="*/ 79 h 82"/>
                  <a:gd name="T46" fmla="*/ 52 w 72"/>
                  <a:gd name="T47" fmla="*/ 77 h 82"/>
                  <a:gd name="T48" fmla="*/ 56 w 72"/>
                  <a:gd name="T49" fmla="*/ 75 h 82"/>
                  <a:gd name="T50" fmla="*/ 59 w 72"/>
                  <a:gd name="T51" fmla="*/ 70 h 82"/>
                  <a:gd name="T52" fmla="*/ 63 w 72"/>
                  <a:gd name="T53" fmla="*/ 67 h 82"/>
                  <a:gd name="T54" fmla="*/ 55 w 72"/>
                  <a:gd name="T55" fmla="*/ 60 h 82"/>
                  <a:gd name="T56" fmla="*/ 52 w 72"/>
                  <a:gd name="T57" fmla="*/ 54 h 82"/>
                  <a:gd name="T58" fmla="*/ 52 w 72"/>
                  <a:gd name="T59" fmla="*/ 49 h 82"/>
                  <a:gd name="T60" fmla="*/ 60 w 72"/>
                  <a:gd name="T61" fmla="*/ 46 h 82"/>
                  <a:gd name="T62" fmla="*/ 67 w 72"/>
                  <a:gd name="T63" fmla="*/ 43 h 82"/>
                  <a:gd name="T64" fmla="*/ 71 w 72"/>
                  <a:gd name="T65" fmla="*/ 43 h 82"/>
                  <a:gd name="T66" fmla="*/ 71 w 72"/>
                  <a:gd name="T67" fmla="*/ 38 h 82"/>
                  <a:gd name="T68" fmla="*/ 69 w 72"/>
                  <a:gd name="T69" fmla="*/ 32 h 82"/>
                  <a:gd name="T70" fmla="*/ 68 w 72"/>
                  <a:gd name="T71" fmla="*/ 28 h 82"/>
                  <a:gd name="T72" fmla="*/ 66 w 72"/>
                  <a:gd name="T73" fmla="*/ 24 h 82"/>
                  <a:gd name="T74" fmla="*/ 66 w 72"/>
                  <a:gd name="T75" fmla="*/ 21 h 82"/>
                  <a:gd name="T76" fmla="*/ 66 w 72"/>
                  <a:gd name="T77" fmla="*/ 12 h 82"/>
                  <a:gd name="T78" fmla="*/ 66 w 72"/>
                  <a:gd name="T79" fmla="*/ 11 h 82"/>
                  <a:gd name="T80" fmla="*/ 65 w 72"/>
                  <a:gd name="T81" fmla="*/ 10 h 82"/>
                  <a:gd name="T82" fmla="*/ 61 w 72"/>
                  <a:gd name="T83" fmla="*/ 8 h 82"/>
                  <a:gd name="T84" fmla="*/ 61 w 72"/>
                  <a:gd name="T85" fmla="*/ 3 h 82"/>
                  <a:gd name="T86" fmla="*/ 54 w 72"/>
                  <a:gd name="T87" fmla="*/ 5 h 82"/>
                  <a:gd name="T88" fmla="*/ 45 w 72"/>
                  <a:gd name="T89" fmla="*/ 10 h 82"/>
                  <a:gd name="T90" fmla="*/ 41 w 72"/>
                  <a:gd name="T91" fmla="*/ 7 h 82"/>
                  <a:gd name="T92" fmla="*/ 38 w 72"/>
                  <a:gd name="T93" fmla="*/ 6 h 82"/>
                  <a:gd name="T94" fmla="*/ 32 w 72"/>
                  <a:gd name="T95" fmla="*/ 3 h 82"/>
                  <a:gd name="T96" fmla="*/ 32 w 72"/>
                  <a:gd name="T97" fmla="*/ 1 h 82"/>
                  <a:gd name="T98" fmla="*/ 29 w 72"/>
                  <a:gd name="T99" fmla="*/ 1 h 82"/>
                  <a:gd name="T100" fmla="*/ 21 w 72"/>
                  <a:gd name="T101" fmla="*/ 0 h 82"/>
                  <a:gd name="T102" fmla="*/ 23 w 72"/>
                  <a:gd name="T103" fmla="*/ 4 h 82"/>
                  <a:gd name="T104" fmla="*/ 25 w 72"/>
                  <a:gd name="T105" fmla="*/ 11 h 82"/>
                  <a:gd name="T106" fmla="*/ 21 w 72"/>
                  <a:gd name="T107" fmla="*/ 14 h 82"/>
                  <a:gd name="T108" fmla="*/ 15 w 72"/>
                  <a:gd name="T109" fmla="*/ 13 h 82"/>
                  <a:gd name="T110" fmla="*/ 9 w 72"/>
                  <a:gd name="T111" fmla="*/ 14 h 82"/>
                  <a:gd name="T112" fmla="*/ 9 w 72"/>
                  <a:gd name="T113" fmla="*/ 16 h 82"/>
                  <a:gd name="T114" fmla="*/ 9 w 72"/>
                  <a:gd name="T115" fmla="*/ 21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72" h="82">
                    <a:moveTo>
                      <a:pt x="9" y="21"/>
                    </a:moveTo>
                    <a:cubicBezTo>
                      <a:pt x="7" y="24"/>
                      <a:pt x="5" y="24"/>
                      <a:pt x="5" y="25"/>
                    </a:cubicBezTo>
                    <a:cubicBezTo>
                      <a:pt x="6" y="26"/>
                      <a:pt x="9" y="28"/>
                      <a:pt x="8" y="29"/>
                    </a:cubicBezTo>
                    <a:cubicBezTo>
                      <a:pt x="7" y="31"/>
                      <a:pt x="6" y="30"/>
                      <a:pt x="6" y="32"/>
                    </a:cubicBezTo>
                    <a:cubicBezTo>
                      <a:pt x="6" y="34"/>
                      <a:pt x="3" y="34"/>
                      <a:pt x="2" y="34"/>
                    </a:cubicBezTo>
                    <a:cubicBezTo>
                      <a:pt x="1" y="34"/>
                      <a:pt x="2" y="36"/>
                      <a:pt x="1" y="38"/>
                    </a:cubicBezTo>
                    <a:cubicBezTo>
                      <a:pt x="1" y="40"/>
                      <a:pt x="1" y="43"/>
                      <a:pt x="0" y="44"/>
                    </a:cubicBezTo>
                    <a:cubicBezTo>
                      <a:pt x="0" y="46"/>
                      <a:pt x="3" y="48"/>
                      <a:pt x="2" y="49"/>
                    </a:cubicBezTo>
                    <a:cubicBezTo>
                      <a:pt x="2" y="51"/>
                      <a:pt x="0" y="52"/>
                      <a:pt x="1" y="53"/>
                    </a:cubicBezTo>
                    <a:cubicBezTo>
                      <a:pt x="1" y="53"/>
                      <a:pt x="3" y="55"/>
                      <a:pt x="3" y="59"/>
                    </a:cubicBezTo>
                    <a:cubicBezTo>
                      <a:pt x="4" y="59"/>
                      <a:pt x="5" y="60"/>
                      <a:pt x="5" y="60"/>
                    </a:cubicBezTo>
                    <a:cubicBezTo>
                      <a:pt x="6" y="62"/>
                      <a:pt x="8" y="63"/>
                      <a:pt x="10" y="63"/>
                    </a:cubicBezTo>
                    <a:cubicBezTo>
                      <a:pt x="13" y="63"/>
                      <a:pt x="14" y="64"/>
                      <a:pt x="15" y="64"/>
                    </a:cubicBezTo>
                    <a:cubicBezTo>
                      <a:pt x="16" y="64"/>
                      <a:pt x="19" y="65"/>
                      <a:pt x="16" y="67"/>
                    </a:cubicBezTo>
                    <a:cubicBezTo>
                      <a:pt x="14" y="69"/>
                      <a:pt x="14" y="71"/>
                      <a:pt x="13" y="73"/>
                    </a:cubicBezTo>
                    <a:cubicBezTo>
                      <a:pt x="13" y="75"/>
                      <a:pt x="13" y="77"/>
                      <a:pt x="12" y="78"/>
                    </a:cubicBezTo>
                    <a:cubicBezTo>
                      <a:pt x="15" y="78"/>
                      <a:pt x="18" y="79"/>
                      <a:pt x="19" y="78"/>
                    </a:cubicBezTo>
                    <a:cubicBezTo>
                      <a:pt x="21" y="77"/>
                      <a:pt x="22" y="77"/>
                      <a:pt x="25" y="78"/>
                    </a:cubicBezTo>
                    <a:cubicBezTo>
                      <a:pt x="26" y="78"/>
                      <a:pt x="28" y="79"/>
                      <a:pt x="29" y="80"/>
                    </a:cubicBezTo>
                    <a:cubicBezTo>
                      <a:pt x="29" y="79"/>
                      <a:pt x="30" y="79"/>
                      <a:pt x="30" y="79"/>
                    </a:cubicBezTo>
                    <a:cubicBezTo>
                      <a:pt x="32" y="79"/>
                      <a:pt x="34" y="82"/>
                      <a:pt x="35" y="80"/>
                    </a:cubicBezTo>
                    <a:cubicBezTo>
                      <a:pt x="36" y="78"/>
                      <a:pt x="38" y="79"/>
                      <a:pt x="40" y="79"/>
                    </a:cubicBezTo>
                    <a:cubicBezTo>
                      <a:pt x="41" y="80"/>
                      <a:pt x="43" y="80"/>
                      <a:pt x="44" y="79"/>
                    </a:cubicBezTo>
                    <a:cubicBezTo>
                      <a:pt x="46" y="78"/>
                      <a:pt x="51" y="77"/>
                      <a:pt x="52" y="77"/>
                    </a:cubicBezTo>
                    <a:cubicBezTo>
                      <a:pt x="54" y="78"/>
                      <a:pt x="57" y="79"/>
                      <a:pt x="56" y="75"/>
                    </a:cubicBezTo>
                    <a:cubicBezTo>
                      <a:pt x="54" y="71"/>
                      <a:pt x="58" y="72"/>
                      <a:pt x="59" y="70"/>
                    </a:cubicBezTo>
                    <a:cubicBezTo>
                      <a:pt x="59" y="69"/>
                      <a:pt x="64" y="68"/>
                      <a:pt x="63" y="67"/>
                    </a:cubicBezTo>
                    <a:cubicBezTo>
                      <a:pt x="63" y="65"/>
                      <a:pt x="57" y="62"/>
                      <a:pt x="55" y="60"/>
                    </a:cubicBezTo>
                    <a:cubicBezTo>
                      <a:pt x="53" y="59"/>
                      <a:pt x="53" y="55"/>
                      <a:pt x="52" y="54"/>
                    </a:cubicBezTo>
                    <a:cubicBezTo>
                      <a:pt x="51" y="52"/>
                      <a:pt x="49" y="50"/>
                      <a:pt x="52" y="49"/>
                    </a:cubicBezTo>
                    <a:cubicBezTo>
                      <a:pt x="54" y="49"/>
                      <a:pt x="58" y="48"/>
                      <a:pt x="60" y="46"/>
                    </a:cubicBezTo>
                    <a:cubicBezTo>
                      <a:pt x="62" y="44"/>
                      <a:pt x="66" y="44"/>
                      <a:pt x="67" y="43"/>
                    </a:cubicBezTo>
                    <a:cubicBezTo>
                      <a:pt x="68" y="42"/>
                      <a:pt x="70" y="44"/>
                      <a:pt x="71" y="43"/>
                    </a:cubicBezTo>
                    <a:cubicBezTo>
                      <a:pt x="72" y="42"/>
                      <a:pt x="72" y="40"/>
                      <a:pt x="71" y="38"/>
                    </a:cubicBezTo>
                    <a:cubicBezTo>
                      <a:pt x="70" y="37"/>
                      <a:pt x="69" y="35"/>
                      <a:pt x="69" y="32"/>
                    </a:cubicBezTo>
                    <a:cubicBezTo>
                      <a:pt x="69" y="29"/>
                      <a:pt x="68" y="29"/>
                      <a:pt x="68" y="28"/>
                    </a:cubicBezTo>
                    <a:cubicBezTo>
                      <a:pt x="68" y="26"/>
                      <a:pt x="68" y="24"/>
                      <a:pt x="66" y="24"/>
                    </a:cubicBezTo>
                    <a:cubicBezTo>
                      <a:pt x="65" y="23"/>
                      <a:pt x="65" y="22"/>
                      <a:pt x="66" y="21"/>
                    </a:cubicBezTo>
                    <a:cubicBezTo>
                      <a:pt x="67" y="19"/>
                      <a:pt x="67" y="14"/>
                      <a:pt x="66" y="12"/>
                    </a:cubicBezTo>
                    <a:cubicBezTo>
                      <a:pt x="66" y="12"/>
                      <a:pt x="66" y="12"/>
                      <a:pt x="66" y="11"/>
                    </a:cubicBezTo>
                    <a:cubicBezTo>
                      <a:pt x="66" y="11"/>
                      <a:pt x="65" y="11"/>
                      <a:pt x="65" y="10"/>
                    </a:cubicBezTo>
                    <a:cubicBezTo>
                      <a:pt x="65" y="8"/>
                      <a:pt x="64" y="8"/>
                      <a:pt x="61" y="8"/>
                    </a:cubicBezTo>
                    <a:cubicBezTo>
                      <a:pt x="57" y="8"/>
                      <a:pt x="62" y="4"/>
                      <a:pt x="61" y="3"/>
                    </a:cubicBezTo>
                    <a:cubicBezTo>
                      <a:pt x="60" y="1"/>
                      <a:pt x="57" y="6"/>
                      <a:pt x="54" y="5"/>
                    </a:cubicBezTo>
                    <a:cubicBezTo>
                      <a:pt x="51" y="4"/>
                      <a:pt x="48" y="8"/>
                      <a:pt x="45" y="10"/>
                    </a:cubicBezTo>
                    <a:cubicBezTo>
                      <a:pt x="43" y="12"/>
                      <a:pt x="39" y="10"/>
                      <a:pt x="41" y="7"/>
                    </a:cubicBezTo>
                    <a:cubicBezTo>
                      <a:pt x="43" y="4"/>
                      <a:pt x="41" y="4"/>
                      <a:pt x="38" y="6"/>
                    </a:cubicBezTo>
                    <a:cubicBezTo>
                      <a:pt x="35" y="7"/>
                      <a:pt x="32" y="5"/>
                      <a:pt x="32" y="3"/>
                    </a:cubicBezTo>
                    <a:cubicBezTo>
                      <a:pt x="32" y="2"/>
                      <a:pt x="32" y="1"/>
                      <a:pt x="32" y="1"/>
                    </a:cubicBezTo>
                    <a:cubicBezTo>
                      <a:pt x="30" y="1"/>
                      <a:pt x="29" y="1"/>
                      <a:pt x="29" y="1"/>
                    </a:cubicBezTo>
                    <a:cubicBezTo>
                      <a:pt x="27" y="0"/>
                      <a:pt x="24" y="0"/>
                      <a:pt x="21" y="0"/>
                    </a:cubicBezTo>
                    <a:cubicBezTo>
                      <a:pt x="22" y="2"/>
                      <a:pt x="23" y="3"/>
                      <a:pt x="23" y="4"/>
                    </a:cubicBezTo>
                    <a:cubicBezTo>
                      <a:pt x="22" y="6"/>
                      <a:pt x="23" y="8"/>
                      <a:pt x="25" y="11"/>
                    </a:cubicBezTo>
                    <a:cubicBezTo>
                      <a:pt x="26" y="14"/>
                      <a:pt x="22" y="12"/>
                      <a:pt x="21" y="14"/>
                    </a:cubicBezTo>
                    <a:cubicBezTo>
                      <a:pt x="21" y="16"/>
                      <a:pt x="17" y="14"/>
                      <a:pt x="15" y="13"/>
                    </a:cubicBezTo>
                    <a:cubicBezTo>
                      <a:pt x="14" y="13"/>
                      <a:pt x="9" y="13"/>
                      <a:pt x="9" y="14"/>
                    </a:cubicBezTo>
                    <a:cubicBezTo>
                      <a:pt x="9" y="15"/>
                      <a:pt x="9" y="15"/>
                      <a:pt x="9" y="16"/>
                    </a:cubicBezTo>
                    <a:cubicBezTo>
                      <a:pt x="10" y="18"/>
                      <a:pt x="10" y="20"/>
                      <a:pt x="9" y="2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3" name="Freeform 89">
                <a:extLst>
                  <a:ext uri="{FF2B5EF4-FFF2-40B4-BE49-F238E27FC236}">
                    <a16:creationId xmlns:a16="http://schemas.microsoft.com/office/drawing/2014/main" id="{3B341193-8026-4E7A-99A1-9AA780939F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7425" y="2493787"/>
                <a:ext cx="194483" cy="311172"/>
              </a:xfrm>
              <a:custGeom>
                <a:avLst/>
                <a:gdLst>
                  <a:gd name="T0" fmla="*/ 71 w 84"/>
                  <a:gd name="T1" fmla="*/ 113 h 135"/>
                  <a:gd name="T2" fmla="*/ 83 w 84"/>
                  <a:gd name="T3" fmla="*/ 102 h 135"/>
                  <a:gd name="T4" fmla="*/ 81 w 84"/>
                  <a:gd name="T5" fmla="*/ 95 h 135"/>
                  <a:gd name="T6" fmla="*/ 71 w 84"/>
                  <a:gd name="T7" fmla="*/ 87 h 135"/>
                  <a:gd name="T8" fmla="*/ 76 w 84"/>
                  <a:gd name="T9" fmla="*/ 83 h 135"/>
                  <a:gd name="T10" fmla="*/ 72 w 84"/>
                  <a:gd name="T11" fmla="*/ 78 h 135"/>
                  <a:gd name="T12" fmla="*/ 73 w 84"/>
                  <a:gd name="T13" fmla="*/ 74 h 135"/>
                  <a:gd name="T14" fmla="*/ 69 w 84"/>
                  <a:gd name="T15" fmla="*/ 72 h 135"/>
                  <a:gd name="T16" fmla="*/ 71 w 84"/>
                  <a:gd name="T17" fmla="*/ 69 h 135"/>
                  <a:gd name="T18" fmla="*/ 69 w 84"/>
                  <a:gd name="T19" fmla="*/ 63 h 135"/>
                  <a:gd name="T20" fmla="*/ 72 w 84"/>
                  <a:gd name="T21" fmla="*/ 58 h 135"/>
                  <a:gd name="T22" fmla="*/ 64 w 84"/>
                  <a:gd name="T23" fmla="*/ 46 h 135"/>
                  <a:gd name="T24" fmla="*/ 67 w 84"/>
                  <a:gd name="T25" fmla="*/ 42 h 135"/>
                  <a:gd name="T26" fmla="*/ 72 w 84"/>
                  <a:gd name="T27" fmla="*/ 36 h 135"/>
                  <a:gd name="T28" fmla="*/ 66 w 84"/>
                  <a:gd name="T29" fmla="*/ 30 h 135"/>
                  <a:gd name="T30" fmla="*/ 61 w 84"/>
                  <a:gd name="T31" fmla="*/ 27 h 135"/>
                  <a:gd name="T32" fmla="*/ 60 w 84"/>
                  <a:gd name="T33" fmla="*/ 22 h 135"/>
                  <a:gd name="T34" fmla="*/ 61 w 84"/>
                  <a:gd name="T35" fmla="*/ 18 h 135"/>
                  <a:gd name="T36" fmla="*/ 64 w 84"/>
                  <a:gd name="T37" fmla="*/ 16 h 135"/>
                  <a:gd name="T38" fmla="*/ 66 w 84"/>
                  <a:gd name="T39" fmla="*/ 13 h 135"/>
                  <a:gd name="T40" fmla="*/ 66 w 84"/>
                  <a:gd name="T41" fmla="*/ 8 h 135"/>
                  <a:gd name="T42" fmla="*/ 58 w 84"/>
                  <a:gd name="T43" fmla="*/ 3 h 135"/>
                  <a:gd name="T44" fmla="*/ 51 w 84"/>
                  <a:gd name="T45" fmla="*/ 3 h 135"/>
                  <a:gd name="T46" fmla="*/ 43 w 84"/>
                  <a:gd name="T47" fmla="*/ 4 h 135"/>
                  <a:gd name="T48" fmla="*/ 38 w 84"/>
                  <a:gd name="T49" fmla="*/ 10 h 135"/>
                  <a:gd name="T50" fmla="*/ 37 w 84"/>
                  <a:gd name="T51" fmla="*/ 17 h 135"/>
                  <a:gd name="T52" fmla="*/ 33 w 84"/>
                  <a:gd name="T53" fmla="*/ 21 h 135"/>
                  <a:gd name="T54" fmla="*/ 29 w 84"/>
                  <a:gd name="T55" fmla="*/ 20 h 135"/>
                  <a:gd name="T56" fmla="*/ 22 w 84"/>
                  <a:gd name="T57" fmla="*/ 20 h 135"/>
                  <a:gd name="T58" fmla="*/ 14 w 84"/>
                  <a:gd name="T59" fmla="*/ 19 h 135"/>
                  <a:gd name="T60" fmla="*/ 5 w 84"/>
                  <a:gd name="T61" fmla="*/ 13 h 135"/>
                  <a:gd name="T62" fmla="*/ 0 w 84"/>
                  <a:gd name="T63" fmla="*/ 17 h 135"/>
                  <a:gd name="T64" fmla="*/ 8 w 84"/>
                  <a:gd name="T65" fmla="*/ 23 h 135"/>
                  <a:gd name="T66" fmla="*/ 20 w 84"/>
                  <a:gd name="T67" fmla="*/ 30 h 135"/>
                  <a:gd name="T68" fmla="*/ 20 w 84"/>
                  <a:gd name="T69" fmla="*/ 38 h 135"/>
                  <a:gd name="T70" fmla="*/ 22 w 84"/>
                  <a:gd name="T71" fmla="*/ 45 h 135"/>
                  <a:gd name="T72" fmla="*/ 22 w 84"/>
                  <a:gd name="T73" fmla="*/ 52 h 135"/>
                  <a:gd name="T74" fmla="*/ 23 w 84"/>
                  <a:gd name="T75" fmla="*/ 56 h 135"/>
                  <a:gd name="T76" fmla="*/ 24 w 84"/>
                  <a:gd name="T77" fmla="*/ 60 h 135"/>
                  <a:gd name="T78" fmla="*/ 31 w 84"/>
                  <a:gd name="T79" fmla="*/ 63 h 135"/>
                  <a:gd name="T80" fmla="*/ 34 w 84"/>
                  <a:gd name="T81" fmla="*/ 69 h 135"/>
                  <a:gd name="T82" fmla="*/ 32 w 84"/>
                  <a:gd name="T83" fmla="*/ 72 h 135"/>
                  <a:gd name="T84" fmla="*/ 28 w 84"/>
                  <a:gd name="T85" fmla="*/ 75 h 135"/>
                  <a:gd name="T86" fmla="*/ 20 w 84"/>
                  <a:gd name="T87" fmla="*/ 83 h 135"/>
                  <a:gd name="T88" fmla="*/ 15 w 84"/>
                  <a:gd name="T89" fmla="*/ 87 h 135"/>
                  <a:gd name="T90" fmla="*/ 11 w 84"/>
                  <a:gd name="T91" fmla="*/ 91 h 135"/>
                  <a:gd name="T92" fmla="*/ 5 w 84"/>
                  <a:gd name="T93" fmla="*/ 94 h 135"/>
                  <a:gd name="T94" fmla="*/ 1 w 84"/>
                  <a:gd name="T95" fmla="*/ 99 h 135"/>
                  <a:gd name="T96" fmla="*/ 2 w 84"/>
                  <a:gd name="T97" fmla="*/ 104 h 135"/>
                  <a:gd name="T98" fmla="*/ 3 w 84"/>
                  <a:gd name="T99" fmla="*/ 109 h 135"/>
                  <a:gd name="T100" fmla="*/ 4 w 84"/>
                  <a:gd name="T101" fmla="*/ 119 h 135"/>
                  <a:gd name="T102" fmla="*/ 2 w 84"/>
                  <a:gd name="T103" fmla="*/ 127 h 135"/>
                  <a:gd name="T104" fmla="*/ 9 w 84"/>
                  <a:gd name="T105" fmla="*/ 130 h 135"/>
                  <a:gd name="T106" fmla="*/ 14 w 84"/>
                  <a:gd name="T107" fmla="*/ 132 h 135"/>
                  <a:gd name="T108" fmla="*/ 23 w 84"/>
                  <a:gd name="T109" fmla="*/ 134 h 135"/>
                  <a:gd name="T110" fmla="*/ 48 w 84"/>
                  <a:gd name="T111" fmla="*/ 129 h 135"/>
                  <a:gd name="T112" fmla="*/ 55 w 84"/>
                  <a:gd name="T113" fmla="*/ 128 h 135"/>
                  <a:gd name="T114" fmla="*/ 59 w 84"/>
                  <a:gd name="T115" fmla="*/ 123 h 135"/>
                  <a:gd name="T116" fmla="*/ 71 w 84"/>
                  <a:gd name="T117" fmla="*/ 113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84" h="135">
                    <a:moveTo>
                      <a:pt x="71" y="113"/>
                    </a:moveTo>
                    <a:cubicBezTo>
                      <a:pt x="73" y="109"/>
                      <a:pt x="82" y="105"/>
                      <a:pt x="83" y="102"/>
                    </a:cubicBezTo>
                    <a:cubicBezTo>
                      <a:pt x="84" y="100"/>
                      <a:pt x="84" y="99"/>
                      <a:pt x="81" y="95"/>
                    </a:cubicBezTo>
                    <a:cubicBezTo>
                      <a:pt x="78" y="92"/>
                      <a:pt x="71" y="89"/>
                      <a:pt x="71" y="87"/>
                    </a:cubicBezTo>
                    <a:cubicBezTo>
                      <a:pt x="71" y="85"/>
                      <a:pt x="76" y="85"/>
                      <a:pt x="76" y="83"/>
                    </a:cubicBezTo>
                    <a:cubicBezTo>
                      <a:pt x="76" y="80"/>
                      <a:pt x="73" y="80"/>
                      <a:pt x="72" y="78"/>
                    </a:cubicBezTo>
                    <a:cubicBezTo>
                      <a:pt x="70" y="77"/>
                      <a:pt x="73" y="75"/>
                      <a:pt x="73" y="74"/>
                    </a:cubicBezTo>
                    <a:cubicBezTo>
                      <a:pt x="73" y="73"/>
                      <a:pt x="69" y="73"/>
                      <a:pt x="69" y="72"/>
                    </a:cubicBezTo>
                    <a:cubicBezTo>
                      <a:pt x="69" y="71"/>
                      <a:pt x="71" y="71"/>
                      <a:pt x="71" y="69"/>
                    </a:cubicBezTo>
                    <a:cubicBezTo>
                      <a:pt x="70" y="68"/>
                      <a:pt x="68" y="65"/>
                      <a:pt x="69" y="63"/>
                    </a:cubicBezTo>
                    <a:cubicBezTo>
                      <a:pt x="71" y="61"/>
                      <a:pt x="75" y="63"/>
                      <a:pt x="72" y="58"/>
                    </a:cubicBezTo>
                    <a:cubicBezTo>
                      <a:pt x="69" y="54"/>
                      <a:pt x="65" y="48"/>
                      <a:pt x="64" y="46"/>
                    </a:cubicBezTo>
                    <a:cubicBezTo>
                      <a:pt x="64" y="45"/>
                      <a:pt x="65" y="43"/>
                      <a:pt x="67" y="42"/>
                    </a:cubicBezTo>
                    <a:cubicBezTo>
                      <a:pt x="68" y="41"/>
                      <a:pt x="72" y="37"/>
                      <a:pt x="72" y="36"/>
                    </a:cubicBezTo>
                    <a:cubicBezTo>
                      <a:pt x="72" y="34"/>
                      <a:pt x="67" y="30"/>
                      <a:pt x="66" y="30"/>
                    </a:cubicBezTo>
                    <a:cubicBezTo>
                      <a:pt x="65" y="29"/>
                      <a:pt x="62" y="29"/>
                      <a:pt x="61" y="27"/>
                    </a:cubicBezTo>
                    <a:cubicBezTo>
                      <a:pt x="60" y="24"/>
                      <a:pt x="59" y="24"/>
                      <a:pt x="60" y="22"/>
                    </a:cubicBezTo>
                    <a:cubicBezTo>
                      <a:pt x="61" y="21"/>
                      <a:pt x="61" y="19"/>
                      <a:pt x="61" y="18"/>
                    </a:cubicBezTo>
                    <a:cubicBezTo>
                      <a:pt x="61" y="17"/>
                      <a:pt x="64" y="18"/>
                      <a:pt x="64" y="16"/>
                    </a:cubicBezTo>
                    <a:cubicBezTo>
                      <a:pt x="64" y="15"/>
                      <a:pt x="65" y="14"/>
                      <a:pt x="66" y="13"/>
                    </a:cubicBezTo>
                    <a:cubicBezTo>
                      <a:pt x="66" y="11"/>
                      <a:pt x="66" y="9"/>
                      <a:pt x="66" y="8"/>
                    </a:cubicBezTo>
                    <a:cubicBezTo>
                      <a:pt x="66" y="6"/>
                      <a:pt x="59" y="5"/>
                      <a:pt x="58" y="3"/>
                    </a:cubicBezTo>
                    <a:cubicBezTo>
                      <a:pt x="56" y="0"/>
                      <a:pt x="52" y="1"/>
                      <a:pt x="51" y="3"/>
                    </a:cubicBezTo>
                    <a:cubicBezTo>
                      <a:pt x="50" y="4"/>
                      <a:pt x="43" y="2"/>
                      <a:pt x="43" y="4"/>
                    </a:cubicBezTo>
                    <a:cubicBezTo>
                      <a:pt x="43" y="7"/>
                      <a:pt x="38" y="7"/>
                      <a:pt x="38" y="10"/>
                    </a:cubicBezTo>
                    <a:cubicBezTo>
                      <a:pt x="38" y="12"/>
                      <a:pt x="40" y="17"/>
                      <a:pt x="37" y="17"/>
                    </a:cubicBezTo>
                    <a:cubicBezTo>
                      <a:pt x="33" y="16"/>
                      <a:pt x="35" y="18"/>
                      <a:pt x="33" y="21"/>
                    </a:cubicBezTo>
                    <a:cubicBezTo>
                      <a:pt x="31" y="24"/>
                      <a:pt x="31" y="19"/>
                      <a:pt x="29" y="20"/>
                    </a:cubicBezTo>
                    <a:cubicBezTo>
                      <a:pt x="26" y="21"/>
                      <a:pt x="24" y="18"/>
                      <a:pt x="22" y="20"/>
                    </a:cubicBezTo>
                    <a:cubicBezTo>
                      <a:pt x="21" y="22"/>
                      <a:pt x="18" y="20"/>
                      <a:pt x="14" y="19"/>
                    </a:cubicBezTo>
                    <a:cubicBezTo>
                      <a:pt x="10" y="19"/>
                      <a:pt x="8" y="13"/>
                      <a:pt x="5" y="13"/>
                    </a:cubicBezTo>
                    <a:cubicBezTo>
                      <a:pt x="3" y="13"/>
                      <a:pt x="1" y="14"/>
                      <a:pt x="0" y="17"/>
                    </a:cubicBezTo>
                    <a:cubicBezTo>
                      <a:pt x="3" y="19"/>
                      <a:pt x="4" y="21"/>
                      <a:pt x="8" y="23"/>
                    </a:cubicBezTo>
                    <a:cubicBezTo>
                      <a:pt x="13" y="25"/>
                      <a:pt x="20" y="27"/>
                      <a:pt x="20" y="30"/>
                    </a:cubicBezTo>
                    <a:cubicBezTo>
                      <a:pt x="19" y="33"/>
                      <a:pt x="18" y="37"/>
                      <a:pt x="20" y="38"/>
                    </a:cubicBezTo>
                    <a:cubicBezTo>
                      <a:pt x="22" y="39"/>
                      <a:pt x="20" y="44"/>
                      <a:pt x="22" y="45"/>
                    </a:cubicBezTo>
                    <a:cubicBezTo>
                      <a:pt x="24" y="46"/>
                      <a:pt x="24" y="52"/>
                      <a:pt x="22" y="52"/>
                    </a:cubicBezTo>
                    <a:cubicBezTo>
                      <a:pt x="20" y="52"/>
                      <a:pt x="22" y="55"/>
                      <a:pt x="23" y="56"/>
                    </a:cubicBezTo>
                    <a:cubicBezTo>
                      <a:pt x="24" y="57"/>
                      <a:pt x="24" y="58"/>
                      <a:pt x="24" y="60"/>
                    </a:cubicBezTo>
                    <a:cubicBezTo>
                      <a:pt x="27" y="61"/>
                      <a:pt x="29" y="62"/>
                      <a:pt x="31" y="63"/>
                    </a:cubicBezTo>
                    <a:cubicBezTo>
                      <a:pt x="34" y="64"/>
                      <a:pt x="34" y="66"/>
                      <a:pt x="34" y="69"/>
                    </a:cubicBezTo>
                    <a:cubicBezTo>
                      <a:pt x="34" y="71"/>
                      <a:pt x="34" y="73"/>
                      <a:pt x="32" y="72"/>
                    </a:cubicBezTo>
                    <a:cubicBezTo>
                      <a:pt x="31" y="71"/>
                      <a:pt x="29" y="72"/>
                      <a:pt x="28" y="75"/>
                    </a:cubicBezTo>
                    <a:cubicBezTo>
                      <a:pt x="27" y="79"/>
                      <a:pt x="22" y="83"/>
                      <a:pt x="20" y="83"/>
                    </a:cubicBezTo>
                    <a:cubicBezTo>
                      <a:pt x="17" y="84"/>
                      <a:pt x="17" y="86"/>
                      <a:pt x="15" y="87"/>
                    </a:cubicBezTo>
                    <a:cubicBezTo>
                      <a:pt x="13" y="88"/>
                      <a:pt x="11" y="89"/>
                      <a:pt x="11" y="91"/>
                    </a:cubicBezTo>
                    <a:cubicBezTo>
                      <a:pt x="11" y="94"/>
                      <a:pt x="7" y="94"/>
                      <a:pt x="5" y="94"/>
                    </a:cubicBezTo>
                    <a:cubicBezTo>
                      <a:pt x="3" y="94"/>
                      <a:pt x="3" y="98"/>
                      <a:pt x="1" y="99"/>
                    </a:cubicBezTo>
                    <a:cubicBezTo>
                      <a:pt x="0" y="100"/>
                      <a:pt x="0" y="102"/>
                      <a:pt x="2" y="104"/>
                    </a:cubicBezTo>
                    <a:cubicBezTo>
                      <a:pt x="3" y="106"/>
                      <a:pt x="2" y="108"/>
                      <a:pt x="3" y="109"/>
                    </a:cubicBezTo>
                    <a:cubicBezTo>
                      <a:pt x="3" y="111"/>
                      <a:pt x="6" y="115"/>
                      <a:pt x="4" y="119"/>
                    </a:cubicBezTo>
                    <a:cubicBezTo>
                      <a:pt x="2" y="122"/>
                      <a:pt x="0" y="127"/>
                      <a:pt x="2" y="127"/>
                    </a:cubicBezTo>
                    <a:cubicBezTo>
                      <a:pt x="3" y="126"/>
                      <a:pt x="7" y="130"/>
                      <a:pt x="9" y="130"/>
                    </a:cubicBezTo>
                    <a:cubicBezTo>
                      <a:pt x="12" y="130"/>
                      <a:pt x="12" y="133"/>
                      <a:pt x="14" y="132"/>
                    </a:cubicBezTo>
                    <a:cubicBezTo>
                      <a:pt x="16" y="132"/>
                      <a:pt x="16" y="135"/>
                      <a:pt x="23" y="134"/>
                    </a:cubicBezTo>
                    <a:cubicBezTo>
                      <a:pt x="30" y="134"/>
                      <a:pt x="43" y="129"/>
                      <a:pt x="48" y="129"/>
                    </a:cubicBezTo>
                    <a:cubicBezTo>
                      <a:pt x="51" y="129"/>
                      <a:pt x="53" y="128"/>
                      <a:pt x="55" y="128"/>
                    </a:cubicBezTo>
                    <a:cubicBezTo>
                      <a:pt x="56" y="126"/>
                      <a:pt x="58" y="124"/>
                      <a:pt x="59" y="123"/>
                    </a:cubicBezTo>
                    <a:cubicBezTo>
                      <a:pt x="62" y="120"/>
                      <a:pt x="69" y="117"/>
                      <a:pt x="71" y="11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4" name="Freeform 90">
                <a:extLst>
                  <a:ext uri="{FF2B5EF4-FFF2-40B4-BE49-F238E27FC236}">
                    <a16:creationId xmlns:a16="http://schemas.microsoft.com/office/drawing/2014/main" id="{EAE5E0A7-5DFB-4341-A6AC-E416EB7322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54606" y="3466200"/>
                <a:ext cx="391474" cy="313681"/>
              </a:xfrm>
              <a:custGeom>
                <a:avLst/>
                <a:gdLst>
                  <a:gd name="T0" fmla="*/ 102 w 170"/>
                  <a:gd name="T1" fmla="*/ 28 h 136"/>
                  <a:gd name="T2" fmla="*/ 88 w 170"/>
                  <a:gd name="T3" fmla="*/ 27 h 136"/>
                  <a:gd name="T4" fmla="*/ 78 w 170"/>
                  <a:gd name="T5" fmla="*/ 23 h 136"/>
                  <a:gd name="T6" fmla="*/ 59 w 170"/>
                  <a:gd name="T7" fmla="*/ 9 h 136"/>
                  <a:gd name="T8" fmla="*/ 43 w 170"/>
                  <a:gd name="T9" fmla="*/ 0 h 136"/>
                  <a:gd name="T10" fmla="*/ 36 w 170"/>
                  <a:gd name="T11" fmla="*/ 0 h 136"/>
                  <a:gd name="T12" fmla="*/ 28 w 170"/>
                  <a:gd name="T13" fmla="*/ 2 h 136"/>
                  <a:gd name="T14" fmla="*/ 20 w 170"/>
                  <a:gd name="T15" fmla="*/ 7 h 136"/>
                  <a:gd name="T16" fmla="*/ 26 w 170"/>
                  <a:gd name="T17" fmla="*/ 14 h 136"/>
                  <a:gd name="T18" fmla="*/ 21 w 170"/>
                  <a:gd name="T19" fmla="*/ 18 h 136"/>
                  <a:gd name="T20" fmla="*/ 16 w 170"/>
                  <a:gd name="T21" fmla="*/ 21 h 136"/>
                  <a:gd name="T22" fmla="*/ 10 w 170"/>
                  <a:gd name="T23" fmla="*/ 25 h 136"/>
                  <a:gd name="T24" fmla="*/ 2 w 170"/>
                  <a:gd name="T25" fmla="*/ 22 h 136"/>
                  <a:gd name="T26" fmla="*/ 1 w 170"/>
                  <a:gd name="T27" fmla="*/ 24 h 136"/>
                  <a:gd name="T28" fmla="*/ 1 w 170"/>
                  <a:gd name="T29" fmla="*/ 26 h 136"/>
                  <a:gd name="T30" fmla="*/ 2 w 170"/>
                  <a:gd name="T31" fmla="*/ 35 h 136"/>
                  <a:gd name="T32" fmla="*/ 9 w 170"/>
                  <a:gd name="T33" fmla="*/ 43 h 136"/>
                  <a:gd name="T34" fmla="*/ 20 w 170"/>
                  <a:gd name="T35" fmla="*/ 61 h 136"/>
                  <a:gd name="T36" fmla="*/ 26 w 170"/>
                  <a:gd name="T37" fmla="*/ 70 h 136"/>
                  <a:gd name="T38" fmla="*/ 34 w 170"/>
                  <a:gd name="T39" fmla="*/ 79 h 136"/>
                  <a:gd name="T40" fmla="*/ 36 w 170"/>
                  <a:gd name="T41" fmla="*/ 88 h 136"/>
                  <a:gd name="T42" fmla="*/ 42 w 170"/>
                  <a:gd name="T43" fmla="*/ 102 h 136"/>
                  <a:gd name="T44" fmla="*/ 52 w 170"/>
                  <a:gd name="T45" fmla="*/ 112 h 136"/>
                  <a:gd name="T46" fmla="*/ 59 w 170"/>
                  <a:gd name="T47" fmla="*/ 125 h 136"/>
                  <a:gd name="T48" fmla="*/ 62 w 170"/>
                  <a:gd name="T49" fmla="*/ 131 h 136"/>
                  <a:gd name="T50" fmla="*/ 64 w 170"/>
                  <a:gd name="T51" fmla="*/ 136 h 136"/>
                  <a:gd name="T52" fmla="*/ 68 w 170"/>
                  <a:gd name="T53" fmla="*/ 133 h 136"/>
                  <a:gd name="T54" fmla="*/ 68 w 170"/>
                  <a:gd name="T55" fmla="*/ 129 h 136"/>
                  <a:gd name="T56" fmla="*/ 71 w 170"/>
                  <a:gd name="T57" fmla="*/ 126 h 136"/>
                  <a:gd name="T58" fmla="*/ 77 w 170"/>
                  <a:gd name="T59" fmla="*/ 127 h 136"/>
                  <a:gd name="T60" fmla="*/ 87 w 170"/>
                  <a:gd name="T61" fmla="*/ 128 h 136"/>
                  <a:gd name="T62" fmla="*/ 98 w 170"/>
                  <a:gd name="T63" fmla="*/ 130 h 136"/>
                  <a:gd name="T64" fmla="*/ 104 w 170"/>
                  <a:gd name="T65" fmla="*/ 128 h 136"/>
                  <a:gd name="T66" fmla="*/ 116 w 170"/>
                  <a:gd name="T67" fmla="*/ 117 h 136"/>
                  <a:gd name="T68" fmla="*/ 132 w 170"/>
                  <a:gd name="T69" fmla="*/ 116 h 136"/>
                  <a:gd name="T70" fmla="*/ 165 w 170"/>
                  <a:gd name="T71" fmla="*/ 105 h 136"/>
                  <a:gd name="T72" fmla="*/ 170 w 170"/>
                  <a:gd name="T73" fmla="*/ 89 h 136"/>
                  <a:gd name="T74" fmla="*/ 166 w 170"/>
                  <a:gd name="T75" fmla="*/ 83 h 136"/>
                  <a:gd name="T76" fmla="*/ 146 w 170"/>
                  <a:gd name="T77" fmla="*/ 81 h 136"/>
                  <a:gd name="T78" fmla="*/ 140 w 170"/>
                  <a:gd name="T79" fmla="*/ 72 h 136"/>
                  <a:gd name="T80" fmla="*/ 136 w 170"/>
                  <a:gd name="T81" fmla="*/ 67 h 136"/>
                  <a:gd name="T82" fmla="*/ 130 w 170"/>
                  <a:gd name="T83" fmla="*/ 62 h 136"/>
                  <a:gd name="T84" fmla="*/ 125 w 170"/>
                  <a:gd name="T85" fmla="*/ 54 h 136"/>
                  <a:gd name="T86" fmla="*/ 122 w 170"/>
                  <a:gd name="T87" fmla="*/ 45 h 136"/>
                  <a:gd name="T88" fmla="*/ 113 w 170"/>
                  <a:gd name="T89" fmla="*/ 35 h 136"/>
                  <a:gd name="T90" fmla="*/ 112 w 170"/>
                  <a:gd name="T91" fmla="*/ 32 h 136"/>
                  <a:gd name="T92" fmla="*/ 106 w 170"/>
                  <a:gd name="T93" fmla="*/ 32 h 136"/>
                  <a:gd name="T94" fmla="*/ 102 w 170"/>
                  <a:gd name="T95" fmla="*/ 28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70" h="136">
                    <a:moveTo>
                      <a:pt x="102" y="28"/>
                    </a:moveTo>
                    <a:cubicBezTo>
                      <a:pt x="102" y="28"/>
                      <a:pt x="90" y="27"/>
                      <a:pt x="88" y="27"/>
                    </a:cubicBezTo>
                    <a:cubicBezTo>
                      <a:pt x="86" y="27"/>
                      <a:pt x="81" y="26"/>
                      <a:pt x="78" y="23"/>
                    </a:cubicBezTo>
                    <a:cubicBezTo>
                      <a:pt x="75" y="21"/>
                      <a:pt x="61" y="10"/>
                      <a:pt x="59" y="9"/>
                    </a:cubicBezTo>
                    <a:cubicBezTo>
                      <a:pt x="56" y="8"/>
                      <a:pt x="46" y="0"/>
                      <a:pt x="43" y="0"/>
                    </a:cubicBezTo>
                    <a:cubicBezTo>
                      <a:pt x="40" y="0"/>
                      <a:pt x="40" y="0"/>
                      <a:pt x="36" y="0"/>
                    </a:cubicBezTo>
                    <a:cubicBezTo>
                      <a:pt x="33" y="0"/>
                      <a:pt x="34" y="2"/>
                      <a:pt x="28" y="2"/>
                    </a:cubicBezTo>
                    <a:cubicBezTo>
                      <a:pt x="22" y="3"/>
                      <a:pt x="18" y="7"/>
                      <a:pt x="20" y="7"/>
                    </a:cubicBezTo>
                    <a:cubicBezTo>
                      <a:pt x="22" y="8"/>
                      <a:pt x="28" y="14"/>
                      <a:pt x="26" y="14"/>
                    </a:cubicBezTo>
                    <a:cubicBezTo>
                      <a:pt x="24" y="15"/>
                      <a:pt x="24" y="18"/>
                      <a:pt x="21" y="18"/>
                    </a:cubicBezTo>
                    <a:cubicBezTo>
                      <a:pt x="19" y="18"/>
                      <a:pt x="16" y="19"/>
                      <a:pt x="16" y="21"/>
                    </a:cubicBezTo>
                    <a:cubicBezTo>
                      <a:pt x="16" y="22"/>
                      <a:pt x="13" y="26"/>
                      <a:pt x="10" y="25"/>
                    </a:cubicBezTo>
                    <a:cubicBezTo>
                      <a:pt x="8" y="25"/>
                      <a:pt x="5" y="23"/>
                      <a:pt x="2" y="22"/>
                    </a:cubicBezTo>
                    <a:cubicBezTo>
                      <a:pt x="1" y="24"/>
                      <a:pt x="1" y="24"/>
                      <a:pt x="1" y="24"/>
                    </a:cubicBezTo>
                    <a:cubicBezTo>
                      <a:pt x="1" y="26"/>
                      <a:pt x="1" y="26"/>
                      <a:pt x="1" y="26"/>
                    </a:cubicBezTo>
                    <a:cubicBezTo>
                      <a:pt x="1" y="28"/>
                      <a:pt x="0" y="35"/>
                      <a:pt x="2" y="35"/>
                    </a:cubicBezTo>
                    <a:cubicBezTo>
                      <a:pt x="4" y="36"/>
                      <a:pt x="5" y="39"/>
                      <a:pt x="9" y="43"/>
                    </a:cubicBezTo>
                    <a:cubicBezTo>
                      <a:pt x="12" y="47"/>
                      <a:pt x="20" y="59"/>
                      <a:pt x="20" y="61"/>
                    </a:cubicBezTo>
                    <a:cubicBezTo>
                      <a:pt x="20" y="64"/>
                      <a:pt x="22" y="67"/>
                      <a:pt x="26" y="70"/>
                    </a:cubicBezTo>
                    <a:cubicBezTo>
                      <a:pt x="31" y="74"/>
                      <a:pt x="31" y="77"/>
                      <a:pt x="34" y="79"/>
                    </a:cubicBezTo>
                    <a:cubicBezTo>
                      <a:pt x="36" y="81"/>
                      <a:pt x="36" y="84"/>
                      <a:pt x="36" y="88"/>
                    </a:cubicBezTo>
                    <a:cubicBezTo>
                      <a:pt x="36" y="93"/>
                      <a:pt x="38" y="99"/>
                      <a:pt x="42" y="102"/>
                    </a:cubicBezTo>
                    <a:cubicBezTo>
                      <a:pt x="47" y="104"/>
                      <a:pt x="50" y="107"/>
                      <a:pt x="52" y="112"/>
                    </a:cubicBezTo>
                    <a:cubicBezTo>
                      <a:pt x="54" y="118"/>
                      <a:pt x="56" y="122"/>
                      <a:pt x="59" y="125"/>
                    </a:cubicBezTo>
                    <a:cubicBezTo>
                      <a:pt x="62" y="127"/>
                      <a:pt x="60" y="129"/>
                      <a:pt x="62" y="131"/>
                    </a:cubicBezTo>
                    <a:cubicBezTo>
                      <a:pt x="62" y="132"/>
                      <a:pt x="64" y="134"/>
                      <a:pt x="64" y="136"/>
                    </a:cubicBezTo>
                    <a:cubicBezTo>
                      <a:pt x="66" y="134"/>
                      <a:pt x="68" y="134"/>
                      <a:pt x="68" y="133"/>
                    </a:cubicBezTo>
                    <a:cubicBezTo>
                      <a:pt x="68" y="133"/>
                      <a:pt x="67" y="130"/>
                      <a:pt x="68" y="129"/>
                    </a:cubicBezTo>
                    <a:cubicBezTo>
                      <a:pt x="68" y="128"/>
                      <a:pt x="70" y="127"/>
                      <a:pt x="71" y="126"/>
                    </a:cubicBezTo>
                    <a:cubicBezTo>
                      <a:pt x="73" y="126"/>
                      <a:pt x="74" y="128"/>
                      <a:pt x="77" y="127"/>
                    </a:cubicBezTo>
                    <a:cubicBezTo>
                      <a:pt x="80" y="127"/>
                      <a:pt x="86" y="127"/>
                      <a:pt x="87" y="128"/>
                    </a:cubicBezTo>
                    <a:cubicBezTo>
                      <a:pt x="88" y="129"/>
                      <a:pt x="96" y="128"/>
                      <a:pt x="98" y="130"/>
                    </a:cubicBezTo>
                    <a:cubicBezTo>
                      <a:pt x="100" y="131"/>
                      <a:pt x="102" y="131"/>
                      <a:pt x="104" y="128"/>
                    </a:cubicBezTo>
                    <a:cubicBezTo>
                      <a:pt x="105" y="125"/>
                      <a:pt x="115" y="118"/>
                      <a:pt x="116" y="117"/>
                    </a:cubicBezTo>
                    <a:cubicBezTo>
                      <a:pt x="118" y="116"/>
                      <a:pt x="128" y="117"/>
                      <a:pt x="132" y="116"/>
                    </a:cubicBezTo>
                    <a:cubicBezTo>
                      <a:pt x="136" y="115"/>
                      <a:pt x="163" y="106"/>
                      <a:pt x="165" y="105"/>
                    </a:cubicBezTo>
                    <a:cubicBezTo>
                      <a:pt x="166" y="105"/>
                      <a:pt x="170" y="90"/>
                      <a:pt x="170" y="89"/>
                    </a:cubicBezTo>
                    <a:cubicBezTo>
                      <a:pt x="170" y="87"/>
                      <a:pt x="168" y="83"/>
                      <a:pt x="166" y="83"/>
                    </a:cubicBezTo>
                    <a:cubicBezTo>
                      <a:pt x="164" y="83"/>
                      <a:pt x="147" y="81"/>
                      <a:pt x="146" y="81"/>
                    </a:cubicBezTo>
                    <a:cubicBezTo>
                      <a:pt x="145" y="80"/>
                      <a:pt x="140" y="77"/>
                      <a:pt x="140" y="72"/>
                    </a:cubicBezTo>
                    <a:cubicBezTo>
                      <a:pt x="138" y="71"/>
                      <a:pt x="137" y="69"/>
                      <a:pt x="136" y="67"/>
                    </a:cubicBezTo>
                    <a:cubicBezTo>
                      <a:pt x="134" y="67"/>
                      <a:pt x="131" y="67"/>
                      <a:pt x="130" y="62"/>
                    </a:cubicBezTo>
                    <a:cubicBezTo>
                      <a:pt x="128" y="61"/>
                      <a:pt x="124" y="55"/>
                      <a:pt x="125" y="54"/>
                    </a:cubicBezTo>
                    <a:cubicBezTo>
                      <a:pt x="127" y="52"/>
                      <a:pt x="124" y="47"/>
                      <a:pt x="122" y="45"/>
                    </a:cubicBezTo>
                    <a:cubicBezTo>
                      <a:pt x="119" y="42"/>
                      <a:pt x="114" y="38"/>
                      <a:pt x="113" y="35"/>
                    </a:cubicBezTo>
                    <a:cubicBezTo>
                      <a:pt x="113" y="35"/>
                      <a:pt x="113" y="33"/>
                      <a:pt x="112" y="32"/>
                    </a:cubicBezTo>
                    <a:cubicBezTo>
                      <a:pt x="106" y="32"/>
                      <a:pt x="106" y="32"/>
                      <a:pt x="106" y="32"/>
                    </a:cubicBezTo>
                    <a:lnTo>
                      <a:pt x="102" y="28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5" name="Freeform 91">
                <a:extLst>
                  <a:ext uri="{FF2B5EF4-FFF2-40B4-BE49-F238E27FC236}">
                    <a16:creationId xmlns:a16="http://schemas.microsoft.com/office/drawing/2014/main" id="{DF6C08B4-317D-4F73-8046-0A2E6A9F48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77070" y="3609238"/>
                <a:ext cx="150567" cy="165624"/>
              </a:xfrm>
              <a:custGeom>
                <a:avLst/>
                <a:gdLst>
                  <a:gd name="T0" fmla="*/ 32 w 65"/>
                  <a:gd name="T1" fmla="*/ 2 h 72"/>
                  <a:gd name="T2" fmla="*/ 32 w 65"/>
                  <a:gd name="T3" fmla="*/ 8 h 72"/>
                  <a:gd name="T4" fmla="*/ 27 w 65"/>
                  <a:gd name="T5" fmla="*/ 14 h 72"/>
                  <a:gd name="T6" fmla="*/ 24 w 65"/>
                  <a:gd name="T7" fmla="*/ 21 h 72"/>
                  <a:gd name="T8" fmla="*/ 26 w 65"/>
                  <a:gd name="T9" fmla="*/ 21 h 72"/>
                  <a:gd name="T10" fmla="*/ 30 w 65"/>
                  <a:gd name="T11" fmla="*/ 27 h 72"/>
                  <a:gd name="T12" fmla="*/ 25 w 65"/>
                  <a:gd name="T13" fmla="*/ 43 h 72"/>
                  <a:gd name="T14" fmla="*/ 0 w 65"/>
                  <a:gd name="T15" fmla="*/ 52 h 72"/>
                  <a:gd name="T16" fmla="*/ 10 w 65"/>
                  <a:gd name="T17" fmla="*/ 72 h 72"/>
                  <a:gd name="T18" fmla="*/ 12 w 65"/>
                  <a:gd name="T19" fmla="*/ 71 h 72"/>
                  <a:gd name="T20" fmla="*/ 25 w 65"/>
                  <a:gd name="T21" fmla="*/ 69 h 72"/>
                  <a:gd name="T22" fmla="*/ 28 w 65"/>
                  <a:gd name="T23" fmla="*/ 63 h 72"/>
                  <a:gd name="T24" fmla="*/ 37 w 65"/>
                  <a:gd name="T25" fmla="*/ 61 h 72"/>
                  <a:gd name="T26" fmla="*/ 42 w 65"/>
                  <a:gd name="T27" fmla="*/ 54 h 72"/>
                  <a:gd name="T28" fmla="*/ 47 w 65"/>
                  <a:gd name="T29" fmla="*/ 51 h 72"/>
                  <a:gd name="T30" fmla="*/ 50 w 65"/>
                  <a:gd name="T31" fmla="*/ 40 h 72"/>
                  <a:gd name="T32" fmla="*/ 56 w 65"/>
                  <a:gd name="T33" fmla="*/ 36 h 72"/>
                  <a:gd name="T34" fmla="*/ 63 w 65"/>
                  <a:gd name="T35" fmla="*/ 26 h 72"/>
                  <a:gd name="T36" fmla="*/ 62 w 65"/>
                  <a:gd name="T37" fmla="*/ 22 h 72"/>
                  <a:gd name="T38" fmla="*/ 56 w 65"/>
                  <a:gd name="T39" fmla="*/ 14 h 72"/>
                  <a:gd name="T40" fmla="*/ 42 w 65"/>
                  <a:gd name="T41" fmla="*/ 9 h 72"/>
                  <a:gd name="T42" fmla="*/ 38 w 65"/>
                  <a:gd name="T43" fmla="*/ 0 h 72"/>
                  <a:gd name="T44" fmla="*/ 35 w 65"/>
                  <a:gd name="T45" fmla="*/ 2 h 72"/>
                  <a:gd name="T46" fmla="*/ 32 w 65"/>
                  <a:gd name="T47" fmla="*/ 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65" h="72">
                    <a:moveTo>
                      <a:pt x="32" y="2"/>
                    </a:moveTo>
                    <a:cubicBezTo>
                      <a:pt x="32" y="8"/>
                      <a:pt x="32" y="8"/>
                      <a:pt x="32" y="8"/>
                    </a:cubicBezTo>
                    <a:cubicBezTo>
                      <a:pt x="27" y="14"/>
                      <a:pt x="27" y="14"/>
                      <a:pt x="27" y="14"/>
                    </a:cubicBezTo>
                    <a:cubicBezTo>
                      <a:pt x="24" y="21"/>
                      <a:pt x="24" y="21"/>
                      <a:pt x="24" y="21"/>
                    </a:cubicBezTo>
                    <a:cubicBezTo>
                      <a:pt x="25" y="21"/>
                      <a:pt x="26" y="21"/>
                      <a:pt x="26" y="21"/>
                    </a:cubicBezTo>
                    <a:cubicBezTo>
                      <a:pt x="28" y="21"/>
                      <a:pt x="30" y="25"/>
                      <a:pt x="30" y="27"/>
                    </a:cubicBezTo>
                    <a:cubicBezTo>
                      <a:pt x="30" y="28"/>
                      <a:pt x="26" y="43"/>
                      <a:pt x="25" y="43"/>
                    </a:cubicBezTo>
                    <a:cubicBezTo>
                      <a:pt x="24" y="44"/>
                      <a:pt x="9" y="49"/>
                      <a:pt x="0" y="52"/>
                    </a:cubicBezTo>
                    <a:cubicBezTo>
                      <a:pt x="2" y="56"/>
                      <a:pt x="6" y="65"/>
                      <a:pt x="10" y="72"/>
                    </a:cubicBezTo>
                    <a:cubicBezTo>
                      <a:pt x="10" y="72"/>
                      <a:pt x="11" y="72"/>
                      <a:pt x="12" y="71"/>
                    </a:cubicBezTo>
                    <a:cubicBezTo>
                      <a:pt x="16" y="68"/>
                      <a:pt x="21" y="70"/>
                      <a:pt x="25" y="69"/>
                    </a:cubicBezTo>
                    <a:cubicBezTo>
                      <a:pt x="28" y="68"/>
                      <a:pt x="25" y="65"/>
                      <a:pt x="28" y="63"/>
                    </a:cubicBezTo>
                    <a:cubicBezTo>
                      <a:pt x="31" y="60"/>
                      <a:pt x="35" y="62"/>
                      <a:pt x="37" y="61"/>
                    </a:cubicBezTo>
                    <a:cubicBezTo>
                      <a:pt x="38" y="60"/>
                      <a:pt x="39" y="55"/>
                      <a:pt x="42" y="54"/>
                    </a:cubicBezTo>
                    <a:cubicBezTo>
                      <a:pt x="45" y="53"/>
                      <a:pt x="47" y="53"/>
                      <a:pt x="47" y="51"/>
                    </a:cubicBezTo>
                    <a:cubicBezTo>
                      <a:pt x="47" y="49"/>
                      <a:pt x="47" y="41"/>
                      <a:pt x="50" y="40"/>
                    </a:cubicBezTo>
                    <a:cubicBezTo>
                      <a:pt x="52" y="40"/>
                      <a:pt x="56" y="37"/>
                      <a:pt x="56" y="36"/>
                    </a:cubicBezTo>
                    <a:cubicBezTo>
                      <a:pt x="56" y="34"/>
                      <a:pt x="61" y="29"/>
                      <a:pt x="63" y="26"/>
                    </a:cubicBezTo>
                    <a:cubicBezTo>
                      <a:pt x="65" y="24"/>
                      <a:pt x="65" y="22"/>
                      <a:pt x="62" y="22"/>
                    </a:cubicBezTo>
                    <a:cubicBezTo>
                      <a:pt x="60" y="22"/>
                      <a:pt x="57" y="15"/>
                      <a:pt x="56" y="14"/>
                    </a:cubicBezTo>
                    <a:cubicBezTo>
                      <a:pt x="55" y="12"/>
                      <a:pt x="48" y="13"/>
                      <a:pt x="42" y="9"/>
                    </a:cubicBezTo>
                    <a:cubicBezTo>
                      <a:pt x="40" y="7"/>
                      <a:pt x="39" y="3"/>
                      <a:pt x="38" y="0"/>
                    </a:cubicBezTo>
                    <a:cubicBezTo>
                      <a:pt x="35" y="2"/>
                      <a:pt x="35" y="2"/>
                      <a:pt x="35" y="2"/>
                    </a:cubicBezTo>
                    <a:lnTo>
                      <a:pt x="32" y="2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6" name="Freeform 92">
                <a:extLst>
                  <a:ext uri="{FF2B5EF4-FFF2-40B4-BE49-F238E27FC236}">
                    <a16:creationId xmlns:a16="http://schemas.microsoft.com/office/drawing/2014/main" id="{052F22A9-7841-4204-A51F-76640142C5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54485" y="3587908"/>
                <a:ext cx="20076" cy="32623"/>
              </a:xfrm>
              <a:custGeom>
                <a:avLst/>
                <a:gdLst>
                  <a:gd name="T0" fmla="*/ 6 w 9"/>
                  <a:gd name="T1" fmla="*/ 14 h 14"/>
                  <a:gd name="T2" fmla="*/ 6 w 9"/>
                  <a:gd name="T3" fmla="*/ 12 h 14"/>
                  <a:gd name="T4" fmla="*/ 5 w 9"/>
                  <a:gd name="T5" fmla="*/ 1 h 14"/>
                  <a:gd name="T6" fmla="*/ 0 w 9"/>
                  <a:gd name="T7" fmla="*/ 9 h 14"/>
                  <a:gd name="T8" fmla="*/ 0 w 9"/>
                  <a:gd name="T9" fmla="*/ 9 h 14"/>
                  <a:gd name="T10" fmla="*/ 6 w 9"/>
                  <a:gd name="T11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" h="14">
                    <a:moveTo>
                      <a:pt x="6" y="14"/>
                    </a:moveTo>
                    <a:cubicBezTo>
                      <a:pt x="6" y="13"/>
                      <a:pt x="6" y="12"/>
                      <a:pt x="6" y="12"/>
                    </a:cubicBezTo>
                    <a:cubicBezTo>
                      <a:pt x="8" y="9"/>
                      <a:pt x="9" y="2"/>
                      <a:pt x="5" y="1"/>
                    </a:cubicBezTo>
                    <a:cubicBezTo>
                      <a:pt x="2" y="0"/>
                      <a:pt x="0" y="7"/>
                      <a:pt x="0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1" y="14"/>
                      <a:pt x="4" y="14"/>
                      <a:pt x="6" y="14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7" name="Freeform 93">
                <a:extLst>
                  <a:ext uri="{FF2B5EF4-FFF2-40B4-BE49-F238E27FC236}">
                    <a16:creationId xmlns:a16="http://schemas.microsoft.com/office/drawing/2014/main" id="{6A535125-5DB5-4A2E-8311-CA830F2F5E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77070" y="3586653"/>
                <a:ext cx="87831" cy="71519"/>
              </a:xfrm>
              <a:custGeom>
                <a:avLst/>
                <a:gdLst>
                  <a:gd name="T0" fmla="*/ 6 w 38"/>
                  <a:gd name="T1" fmla="*/ 29 h 31"/>
                  <a:gd name="T2" fmla="*/ 24 w 38"/>
                  <a:gd name="T3" fmla="*/ 31 h 31"/>
                  <a:gd name="T4" fmla="*/ 27 w 38"/>
                  <a:gd name="T5" fmla="*/ 24 h 31"/>
                  <a:gd name="T6" fmla="*/ 32 w 38"/>
                  <a:gd name="T7" fmla="*/ 18 h 31"/>
                  <a:gd name="T8" fmla="*/ 32 w 38"/>
                  <a:gd name="T9" fmla="*/ 12 h 31"/>
                  <a:gd name="T10" fmla="*/ 35 w 38"/>
                  <a:gd name="T11" fmla="*/ 12 h 31"/>
                  <a:gd name="T12" fmla="*/ 38 w 38"/>
                  <a:gd name="T13" fmla="*/ 10 h 31"/>
                  <a:gd name="T14" fmla="*/ 36 w 38"/>
                  <a:gd name="T15" fmla="*/ 0 h 31"/>
                  <a:gd name="T16" fmla="*/ 26 w 38"/>
                  <a:gd name="T17" fmla="*/ 11 h 31"/>
                  <a:gd name="T18" fmla="*/ 11 w 38"/>
                  <a:gd name="T19" fmla="*/ 18 h 31"/>
                  <a:gd name="T20" fmla="*/ 1 w 38"/>
                  <a:gd name="T21" fmla="*/ 20 h 31"/>
                  <a:gd name="T22" fmla="*/ 0 w 38"/>
                  <a:gd name="T23" fmla="*/ 20 h 31"/>
                  <a:gd name="T24" fmla="*/ 6 w 38"/>
                  <a:gd name="T25" fmla="*/ 29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8" h="31">
                    <a:moveTo>
                      <a:pt x="6" y="29"/>
                    </a:moveTo>
                    <a:cubicBezTo>
                      <a:pt x="7" y="29"/>
                      <a:pt x="19" y="31"/>
                      <a:pt x="24" y="31"/>
                    </a:cubicBezTo>
                    <a:cubicBezTo>
                      <a:pt x="27" y="24"/>
                      <a:pt x="27" y="24"/>
                      <a:pt x="27" y="24"/>
                    </a:cubicBezTo>
                    <a:cubicBezTo>
                      <a:pt x="32" y="18"/>
                      <a:pt x="32" y="18"/>
                      <a:pt x="32" y="18"/>
                    </a:cubicBezTo>
                    <a:cubicBezTo>
                      <a:pt x="32" y="12"/>
                      <a:pt x="32" y="12"/>
                      <a:pt x="32" y="12"/>
                    </a:cubicBezTo>
                    <a:cubicBezTo>
                      <a:pt x="35" y="12"/>
                      <a:pt x="35" y="12"/>
                      <a:pt x="35" y="12"/>
                    </a:cubicBezTo>
                    <a:cubicBezTo>
                      <a:pt x="38" y="10"/>
                      <a:pt x="38" y="10"/>
                      <a:pt x="38" y="10"/>
                    </a:cubicBezTo>
                    <a:cubicBezTo>
                      <a:pt x="37" y="5"/>
                      <a:pt x="37" y="0"/>
                      <a:pt x="36" y="0"/>
                    </a:cubicBezTo>
                    <a:cubicBezTo>
                      <a:pt x="34" y="0"/>
                      <a:pt x="28" y="6"/>
                      <a:pt x="26" y="11"/>
                    </a:cubicBezTo>
                    <a:cubicBezTo>
                      <a:pt x="24" y="15"/>
                      <a:pt x="17" y="19"/>
                      <a:pt x="11" y="18"/>
                    </a:cubicBezTo>
                    <a:cubicBezTo>
                      <a:pt x="5" y="17"/>
                      <a:pt x="3" y="19"/>
                      <a:pt x="1" y="20"/>
                    </a:cubicBezTo>
                    <a:cubicBezTo>
                      <a:pt x="1" y="21"/>
                      <a:pt x="0" y="21"/>
                      <a:pt x="0" y="20"/>
                    </a:cubicBezTo>
                    <a:cubicBezTo>
                      <a:pt x="0" y="25"/>
                      <a:pt x="5" y="28"/>
                      <a:pt x="6" y="2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8" name="Freeform 94">
                <a:extLst>
                  <a:ext uri="{FF2B5EF4-FFF2-40B4-BE49-F238E27FC236}">
                    <a16:creationId xmlns:a16="http://schemas.microsoft.com/office/drawing/2014/main" id="{F28E06A1-1ED9-475E-A10B-1ACE2AD48C5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52869" y="3964326"/>
                <a:ext cx="360106" cy="112925"/>
              </a:xfrm>
              <a:custGeom>
                <a:avLst/>
                <a:gdLst>
                  <a:gd name="T0" fmla="*/ 28 w 156"/>
                  <a:gd name="T1" fmla="*/ 18 h 49"/>
                  <a:gd name="T2" fmla="*/ 22 w 156"/>
                  <a:gd name="T3" fmla="*/ 9 h 49"/>
                  <a:gd name="T4" fmla="*/ 18 w 156"/>
                  <a:gd name="T5" fmla="*/ 5 h 49"/>
                  <a:gd name="T6" fmla="*/ 17 w 156"/>
                  <a:gd name="T7" fmla="*/ 4 h 49"/>
                  <a:gd name="T8" fmla="*/ 15 w 156"/>
                  <a:gd name="T9" fmla="*/ 7 h 49"/>
                  <a:gd name="T10" fmla="*/ 8 w 156"/>
                  <a:gd name="T11" fmla="*/ 7 h 49"/>
                  <a:gd name="T12" fmla="*/ 4 w 156"/>
                  <a:gd name="T13" fmla="*/ 2 h 49"/>
                  <a:gd name="T14" fmla="*/ 0 w 156"/>
                  <a:gd name="T15" fmla="*/ 2 h 49"/>
                  <a:gd name="T16" fmla="*/ 2 w 156"/>
                  <a:gd name="T17" fmla="*/ 14 h 49"/>
                  <a:gd name="T18" fmla="*/ 10 w 156"/>
                  <a:gd name="T19" fmla="*/ 29 h 49"/>
                  <a:gd name="T20" fmla="*/ 18 w 156"/>
                  <a:gd name="T21" fmla="*/ 37 h 49"/>
                  <a:gd name="T22" fmla="*/ 33 w 156"/>
                  <a:gd name="T23" fmla="*/ 45 h 49"/>
                  <a:gd name="T24" fmla="*/ 28 w 156"/>
                  <a:gd name="T25" fmla="*/ 33 h 49"/>
                  <a:gd name="T26" fmla="*/ 28 w 156"/>
                  <a:gd name="T27" fmla="*/ 18 h 49"/>
                  <a:gd name="T28" fmla="*/ 149 w 156"/>
                  <a:gd name="T29" fmla="*/ 9 h 49"/>
                  <a:gd name="T30" fmla="*/ 142 w 156"/>
                  <a:gd name="T31" fmla="*/ 7 h 49"/>
                  <a:gd name="T32" fmla="*/ 135 w 156"/>
                  <a:gd name="T33" fmla="*/ 0 h 49"/>
                  <a:gd name="T34" fmla="*/ 129 w 156"/>
                  <a:gd name="T35" fmla="*/ 9 h 49"/>
                  <a:gd name="T36" fmla="*/ 124 w 156"/>
                  <a:gd name="T37" fmla="*/ 14 h 49"/>
                  <a:gd name="T38" fmla="*/ 122 w 156"/>
                  <a:gd name="T39" fmla="*/ 16 h 49"/>
                  <a:gd name="T40" fmla="*/ 123 w 156"/>
                  <a:gd name="T41" fmla="*/ 21 h 49"/>
                  <a:gd name="T42" fmla="*/ 117 w 156"/>
                  <a:gd name="T43" fmla="*/ 23 h 49"/>
                  <a:gd name="T44" fmla="*/ 113 w 156"/>
                  <a:gd name="T45" fmla="*/ 17 h 49"/>
                  <a:gd name="T46" fmla="*/ 113 w 156"/>
                  <a:gd name="T47" fmla="*/ 17 h 49"/>
                  <a:gd name="T48" fmla="*/ 106 w 156"/>
                  <a:gd name="T49" fmla="*/ 28 h 49"/>
                  <a:gd name="T50" fmla="*/ 94 w 156"/>
                  <a:gd name="T51" fmla="*/ 32 h 49"/>
                  <a:gd name="T52" fmla="*/ 89 w 156"/>
                  <a:gd name="T53" fmla="*/ 42 h 49"/>
                  <a:gd name="T54" fmla="*/ 77 w 156"/>
                  <a:gd name="T55" fmla="*/ 39 h 49"/>
                  <a:gd name="T56" fmla="*/ 79 w 156"/>
                  <a:gd name="T57" fmla="*/ 44 h 49"/>
                  <a:gd name="T58" fmla="*/ 86 w 156"/>
                  <a:gd name="T59" fmla="*/ 48 h 49"/>
                  <a:gd name="T60" fmla="*/ 96 w 156"/>
                  <a:gd name="T61" fmla="*/ 47 h 49"/>
                  <a:gd name="T62" fmla="*/ 105 w 156"/>
                  <a:gd name="T63" fmla="*/ 43 h 49"/>
                  <a:gd name="T64" fmla="*/ 112 w 156"/>
                  <a:gd name="T65" fmla="*/ 45 h 49"/>
                  <a:gd name="T66" fmla="*/ 119 w 156"/>
                  <a:gd name="T67" fmla="*/ 40 h 49"/>
                  <a:gd name="T68" fmla="*/ 122 w 156"/>
                  <a:gd name="T69" fmla="*/ 32 h 49"/>
                  <a:gd name="T70" fmla="*/ 126 w 156"/>
                  <a:gd name="T71" fmla="*/ 25 h 49"/>
                  <a:gd name="T72" fmla="*/ 139 w 156"/>
                  <a:gd name="T73" fmla="*/ 20 h 49"/>
                  <a:gd name="T74" fmla="*/ 143 w 156"/>
                  <a:gd name="T75" fmla="*/ 21 h 49"/>
                  <a:gd name="T76" fmla="*/ 148 w 156"/>
                  <a:gd name="T77" fmla="*/ 16 h 49"/>
                  <a:gd name="T78" fmla="*/ 155 w 156"/>
                  <a:gd name="T79" fmla="*/ 13 h 49"/>
                  <a:gd name="T80" fmla="*/ 149 w 156"/>
                  <a:gd name="T81" fmla="*/ 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56" h="49">
                    <a:moveTo>
                      <a:pt x="28" y="18"/>
                    </a:moveTo>
                    <a:cubicBezTo>
                      <a:pt x="28" y="12"/>
                      <a:pt x="23" y="13"/>
                      <a:pt x="22" y="9"/>
                    </a:cubicBezTo>
                    <a:cubicBezTo>
                      <a:pt x="20" y="6"/>
                      <a:pt x="18" y="8"/>
                      <a:pt x="18" y="5"/>
                    </a:cubicBezTo>
                    <a:cubicBezTo>
                      <a:pt x="18" y="5"/>
                      <a:pt x="17" y="5"/>
                      <a:pt x="17" y="4"/>
                    </a:cubicBezTo>
                    <a:cubicBezTo>
                      <a:pt x="14" y="5"/>
                      <a:pt x="15" y="7"/>
                      <a:pt x="15" y="7"/>
                    </a:cubicBezTo>
                    <a:cubicBezTo>
                      <a:pt x="14" y="8"/>
                      <a:pt x="8" y="8"/>
                      <a:pt x="8" y="7"/>
                    </a:cubicBezTo>
                    <a:cubicBezTo>
                      <a:pt x="8" y="5"/>
                      <a:pt x="7" y="2"/>
                      <a:pt x="4" y="2"/>
                    </a:cubicBezTo>
                    <a:cubicBezTo>
                      <a:pt x="3" y="2"/>
                      <a:pt x="1" y="1"/>
                      <a:pt x="0" y="2"/>
                    </a:cubicBezTo>
                    <a:cubicBezTo>
                      <a:pt x="2" y="6"/>
                      <a:pt x="2" y="10"/>
                      <a:pt x="2" y="14"/>
                    </a:cubicBezTo>
                    <a:cubicBezTo>
                      <a:pt x="2" y="19"/>
                      <a:pt x="9" y="26"/>
                      <a:pt x="10" y="29"/>
                    </a:cubicBezTo>
                    <a:cubicBezTo>
                      <a:pt x="11" y="32"/>
                      <a:pt x="13" y="33"/>
                      <a:pt x="18" y="37"/>
                    </a:cubicBezTo>
                    <a:cubicBezTo>
                      <a:pt x="22" y="40"/>
                      <a:pt x="32" y="45"/>
                      <a:pt x="33" y="45"/>
                    </a:cubicBezTo>
                    <a:cubicBezTo>
                      <a:pt x="35" y="44"/>
                      <a:pt x="31" y="36"/>
                      <a:pt x="28" y="33"/>
                    </a:cubicBezTo>
                    <a:cubicBezTo>
                      <a:pt x="25" y="30"/>
                      <a:pt x="28" y="23"/>
                      <a:pt x="28" y="18"/>
                    </a:cubicBezTo>
                    <a:close/>
                    <a:moveTo>
                      <a:pt x="149" y="9"/>
                    </a:moveTo>
                    <a:cubicBezTo>
                      <a:pt x="147" y="9"/>
                      <a:pt x="142" y="9"/>
                      <a:pt x="142" y="7"/>
                    </a:cubicBezTo>
                    <a:cubicBezTo>
                      <a:pt x="142" y="4"/>
                      <a:pt x="138" y="0"/>
                      <a:pt x="135" y="0"/>
                    </a:cubicBezTo>
                    <a:cubicBezTo>
                      <a:pt x="132" y="0"/>
                      <a:pt x="129" y="6"/>
                      <a:pt x="129" y="9"/>
                    </a:cubicBezTo>
                    <a:cubicBezTo>
                      <a:pt x="128" y="11"/>
                      <a:pt x="124" y="11"/>
                      <a:pt x="124" y="14"/>
                    </a:cubicBezTo>
                    <a:cubicBezTo>
                      <a:pt x="124" y="15"/>
                      <a:pt x="124" y="16"/>
                      <a:pt x="122" y="16"/>
                    </a:cubicBezTo>
                    <a:cubicBezTo>
                      <a:pt x="123" y="19"/>
                      <a:pt x="124" y="21"/>
                      <a:pt x="123" y="21"/>
                    </a:cubicBezTo>
                    <a:cubicBezTo>
                      <a:pt x="121" y="20"/>
                      <a:pt x="120" y="23"/>
                      <a:pt x="117" y="23"/>
                    </a:cubicBezTo>
                    <a:cubicBezTo>
                      <a:pt x="116" y="23"/>
                      <a:pt x="115" y="20"/>
                      <a:pt x="113" y="17"/>
                    </a:cubicBezTo>
                    <a:cubicBezTo>
                      <a:pt x="113" y="17"/>
                      <a:pt x="113" y="17"/>
                      <a:pt x="113" y="17"/>
                    </a:cubicBezTo>
                    <a:cubicBezTo>
                      <a:pt x="111" y="17"/>
                      <a:pt x="107" y="24"/>
                      <a:pt x="106" y="28"/>
                    </a:cubicBezTo>
                    <a:cubicBezTo>
                      <a:pt x="105" y="33"/>
                      <a:pt x="100" y="31"/>
                      <a:pt x="94" y="32"/>
                    </a:cubicBezTo>
                    <a:cubicBezTo>
                      <a:pt x="88" y="32"/>
                      <a:pt x="90" y="39"/>
                      <a:pt x="89" y="42"/>
                    </a:cubicBezTo>
                    <a:cubicBezTo>
                      <a:pt x="88" y="45"/>
                      <a:pt x="80" y="40"/>
                      <a:pt x="77" y="39"/>
                    </a:cubicBezTo>
                    <a:cubicBezTo>
                      <a:pt x="77" y="42"/>
                      <a:pt x="78" y="44"/>
                      <a:pt x="79" y="44"/>
                    </a:cubicBezTo>
                    <a:cubicBezTo>
                      <a:pt x="81" y="44"/>
                      <a:pt x="84" y="49"/>
                      <a:pt x="86" y="48"/>
                    </a:cubicBezTo>
                    <a:cubicBezTo>
                      <a:pt x="88" y="46"/>
                      <a:pt x="94" y="48"/>
                      <a:pt x="96" y="47"/>
                    </a:cubicBezTo>
                    <a:cubicBezTo>
                      <a:pt x="99" y="46"/>
                      <a:pt x="100" y="43"/>
                      <a:pt x="105" y="43"/>
                    </a:cubicBezTo>
                    <a:cubicBezTo>
                      <a:pt x="109" y="43"/>
                      <a:pt x="107" y="47"/>
                      <a:pt x="112" y="45"/>
                    </a:cubicBezTo>
                    <a:cubicBezTo>
                      <a:pt x="117" y="42"/>
                      <a:pt x="120" y="44"/>
                      <a:pt x="119" y="40"/>
                    </a:cubicBezTo>
                    <a:cubicBezTo>
                      <a:pt x="119" y="36"/>
                      <a:pt x="122" y="36"/>
                      <a:pt x="122" y="32"/>
                    </a:cubicBezTo>
                    <a:cubicBezTo>
                      <a:pt x="121" y="29"/>
                      <a:pt x="127" y="31"/>
                      <a:pt x="126" y="25"/>
                    </a:cubicBezTo>
                    <a:cubicBezTo>
                      <a:pt x="126" y="19"/>
                      <a:pt x="135" y="20"/>
                      <a:pt x="139" y="20"/>
                    </a:cubicBezTo>
                    <a:cubicBezTo>
                      <a:pt x="140" y="20"/>
                      <a:pt x="141" y="20"/>
                      <a:pt x="143" y="21"/>
                    </a:cubicBezTo>
                    <a:cubicBezTo>
                      <a:pt x="145" y="20"/>
                      <a:pt x="149" y="18"/>
                      <a:pt x="148" y="16"/>
                    </a:cubicBezTo>
                    <a:cubicBezTo>
                      <a:pt x="145" y="14"/>
                      <a:pt x="154" y="16"/>
                      <a:pt x="155" y="13"/>
                    </a:cubicBezTo>
                    <a:cubicBezTo>
                      <a:pt x="156" y="10"/>
                      <a:pt x="152" y="8"/>
                      <a:pt x="149" y="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9" name="Freeform 95">
                <a:extLst>
                  <a:ext uri="{FF2B5EF4-FFF2-40B4-BE49-F238E27FC236}">
                    <a16:creationId xmlns:a16="http://schemas.microsoft.com/office/drawing/2014/main" id="{685D9F58-FC5E-4133-8E8A-4B83622C7A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13852" y="4000713"/>
                <a:ext cx="25095" cy="16311"/>
              </a:xfrm>
              <a:custGeom>
                <a:avLst/>
                <a:gdLst>
                  <a:gd name="T0" fmla="*/ 4 w 11"/>
                  <a:gd name="T1" fmla="*/ 7 h 7"/>
                  <a:gd name="T2" fmla="*/ 10 w 11"/>
                  <a:gd name="T3" fmla="*/ 5 h 7"/>
                  <a:gd name="T4" fmla="*/ 9 w 11"/>
                  <a:gd name="T5" fmla="*/ 0 h 7"/>
                  <a:gd name="T6" fmla="*/ 6 w 11"/>
                  <a:gd name="T7" fmla="*/ 2 h 7"/>
                  <a:gd name="T8" fmla="*/ 0 w 11"/>
                  <a:gd name="T9" fmla="*/ 1 h 7"/>
                  <a:gd name="T10" fmla="*/ 4 w 11"/>
                  <a:gd name="T11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" h="7">
                    <a:moveTo>
                      <a:pt x="4" y="7"/>
                    </a:moveTo>
                    <a:cubicBezTo>
                      <a:pt x="7" y="7"/>
                      <a:pt x="8" y="4"/>
                      <a:pt x="10" y="5"/>
                    </a:cubicBezTo>
                    <a:cubicBezTo>
                      <a:pt x="11" y="5"/>
                      <a:pt x="10" y="3"/>
                      <a:pt x="9" y="0"/>
                    </a:cubicBezTo>
                    <a:cubicBezTo>
                      <a:pt x="8" y="1"/>
                      <a:pt x="6" y="1"/>
                      <a:pt x="6" y="2"/>
                    </a:cubicBezTo>
                    <a:cubicBezTo>
                      <a:pt x="6" y="4"/>
                      <a:pt x="2" y="1"/>
                      <a:pt x="0" y="1"/>
                    </a:cubicBezTo>
                    <a:cubicBezTo>
                      <a:pt x="2" y="4"/>
                      <a:pt x="3" y="7"/>
                      <a:pt x="4" y="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0" name="Freeform 96">
                <a:extLst>
                  <a:ext uri="{FF2B5EF4-FFF2-40B4-BE49-F238E27FC236}">
                    <a16:creationId xmlns:a16="http://schemas.microsoft.com/office/drawing/2014/main" id="{F0921AF9-53BF-4227-B542-E904D45149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32399" y="3353274"/>
                <a:ext cx="181935" cy="178171"/>
              </a:xfrm>
              <a:custGeom>
                <a:avLst/>
                <a:gdLst>
                  <a:gd name="T0" fmla="*/ 66 w 79"/>
                  <a:gd name="T1" fmla="*/ 69 h 77"/>
                  <a:gd name="T2" fmla="*/ 70 w 79"/>
                  <a:gd name="T3" fmla="*/ 66 h 77"/>
                  <a:gd name="T4" fmla="*/ 75 w 79"/>
                  <a:gd name="T5" fmla="*/ 69 h 77"/>
                  <a:gd name="T6" fmla="*/ 79 w 79"/>
                  <a:gd name="T7" fmla="*/ 68 h 77"/>
                  <a:gd name="T8" fmla="*/ 74 w 79"/>
                  <a:gd name="T9" fmla="*/ 61 h 77"/>
                  <a:gd name="T10" fmla="*/ 71 w 79"/>
                  <a:gd name="T11" fmla="*/ 56 h 77"/>
                  <a:gd name="T12" fmla="*/ 72 w 79"/>
                  <a:gd name="T13" fmla="*/ 50 h 77"/>
                  <a:gd name="T14" fmla="*/ 68 w 79"/>
                  <a:gd name="T15" fmla="*/ 46 h 77"/>
                  <a:gd name="T16" fmla="*/ 59 w 79"/>
                  <a:gd name="T17" fmla="*/ 40 h 77"/>
                  <a:gd name="T18" fmla="*/ 56 w 79"/>
                  <a:gd name="T19" fmla="*/ 35 h 77"/>
                  <a:gd name="T20" fmla="*/ 55 w 79"/>
                  <a:gd name="T21" fmla="*/ 28 h 77"/>
                  <a:gd name="T22" fmla="*/ 58 w 79"/>
                  <a:gd name="T23" fmla="*/ 22 h 77"/>
                  <a:gd name="T24" fmla="*/ 59 w 79"/>
                  <a:gd name="T25" fmla="*/ 17 h 77"/>
                  <a:gd name="T26" fmla="*/ 56 w 79"/>
                  <a:gd name="T27" fmla="*/ 14 h 77"/>
                  <a:gd name="T28" fmla="*/ 51 w 79"/>
                  <a:gd name="T29" fmla="*/ 9 h 77"/>
                  <a:gd name="T30" fmla="*/ 48 w 79"/>
                  <a:gd name="T31" fmla="*/ 3 h 77"/>
                  <a:gd name="T32" fmla="*/ 40 w 79"/>
                  <a:gd name="T33" fmla="*/ 1 h 77"/>
                  <a:gd name="T34" fmla="*/ 33 w 79"/>
                  <a:gd name="T35" fmla="*/ 0 h 77"/>
                  <a:gd name="T36" fmla="*/ 29 w 79"/>
                  <a:gd name="T37" fmla="*/ 3 h 77"/>
                  <a:gd name="T38" fmla="*/ 29 w 79"/>
                  <a:gd name="T39" fmla="*/ 3 h 77"/>
                  <a:gd name="T40" fmla="*/ 24 w 79"/>
                  <a:gd name="T41" fmla="*/ 6 h 77"/>
                  <a:gd name="T42" fmla="*/ 19 w 79"/>
                  <a:gd name="T43" fmla="*/ 10 h 77"/>
                  <a:gd name="T44" fmla="*/ 20 w 79"/>
                  <a:gd name="T45" fmla="*/ 17 h 77"/>
                  <a:gd name="T46" fmla="*/ 19 w 79"/>
                  <a:gd name="T47" fmla="*/ 23 h 77"/>
                  <a:gd name="T48" fmla="*/ 17 w 79"/>
                  <a:gd name="T49" fmla="*/ 28 h 77"/>
                  <a:gd name="T50" fmla="*/ 0 w 79"/>
                  <a:gd name="T51" fmla="*/ 37 h 77"/>
                  <a:gd name="T52" fmla="*/ 1 w 79"/>
                  <a:gd name="T53" fmla="*/ 41 h 77"/>
                  <a:gd name="T54" fmla="*/ 3 w 79"/>
                  <a:gd name="T55" fmla="*/ 49 h 77"/>
                  <a:gd name="T56" fmla="*/ 9 w 79"/>
                  <a:gd name="T57" fmla="*/ 49 h 77"/>
                  <a:gd name="T58" fmla="*/ 25 w 79"/>
                  <a:gd name="T59" fmla="*/ 58 h 77"/>
                  <a:gd name="T60" fmla="*/ 44 w 79"/>
                  <a:gd name="T61" fmla="*/ 72 h 77"/>
                  <a:gd name="T62" fmla="*/ 54 w 79"/>
                  <a:gd name="T63" fmla="*/ 76 h 77"/>
                  <a:gd name="T64" fmla="*/ 63 w 79"/>
                  <a:gd name="T65" fmla="*/ 77 h 77"/>
                  <a:gd name="T66" fmla="*/ 66 w 79"/>
                  <a:gd name="T67" fmla="*/ 69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79" h="77">
                    <a:moveTo>
                      <a:pt x="66" y="69"/>
                    </a:moveTo>
                    <a:cubicBezTo>
                      <a:pt x="67" y="68"/>
                      <a:pt x="68" y="67"/>
                      <a:pt x="70" y="66"/>
                    </a:cubicBezTo>
                    <a:cubicBezTo>
                      <a:pt x="72" y="66"/>
                      <a:pt x="73" y="67"/>
                      <a:pt x="75" y="69"/>
                    </a:cubicBezTo>
                    <a:cubicBezTo>
                      <a:pt x="76" y="69"/>
                      <a:pt x="78" y="68"/>
                      <a:pt x="79" y="68"/>
                    </a:cubicBezTo>
                    <a:cubicBezTo>
                      <a:pt x="77" y="65"/>
                      <a:pt x="74" y="63"/>
                      <a:pt x="74" y="61"/>
                    </a:cubicBezTo>
                    <a:cubicBezTo>
                      <a:pt x="75" y="59"/>
                      <a:pt x="72" y="57"/>
                      <a:pt x="71" y="56"/>
                    </a:cubicBezTo>
                    <a:cubicBezTo>
                      <a:pt x="71" y="54"/>
                      <a:pt x="73" y="52"/>
                      <a:pt x="72" y="50"/>
                    </a:cubicBezTo>
                    <a:cubicBezTo>
                      <a:pt x="71" y="49"/>
                      <a:pt x="70" y="46"/>
                      <a:pt x="68" y="46"/>
                    </a:cubicBezTo>
                    <a:cubicBezTo>
                      <a:pt x="66" y="45"/>
                      <a:pt x="59" y="42"/>
                      <a:pt x="59" y="40"/>
                    </a:cubicBezTo>
                    <a:cubicBezTo>
                      <a:pt x="60" y="37"/>
                      <a:pt x="57" y="36"/>
                      <a:pt x="56" y="35"/>
                    </a:cubicBezTo>
                    <a:cubicBezTo>
                      <a:pt x="54" y="35"/>
                      <a:pt x="53" y="29"/>
                      <a:pt x="55" y="28"/>
                    </a:cubicBezTo>
                    <a:cubicBezTo>
                      <a:pt x="56" y="27"/>
                      <a:pt x="56" y="22"/>
                      <a:pt x="58" y="22"/>
                    </a:cubicBezTo>
                    <a:cubicBezTo>
                      <a:pt x="60" y="22"/>
                      <a:pt x="58" y="19"/>
                      <a:pt x="59" y="17"/>
                    </a:cubicBezTo>
                    <a:cubicBezTo>
                      <a:pt x="59" y="15"/>
                      <a:pt x="57" y="14"/>
                      <a:pt x="56" y="14"/>
                    </a:cubicBezTo>
                    <a:cubicBezTo>
                      <a:pt x="54" y="14"/>
                      <a:pt x="51" y="11"/>
                      <a:pt x="51" y="9"/>
                    </a:cubicBezTo>
                    <a:cubicBezTo>
                      <a:pt x="51" y="7"/>
                      <a:pt x="48" y="4"/>
                      <a:pt x="48" y="3"/>
                    </a:cubicBezTo>
                    <a:cubicBezTo>
                      <a:pt x="48" y="7"/>
                      <a:pt x="42" y="1"/>
                      <a:pt x="40" y="1"/>
                    </a:cubicBezTo>
                    <a:cubicBezTo>
                      <a:pt x="38" y="2"/>
                      <a:pt x="36" y="0"/>
                      <a:pt x="33" y="0"/>
                    </a:cubicBezTo>
                    <a:cubicBezTo>
                      <a:pt x="30" y="0"/>
                      <a:pt x="30" y="2"/>
                      <a:pt x="29" y="3"/>
                    </a:cubicBezTo>
                    <a:cubicBezTo>
                      <a:pt x="29" y="3"/>
                      <a:pt x="29" y="3"/>
                      <a:pt x="29" y="3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0" y="8"/>
                      <a:pt x="19" y="10"/>
                    </a:cubicBezTo>
                    <a:cubicBezTo>
                      <a:pt x="18" y="13"/>
                      <a:pt x="21" y="15"/>
                      <a:pt x="20" y="17"/>
                    </a:cubicBezTo>
                    <a:cubicBezTo>
                      <a:pt x="19" y="18"/>
                      <a:pt x="19" y="22"/>
                      <a:pt x="19" y="23"/>
                    </a:cubicBezTo>
                    <a:cubicBezTo>
                      <a:pt x="20" y="24"/>
                      <a:pt x="17" y="28"/>
                      <a:pt x="17" y="28"/>
                    </a:cubicBezTo>
                    <a:cubicBezTo>
                      <a:pt x="17" y="28"/>
                      <a:pt x="8" y="33"/>
                      <a:pt x="0" y="37"/>
                    </a:cubicBezTo>
                    <a:cubicBezTo>
                      <a:pt x="0" y="38"/>
                      <a:pt x="0" y="40"/>
                      <a:pt x="1" y="41"/>
                    </a:cubicBezTo>
                    <a:cubicBezTo>
                      <a:pt x="1" y="43"/>
                      <a:pt x="2" y="46"/>
                      <a:pt x="3" y="49"/>
                    </a:cubicBezTo>
                    <a:cubicBezTo>
                      <a:pt x="6" y="49"/>
                      <a:pt x="6" y="49"/>
                      <a:pt x="9" y="49"/>
                    </a:cubicBezTo>
                    <a:cubicBezTo>
                      <a:pt x="12" y="49"/>
                      <a:pt x="22" y="57"/>
                      <a:pt x="25" y="58"/>
                    </a:cubicBezTo>
                    <a:cubicBezTo>
                      <a:pt x="27" y="59"/>
                      <a:pt x="41" y="70"/>
                      <a:pt x="44" y="72"/>
                    </a:cubicBezTo>
                    <a:cubicBezTo>
                      <a:pt x="47" y="75"/>
                      <a:pt x="52" y="76"/>
                      <a:pt x="54" y="76"/>
                    </a:cubicBezTo>
                    <a:cubicBezTo>
                      <a:pt x="55" y="76"/>
                      <a:pt x="59" y="76"/>
                      <a:pt x="63" y="77"/>
                    </a:cubicBezTo>
                    <a:cubicBezTo>
                      <a:pt x="64" y="74"/>
                      <a:pt x="66" y="70"/>
                      <a:pt x="66" y="6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1" name="Freeform 97">
                <a:extLst>
                  <a:ext uri="{FF2B5EF4-FFF2-40B4-BE49-F238E27FC236}">
                    <a16:creationId xmlns:a16="http://schemas.microsoft.com/office/drawing/2014/main" id="{6B1FD5B8-F9B8-41D4-941C-02D38CBE63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77947" y="3505096"/>
                <a:ext cx="35132" cy="35132"/>
              </a:xfrm>
              <a:custGeom>
                <a:avLst/>
                <a:gdLst>
                  <a:gd name="T0" fmla="*/ 5 w 15"/>
                  <a:gd name="T1" fmla="*/ 11 h 15"/>
                  <a:gd name="T2" fmla="*/ 9 w 15"/>
                  <a:gd name="T3" fmla="*/ 15 h 15"/>
                  <a:gd name="T4" fmla="*/ 15 w 15"/>
                  <a:gd name="T5" fmla="*/ 15 h 15"/>
                  <a:gd name="T6" fmla="*/ 12 w 15"/>
                  <a:gd name="T7" fmla="*/ 5 h 15"/>
                  <a:gd name="T8" fmla="*/ 12 w 15"/>
                  <a:gd name="T9" fmla="*/ 3 h 15"/>
                  <a:gd name="T10" fmla="*/ 7 w 15"/>
                  <a:gd name="T11" fmla="*/ 0 h 15"/>
                  <a:gd name="T12" fmla="*/ 3 w 15"/>
                  <a:gd name="T13" fmla="*/ 3 h 15"/>
                  <a:gd name="T14" fmla="*/ 0 w 15"/>
                  <a:gd name="T15" fmla="*/ 11 h 15"/>
                  <a:gd name="T16" fmla="*/ 5 w 15"/>
                  <a:gd name="T17" fmla="*/ 11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5" h="15">
                    <a:moveTo>
                      <a:pt x="5" y="11"/>
                    </a:moveTo>
                    <a:cubicBezTo>
                      <a:pt x="9" y="15"/>
                      <a:pt x="9" y="15"/>
                      <a:pt x="9" y="15"/>
                    </a:cubicBezTo>
                    <a:cubicBezTo>
                      <a:pt x="15" y="15"/>
                      <a:pt x="15" y="15"/>
                      <a:pt x="15" y="15"/>
                    </a:cubicBezTo>
                    <a:cubicBezTo>
                      <a:pt x="14" y="11"/>
                      <a:pt x="12" y="6"/>
                      <a:pt x="12" y="5"/>
                    </a:cubicBezTo>
                    <a:cubicBezTo>
                      <a:pt x="12" y="4"/>
                      <a:pt x="12" y="4"/>
                      <a:pt x="12" y="3"/>
                    </a:cubicBezTo>
                    <a:cubicBezTo>
                      <a:pt x="10" y="1"/>
                      <a:pt x="9" y="0"/>
                      <a:pt x="7" y="0"/>
                    </a:cubicBezTo>
                    <a:cubicBezTo>
                      <a:pt x="5" y="1"/>
                      <a:pt x="4" y="2"/>
                      <a:pt x="3" y="3"/>
                    </a:cubicBezTo>
                    <a:cubicBezTo>
                      <a:pt x="3" y="4"/>
                      <a:pt x="1" y="8"/>
                      <a:pt x="0" y="11"/>
                    </a:cubicBezTo>
                    <a:cubicBezTo>
                      <a:pt x="3" y="11"/>
                      <a:pt x="5" y="11"/>
                      <a:pt x="5" y="1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2" name="Freeform 98">
                <a:extLst>
                  <a:ext uri="{FF2B5EF4-FFF2-40B4-BE49-F238E27FC236}">
                    <a16:creationId xmlns:a16="http://schemas.microsoft.com/office/drawing/2014/main" id="{EE344350-A6AE-4C12-82E2-FCA41E7EDA7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30629" y="3039593"/>
                <a:ext cx="272276" cy="225851"/>
              </a:xfrm>
              <a:custGeom>
                <a:avLst/>
                <a:gdLst>
                  <a:gd name="T0" fmla="*/ 104 w 118"/>
                  <a:gd name="T1" fmla="*/ 22 h 98"/>
                  <a:gd name="T2" fmla="*/ 99 w 118"/>
                  <a:gd name="T3" fmla="*/ 21 h 98"/>
                  <a:gd name="T4" fmla="*/ 94 w 118"/>
                  <a:gd name="T5" fmla="*/ 18 h 98"/>
                  <a:gd name="T6" fmla="*/ 86 w 118"/>
                  <a:gd name="T7" fmla="*/ 17 h 98"/>
                  <a:gd name="T8" fmla="*/ 82 w 118"/>
                  <a:gd name="T9" fmla="*/ 14 h 98"/>
                  <a:gd name="T10" fmla="*/ 79 w 118"/>
                  <a:gd name="T11" fmla="*/ 10 h 98"/>
                  <a:gd name="T12" fmla="*/ 76 w 118"/>
                  <a:gd name="T13" fmla="*/ 12 h 98"/>
                  <a:gd name="T14" fmla="*/ 73 w 118"/>
                  <a:gd name="T15" fmla="*/ 9 h 98"/>
                  <a:gd name="T16" fmla="*/ 68 w 118"/>
                  <a:gd name="T17" fmla="*/ 6 h 98"/>
                  <a:gd name="T18" fmla="*/ 64 w 118"/>
                  <a:gd name="T19" fmla="*/ 4 h 98"/>
                  <a:gd name="T20" fmla="*/ 62 w 118"/>
                  <a:gd name="T21" fmla="*/ 1 h 98"/>
                  <a:gd name="T22" fmla="*/ 60 w 118"/>
                  <a:gd name="T23" fmla="*/ 0 h 98"/>
                  <a:gd name="T24" fmla="*/ 59 w 118"/>
                  <a:gd name="T25" fmla="*/ 0 h 98"/>
                  <a:gd name="T26" fmla="*/ 54 w 118"/>
                  <a:gd name="T27" fmla="*/ 7 h 98"/>
                  <a:gd name="T28" fmla="*/ 45 w 118"/>
                  <a:gd name="T29" fmla="*/ 12 h 98"/>
                  <a:gd name="T30" fmla="*/ 40 w 118"/>
                  <a:gd name="T31" fmla="*/ 18 h 98"/>
                  <a:gd name="T32" fmla="*/ 30 w 118"/>
                  <a:gd name="T33" fmla="*/ 15 h 98"/>
                  <a:gd name="T34" fmla="*/ 25 w 118"/>
                  <a:gd name="T35" fmla="*/ 18 h 98"/>
                  <a:gd name="T36" fmla="*/ 27 w 118"/>
                  <a:gd name="T37" fmla="*/ 26 h 98"/>
                  <a:gd name="T38" fmla="*/ 20 w 118"/>
                  <a:gd name="T39" fmla="*/ 26 h 98"/>
                  <a:gd name="T40" fmla="*/ 15 w 118"/>
                  <a:gd name="T41" fmla="*/ 24 h 98"/>
                  <a:gd name="T42" fmla="*/ 7 w 118"/>
                  <a:gd name="T43" fmla="*/ 24 h 98"/>
                  <a:gd name="T44" fmla="*/ 2 w 118"/>
                  <a:gd name="T45" fmla="*/ 28 h 98"/>
                  <a:gd name="T46" fmla="*/ 3 w 118"/>
                  <a:gd name="T47" fmla="*/ 33 h 98"/>
                  <a:gd name="T48" fmla="*/ 13 w 118"/>
                  <a:gd name="T49" fmla="*/ 37 h 98"/>
                  <a:gd name="T50" fmla="*/ 21 w 118"/>
                  <a:gd name="T51" fmla="*/ 39 h 98"/>
                  <a:gd name="T52" fmla="*/ 23 w 118"/>
                  <a:gd name="T53" fmla="*/ 42 h 98"/>
                  <a:gd name="T54" fmla="*/ 29 w 118"/>
                  <a:gd name="T55" fmla="*/ 49 h 98"/>
                  <a:gd name="T56" fmla="*/ 32 w 118"/>
                  <a:gd name="T57" fmla="*/ 55 h 98"/>
                  <a:gd name="T58" fmla="*/ 30 w 118"/>
                  <a:gd name="T59" fmla="*/ 65 h 98"/>
                  <a:gd name="T60" fmla="*/ 27 w 118"/>
                  <a:gd name="T61" fmla="*/ 79 h 98"/>
                  <a:gd name="T62" fmla="*/ 26 w 118"/>
                  <a:gd name="T63" fmla="*/ 80 h 98"/>
                  <a:gd name="T64" fmla="*/ 31 w 118"/>
                  <a:gd name="T65" fmla="*/ 82 h 98"/>
                  <a:gd name="T66" fmla="*/ 38 w 118"/>
                  <a:gd name="T67" fmla="*/ 86 h 98"/>
                  <a:gd name="T68" fmla="*/ 45 w 118"/>
                  <a:gd name="T69" fmla="*/ 85 h 98"/>
                  <a:gd name="T70" fmla="*/ 49 w 118"/>
                  <a:gd name="T71" fmla="*/ 86 h 98"/>
                  <a:gd name="T72" fmla="*/ 58 w 118"/>
                  <a:gd name="T73" fmla="*/ 88 h 98"/>
                  <a:gd name="T74" fmla="*/ 66 w 118"/>
                  <a:gd name="T75" fmla="*/ 88 h 98"/>
                  <a:gd name="T76" fmla="*/ 66 w 118"/>
                  <a:gd name="T77" fmla="*/ 86 h 98"/>
                  <a:gd name="T78" fmla="*/ 73 w 118"/>
                  <a:gd name="T79" fmla="*/ 78 h 98"/>
                  <a:gd name="T80" fmla="*/ 87 w 118"/>
                  <a:gd name="T81" fmla="*/ 82 h 98"/>
                  <a:gd name="T82" fmla="*/ 97 w 118"/>
                  <a:gd name="T83" fmla="*/ 79 h 98"/>
                  <a:gd name="T84" fmla="*/ 102 w 118"/>
                  <a:gd name="T85" fmla="*/ 75 h 98"/>
                  <a:gd name="T86" fmla="*/ 103 w 118"/>
                  <a:gd name="T87" fmla="*/ 73 h 98"/>
                  <a:gd name="T88" fmla="*/ 99 w 118"/>
                  <a:gd name="T89" fmla="*/ 71 h 98"/>
                  <a:gd name="T90" fmla="*/ 97 w 118"/>
                  <a:gd name="T91" fmla="*/ 67 h 98"/>
                  <a:gd name="T92" fmla="*/ 95 w 118"/>
                  <a:gd name="T93" fmla="*/ 63 h 98"/>
                  <a:gd name="T94" fmla="*/ 96 w 118"/>
                  <a:gd name="T95" fmla="*/ 61 h 98"/>
                  <a:gd name="T96" fmla="*/ 98 w 118"/>
                  <a:gd name="T97" fmla="*/ 58 h 98"/>
                  <a:gd name="T98" fmla="*/ 97 w 118"/>
                  <a:gd name="T99" fmla="*/ 54 h 98"/>
                  <a:gd name="T100" fmla="*/ 96 w 118"/>
                  <a:gd name="T101" fmla="*/ 50 h 98"/>
                  <a:gd name="T102" fmla="*/ 92 w 118"/>
                  <a:gd name="T103" fmla="*/ 50 h 98"/>
                  <a:gd name="T104" fmla="*/ 91 w 118"/>
                  <a:gd name="T105" fmla="*/ 47 h 98"/>
                  <a:gd name="T106" fmla="*/ 96 w 118"/>
                  <a:gd name="T107" fmla="*/ 41 h 98"/>
                  <a:gd name="T108" fmla="*/ 100 w 118"/>
                  <a:gd name="T109" fmla="*/ 37 h 98"/>
                  <a:gd name="T110" fmla="*/ 102 w 118"/>
                  <a:gd name="T111" fmla="*/ 31 h 98"/>
                  <a:gd name="T112" fmla="*/ 105 w 118"/>
                  <a:gd name="T113" fmla="*/ 25 h 98"/>
                  <a:gd name="T114" fmla="*/ 104 w 118"/>
                  <a:gd name="T115" fmla="*/ 22 h 98"/>
                  <a:gd name="T116" fmla="*/ 116 w 118"/>
                  <a:gd name="T117" fmla="*/ 83 h 98"/>
                  <a:gd name="T118" fmla="*/ 111 w 118"/>
                  <a:gd name="T119" fmla="*/ 87 h 98"/>
                  <a:gd name="T120" fmla="*/ 115 w 118"/>
                  <a:gd name="T121" fmla="*/ 98 h 98"/>
                  <a:gd name="T122" fmla="*/ 116 w 118"/>
                  <a:gd name="T123" fmla="*/ 83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18" h="98">
                    <a:moveTo>
                      <a:pt x="104" y="22"/>
                    </a:moveTo>
                    <a:cubicBezTo>
                      <a:pt x="103" y="22"/>
                      <a:pt x="102" y="21"/>
                      <a:pt x="99" y="21"/>
                    </a:cubicBezTo>
                    <a:cubicBezTo>
                      <a:pt x="97" y="21"/>
                      <a:pt x="95" y="20"/>
                      <a:pt x="94" y="18"/>
                    </a:cubicBezTo>
                    <a:cubicBezTo>
                      <a:pt x="93" y="17"/>
                      <a:pt x="88" y="16"/>
                      <a:pt x="86" y="17"/>
                    </a:cubicBezTo>
                    <a:cubicBezTo>
                      <a:pt x="84" y="17"/>
                      <a:pt x="83" y="14"/>
                      <a:pt x="82" y="14"/>
                    </a:cubicBezTo>
                    <a:cubicBezTo>
                      <a:pt x="80" y="14"/>
                      <a:pt x="79" y="12"/>
                      <a:pt x="79" y="10"/>
                    </a:cubicBezTo>
                    <a:cubicBezTo>
                      <a:pt x="79" y="9"/>
                      <a:pt x="77" y="11"/>
                      <a:pt x="76" y="12"/>
                    </a:cubicBezTo>
                    <a:cubicBezTo>
                      <a:pt x="74" y="13"/>
                      <a:pt x="74" y="10"/>
                      <a:pt x="73" y="9"/>
                    </a:cubicBezTo>
                    <a:cubicBezTo>
                      <a:pt x="73" y="8"/>
                      <a:pt x="70" y="7"/>
                      <a:pt x="68" y="6"/>
                    </a:cubicBezTo>
                    <a:cubicBezTo>
                      <a:pt x="67" y="5"/>
                      <a:pt x="65" y="3"/>
                      <a:pt x="64" y="4"/>
                    </a:cubicBezTo>
                    <a:cubicBezTo>
                      <a:pt x="64" y="5"/>
                      <a:pt x="62" y="2"/>
                      <a:pt x="62" y="1"/>
                    </a:cubicBezTo>
                    <a:cubicBezTo>
                      <a:pt x="61" y="0"/>
                      <a:pt x="61" y="0"/>
                      <a:pt x="60" y="0"/>
                    </a:cubicBezTo>
                    <a:cubicBezTo>
                      <a:pt x="60" y="0"/>
                      <a:pt x="59" y="0"/>
                      <a:pt x="59" y="0"/>
                    </a:cubicBezTo>
                    <a:cubicBezTo>
                      <a:pt x="56" y="0"/>
                      <a:pt x="53" y="2"/>
                      <a:pt x="54" y="7"/>
                    </a:cubicBezTo>
                    <a:cubicBezTo>
                      <a:pt x="54" y="12"/>
                      <a:pt x="50" y="12"/>
                      <a:pt x="45" y="12"/>
                    </a:cubicBezTo>
                    <a:cubicBezTo>
                      <a:pt x="41" y="13"/>
                      <a:pt x="42" y="17"/>
                      <a:pt x="40" y="18"/>
                    </a:cubicBezTo>
                    <a:cubicBezTo>
                      <a:pt x="38" y="20"/>
                      <a:pt x="31" y="17"/>
                      <a:pt x="30" y="15"/>
                    </a:cubicBezTo>
                    <a:cubicBezTo>
                      <a:pt x="29" y="12"/>
                      <a:pt x="23" y="15"/>
                      <a:pt x="25" y="18"/>
                    </a:cubicBezTo>
                    <a:cubicBezTo>
                      <a:pt x="28" y="21"/>
                      <a:pt x="28" y="25"/>
                      <a:pt x="27" y="26"/>
                    </a:cubicBezTo>
                    <a:cubicBezTo>
                      <a:pt x="25" y="28"/>
                      <a:pt x="22" y="24"/>
                      <a:pt x="20" y="26"/>
                    </a:cubicBezTo>
                    <a:cubicBezTo>
                      <a:pt x="17" y="28"/>
                      <a:pt x="17" y="25"/>
                      <a:pt x="15" y="24"/>
                    </a:cubicBezTo>
                    <a:cubicBezTo>
                      <a:pt x="12" y="23"/>
                      <a:pt x="11" y="25"/>
                      <a:pt x="7" y="24"/>
                    </a:cubicBezTo>
                    <a:cubicBezTo>
                      <a:pt x="3" y="24"/>
                      <a:pt x="0" y="26"/>
                      <a:pt x="2" y="28"/>
                    </a:cubicBezTo>
                    <a:cubicBezTo>
                      <a:pt x="3" y="30"/>
                      <a:pt x="2" y="32"/>
                      <a:pt x="3" y="33"/>
                    </a:cubicBezTo>
                    <a:cubicBezTo>
                      <a:pt x="4" y="35"/>
                      <a:pt x="9" y="35"/>
                      <a:pt x="13" y="37"/>
                    </a:cubicBezTo>
                    <a:cubicBezTo>
                      <a:pt x="18" y="39"/>
                      <a:pt x="18" y="37"/>
                      <a:pt x="21" y="39"/>
                    </a:cubicBezTo>
                    <a:cubicBezTo>
                      <a:pt x="23" y="40"/>
                      <a:pt x="23" y="39"/>
                      <a:pt x="23" y="42"/>
                    </a:cubicBezTo>
                    <a:cubicBezTo>
                      <a:pt x="23" y="45"/>
                      <a:pt x="25" y="48"/>
                      <a:pt x="29" y="49"/>
                    </a:cubicBezTo>
                    <a:cubicBezTo>
                      <a:pt x="33" y="50"/>
                      <a:pt x="30" y="53"/>
                      <a:pt x="32" y="55"/>
                    </a:cubicBezTo>
                    <a:cubicBezTo>
                      <a:pt x="33" y="58"/>
                      <a:pt x="30" y="62"/>
                      <a:pt x="30" y="65"/>
                    </a:cubicBezTo>
                    <a:cubicBezTo>
                      <a:pt x="31" y="68"/>
                      <a:pt x="28" y="79"/>
                      <a:pt x="27" y="79"/>
                    </a:cubicBezTo>
                    <a:cubicBezTo>
                      <a:pt x="26" y="80"/>
                      <a:pt x="26" y="80"/>
                      <a:pt x="26" y="80"/>
                    </a:cubicBezTo>
                    <a:cubicBezTo>
                      <a:pt x="28" y="80"/>
                      <a:pt x="30" y="81"/>
                      <a:pt x="31" y="82"/>
                    </a:cubicBezTo>
                    <a:cubicBezTo>
                      <a:pt x="32" y="83"/>
                      <a:pt x="36" y="84"/>
                      <a:pt x="38" y="86"/>
                    </a:cubicBezTo>
                    <a:cubicBezTo>
                      <a:pt x="41" y="87"/>
                      <a:pt x="45" y="87"/>
                      <a:pt x="45" y="85"/>
                    </a:cubicBezTo>
                    <a:cubicBezTo>
                      <a:pt x="45" y="83"/>
                      <a:pt x="47" y="84"/>
                      <a:pt x="49" y="86"/>
                    </a:cubicBezTo>
                    <a:cubicBezTo>
                      <a:pt x="50" y="87"/>
                      <a:pt x="56" y="88"/>
                      <a:pt x="58" y="88"/>
                    </a:cubicBezTo>
                    <a:cubicBezTo>
                      <a:pt x="60" y="89"/>
                      <a:pt x="64" y="88"/>
                      <a:pt x="66" y="88"/>
                    </a:cubicBezTo>
                    <a:cubicBezTo>
                      <a:pt x="66" y="88"/>
                      <a:pt x="66" y="87"/>
                      <a:pt x="66" y="86"/>
                    </a:cubicBezTo>
                    <a:cubicBezTo>
                      <a:pt x="64" y="82"/>
                      <a:pt x="69" y="79"/>
                      <a:pt x="73" y="78"/>
                    </a:cubicBezTo>
                    <a:cubicBezTo>
                      <a:pt x="77" y="78"/>
                      <a:pt x="85" y="80"/>
                      <a:pt x="87" y="82"/>
                    </a:cubicBezTo>
                    <a:cubicBezTo>
                      <a:pt x="90" y="83"/>
                      <a:pt x="93" y="83"/>
                      <a:pt x="97" y="79"/>
                    </a:cubicBezTo>
                    <a:cubicBezTo>
                      <a:pt x="99" y="76"/>
                      <a:pt x="100" y="76"/>
                      <a:pt x="102" y="75"/>
                    </a:cubicBezTo>
                    <a:cubicBezTo>
                      <a:pt x="102" y="74"/>
                      <a:pt x="102" y="73"/>
                      <a:pt x="103" y="73"/>
                    </a:cubicBezTo>
                    <a:cubicBezTo>
                      <a:pt x="103" y="71"/>
                      <a:pt x="101" y="71"/>
                      <a:pt x="99" y="71"/>
                    </a:cubicBezTo>
                    <a:cubicBezTo>
                      <a:pt x="97" y="71"/>
                      <a:pt x="96" y="69"/>
                      <a:pt x="97" y="67"/>
                    </a:cubicBezTo>
                    <a:cubicBezTo>
                      <a:pt x="98" y="65"/>
                      <a:pt x="96" y="65"/>
                      <a:pt x="95" y="63"/>
                    </a:cubicBezTo>
                    <a:cubicBezTo>
                      <a:pt x="93" y="61"/>
                      <a:pt x="95" y="62"/>
                      <a:pt x="96" y="61"/>
                    </a:cubicBezTo>
                    <a:cubicBezTo>
                      <a:pt x="97" y="61"/>
                      <a:pt x="99" y="59"/>
                      <a:pt x="98" y="58"/>
                    </a:cubicBezTo>
                    <a:cubicBezTo>
                      <a:pt x="97" y="58"/>
                      <a:pt x="96" y="56"/>
                      <a:pt x="97" y="54"/>
                    </a:cubicBezTo>
                    <a:cubicBezTo>
                      <a:pt x="98" y="52"/>
                      <a:pt x="96" y="52"/>
                      <a:pt x="96" y="50"/>
                    </a:cubicBezTo>
                    <a:cubicBezTo>
                      <a:pt x="96" y="49"/>
                      <a:pt x="94" y="48"/>
                      <a:pt x="92" y="50"/>
                    </a:cubicBezTo>
                    <a:cubicBezTo>
                      <a:pt x="90" y="52"/>
                      <a:pt x="90" y="50"/>
                      <a:pt x="91" y="47"/>
                    </a:cubicBezTo>
                    <a:cubicBezTo>
                      <a:pt x="92" y="44"/>
                      <a:pt x="96" y="43"/>
                      <a:pt x="96" y="41"/>
                    </a:cubicBezTo>
                    <a:cubicBezTo>
                      <a:pt x="96" y="39"/>
                      <a:pt x="99" y="37"/>
                      <a:pt x="100" y="37"/>
                    </a:cubicBezTo>
                    <a:cubicBezTo>
                      <a:pt x="102" y="37"/>
                      <a:pt x="101" y="34"/>
                      <a:pt x="102" y="31"/>
                    </a:cubicBezTo>
                    <a:cubicBezTo>
                      <a:pt x="103" y="29"/>
                      <a:pt x="103" y="27"/>
                      <a:pt x="105" y="25"/>
                    </a:cubicBezTo>
                    <a:cubicBezTo>
                      <a:pt x="108" y="23"/>
                      <a:pt x="105" y="22"/>
                      <a:pt x="104" y="22"/>
                    </a:cubicBezTo>
                    <a:close/>
                    <a:moveTo>
                      <a:pt x="116" y="83"/>
                    </a:moveTo>
                    <a:cubicBezTo>
                      <a:pt x="115" y="82"/>
                      <a:pt x="115" y="85"/>
                      <a:pt x="111" y="87"/>
                    </a:cubicBezTo>
                    <a:cubicBezTo>
                      <a:pt x="108" y="89"/>
                      <a:pt x="111" y="98"/>
                      <a:pt x="115" y="98"/>
                    </a:cubicBezTo>
                    <a:cubicBezTo>
                      <a:pt x="118" y="97"/>
                      <a:pt x="118" y="83"/>
                      <a:pt x="116" y="8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3" name="Freeform 99">
                <a:extLst>
                  <a:ext uri="{FF2B5EF4-FFF2-40B4-BE49-F238E27FC236}">
                    <a16:creationId xmlns:a16="http://schemas.microsoft.com/office/drawing/2014/main" id="{B86E59F7-7640-43A1-9E5A-53EE5F5C92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39636" y="3816268"/>
                <a:ext cx="42661" cy="26349"/>
              </a:xfrm>
              <a:custGeom>
                <a:avLst/>
                <a:gdLst>
                  <a:gd name="T0" fmla="*/ 18 w 18"/>
                  <a:gd name="T1" fmla="*/ 4 h 11"/>
                  <a:gd name="T2" fmla="*/ 9 w 18"/>
                  <a:gd name="T3" fmla="*/ 2 h 11"/>
                  <a:gd name="T4" fmla="*/ 6 w 18"/>
                  <a:gd name="T5" fmla="*/ 0 h 11"/>
                  <a:gd name="T6" fmla="*/ 5 w 18"/>
                  <a:gd name="T7" fmla="*/ 0 h 11"/>
                  <a:gd name="T8" fmla="*/ 0 w 18"/>
                  <a:gd name="T9" fmla="*/ 5 h 11"/>
                  <a:gd name="T10" fmla="*/ 15 w 18"/>
                  <a:gd name="T11" fmla="*/ 11 h 11"/>
                  <a:gd name="T12" fmla="*/ 18 w 18"/>
                  <a:gd name="T13" fmla="*/ 9 h 11"/>
                  <a:gd name="T14" fmla="*/ 18 w 18"/>
                  <a:gd name="T15" fmla="*/ 4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" h="11">
                    <a:moveTo>
                      <a:pt x="18" y="4"/>
                    </a:moveTo>
                    <a:cubicBezTo>
                      <a:pt x="16" y="2"/>
                      <a:pt x="13" y="5"/>
                      <a:pt x="9" y="2"/>
                    </a:cubicBezTo>
                    <a:cubicBezTo>
                      <a:pt x="8" y="1"/>
                      <a:pt x="7" y="1"/>
                      <a:pt x="6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4" y="1"/>
                      <a:pt x="2" y="3"/>
                      <a:pt x="0" y="5"/>
                    </a:cubicBezTo>
                    <a:cubicBezTo>
                      <a:pt x="2" y="7"/>
                      <a:pt x="12" y="11"/>
                      <a:pt x="15" y="11"/>
                    </a:cubicBezTo>
                    <a:cubicBezTo>
                      <a:pt x="16" y="11"/>
                      <a:pt x="17" y="10"/>
                      <a:pt x="18" y="9"/>
                    </a:cubicBezTo>
                    <a:cubicBezTo>
                      <a:pt x="18" y="7"/>
                      <a:pt x="18" y="5"/>
                      <a:pt x="18" y="4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4" name="Freeform 100">
                <a:extLst>
                  <a:ext uri="{FF2B5EF4-FFF2-40B4-BE49-F238E27FC236}">
                    <a16:creationId xmlns:a16="http://schemas.microsoft.com/office/drawing/2014/main" id="{215652BC-2210-4F30-B8EB-7EBA1F66C1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3438" y="3782390"/>
                <a:ext cx="112925" cy="61482"/>
              </a:xfrm>
              <a:custGeom>
                <a:avLst/>
                <a:gdLst>
                  <a:gd name="T0" fmla="*/ 20 w 49"/>
                  <a:gd name="T1" fmla="*/ 25 h 27"/>
                  <a:gd name="T2" fmla="*/ 23 w 49"/>
                  <a:gd name="T3" fmla="*/ 20 h 27"/>
                  <a:gd name="T4" fmla="*/ 32 w 49"/>
                  <a:gd name="T5" fmla="*/ 16 h 27"/>
                  <a:gd name="T6" fmla="*/ 39 w 49"/>
                  <a:gd name="T7" fmla="*/ 14 h 27"/>
                  <a:gd name="T8" fmla="*/ 49 w 49"/>
                  <a:gd name="T9" fmla="*/ 10 h 27"/>
                  <a:gd name="T10" fmla="*/ 40 w 49"/>
                  <a:gd name="T11" fmla="*/ 4 h 27"/>
                  <a:gd name="T12" fmla="*/ 23 w 49"/>
                  <a:gd name="T13" fmla="*/ 4 h 27"/>
                  <a:gd name="T14" fmla="*/ 8 w 49"/>
                  <a:gd name="T15" fmla="*/ 4 h 27"/>
                  <a:gd name="T16" fmla="*/ 8 w 49"/>
                  <a:gd name="T17" fmla="*/ 5 h 27"/>
                  <a:gd name="T18" fmla="*/ 3 w 49"/>
                  <a:gd name="T19" fmla="*/ 9 h 27"/>
                  <a:gd name="T20" fmla="*/ 0 w 49"/>
                  <a:gd name="T21" fmla="*/ 15 h 27"/>
                  <a:gd name="T22" fmla="*/ 3 w 49"/>
                  <a:gd name="T23" fmla="*/ 17 h 27"/>
                  <a:gd name="T24" fmla="*/ 12 w 49"/>
                  <a:gd name="T25" fmla="*/ 19 h 27"/>
                  <a:gd name="T26" fmla="*/ 12 w 49"/>
                  <a:gd name="T27" fmla="*/ 24 h 27"/>
                  <a:gd name="T28" fmla="*/ 14 w 49"/>
                  <a:gd name="T29" fmla="*/ 24 h 27"/>
                  <a:gd name="T30" fmla="*/ 15 w 49"/>
                  <a:gd name="T31" fmla="*/ 27 h 27"/>
                  <a:gd name="T32" fmla="*/ 18 w 49"/>
                  <a:gd name="T33" fmla="*/ 27 h 27"/>
                  <a:gd name="T34" fmla="*/ 20 w 49"/>
                  <a:gd name="T35" fmla="*/ 25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9" h="27">
                    <a:moveTo>
                      <a:pt x="20" y="25"/>
                    </a:moveTo>
                    <a:cubicBezTo>
                      <a:pt x="21" y="24"/>
                      <a:pt x="18" y="20"/>
                      <a:pt x="23" y="20"/>
                    </a:cubicBezTo>
                    <a:cubicBezTo>
                      <a:pt x="27" y="19"/>
                      <a:pt x="31" y="19"/>
                      <a:pt x="32" y="16"/>
                    </a:cubicBezTo>
                    <a:cubicBezTo>
                      <a:pt x="32" y="13"/>
                      <a:pt x="38" y="14"/>
                      <a:pt x="39" y="14"/>
                    </a:cubicBezTo>
                    <a:cubicBezTo>
                      <a:pt x="41" y="14"/>
                      <a:pt x="45" y="10"/>
                      <a:pt x="49" y="10"/>
                    </a:cubicBezTo>
                    <a:cubicBezTo>
                      <a:pt x="49" y="6"/>
                      <a:pt x="43" y="8"/>
                      <a:pt x="40" y="4"/>
                    </a:cubicBezTo>
                    <a:cubicBezTo>
                      <a:pt x="36" y="0"/>
                      <a:pt x="27" y="2"/>
                      <a:pt x="23" y="4"/>
                    </a:cubicBezTo>
                    <a:cubicBezTo>
                      <a:pt x="18" y="5"/>
                      <a:pt x="13" y="2"/>
                      <a:pt x="8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6" y="6"/>
                      <a:pt x="5" y="8"/>
                      <a:pt x="3" y="9"/>
                    </a:cubicBezTo>
                    <a:cubicBezTo>
                      <a:pt x="0" y="12"/>
                      <a:pt x="1" y="14"/>
                      <a:pt x="0" y="15"/>
                    </a:cubicBezTo>
                    <a:cubicBezTo>
                      <a:pt x="1" y="16"/>
                      <a:pt x="2" y="16"/>
                      <a:pt x="3" y="17"/>
                    </a:cubicBezTo>
                    <a:cubicBezTo>
                      <a:pt x="7" y="20"/>
                      <a:pt x="10" y="17"/>
                      <a:pt x="12" y="19"/>
                    </a:cubicBezTo>
                    <a:cubicBezTo>
                      <a:pt x="12" y="20"/>
                      <a:pt x="12" y="22"/>
                      <a:pt x="12" y="24"/>
                    </a:cubicBezTo>
                    <a:cubicBezTo>
                      <a:pt x="12" y="24"/>
                      <a:pt x="13" y="23"/>
                      <a:pt x="14" y="24"/>
                    </a:cubicBezTo>
                    <a:cubicBezTo>
                      <a:pt x="15" y="25"/>
                      <a:pt x="15" y="26"/>
                      <a:pt x="15" y="27"/>
                    </a:cubicBezTo>
                    <a:cubicBezTo>
                      <a:pt x="18" y="27"/>
                      <a:pt x="18" y="27"/>
                      <a:pt x="18" y="27"/>
                    </a:cubicBezTo>
                    <a:cubicBezTo>
                      <a:pt x="18" y="27"/>
                      <a:pt x="20" y="25"/>
                      <a:pt x="20" y="2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5" name="Freeform 101">
                <a:extLst>
                  <a:ext uri="{FF2B5EF4-FFF2-40B4-BE49-F238E27FC236}">
                    <a16:creationId xmlns:a16="http://schemas.microsoft.com/office/drawing/2014/main" id="{6A890E7D-5E2C-48FA-B025-52C9B52225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37746" y="3454907"/>
                <a:ext cx="564627" cy="352578"/>
              </a:xfrm>
              <a:custGeom>
                <a:avLst/>
                <a:gdLst>
                  <a:gd name="T0" fmla="*/ 214 w 245"/>
                  <a:gd name="T1" fmla="*/ 143 h 153"/>
                  <a:gd name="T2" fmla="*/ 211 w 245"/>
                  <a:gd name="T3" fmla="*/ 129 h 153"/>
                  <a:gd name="T4" fmla="*/ 231 w 245"/>
                  <a:gd name="T5" fmla="*/ 124 h 153"/>
                  <a:gd name="T6" fmla="*/ 238 w 245"/>
                  <a:gd name="T7" fmla="*/ 115 h 153"/>
                  <a:gd name="T8" fmla="*/ 244 w 245"/>
                  <a:gd name="T9" fmla="*/ 100 h 153"/>
                  <a:gd name="T10" fmla="*/ 225 w 245"/>
                  <a:gd name="T11" fmla="*/ 98 h 153"/>
                  <a:gd name="T12" fmla="*/ 212 w 245"/>
                  <a:gd name="T13" fmla="*/ 115 h 153"/>
                  <a:gd name="T14" fmla="*/ 200 w 245"/>
                  <a:gd name="T15" fmla="*/ 121 h 153"/>
                  <a:gd name="T16" fmla="*/ 172 w 245"/>
                  <a:gd name="T17" fmla="*/ 121 h 153"/>
                  <a:gd name="T18" fmla="*/ 159 w 245"/>
                  <a:gd name="T19" fmla="*/ 102 h 153"/>
                  <a:gd name="T20" fmla="*/ 159 w 245"/>
                  <a:gd name="T21" fmla="*/ 64 h 153"/>
                  <a:gd name="T22" fmla="*/ 156 w 245"/>
                  <a:gd name="T23" fmla="*/ 60 h 153"/>
                  <a:gd name="T24" fmla="*/ 143 w 245"/>
                  <a:gd name="T25" fmla="*/ 51 h 153"/>
                  <a:gd name="T26" fmla="*/ 133 w 245"/>
                  <a:gd name="T27" fmla="*/ 34 h 153"/>
                  <a:gd name="T28" fmla="*/ 113 w 245"/>
                  <a:gd name="T29" fmla="*/ 33 h 153"/>
                  <a:gd name="T30" fmla="*/ 100 w 245"/>
                  <a:gd name="T31" fmla="*/ 23 h 153"/>
                  <a:gd name="T32" fmla="*/ 86 w 245"/>
                  <a:gd name="T33" fmla="*/ 9 h 153"/>
                  <a:gd name="T34" fmla="*/ 71 w 245"/>
                  <a:gd name="T35" fmla="*/ 12 h 153"/>
                  <a:gd name="T36" fmla="*/ 27 w 245"/>
                  <a:gd name="T37" fmla="*/ 5 h 153"/>
                  <a:gd name="T38" fmla="*/ 0 w 245"/>
                  <a:gd name="T39" fmla="*/ 3 h 153"/>
                  <a:gd name="T40" fmla="*/ 11 w 245"/>
                  <a:gd name="T41" fmla="*/ 25 h 153"/>
                  <a:gd name="T42" fmla="*/ 25 w 245"/>
                  <a:gd name="T43" fmla="*/ 44 h 153"/>
                  <a:gd name="T44" fmla="*/ 28 w 245"/>
                  <a:gd name="T45" fmla="*/ 52 h 153"/>
                  <a:gd name="T46" fmla="*/ 39 w 245"/>
                  <a:gd name="T47" fmla="*/ 67 h 153"/>
                  <a:gd name="T48" fmla="*/ 57 w 245"/>
                  <a:gd name="T49" fmla="*/ 86 h 153"/>
                  <a:gd name="T50" fmla="*/ 59 w 245"/>
                  <a:gd name="T51" fmla="*/ 77 h 153"/>
                  <a:gd name="T52" fmla="*/ 51 w 245"/>
                  <a:gd name="T53" fmla="*/ 67 h 153"/>
                  <a:gd name="T54" fmla="*/ 37 w 245"/>
                  <a:gd name="T55" fmla="*/ 43 h 153"/>
                  <a:gd name="T56" fmla="*/ 31 w 245"/>
                  <a:gd name="T57" fmla="*/ 30 h 153"/>
                  <a:gd name="T58" fmla="*/ 20 w 245"/>
                  <a:gd name="T59" fmla="*/ 21 h 153"/>
                  <a:gd name="T60" fmla="*/ 21 w 245"/>
                  <a:gd name="T61" fmla="*/ 8 h 153"/>
                  <a:gd name="T62" fmla="*/ 28 w 245"/>
                  <a:gd name="T63" fmla="*/ 12 h 153"/>
                  <a:gd name="T64" fmla="*/ 34 w 245"/>
                  <a:gd name="T65" fmla="*/ 23 h 153"/>
                  <a:gd name="T66" fmla="*/ 40 w 245"/>
                  <a:gd name="T67" fmla="*/ 34 h 153"/>
                  <a:gd name="T68" fmla="*/ 52 w 245"/>
                  <a:gd name="T69" fmla="*/ 43 h 153"/>
                  <a:gd name="T70" fmla="*/ 62 w 245"/>
                  <a:gd name="T71" fmla="*/ 53 h 153"/>
                  <a:gd name="T72" fmla="*/ 68 w 245"/>
                  <a:gd name="T73" fmla="*/ 64 h 153"/>
                  <a:gd name="T74" fmla="*/ 92 w 245"/>
                  <a:gd name="T75" fmla="*/ 89 h 153"/>
                  <a:gd name="T76" fmla="*/ 95 w 245"/>
                  <a:gd name="T77" fmla="*/ 104 h 153"/>
                  <a:gd name="T78" fmla="*/ 99 w 245"/>
                  <a:gd name="T79" fmla="*/ 117 h 153"/>
                  <a:gd name="T80" fmla="*/ 124 w 245"/>
                  <a:gd name="T81" fmla="*/ 129 h 153"/>
                  <a:gd name="T82" fmla="*/ 158 w 245"/>
                  <a:gd name="T83" fmla="*/ 145 h 153"/>
                  <a:gd name="T84" fmla="*/ 189 w 245"/>
                  <a:gd name="T85" fmla="*/ 146 h 153"/>
                  <a:gd name="T86" fmla="*/ 204 w 245"/>
                  <a:gd name="T87" fmla="*/ 144 h 1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45" h="153">
                    <a:moveTo>
                      <a:pt x="204" y="144"/>
                    </a:moveTo>
                    <a:cubicBezTo>
                      <a:pt x="205" y="144"/>
                      <a:pt x="214" y="145"/>
                      <a:pt x="214" y="143"/>
                    </a:cubicBezTo>
                    <a:cubicBezTo>
                      <a:pt x="215" y="140"/>
                      <a:pt x="208" y="135"/>
                      <a:pt x="209" y="135"/>
                    </a:cubicBezTo>
                    <a:cubicBezTo>
                      <a:pt x="209" y="134"/>
                      <a:pt x="210" y="129"/>
                      <a:pt x="211" y="129"/>
                    </a:cubicBezTo>
                    <a:cubicBezTo>
                      <a:pt x="213" y="129"/>
                      <a:pt x="225" y="129"/>
                      <a:pt x="226" y="129"/>
                    </a:cubicBezTo>
                    <a:cubicBezTo>
                      <a:pt x="227" y="129"/>
                      <a:pt x="229" y="124"/>
                      <a:pt x="231" y="124"/>
                    </a:cubicBezTo>
                    <a:cubicBezTo>
                      <a:pt x="232" y="124"/>
                      <a:pt x="233" y="125"/>
                      <a:pt x="235" y="126"/>
                    </a:cubicBezTo>
                    <a:cubicBezTo>
                      <a:pt x="237" y="124"/>
                      <a:pt x="238" y="119"/>
                      <a:pt x="238" y="115"/>
                    </a:cubicBezTo>
                    <a:cubicBezTo>
                      <a:pt x="239" y="110"/>
                      <a:pt x="237" y="109"/>
                      <a:pt x="240" y="106"/>
                    </a:cubicBezTo>
                    <a:cubicBezTo>
                      <a:pt x="242" y="104"/>
                      <a:pt x="245" y="103"/>
                      <a:pt x="244" y="100"/>
                    </a:cubicBezTo>
                    <a:cubicBezTo>
                      <a:pt x="243" y="96"/>
                      <a:pt x="240" y="100"/>
                      <a:pt x="237" y="98"/>
                    </a:cubicBezTo>
                    <a:cubicBezTo>
                      <a:pt x="234" y="96"/>
                      <a:pt x="232" y="97"/>
                      <a:pt x="225" y="98"/>
                    </a:cubicBezTo>
                    <a:cubicBezTo>
                      <a:pt x="217" y="99"/>
                      <a:pt x="214" y="102"/>
                      <a:pt x="214" y="108"/>
                    </a:cubicBezTo>
                    <a:cubicBezTo>
                      <a:pt x="215" y="113"/>
                      <a:pt x="212" y="110"/>
                      <a:pt x="212" y="115"/>
                    </a:cubicBezTo>
                    <a:cubicBezTo>
                      <a:pt x="212" y="119"/>
                      <a:pt x="206" y="120"/>
                      <a:pt x="207" y="122"/>
                    </a:cubicBezTo>
                    <a:cubicBezTo>
                      <a:pt x="207" y="125"/>
                      <a:pt x="202" y="122"/>
                      <a:pt x="200" y="121"/>
                    </a:cubicBezTo>
                    <a:cubicBezTo>
                      <a:pt x="199" y="120"/>
                      <a:pt x="184" y="125"/>
                      <a:pt x="182" y="125"/>
                    </a:cubicBezTo>
                    <a:cubicBezTo>
                      <a:pt x="179" y="126"/>
                      <a:pt x="176" y="121"/>
                      <a:pt x="172" y="121"/>
                    </a:cubicBezTo>
                    <a:cubicBezTo>
                      <a:pt x="169" y="121"/>
                      <a:pt x="168" y="117"/>
                      <a:pt x="168" y="113"/>
                    </a:cubicBezTo>
                    <a:cubicBezTo>
                      <a:pt x="168" y="109"/>
                      <a:pt x="162" y="106"/>
                      <a:pt x="159" y="102"/>
                    </a:cubicBezTo>
                    <a:cubicBezTo>
                      <a:pt x="157" y="99"/>
                      <a:pt x="156" y="92"/>
                      <a:pt x="156" y="87"/>
                    </a:cubicBezTo>
                    <a:cubicBezTo>
                      <a:pt x="156" y="82"/>
                      <a:pt x="156" y="74"/>
                      <a:pt x="159" y="64"/>
                    </a:cubicBezTo>
                    <a:cubicBezTo>
                      <a:pt x="159" y="63"/>
                      <a:pt x="160" y="62"/>
                      <a:pt x="160" y="61"/>
                    </a:cubicBezTo>
                    <a:cubicBezTo>
                      <a:pt x="158" y="60"/>
                      <a:pt x="157" y="60"/>
                      <a:pt x="156" y="60"/>
                    </a:cubicBezTo>
                    <a:cubicBezTo>
                      <a:pt x="153" y="60"/>
                      <a:pt x="146" y="56"/>
                      <a:pt x="145" y="56"/>
                    </a:cubicBezTo>
                    <a:cubicBezTo>
                      <a:pt x="144" y="56"/>
                      <a:pt x="144" y="52"/>
                      <a:pt x="143" y="51"/>
                    </a:cubicBezTo>
                    <a:cubicBezTo>
                      <a:pt x="142" y="49"/>
                      <a:pt x="142" y="46"/>
                      <a:pt x="141" y="45"/>
                    </a:cubicBezTo>
                    <a:cubicBezTo>
                      <a:pt x="139" y="43"/>
                      <a:pt x="135" y="39"/>
                      <a:pt x="133" y="34"/>
                    </a:cubicBezTo>
                    <a:cubicBezTo>
                      <a:pt x="132" y="28"/>
                      <a:pt x="122" y="26"/>
                      <a:pt x="119" y="26"/>
                    </a:cubicBezTo>
                    <a:cubicBezTo>
                      <a:pt x="116" y="25"/>
                      <a:pt x="114" y="33"/>
                      <a:pt x="113" y="33"/>
                    </a:cubicBezTo>
                    <a:cubicBezTo>
                      <a:pt x="112" y="33"/>
                      <a:pt x="105" y="29"/>
                      <a:pt x="103" y="28"/>
                    </a:cubicBezTo>
                    <a:cubicBezTo>
                      <a:pt x="101" y="27"/>
                      <a:pt x="100" y="25"/>
                      <a:pt x="100" y="23"/>
                    </a:cubicBezTo>
                    <a:cubicBezTo>
                      <a:pt x="100" y="21"/>
                      <a:pt x="96" y="17"/>
                      <a:pt x="95" y="17"/>
                    </a:cubicBezTo>
                    <a:cubicBezTo>
                      <a:pt x="94" y="16"/>
                      <a:pt x="86" y="9"/>
                      <a:pt x="86" y="9"/>
                    </a:cubicBezTo>
                    <a:cubicBezTo>
                      <a:pt x="74" y="9"/>
                      <a:pt x="74" y="9"/>
                      <a:pt x="74" y="9"/>
                    </a:cubicBezTo>
                    <a:cubicBezTo>
                      <a:pt x="71" y="12"/>
                      <a:pt x="71" y="12"/>
                      <a:pt x="71" y="12"/>
                    </a:cubicBezTo>
                    <a:cubicBezTo>
                      <a:pt x="48" y="12"/>
                      <a:pt x="48" y="12"/>
                      <a:pt x="48" y="12"/>
                    </a:cubicBezTo>
                    <a:cubicBezTo>
                      <a:pt x="48" y="12"/>
                      <a:pt x="31" y="6"/>
                      <a:pt x="27" y="5"/>
                    </a:cubicBezTo>
                    <a:cubicBezTo>
                      <a:pt x="24" y="4"/>
                      <a:pt x="18" y="0"/>
                      <a:pt x="18" y="0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1" y="5"/>
                      <a:pt x="2" y="7"/>
                      <a:pt x="4" y="9"/>
                    </a:cubicBezTo>
                    <a:cubicBezTo>
                      <a:pt x="8" y="14"/>
                      <a:pt x="11" y="22"/>
                      <a:pt x="11" y="25"/>
                    </a:cubicBezTo>
                    <a:cubicBezTo>
                      <a:pt x="11" y="28"/>
                      <a:pt x="16" y="30"/>
                      <a:pt x="21" y="33"/>
                    </a:cubicBezTo>
                    <a:cubicBezTo>
                      <a:pt x="25" y="36"/>
                      <a:pt x="25" y="42"/>
                      <a:pt x="25" y="44"/>
                    </a:cubicBezTo>
                    <a:cubicBezTo>
                      <a:pt x="24" y="45"/>
                      <a:pt x="19" y="43"/>
                      <a:pt x="18" y="44"/>
                    </a:cubicBezTo>
                    <a:cubicBezTo>
                      <a:pt x="18" y="46"/>
                      <a:pt x="26" y="52"/>
                      <a:pt x="28" y="52"/>
                    </a:cubicBezTo>
                    <a:cubicBezTo>
                      <a:pt x="31" y="51"/>
                      <a:pt x="33" y="53"/>
                      <a:pt x="37" y="57"/>
                    </a:cubicBezTo>
                    <a:cubicBezTo>
                      <a:pt x="42" y="61"/>
                      <a:pt x="41" y="66"/>
                      <a:pt x="39" y="67"/>
                    </a:cubicBezTo>
                    <a:cubicBezTo>
                      <a:pt x="38" y="69"/>
                      <a:pt x="43" y="72"/>
                      <a:pt x="49" y="75"/>
                    </a:cubicBezTo>
                    <a:cubicBezTo>
                      <a:pt x="54" y="79"/>
                      <a:pt x="57" y="84"/>
                      <a:pt x="57" y="86"/>
                    </a:cubicBezTo>
                    <a:cubicBezTo>
                      <a:pt x="58" y="88"/>
                      <a:pt x="60" y="86"/>
                      <a:pt x="61" y="83"/>
                    </a:cubicBezTo>
                    <a:cubicBezTo>
                      <a:pt x="62" y="80"/>
                      <a:pt x="59" y="80"/>
                      <a:pt x="59" y="77"/>
                    </a:cubicBezTo>
                    <a:cubicBezTo>
                      <a:pt x="59" y="74"/>
                      <a:pt x="55" y="74"/>
                      <a:pt x="53" y="74"/>
                    </a:cubicBezTo>
                    <a:cubicBezTo>
                      <a:pt x="51" y="74"/>
                      <a:pt x="53" y="69"/>
                      <a:pt x="51" y="67"/>
                    </a:cubicBezTo>
                    <a:cubicBezTo>
                      <a:pt x="49" y="65"/>
                      <a:pt x="47" y="59"/>
                      <a:pt x="46" y="55"/>
                    </a:cubicBezTo>
                    <a:cubicBezTo>
                      <a:pt x="44" y="51"/>
                      <a:pt x="39" y="48"/>
                      <a:pt x="37" y="43"/>
                    </a:cubicBezTo>
                    <a:cubicBezTo>
                      <a:pt x="34" y="39"/>
                      <a:pt x="32" y="36"/>
                      <a:pt x="30" y="34"/>
                    </a:cubicBezTo>
                    <a:cubicBezTo>
                      <a:pt x="29" y="33"/>
                      <a:pt x="32" y="32"/>
                      <a:pt x="31" y="30"/>
                    </a:cubicBezTo>
                    <a:cubicBezTo>
                      <a:pt x="30" y="29"/>
                      <a:pt x="27" y="29"/>
                      <a:pt x="25" y="28"/>
                    </a:cubicBezTo>
                    <a:cubicBezTo>
                      <a:pt x="22" y="26"/>
                      <a:pt x="20" y="24"/>
                      <a:pt x="20" y="21"/>
                    </a:cubicBezTo>
                    <a:cubicBezTo>
                      <a:pt x="20" y="18"/>
                      <a:pt x="19" y="12"/>
                      <a:pt x="18" y="9"/>
                    </a:cubicBezTo>
                    <a:cubicBezTo>
                      <a:pt x="17" y="7"/>
                      <a:pt x="20" y="7"/>
                      <a:pt x="21" y="8"/>
                    </a:cubicBezTo>
                    <a:cubicBezTo>
                      <a:pt x="21" y="10"/>
                      <a:pt x="22" y="11"/>
                      <a:pt x="23" y="10"/>
                    </a:cubicBezTo>
                    <a:cubicBezTo>
                      <a:pt x="25" y="9"/>
                      <a:pt x="27" y="10"/>
                      <a:pt x="28" y="12"/>
                    </a:cubicBezTo>
                    <a:cubicBezTo>
                      <a:pt x="29" y="14"/>
                      <a:pt x="32" y="12"/>
                      <a:pt x="33" y="13"/>
                    </a:cubicBezTo>
                    <a:cubicBezTo>
                      <a:pt x="34" y="14"/>
                      <a:pt x="30" y="15"/>
                      <a:pt x="34" y="23"/>
                    </a:cubicBezTo>
                    <a:cubicBezTo>
                      <a:pt x="39" y="31"/>
                      <a:pt x="36" y="26"/>
                      <a:pt x="36" y="32"/>
                    </a:cubicBezTo>
                    <a:cubicBezTo>
                      <a:pt x="36" y="38"/>
                      <a:pt x="39" y="35"/>
                      <a:pt x="40" y="34"/>
                    </a:cubicBezTo>
                    <a:cubicBezTo>
                      <a:pt x="41" y="33"/>
                      <a:pt x="43" y="36"/>
                      <a:pt x="45" y="39"/>
                    </a:cubicBezTo>
                    <a:cubicBezTo>
                      <a:pt x="48" y="42"/>
                      <a:pt x="52" y="42"/>
                      <a:pt x="52" y="43"/>
                    </a:cubicBezTo>
                    <a:cubicBezTo>
                      <a:pt x="52" y="45"/>
                      <a:pt x="53" y="48"/>
                      <a:pt x="56" y="49"/>
                    </a:cubicBezTo>
                    <a:cubicBezTo>
                      <a:pt x="59" y="49"/>
                      <a:pt x="60" y="53"/>
                      <a:pt x="62" y="53"/>
                    </a:cubicBezTo>
                    <a:cubicBezTo>
                      <a:pt x="64" y="53"/>
                      <a:pt x="64" y="56"/>
                      <a:pt x="63" y="58"/>
                    </a:cubicBezTo>
                    <a:cubicBezTo>
                      <a:pt x="62" y="60"/>
                      <a:pt x="63" y="62"/>
                      <a:pt x="68" y="64"/>
                    </a:cubicBezTo>
                    <a:cubicBezTo>
                      <a:pt x="73" y="66"/>
                      <a:pt x="70" y="66"/>
                      <a:pt x="74" y="70"/>
                    </a:cubicBezTo>
                    <a:cubicBezTo>
                      <a:pt x="78" y="74"/>
                      <a:pt x="89" y="86"/>
                      <a:pt x="92" y="89"/>
                    </a:cubicBezTo>
                    <a:cubicBezTo>
                      <a:pt x="94" y="93"/>
                      <a:pt x="95" y="96"/>
                      <a:pt x="96" y="98"/>
                    </a:cubicBezTo>
                    <a:cubicBezTo>
                      <a:pt x="97" y="101"/>
                      <a:pt x="94" y="102"/>
                      <a:pt x="95" y="104"/>
                    </a:cubicBezTo>
                    <a:cubicBezTo>
                      <a:pt x="97" y="106"/>
                      <a:pt x="93" y="105"/>
                      <a:pt x="93" y="107"/>
                    </a:cubicBezTo>
                    <a:cubicBezTo>
                      <a:pt x="93" y="108"/>
                      <a:pt x="95" y="117"/>
                      <a:pt x="99" y="117"/>
                    </a:cubicBezTo>
                    <a:cubicBezTo>
                      <a:pt x="103" y="117"/>
                      <a:pt x="108" y="122"/>
                      <a:pt x="111" y="125"/>
                    </a:cubicBezTo>
                    <a:cubicBezTo>
                      <a:pt x="114" y="127"/>
                      <a:pt x="119" y="127"/>
                      <a:pt x="124" y="129"/>
                    </a:cubicBezTo>
                    <a:cubicBezTo>
                      <a:pt x="128" y="130"/>
                      <a:pt x="133" y="135"/>
                      <a:pt x="140" y="137"/>
                    </a:cubicBezTo>
                    <a:cubicBezTo>
                      <a:pt x="146" y="139"/>
                      <a:pt x="153" y="142"/>
                      <a:pt x="158" y="145"/>
                    </a:cubicBezTo>
                    <a:cubicBezTo>
                      <a:pt x="162" y="147"/>
                      <a:pt x="168" y="146"/>
                      <a:pt x="174" y="144"/>
                    </a:cubicBezTo>
                    <a:cubicBezTo>
                      <a:pt x="180" y="141"/>
                      <a:pt x="185" y="144"/>
                      <a:pt x="189" y="146"/>
                    </a:cubicBezTo>
                    <a:cubicBezTo>
                      <a:pt x="190" y="146"/>
                      <a:pt x="194" y="149"/>
                      <a:pt x="197" y="153"/>
                    </a:cubicBezTo>
                    <a:cubicBezTo>
                      <a:pt x="200" y="148"/>
                      <a:pt x="203" y="144"/>
                      <a:pt x="204" y="144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6" name="Freeform 102">
                <a:extLst>
                  <a:ext uri="{FF2B5EF4-FFF2-40B4-BE49-F238E27FC236}">
                    <a16:creationId xmlns:a16="http://schemas.microsoft.com/office/drawing/2014/main" id="{5BC9F8B4-4598-453D-BFB6-841AEE836E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91957" y="3752277"/>
                <a:ext cx="80302" cy="76538"/>
              </a:xfrm>
              <a:custGeom>
                <a:avLst/>
                <a:gdLst>
                  <a:gd name="T0" fmla="*/ 30 w 35"/>
                  <a:gd name="T1" fmla="*/ 22 h 33"/>
                  <a:gd name="T2" fmla="*/ 35 w 35"/>
                  <a:gd name="T3" fmla="*/ 18 h 33"/>
                  <a:gd name="T4" fmla="*/ 31 w 35"/>
                  <a:gd name="T5" fmla="*/ 16 h 33"/>
                  <a:gd name="T6" fmla="*/ 27 w 35"/>
                  <a:gd name="T7" fmla="*/ 16 h 33"/>
                  <a:gd name="T8" fmla="*/ 28 w 35"/>
                  <a:gd name="T9" fmla="*/ 0 h 33"/>
                  <a:gd name="T10" fmla="*/ 14 w 35"/>
                  <a:gd name="T11" fmla="*/ 0 h 33"/>
                  <a:gd name="T12" fmla="*/ 12 w 35"/>
                  <a:gd name="T13" fmla="*/ 6 h 33"/>
                  <a:gd name="T14" fmla="*/ 17 w 35"/>
                  <a:gd name="T15" fmla="*/ 14 h 33"/>
                  <a:gd name="T16" fmla="*/ 7 w 35"/>
                  <a:gd name="T17" fmla="*/ 15 h 33"/>
                  <a:gd name="T18" fmla="*/ 0 w 35"/>
                  <a:gd name="T19" fmla="*/ 24 h 33"/>
                  <a:gd name="T20" fmla="*/ 9 w 35"/>
                  <a:gd name="T21" fmla="*/ 31 h 33"/>
                  <a:gd name="T22" fmla="*/ 20 w 35"/>
                  <a:gd name="T23" fmla="*/ 33 h 33"/>
                  <a:gd name="T24" fmla="*/ 21 w 35"/>
                  <a:gd name="T25" fmla="*/ 33 h 33"/>
                  <a:gd name="T26" fmla="*/ 26 w 35"/>
                  <a:gd name="T27" fmla="*/ 28 h 33"/>
                  <a:gd name="T28" fmla="*/ 30 w 35"/>
                  <a:gd name="T29" fmla="*/ 22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5" h="33">
                    <a:moveTo>
                      <a:pt x="30" y="22"/>
                    </a:moveTo>
                    <a:cubicBezTo>
                      <a:pt x="32" y="21"/>
                      <a:pt x="33" y="19"/>
                      <a:pt x="35" y="18"/>
                    </a:cubicBezTo>
                    <a:cubicBezTo>
                      <a:pt x="32" y="19"/>
                      <a:pt x="31" y="18"/>
                      <a:pt x="31" y="16"/>
                    </a:cubicBezTo>
                    <a:cubicBezTo>
                      <a:pt x="27" y="16"/>
                      <a:pt x="27" y="16"/>
                      <a:pt x="27" y="16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24" y="0"/>
                      <a:pt x="15" y="0"/>
                      <a:pt x="14" y="0"/>
                    </a:cubicBezTo>
                    <a:cubicBezTo>
                      <a:pt x="13" y="0"/>
                      <a:pt x="12" y="5"/>
                      <a:pt x="12" y="6"/>
                    </a:cubicBezTo>
                    <a:cubicBezTo>
                      <a:pt x="11" y="6"/>
                      <a:pt x="18" y="11"/>
                      <a:pt x="17" y="14"/>
                    </a:cubicBezTo>
                    <a:cubicBezTo>
                      <a:pt x="17" y="16"/>
                      <a:pt x="8" y="15"/>
                      <a:pt x="7" y="15"/>
                    </a:cubicBezTo>
                    <a:cubicBezTo>
                      <a:pt x="6" y="15"/>
                      <a:pt x="3" y="19"/>
                      <a:pt x="0" y="24"/>
                    </a:cubicBezTo>
                    <a:cubicBezTo>
                      <a:pt x="4" y="27"/>
                      <a:pt x="7" y="30"/>
                      <a:pt x="9" y="31"/>
                    </a:cubicBezTo>
                    <a:cubicBezTo>
                      <a:pt x="12" y="33"/>
                      <a:pt x="18" y="31"/>
                      <a:pt x="20" y="33"/>
                    </a:cubicBezTo>
                    <a:cubicBezTo>
                      <a:pt x="20" y="33"/>
                      <a:pt x="20" y="33"/>
                      <a:pt x="21" y="33"/>
                    </a:cubicBezTo>
                    <a:cubicBezTo>
                      <a:pt x="23" y="31"/>
                      <a:pt x="25" y="29"/>
                      <a:pt x="26" y="28"/>
                    </a:cubicBezTo>
                    <a:cubicBezTo>
                      <a:pt x="28" y="28"/>
                      <a:pt x="27" y="25"/>
                      <a:pt x="30" y="2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7" name="Freeform 103">
                <a:extLst>
                  <a:ext uri="{FF2B5EF4-FFF2-40B4-BE49-F238E27FC236}">
                    <a16:creationId xmlns:a16="http://schemas.microsoft.com/office/drawing/2014/main" id="{40D8D7D1-EC17-411A-A823-EE94E47D8E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3438" y="3740984"/>
                <a:ext cx="26349" cy="47680"/>
              </a:xfrm>
              <a:custGeom>
                <a:avLst/>
                <a:gdLst>
                  <a:gd name="T0" fmla="*/ 2 w 11"/>
                  <a:gd name="T1" fmla="*/ 5 h 21"/>
                  <a:gd name="T2" fmla="*/ 1 w 11"/>
                  <a:gd name="T3" fmla="*/ 5 h 21"/>
                  <a:gd name="T4" fmla="*/ 0 w 11"/>
                  <a:gd name="T5" fmla="*/ 21 h 21"/>
                  <a:gd name="T6" fmla="*/ 4 w 11"/>
                  <a:gd name="T7" fmla="*/ 21 h 21"/>
                  <a:gd name="T8" fmla="*/ 7 w 11"/>
                  <a:gd name="T9" fmla="*/ 17 h 21"/>
                  <a:gd name="T10" fmla="*/ 9 w 11"/>
                  <a:gd name="T11" fmla="*/ 3 h 21"/>
                  <a:gd name="T12" fmla="*/ 11 w 11"/>
                  <a:gd name="T13" fmla="*/ 2 h 21"/>
                  <a:gd name="T14" fmla="*/ 7 w 11"/>
                  <a:gd name="T15" fmla="*/ 0 h 21"/>
                  <a:gd name="T16" fmla="*/ 2 w 11"/>
                  <a:gd name="T17" fmla="*/ 5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" h="21">
                    <a:moveTo>
                      <a:pt x="2" y="5"/>
                    </a:moveTo>
                    <a:cubicBezTo>
                      <a:pt x="2" y="5"/>
                      <a:pt x="1" y="5"/>
                      <a:pt x="1" y="5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4" y="21"/>
                      <a:pt x="4" y="21"/>
                      <a:pt x="4" y="21"/>
                    </a:cubicBezTo>
                    <a:cubicBezTo>
                      <a:pt x="5" y="19"/>
                      <a:pt x="5" y="18"/>
                      <a:pt x="7" y="17"/>
                    </a:cubicBezTo>
                    <a:cubicBezTo>
                      <a:pt x="10" y="14"/>
                      <a:pt x="5" y="4"/>
                      <a:pt x="9" y="3"/>
                    </a:cubicBezTo>
                    <a:cubicBezTo>
                      <a:pt x="10" y="3"/>
                      <a:pt x="10" y="3"/>
                      <a:pt x="11" y="2"/>
                    </a:cubicBezTo>
                    <a:cubicBezTo>
                      <a:pt x="9" y="1"/>
                      <a:pt x="8" y="0"/>
                      <a:pt x="7" y="0"/>
                    </a:cubicBezTo>
                    <a:cubicBezTo>
                      <a:pt x="5" y="0"/>
                      <a:pt x="3" y="5"/>
                      <a:pt x="2" y="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8" name="Freeform 104">
                <a:extLst>
                  <a:ext uri="{FF2B5EF4-FFF2-40B4-BE49-F238E27FC236}">
                    <a16:creationId xmlns:a16="http://schemas.microsoft.com/office/drawing/2014/main" id="{E0540DB1-B9F3-439D-B6C2-2DC8722536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5714" y="3703343"/>
                <a:ext cx="55208" cy="46425"/>
              </a:xfrm>
              <a:custGeom>
                <a:avLst/>
                <a:gdLst>
                  <a:gd name="T0" fmla="*/ 12 w 24"/>
                  <a:gd name="T1" fmla="*/ 2 h 20"/>
                  <a:gd name="T2" fmla="*/ 17 w 24"/>
                  <a:gd name="T3" fmla="*/ 13 h 20"/>
                  <a:gd name="T4" fmla="*/ 1 w 24"/>
                  <a:gd name="T5" fmla="*/ 16 h 20"/>
                  <a:gd name="T6" fmla="*/ 12 w 24"/>
                  <a:gd name="T7" fmla="*/ 19 h 20"/>
                  <a:gd name="T8" fmla="*/ 23 w 24"/>
                  <a:gd name="T9" fmla="*/ 20 h 20"/>
                  <a:gd name="T10" fmla="*/ 24 w 24"/>
                  <a:gd name="T11" fmla="*/ 5 h 20"/>
                  <a:gd name="T12" fmla="*/ 12 w 24"/>
                  <a:gd name="T13" fmla="*/ 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" h="20">
                    <a:moveTo>
                      <a:pt x="12" y="2"/>
                    </a:moveTo>
                    <a:cubicBezTo>
                      <a:pt x="8" y="5"/>
                      <a:pt x="17" y="10"/>
                      <a:pt x="17" y="13"/>
                    </a:cubicBezTo>
                    <a:cubicBezTo>
                      <a:pt x="17" y="17"/>
                      <a:pt x="3" y="13"/>
                      <a:pt x="1" y="16"/>
                    </a:cubicBezTo>
                    <a:cubicBezTo>
                      <a:pt x="0" y="18"/>
                      <a:pt x="6" y="20"/>
                      <a:pt x="12" y="19"/>
                    </a:cubicBezTo>
                    <a:cubicBezTo>
                      <a:pt x="16" y="17"/>
                      <a:pt x="20" y="19"/>
                      <a:pt x="23" y="20"/>
                    </a:cubicBezTo>
                    <a:cubicBezTo>
                      <a:pt x="23" y="15"/>
                      <a:pt x="24" y="9"/>
                      <a:pt x="24" y="5"/>
                    </a:cubicBezTo>
                    <a:cubicBezTo>
                      <a:pt x="20" y="3"/>
                      <a:pt x="14" y="0"/>
                      <a:pt x="12" y="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9" name="Freeform 105">
                <a:extLst>
                  <a:ext uri="{FF2B5EF4-FFF2-40B4-BE49-F238E27FC236}">
                    <a16:creationId xmlns:a16="http://schemas.microsoft.com/office/drawing/2014/main" id="{4A9F74F2-B7E6-4DEC-92BA-2679E40D6C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79667" y="3710871"/>
                <a:ext cx="61482" cy="43915"/>
              </a:xfrm>
              <a:custGeom>
                <a:avLst/>
                <a:gdLst>
                  <a:gd name="T0" fmla="*/ 10 w 27"/>
                  <a:gd name="T1" fmla="*/ 14 h 19"/>
                  <a:gd name="T2" fmla="*/ 27 w 27"/>
                  <a:gd name="T3" fmla="*/ 11 h 19"/>
                  <a:gd name="T4" fmla="*/ 6 w 27"/>
                  <a:gd name="T5" fmla="*/ 2 h 19"/>
                  <a:gd name="T6" fmla="*/ 1 w 27"/>
                  <a:gd name="T7" fmla="*/ 2 h 19"/>
                  <a:gd name="T8" fmla="*/ 0 w 27"/>
                  <a:gd name="T9" fmla="*/ 17 h 19"/>
                  <a:gd name="T10" fmla="*/ 0 w 27"/>
                  <a:gd name="T11" fmla="*/ 17 h 19"/>
                  <a:gd name="T12" fmla="*/ 10 w 27"/>
                  <a:gd name="T13" fmla="*/ 14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7" h="19">
                    <a:moveTo>
                      <a:pt x="10" y="14"/>
                    </a:moveTo>
                    <a:cubicBezTo>
                      <a:pt x="17" y="12"/>
                      <a:pt x="27" y="16"/>
                      <a:pt x="27" y="11"/>
                    </a:cubicBezTo>
                    <a:cubicBezTo>
                      <a:pt x="27" y="6"/>
                      <a:pt x="10" y="0"/>
                      <a:pt x="6" y="2"/>
                    </a:cubicBezTo>
                    <a:cubicBezTo>
                      <a:pt x="4" y="2"/>
                      <a:pt x="3" y="2"/>
                      <a:pt x="1" y="2"/>
                    </a:cubicBezTo>
                    <a:cubicBezTo>
                      <a:pt x="1" y="6"/>
                      <a:pt x="0" y="12"/>
                      <a:pt x="0" y="17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3" y="19"/>
                      <a:pt x="4" y="16"/>
                      <a:pt x="10" y="14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0" name="Freeform 106">
                <a:extLst>
                  <a:ext uri="{FF2B5EF4-FFF2-40B4-BE49-F238E27FC236}">
                    <a16:creationId xmlns:a16="http://schemas.microsoft.com/office/drawing/2014/main" id="{63DD974E-D568-4065-81AF-94C0F61024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88571" y="3804975"/>
                <a:ext cx="77793" cy="81557"/>
              </a:xfrm>
              <a:custGeom>
                <a:avLst/>
                <a:gdLst>
                  <a:gd name="T0" fmla="*/ 18 w 34"/>
                  <a:gd name="T1" fmla="*/ 33 h 35"/>
                  <a:gd name="T2" fmla="*/ 26 w 34"/>
                  <a:gd name="T3" fmla="*/ 35 h 35"/>
                  <a:gd name="T4" fmla="*/ 30 w 34"/>
                  <a:gd name="T5" fmla="*/ 35 h 35"/>
                  <a:gd name="T6" fmla="*/ 29 w 34"/>
                  <a:gd name="T7" fmla="*/ 34 h 35"/>
                  <a:gd name="T8" fmla="*/ 31 w 34"/>
                  <a:gd name="T9" fmla="*/ 23 h 35"/>
                  <a:gd name="T10" fmla="*/ 32 w 34"/>
                  <a:gd name="T11" fmla="*/ 9 h 35"/>
                  <a:gd name="T12" fmla="*/ 34 w 34"/>
                  <a:gd name="T13" fmla="*/ 1 h 35"/>
                  <a:gd name="T14" fmla="*/ 34 w 34"/>
                  <a:gd name="T15" fmla="*/ 0 h 35"/>
                  <a:gd name="T16" fmla="*/ 24 w 34"/>
                  <a:gd name="T17" fmla="*/ 4 h 35"/>
                  <a:gd name="T18" fmla="*/ 17 w 34"/>
                  <a:gd name="T19" fmla="*/ 6 h 35"/>
                  <a:gd name="T20" fmla="*/ 8 w 34"/>
                  <a:gd name="T21" fmla="*/ 10 h 35"/>
                  <a:gd name="T22" fmla="*/ 5 w 34"/>
                  <a:gd name="T23" fmla="*/ 15 h 35"/>
                  <a:gd name="T24" fmla="*/ 3 w 34"/>
                  <a:gd name="T25" fmla="*/ 17 h 35"/>
                  <a:gd name="T26" fmla="*/ 0 w 34"/>
                  <a:gd name="T27" fmla="*/ 17 h 35"/>
                  <a:gd name="T28" fmla="*/ 1 w 34"/>
                  <a:gd name="T29" fmla="*/ 21 h 35"/>
                  <a:gd name="T30" fmla="*/ 11 w 34"/>
                  <a:gd name="T31" fmla="*/ 30 h 35"/>
                  <a:gd name="T32" fmla="*/ 14 w 34"/>
                  <a:gd name="T33" fmla="*/ 33 h 35"/>
                  <a:gd name="T34" fmla="*/ 18 w 34"/>
                  <a:gd name="T35" fmla="*/ 33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4" h="35">
                    <a:moveTo>
                      <a:pt x="18" y="33"/>
                    </a:moveTo>
                    <a:cubicBezTo>
                      <a:pt x="20" y="34"/>
                      <a:pt x="24" y="33"/>
                      <a:pt x="26" y="35"/>
                    </a:cubicBezTo>
                    <a:cubicBezTo>
                      <a:pt x="27" y="35"/>
                      <a:pt x="28" y="35"/>
                      <a:pt x="30" y="35"/>
                    </a:cubicBezTo>
                    <a:cubicBezTo>
                      <a:pt x="30" y="35"/>
                      <a:pt x="29" y="34"/>
                      <a:pt x="29" y="34"/>
                    </a:cubicBezTo>
                    <a:cubicBezTo>
                      <a:pt x="28" y="31"/>
                      <a:pt x="30" y="27"/>
                      <a:pt x="31" y="23"/>
                    </a:cubicBezTo>
                    <a:cubicBezTo>
                      <a:pt x="32" y="20"/>
                      <a:pt x="30" y="12"/>
                      <a:pt x="32" y="9"/>
                    </a:cubicBezTo>
                    <a:cubicBezTo>
                      <a:pt x="34" y="7"/>
                      <a:pt x="33" y="6"/>
                      <a:pt x="34" y="1"/>
                    </a:cubicBezTo>
                    <a:cubicBezTo>
                      <a:pt x="34" y="1"/>
                      <a:pt x="34" y="1"/>
                      <a:pt x="34" y="0"/>
                    </a:cubicBezTo>
                    <a:cubicBezTo>
                      <a:pt x="30" y="0"/>
                      <a:pt x="26" y="4"/>
                      <a:pt x="24" y="4"/>
                    </a:cubicBezTo>
                    <a:cubicBezTo>
                      <a:pt x="23" y="4"/>
                      <a:pt x="17" y="3"/>
                      <a:pt x="17" y="6"/>
                    </a:cubicBezTo>
                    <a:cubicBezTo>
                      <a:pt x="16" y="9"/>
                      <a:pt x="12" y="9"/>
                      <a:pt x="8" y="10"/>
                    </a:cubicBezTo>
                    <a:cubicBezTo>
                      <a:pt x="3" y="10"/>
                      <a:pt x="6" y="14"/>
                      <a:pt x="5" y="15"/>
                    </a:cubicBezTo>
                    <a:cubicBezTo>
                      <a:pt x="5" y="15"/>
                      <a:pt x="3" y="17"/>
                      <a:pt x="3" y="17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19"/>
                      <a:pt x="0" y="20"/>
                      <a:pt x="1" y="21"/>
                    </a:cubicBezTo>
                    <a:cubicBezTo>
                      <a:pt x="4" y="22"/>
                      <a:pt x="8" y="28"/>
                      <a:pt x="11" y="30"/>
                    </a:cubicBezTo>
                    <a:cubicBezTo>
                      <a:pt x="12" y="31"/>
                      <a:pt x="13" y="32"/>
                      <a:pt x="14" y="33"/>
                    </a:cubicBezTo>
                    <a:cubicBezTo>
                      <a:pt x="15" y="33"/>
                      <a:pt x="17" y="33"/>
                      <a:pt x="18" y="3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1" name="Freeform 108">
                <a:extLst>
                  <a:ext uri="{FF2B5EF4-FFF2-40B4-BE49-F238E27FC236}">
                    <a16:creationId xmlns:a16="http://schemas.microsoft.com/office/drawing/2014/main" id="{690BBC24-8B53-4B58-B171-19CB1E2736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28103" y="4669481"/>
                <a:ext cx="91595" cy="101633"/>
              </a:xfrm>
              <a:custGeom>
                <a:avLst/>
                <a:gdLst>
                  <a:gd name="T0" fmla="*/ 40 w 40"/>
                  <a:gd name="T1" fmla="*/ 21 h 44"/>
                  <a:gd name="T2" fmla="*/ 34 w 40"/>
                  <a:gd name="T3" fmla="*/ 15 h 44"/>
                  <a:gd name="T4" fmla="*/ 25 w 40"/>
                  <a:gd name="T5" fmla="*/ 8 h 44"/>
                  <a:gd name="T6" fmla="*/ 21 w 40"/>
                  <a:gd name="T7" fmla="*/ 9 h 44"/>
                  <a:gd name="T8" fmla="*/ 17 w 40"/>
                  <a:gd name="T9" fmla="*/ 3 h 44"/>
                  <a:gd name="T10" fmla="*/ 10 w 40"/>
                  <a:gd name="T11" fmla="*/ 1 h 44"/>
                  <a:gd name="T12" fmla="*/ 8 w 40"/>
                  <a:gd name="T13" fmla="*/ 1 h 44"/>
                  <a:gd name="T14" fmla="*/ 5 w 40"/>
                  <a:gd name="T15" fmla="*/ 6 h 44"/>
                  <a:gd name="T16" fmla="*/ 3 w 40"/>
                  <a:gd name="T17" fmla="*/ 19 h 44"/>
                  <a:gd name="T18" fmla="*/ 0 w 40"/>
                  <a:gd name="T19" fmla="*/ 30 h 44"/>
                  <a:gd name="T20" fmla="*/ 3 w 40"/>
                  <a:gd name="T21" fmla="*/ 35 h 44"/>
                  <a:gd name="T22" fmla="*/ 2 w 40"/>
                  <a:gd name="T23" fmla="*/ 38 h 44"/>
                  <a:gd name="T24" fmla="*/ 5 w 40"/>
                  <a:gd name="T25" fmla="*/ 40 h 44"/>
                  <a:gd name="T26" fmla="*/ 16 w 40"/>
                  <a:gd name="T27" fmla="*/ 42 h 44"/>
                  <a:gd name="T28" fmla="*/ 22 w 40"/>
                  <a:gd name="T29" fmla="*/ 42 h 44"/>
                  <a:gd name="T30" fmla="*/ 34 w 40"/>
                  <a:gd name="T31" fmla="*/ 41 h 44"/>
                  <a:gd name="T32" fmla="*/ 40 w 40"/>
                  <a:gd name="T33" fmla="*/ 33 h 44"/>
                  <a:gd name="T34" fmla="*/ 40 w 40"/>
                  <a:gd name="T35" fmla="*/ 21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0" h="44">
                    <a:moveTo>
                      <a:pt x="40" y="21"/>
                    </a:moveTo>
                    <a:cubicBezTo>
                      <a:pt x="40" y="17"/>
                      <a:pt x="35" y="16"/>
                      <a:pt x="34" y="15"/>
                    </a:cubicBezTo>
                    <a:cubicBezTo>
                      <a:pt x="33" y="13"/>
                      <a:pt x="27" y="11"/>
                      <a:pt x="25" y="8"/>
                    </a:cubicBezTo>
                    <a:cubicBezTo>
                      <a:pt x="23" y="5"/>
                      <a:pt x="22" y="9"/>
                      <a:pt x="21" y="9"/>
                    </a:cubicBezTo>
                    <a:cubicBezTo>
                      <a:pt x="20" y="9"/>
                      <a:pt x="20" y="7"/>
                      <a:pt x="17" y="3"/>
                    </a:cubicBezTo>
                    <a:cubicBezTo>
                      <a:pt x="14" y="0"/>
                      <a:pt x="12" y="0"/>
                      <a:pt x="10" y="1"/>
                    </a:cubicBezTo>
                    <a:cubicBezTo>
                      <a:pt x="10" y="1"/>
                      <a:pt x="9" y="1"/>
                      <a:pt x="8" y="1"/>
                    </a:cubicBezTo>
                    <a:cubicBezTo>
                      <a:pt x="6" y="3"/>
                      <a:pt x="5" y="4"/>
                      <a:pt x="5" y="6"/>
                    </a:cubicBezTo>
                    <a:cubicBezTo>
                      <a:pt x="5" y="9"/>
                      <a:pt x="3" y="13"/>
                      <a:pt x="3" y="19"/>
                    </a:cubicBezTo>
                    <a:cubicBezTo>
                      <a:pt x="2" y="26"/>
                      <a:pt x="1" y="25"/>
                      <a:pt x="0" y="30"/>
                    </a:cubicBezTo>
                    <a:cubicBezTo>
                      <a:pt x="0" y="35"/>
                      <a:pt x="2" y="34"/>
                      <a:pt x="3" y="35"/>
                    </a:cubicBezTo>
                    <a:cubicBezTo>
                      <a:pt x="3" y="35"/>
                      <a:pt x="3" y="37"/>
                      <a:pt x="2" y="38"/>
                    </a:cubicBezTo>
                    <a:cubicBezTo>
                      <a:pt x="3" y="39"/>
                      <a:pt x="4" y="40"/>
                      <a:pt x="5" y="40"/>
                    </a:cubicBezTo>
                    <a:cubicBezTo>
                      <a:pt x="9" y="39"/>
                      <a:pt x="12" y="41"/>
                      <a:pt x="16" y="42"/>
                    </a:cubicBezTo>
                    <a:cubicBezTo>
                      <a:pt x="20" y="44"/>
                      <a:pt x="18" y="42"/>
                      <a:pt x="22" y="42"/>
                    </a:cubicBezTo>
                    <a:cubicBezTo>
                      <a:pt x="26" y="43"/>
                      <a:pt x="30" y="43"/>
                      <a:pt x="34" y="41"/>
                    </a:cubicBezTo>
                    <a:cubicBezTo>
                      <a:pt x="37" y="39"/>
                      <a:pt x="38" y="36"/>
                      <a:pt x="40" y="33"/>
                    </a:cubicBezTo>
                    <a:cubicBezTo>
                      <a:pt x="38" y="29"/>
                      <a:pt x="40" y="24"/>
                      <a:pt x="40" y="2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2" name="Freeform 109">
                <a:extLst>
                  <a:ext uri="{FF2B5EF4-FFF2-40B4-BE49-F238E27FC236}">
                    <a16:creationId xmlns:a16="http://schemas.microsoft.com/office/drawing/2014/main" id="{99E2CA1F-A1D0-4B23-B3F8-DC21D7D13DD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542025" y="4501348"/>
                <a:ext cx="376418" cy="740288"/>
              </a:xfrm>
              <a:custGeom>
                <a:avLst/>
                <a:gdLst>
                  <a:gd name="T0" fmla="*/ 46 w 163"/>
                  <a:gd name="T1" fmla="*/ 304 h 321"/>
                  <a:gd name="T2" fmla="*/ 43 w 163"/>
                  <a:gd name="T3" fmla="*/ 297 h 321"/>
                  <a:gd name="T4" fmla="*/ 40 w 163"/>
                  <a:gd name="T5" fmla="*/ 319 h 321"/>
                  <a:gd name="T6" fmla="*/ 58 w 163"/>
                  <a:gd name="T7" fmla="*/ 320 h 321"/>
                  <a:gd name="T8" fmla="*/ 62 w 163"/>
                  <a:gd name="T9" fmla="*/ 315 h 321"/>
                  <a:gd name="T10" fmla="*/ 156 w 163"/>
                  <a:gd name="T11" fmla="*/ 33 h 321"/>
                  <a:gd name="T12" fmla="*/ 152 w 163"/>
                  <a:gd name="T13" fmla="*/ 46 h 321"/>
                  <a:gd name="T14" fmla="*/ 138 w 163"/>
                  <a:gd name="T15" fmla="*/ 50 h 321"/>
                  <a:gd name="T16" fmla="*/ 123 w 163"/>
                  <a:gd name="T17" fmla="*/ 48 h 321"/>
                  <a:gd name="T18" fmla="*/ 132 w 163"/>
                  <a:gd name="T19" fmla="*/ 32 h 321"/>
                  <a:gd name="T20" fmla="*/ 108 w 163"/>
                  <a:gd name="T21" fmla="*/ 20 h 321"/>
                  <a:gd name="T22" fmla="*/ 88 w 163"/>
                  <a:gd name="T23" fmla="*/ 3 h 321"/>
                  <a:gd name="T24" fmla="*/ 75 w 163"/>
                  <a:gd name="T25" fmla="*/ 7 h 321"/>
                  <a:gd name="T26" fmla="*/ 59 w 163"/>
                  <a:gd name="T27" fmla="*/ 4 h 321"/>
                  <a:gd name="T28" fmla="*/ 52 w 163"/>
                  <a:gd name="T29" fmla="*/ 18 h 321"/>
                  <a:gd name="T30" fmla="*/ 42 w 163"/>
                  <a:gd name="T31" fmla="*/ 31 h 321"/>
                  <a:gd name="T32" fmla="*/ 43 w 163"/>
                  <a:gd name="T33" fmla="*/ 45 h 321"/>
                  <a:gd name="T34" fmla="*/ 36 w 163"/>
                  <a:gd name="T35" fmla="*/ 56 h 321"/>
                  <a:gd name="T36" fmla="*/ 30 w 163"/>
                  <a:gd name="T37" fmla="*/ 67 h 321"/>
                  <a:gd name="T38" fmla="*/ 26 w 163"/>
                  <a:gd name="T39" fmla="*/ 82 h 321"/>
                  <a:gd name="T40" fmla="*/ 29 w 163"/>
                  <a:gd name="T41" fmla="*/ 98 h 321"/>
                  <a:gd name="T42" fmla="*/ 29 w 163"/>
                  <a:gd name="T43" fmla="*/ 112 h 321"/>
                  <a:gd name="T44" fmla="*/ 26 w 163"/>
                  <a:gd name="T45" fmla="*/ 128 h 321"/>
                  <a:gd name="T46" fmla="*/ 21 w 163"/>
                  <a:gd name="T47" fmla="*/ 147 h 321"/>
                  <a:gd name="T48" fmla="*/ 18 w 163"/>
                  <a:gd name="T49" fmla="*/ 154 h 321"/>
                  <a:gd name="T50" fmla="*/ 15 w 163"/>
                  <a:gd name="T51" fmla="*/ 166 h 321"/>
                  <a:gd name="T52" fmla="*/ 15 w 163"/>
                  <a:gd name="T53" fmla="*/ 177 h 321"/>
                  <a:gd name="T54" fmla="*/ 13 w 163"/>
                  <a:gd name="T55" fmla="*/ 194 h 321"/>
                  <a:gd name="T56" fmla="*/ 15 w 163"/>
                  <a:gd name="T57" fmla="*/ 203 h 321"/>
                  <a:gd name="T58" fmla="*/ 19 w 163"/>
                  <a:gd name="T59" fmla="*/ 211 h 321"/>
                  <a:gd name="T60" fmla="*/ 17 w 163"/>
                  <a:gd name="T61" fmla="*/ 218 h 321"/>
                  <a:gd name="T62" fmla="*/ 15 w 163"/>
                  <a:gd name="T63" fmla="*/ 231 h 321"/>
                  <a:gd name="T64" fmla="*/ 10 w 163"/>
                  <a:gd name="T65" fmla="*/ 241 h 321"/>
                  <a:gd name="T66" fmla="*/ 6 w 163"/>
                  <a:gd name="T67" fmla="*/ 253 h 321"/>
                  <a:gd name="T68" fmla="*/ 2 w 163"/>
                  <a:gd name="T69" fmla="*/ 266 h 321"/>
                  <a:gd name="T70" fmla="*/ 11 w 163"/>
                  <a:gd name="T71" fmla="*/ 274 h 321"/>
                  <a:gd name="T72" fmla="*/ 16 w 163"/>
                  <a:gd name="T73" fmla="*/ 286 h 321"/>
                  <a:gd name="T74" fmla="*/ 34 w 163"/>
                  <a:gd name="T75" fmla="*/ 289 h 321"/>
                  <a:gd name="T76" fmla="*/ 38 w 163"/>
                  <a:gd name="T77" fmla="*/ 282 h 321"/>
                  <a:gd name="T78" fmla="*/ 38 w 163"/>
                  <a:gd name="T79" fmla="*/ 269 h 321"/>
                  <a:gd name="T80" fmla="*/ 47 w 163"/>
                  <a:gd name="T81" fmla="*/ 260 h 321"/>
                  <a:gd name="T82" fmla="*/ 63 w 163"/>
                  <a:gd name="T83" fmla="*/ 243 h 321"/>
                  <a:gd name="T84" fmla="*/ 56 w 163"/>
                  <a:gd name="T85" fmla="*/ 233 h 321"/>
                  <a:gd name="T86" fmla="*/ 64 w 163"/>
                  <a:gd name="T87" fmla="*/ 213 h 321"/>
                  <a:gd name="T88" fmla="*/ 68 w 163"/>
                  <a:gd name="T89" fmla="*/ 203 h 321"/>
                  <a:gd name="T90" fmla="*/ 73 w 163"/>
                  <a:gd name="T91" fmla="*/ 192 h 321"/>
                  <a:gd name="T92" fmla="*/ 78 w 163"/>
                  <a:gd name="T93" fmla="*/ 192 h 321"/>
                  <a:gd name="T94" fmla="*/ 76 w 163"/>
                  <a:gd name="T95" fmla="*/ 187 h 321"/>
                  <a:gd name="T96" fmla="*/ 70 w 163"/>
                  <a:gd name="T97" fmla="*/ 179 h 321"/>
                  <a:gd name="T98" fmla="*/ 82 w 163"/>
                  <a:gd name="T99" fmla="*/ 175 h 321"/>
                  <a:gd name="T100" fmla="*/ 92 w 163"/>
                  <a:gd name="T101" fmla="*/ 162 h 321"/>
                  <a:gd name="T102" fmla="*/ 95 w 163"/>
                  <a:gd name="T103" fmla="*/ 154 h 321"/>
                  <a:gd name="T104" fmla="*/ 131 w 163"/>
                  <a:gd name="T105" fmla="*/ 145 h 321"/>
                  <a:gd name="T106" fmla="*/ 135 w 163"/>
                  <a:gd name="T107" fmla="*/ 129 h 321"/>
                  <a:gd name="T108" fmla="*/ 129 w 163"/>
                  <a:gd name="T109" fmla="*/ 117 h 321"/>
                  <a:gd name="T110" fmla="*/ 126 w 163"/>
                  <a:gd name="T111" fmla="*/ 111 h 321"/>
                  <a:gd name="T112" fmla="*/ 124 w 163"/>
                  <a:gd name="T113" fmla="*/ 103 h 321"/>
                  <a:gd name="T114" fmla="*/ 129 w 163"/>
                  <a:gd name="T115" fmla="*/ 79 h 321"/>
                  <a:gd name="T116" fmla="*/ 153 w 163"/>
                  <a:gd name="T117" fmla="*/ 51 h 321"/>
                  <a:gd name="T118" fmla="*/ 161 w 163"/>
                  <a:gd name="T119" fmla="*/ 33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63" h="321">
                    <a:moveTo>
                      <a:pt x="62" y="315"/>
                    </a:moveTo>
                    <a:cubicBezTo>
                      <a:pt x="58" y="315"/>
                      <a:pt x="49" y="307"/>
                      <a:pt x="46" y="304"/>
                    </a:cubicBezTo>
                    <a:cubicBezTo>
                      <a:pt x="44" y="302"/>
                      <a:pt x="46" y="300"/>
                      <a:pt x="43" y="301"/>
                    </a:cubicBezTo>
                    <a:cubicBezTo>
                      <a:pt x="39" y="301"/>
                      <a:pt x="41" y="298"/>
                      <a:pt x="43" y="297"/>
                    </a:cubicBezTo>
                    <a:cubicBezTo>
                      <a:pt x="45" y="296"/>
                      <a:pt x="43" y="293"/>
                      <a:pt x="40" y="293"/>
                    </a:cubicBezTo>
                    <a:cubicBezTo>
                      <a:pt x="40" y="298"/>
                      <a:pt x="39" y="319"/>
                      <a:pt x="40" y="319"/>
                    </a:cubicBezTo>
                    <a:cubicBezTo>
                      <a:pt x="42" y="320"/>
                      <a:pt x="51" y="318"/>
                      <a:pt x="54" y="320"/>
                    </a:cubicBezTo>
                    <a:cubicBezTo>
                      <a:pt x="55" y="320"/>
                      <a:pt x="57" y="321"/>
                      <a:pt x="58" y="320"/>
                    </a:cubicBezTo>
                    <a:cubicBezTo>
                      <a:pt x="59" y="318"/>
                      <a:pt x="65" y="319"/>
                      <a:pt x="68" y="317"/>
                    </a:cubicBezTo>
                    <a:cubicBezTo>
                      <a:pt x="71" y="316"/>
                      <a:pt x="67" y="315"/>
                      <a:pt x="62" y="315"/>
                    </a:cubicBezTo>
                    <a:close/>
                    <a:moveTo>
                      <a:pt x="161" y="33"/>
                    </a:moveTo>
                    <a:cubicBezTo>
                      <a:pt x="160" y="33"/>
                      <a:pt x="158" y="33"/>
                      <a:pt x="156" y="33"/>
                    </a:cubicBezTo>
                    <a:cubicBezTo>
                      <a:pt x="156" y="33"/>
                      <a:pt x="156" y="34"/>
                      <a:pt x="156" y="34"/>
                    </a:cubicBezTo>
                    <a:cubicBezTo>
                      <a:pt x="156" y="37"/>
                      <a:pt x="154" y="46"/>
                      <a:pt x="152" y="46"/>
                    </a:cubicBezTo>
                    <a:cubicBezTo>
                      <a:pt x="149" y="45"/>
                      <a:pt x="147" y="49"/>
                      <a:pt x="145" y="49"/>
                    </a:cubicBezTo>
                    <a:cubicBezTo>
                      <a:pt x="144" y="48"/>
                      <a:pt x="141" y="52"/>
                      <a:pt x="138" y="50"/>
                    </a:cubicBezTo>
                    <a:cubicBezTo>
                      <a:pt x="136" y="49"/>
                      <a:pt x="133" y="51"/>
                      <a:pt x="131" y="49"/>
                    </a:cubicBezTo>
                    <a:cubicBezTo>
                      <a:pt x="129" y="48"/>
                      <a:pt x="123" y="49"/>
                      <a:pt x="123" y="48"/>
                    </a:cubicBezTo>
                    <a:cubicBezTo>
                      <a:pt x="123" y="46"/>
                      <a:pt x="126" y="47"/>
                      <a:pt x="126" y="42"/>
                    </a:cubicBezTo>
                    <a:cubicBezTo>
                      <a:pt x="126" y="38"/>
                      <a:pt x="133" y="33"/>
                      <a:pt x="132" y="32"/>
                    </a:cubicBezTo>
                    <a:cubicBezTo>
                      <a:pt x="131" y="30"/>
                      <a:pt x="119" y="26"/>
                      <a:pt x="117" y="24"/>
                    </a:cubicBezTo>
                    <a:cubicBezTo>
                      <a:pt x="116" y="22"/>
                      <a:pt x="113" y="20"/>
                      <a:pt x="108" y="20"/>
                    </a:cubicBezTo>
                    <a:cubicBezTo>
                      <a:pt x="103" y="19"/>
                      <a:pt x="104" y="17"/>
                      <a:pt x="99" y="14"/>
                    </a:cubicBezTo>
                    <a:cubicBezTo>
                      <a:pt x="96" y="12"/>
                      <a:pt x="90" y="6"/>
                      <a:pt x="88" y="3"/>
                    </a:cubicBezTo>
                    <a:cubicBezTo>
                      <a:pt x="85" y="2"/>
                      <a:pt x="81" y="2"/>
                      <a:pt x="80" y="3"/>
                    </a:cubicBezTo>
                    <a:cubicBezTo>
                      <a:pt x="79" y="4"/>
                      <a:pt x="77" y="11"/>
                      <a:pt x="75" y="7"/>
                    </a:cubicBezTo>
                    <a:cubicBezTo>
                      <a:pt x="74" y="4"/>
                      <a:pt x="70" y="4"/>
                      <a:pt x="66" y="4"/>
                    </a:cubicBezTo>
                    <a:cubicBezTo>
                      <a:pt x="63" y="3"/>
                      <a:pt x="63" y="0"/>
                      <a:pt x="59" y="4"/>
                    </a:cubicBezTo>
                    <a:cubicBezTo>
                      <a:pt x="57" y="6"/>
                      <a:pt x="55" y="7"/>
                      <a:pt x="53" y="9"/>
                    </a:cubicBezTo>
                    <a:cubicBezTo>
                      <a:pt x="53" y="13"/>
                      <a:pt x="52" y="17"/>
                      <a:pt x="52" y="18"/>
                    </a:cubicBezTo>
                    <a:cubicBezTo>
                      <a:pt x="51" y="20"/>
                      <a:pt x="43" y="23"/>
                      <a:pt x="42" y="25"/>
                    </a:cubicBezTo>
                    <a:cubicBezTo>
                      <a:pt x="42" y="27"/>
                      <a:pt x="43" y="30"/>
                      <a:pt x="42" y="31"/>
                    </a:cubicBezTo>
                    <a:cubicBezTo>
                      <a:pt x="40" y="32"/>
                      <a:pt x="45" y="38"/>
                      <a:pt x="43" y="40"/>
                    </a:cubicBezTo>
                    <a:cubicBezTo>
                      <a:pt x="40" y="41"/>
                      <a:pt x="45" y="44"/>
                      <a:pt x="43" y="45"/>
                    </a:cubicBezTo>
                    <a:cubicBezTo>
                      <a:pt x="41" y="47"/>
                      <a:pt x="38" y="47"/>
                      <a:pt x="38" y="49"/>
                    </a:cubicBezTo>
                    <a:cubicBezTo>
                      <a:pt x="38" y="51"/>
                      <a:pt x="38" y="55"/>
                      <a:pt x="36" y="56"/>
                    </a:cubicBezTo>
                    <a:cubicBezTo>
                      <a:pt x="33" y="57"/>
                      <a:pt x="32" y="60"/>
                      <a:pt x="32" y="63"/>
                    </a:cubicBezTo>
                    <a:cubicBezTo>
                      <a:pt x="32" y="66"/>
                      <a:pt x="29" y="64"/>
                      <a:pt x="30" y="67"/>
                    </a:cubicBezTo>
                    <a:cubicBezTo>
                      <a:pt x="31" y="71"/>
                      <a:pt x="32" y="75"/>
                      <a:pt x="30" y="76"/>
                    </a:cubicBezTo>
                    <a:cubicBezTo>
                      <a:pt x="27" y="76"/>
                      <a:pt x="28" y="82"/>
                      <a:pt x="26" y="82"/>
                    </a:cubicBezTo>
                    <a:cubicBezTo>
                      <a:pt x="25" y="82"/>
                      <a:pt x="24" y="88"/>
                      <a:pt x="26" y="91"/>
                    </a:cubicBezTo>
                    <a:cubicBezTo>
                      <a:pt x="29" y="93"/>
                      <a:pt x="29" y="96"/>
                      <a:pt x="29" y="98"/>
                    </a:cubicBezTo>
                    <a:cubicBezTo>
                      <a:pt x="29" y="101"/>
                      <a:pt x="32" y="103"/>
                      <a:pt x="31" y="105"/>
                    </a:cubicBezTo>
                    <a:cubicBezTo>
                      <a:pt x="30" y="108"/>
                      <a:pt x="31" y="111"/>
                      <a:pt x="29" y="112"/>
                    </a:cubicBezTo>
                    <a:cubicBezTo>
                      <a:pt x="27" y="113"/>
                      <a:pt x="29" y="117"/>
                      <a:pt x="26" y="118"/>
                    </a:cubicBezTo>
                    <a:cubicBezTo>
                      <a:pt x="24" y="119"/>
                      <a:pt x="28" y="127"/>
                      <a:pt x="26" y="128"/>
                    </a:cubicBezTo>
                    <a:cubicBezTo>
                      <a:pt x="25" y="130"/>
                      <a:pt x="20" y="131"/>
                      <a:pt x="20" y="136"/>
                    </a:cubicBezTo>
                    <a:cubicBezTo>
                      <a:pt x="20" y="141"/>
                      <a:pt x="21" y="144"/>
                      <a:pt x="21" y="147"/>
                    </a:cubicBezTo>
                    <a:cubicBezTo>
                      <a:pt x="20" y="149"/>
                      <a:pt x="23" y="148"/>
                      <a:pt x="23" y="151"/>
                    </a:cubicBezTo>
                    <a:cubicBezTo>
                      <a:pt x="22" y="154"/>
                      <a:pt x="18" y="153"/>
                      <a:pt x="18" y="154"/>
                    </a:cubicBezTo>
                    <a:cubicBezTo>
                      <a:pt x="18" y="156"/>
                      <a:pt x="19" y="160"/>
                      <a:pt x="18" y="161"/>
                    </a:cubicBezTo>
                    <a:cubicBezTo>
                      <a:pt x="16" y="161"/>
                      <a:pt x="15" y="162"/>
                      <a:pt x="15" y="166"/>
                    </a:cubicBezTo>
                    <a:cubicBezTo>
                      <a:pt x="15" y="169"/>
                      <a:pt x="13" y="169"/>
                      <a:pt x="13" y="171"/>
                    </a:cubicBezTo>
                    <a:cubicBezTo>
                      <a:pt x="13" y="173"/>
                      <a:pt x="15" y="175"/>
                      <a:pt x="15" y="177"/>
                    </a:cubicBezTo>
                    <a:cubicBezTo>
                      <a:pt x="15" y="179"/>
                      <a:pt x="16" y="185"/>
                      <a:pt x="14" y="185"/>
                    </a:cubicBezTo>
                    <a:cubicBezTo>
                      <a:pt x="13" y="186"/>
                      <a:pt x="12" y="193"/>
                      <a:pt x="13" y="194"/>
                    </a:cubicBezTo>
                    <a:cubicBezTo>
                      <a:pt x="15" y="195"/>
                      <a:pt x="15" y="197"/>
                      <a:pt x="14" y="198"/>
                    </a:cubicBezTo>
                    <a:cubicBezTo>
                      <a:pt x="13" y="200"/>
                      <a:pt x="17" y="201"/>
                      <a:pt x="15" y="203"/>
                    </a:cubicBezTo>
                    <a:cubicBezTo>
                      <a:pt x="13" y="205"/>
                      <a:pt x="15" y="208"/>
                      <a:pt x="18" y="207"/>
                    </a:cubicBezTo>
                    <a:cubicBezTo>
                      <a:pt x="20" y="207"/>
                      <a:pt x="21" y="211"/>
                      <a:pt x="19" y="211"/>
                    </a:cubicBezTo>
                    <a:cubicBezTo>
                      <a:pt x="16" y="211"/>
                      <a:pt x="13" y="211"/>
                      <a:pt x="16" y="213"/>
                    </a:cubicBezTo>
                    <a:cubicBezTo>
                      <a:pt x="18" y="214"/>
                      <a:pt x="20" y="217"/>
                      <a:pt x="17" y="218"/>
                    </a:cubicBezTo>
                    <a:cubicBezTo>
                      <a:pt x="14" y="219"/>
                      <a:pt x="16" y="221"/>
                      <a:pt x="16" y="224"/>
                    </a:cubicBezTo>
                    <a:cubicBezTo>
                      <a:pt x="15" y="227"/>
                      <a:pt x="18" y="230"/>
                      <a:pt x="15" y="231"/>
                    </a:cubicBezTo>
                    <a:cubicBezTo>
                      <a:pt x="13" y="231"/>
                      <a:pt x="16" y="236"/>
                      <a:pt x="13" y="236"/>
                    </a:cubicBezTo>
                    <a:cubicBezTo>
                      <a:pt x="10" y="237"/>
                      <a:pt x="12" y="240"/>
                      <a:pt x="10" y="241"/>
                    </a:cubicBezTo>
                    <a:cubicBezTo>
                      <a:pt x="7" y="243"/>
                      <a:pt x="12" y="246"/>
                      <a:pt x="10" y="248"/>
                    </a:cubicBezTo>
                    <a:cubicBezTo>
                      <a:pt x="7" y="249"/>
                      <a:pt x="9" y="253"/>
                      <a:pt x="6" y="253"/>
                    </a:cubicBezTo>
                    <a:cubicBezTo>
                      <a:pt x="4" y="253"/>
                      <a:pt x="2" y="257"/>
                      <a:pt x="2" y="259"/>
                    </a:cubicBezTo>
                    <a:cubicBezTo>
                      <a:pt x="2" y="260"/>
                      <a:pt x="0" y="264"/>
                      <a:pt x="2" y="266"/>
                    </a:cubicBezTo>
                    <a:cubicBezTo>
                      <a:pt x="4" y="268"/>
                      <a:pt x="2" y="270"/>
                      <a:pt x="4" y="271"/>
                    </a:cubicBezTo>
                    <a:cubicBezTo>
                      <a:pt x="6" y="272"/>
                      <a:pt x="12" y="271"/>
                      <a:pt x="11" y="274"/>
                    </a:cubicBezTo>
                    <a:cubicBezTo>
                      <a:pt x="10" y="277"/>
                      <a:pt x="11" y="283"/>
                      <a:pt x="12" y="283"/>
                    </a:cubicBezTo>
                    <a:cubicBezTo>
                      <a:pt x="13" y="283"/>
                      <a:pt x="14" y="287"/>
                      <a:pt x="16" y="286"/>
                    </a:cubicBezTo>
                    <a:cubicBezTo>
                      <a:pt x="18" y="286"/>
                      <a:pt x="26" y="285"/>
                      <a:pt x="30" y="286"/>
                    </a:cubicBezTo>
                    <a:cubicBezTo>
                      <a:pt x="32" y="287"/>
                      <a:pt x="33" y="288"/>
                      <a:pt x="34" y="289"/>
                    </a:cubicBezTo>
                    <a:cubicBezTo>
                      <a:pt x="36" y="288"/>
                      <a:pt x="41" y="291"/>
                      <a:pt x="42" y="290"/>
                    </a:cubicBezTo>
                    <a:cubicBezTo>
                      <a:pt x="43" y="288"/>
                      <a:pt x="37" y="284"/>
                      <a:pt x="38" y="282"/>
                    </a:cubicBezTo>
                    <a:cubicBezTo>
                      <a:pt x="38" y="280"/>
                      <a:pt x="37" y="278"/>
                      <a:pt x="37" y="276"/>
                    </a:cubicBezTo>
                    <a:cubicBezTo>
                      <a:pt x="37" y="274"/>
                      <a:pt x="36" y="270"/>
                      <a:pt x="38" y="269"/>
                    </a:cubicBezTo>
                    <a:cubicBezTo>
                      <a:pt x="41" y="267"/>
                      <a:pt x="41" y="265"/>
                      <a:pt x="43" y="265"/>
                    </a:cubicBezTo>
                    <a:cubicBezTo>
                      <a:pt x="44" y="266"/>
                      <a:pt x="47" y="264"/>
                      <a:pt x="47" y="260"/>
                    </a:cubicBezTo>
                    <a:cubicBezTo>
                      <a:pt x="48" y="255"/>
                      <a:pt x="50" y="254"/>
                      <a:pt x="53" y="251"/>
                    </a:cubicBezTo>
                    <a:cubicBezTo>
                      <a:pt x="57" y="247"/>
                      <a:pt x="64" y="244"/>
                      <a:pt x="63" y="243"/>
                    </a:cubicBezTo>
                    <a:cubicBezTo>
                      <a:pt x="62" y="241"/>
                      <a:pt x="64" y="237"/>
                      <a:pt x="64" y="235"/>
                    </a:cubicBezTo>
                    <a:cubicBezTo>
                      <a:pt x="64" y="233"/>
                      <a:pt x="58" y="234"/>
                      <a:pt x="56" y="233"/>
                    </a:cubicBezTo>
                    <a:cubicBezTo>
                      <a:pt x="54" y="232"/>
                      <a:pt x="47" y="227"/>
                      <a:pt x="51" y="221"/>
                    </a:cubicBezTo>
                    <a:cubicBezTo>
                      <a:pt x="54" y="214"/>
                      <a:pt x="62" y="213"/>
                      <a:pt x="64" y="213"/>
                    </a:cubicBezTo>
                    <a:cubicBezTo>
                      <a:pt x="66" y="213"/>
                      <a:pt x="64" y="210"/>
                      <a:pt x="66" y="209"/>
                    </a:cubicBezTo>
                    <a:cubicBezTo>
                      <a:pt x="67" y="208"/>
                      <a:pt x="68" y="206"/>
                      <a:pt x="68" y="203"/>
                    </a:cubicBezTo>
                    <a:cubicBezTo>
                      <a:pt x="68" y="200"/>
                      <a:pt x="68" y="195"/>
                      <a:pt x="71" y="195"/>
                    </a:cubicBezTo>
                    <a:cubicBezTo>
                      <a:pt x="74" y="195"/>
                      <a:pt x="75" y="193"/>
                      <a:pt x="73" y="192"/>
                    </a:cubicBezTo>
                    <a:cubicBezTo>
                      <a:pt x="71" y="192"/>
                      <a:pt x="70" y="190"/>
                      <a:pt x="74" y="189"/>
                    </a:cubicBezTo>
                    <a:cubicBezTo>
                      <a:pt x="77" y="189"/>
                      <a:pt x="76" y="192"/>
                      <a:pt x="78" y="192"/>
                    </a:cubicBezTo>
                    <a:cubicBezTo>
                      <a:pt x="80" y="192"/>
                      <a:pt x="84" y="188"/>
                      <a:pt x="81" y="186"/>
                    </a:cubicBezTo>
                    <a:cubicBezTo>
                      <a:pt x="78" y="183"/>
                      <a:pt x="77" y="187"/>
                      <a:pt x="76" y="187"/>
                    </a:cubicBezTo>
                    <a:cubicBezTo>
                      <a:pt x="74" y="187"/>
                      <a:pt x="73" y="185"/>
                      <a:pt x="71" y="185"/>
                    </a:cubicBezTo>
                    <a:cubicBezTo>
                      <a:pt x="70" y="185"/>
                      <a:pt x="71" y="180"/>
                      <a:pt x="70" y="179"/>
                    </a:cubicBezTo>
                    <a:cubicBezTo>
                      <a:pt x="69" y="177"/>
                      <a:pt x="68" y="173"/>
                      <a:pt x="70" y="171"/>
                    </a:cubicBezTo>
                    <a:cubicBezTo>
                      <a:pt x="71" y="169"/>
                      <a:pt x="77" y="174"/>
                      <a:pt x="82" y="175"/>
                    </a:cubicBezTo>
                    <a:cubicBezTo>
                      <a:pt x="88" y="175"/>
                      <a:pt x="92" y="172"/>
                      <a:pt x="92" y="170"/>
                    </a:cubicBezTo>
                    <a:cubicBezTo>
                      <a:pt x="92" y="168"/>
                      <a:pt x="89" y="165"/>
                      <a:pt x="92" y="162"/>
                    </a:cubicBezTo>
                    <a:cubicBezTo>
                      <a:pt x="96" y="160"/>
                      <a:pt x="93" y="160"/>
                      <a:pt x="92" y="157"/>
                    </a:cubicBezTo>
                    <a:cubicBezTo>
                      <a:pt x="91" y="154"/>
                      <a:pt x="94" y="152"/>
                      <a:pt x="95" y="154"/>
                    </a:cubicBezTo>
                    <a:cubicBezTo>
                      <a:pt x="96" y="155"/>
                      <a:pt x="107" y="154"/>
                      <a:pt x="116" y="152"/>
                    </a:cubicBezTo>
                    <a:cubicBezTo>
                      <a:pt x="124" y="150"/>
                      <a:pt x="130" y="147"/>
                      <a:pt x="131" y="145"/>
                    </a:cubicBezTo>
                    <a:cubicBezTo>
                      <a:pt x="131" y="142"/>
                      <a:pt x="137" y="136"/>
                      <a:pt x="138" y="134"/>
                    </a:cubicBezTo>
                    <a:cubicBezTo>
                      <a:pt x="140" y="132"/>
                      <a:pt x="138" y="129"/>
                      <a:pt x="135" y="129"/>
                    </a:cubicBezTo>
                    <a:cubicBezTo>
                      <a:pt x="131" y="128"/>
                      <a:pt x="131" y="124"/>
                      <a:pt x="133" y="122"/>
                    </a:cubicBezTo>
                    <a:cubicBezTo>
                      <a:pt x="135" y="120"/>
                      <a:pt x="132" y="117"/>
                      <a:pt x="129" y="117"/>
                    </a:cubicBezTo>
                    <a:cubicBezTo>
                      <a:pt x="126" y="117"/>
                      <a:pt x="120" y="114"/>
                      <a:pt x="123" y="112"/>
                    </a:cubicBezTo>
                    <a:cubicBezTo>
                      <a:pt x="125" y="110"/>
                      <a:pt x="125" y="110"/>
                      <a:pt x="126" y="111"/>
                    </a:cubicBezTo>
                    <a:cubicBezTo>
                      <a:pt x="127" y="110"/>
                      <a:pt x="127" y="108"/>
                      <a:pt x="127" y="108"/>
                    </a:cubicBezTo>
                    <a:cubicBezTo>
                      <a:pt x="126" y="107"/>
                      <a:pt x="124" y="108"/>
                      <a:pt x="124" y="103"/>
                    </a:cubicBezTo>
                    <a:cubicBezTo>
                      <a:pt x="125" y="98"/>
                      <a:pt x="126" y="99"/>
                      <a:pt x="127" y="92"/>
                    </a:cubicBezTo>
                    <a:cubicBezTo>
                      <a:pt x="127" y="86"/>
                      <a:pt x="129" y="82"/>
                      <a:pt x="129" y="79"/>
                    </a:cubicBezTo>
                    <a:cubicBezTo>
                      <a:pt x="129" y="75"/>
                      <a:pt x="135" y="71"/>
                      <a:pt x="139" y="66"/>
                    </a:cubicBezTo>
                    <a:cubicBezTo>
                      <a:pt x="142" y="60"/>
                      <a:pt x="150" y="53"/>
                      <a:pt x="153" y="51"/>
                    </a:cubicBezTo>
                    <a:cubicBezTo>
                      <a:pt x="156" y="49"/>
                      <a:pt x="162" y="47"/>
                      <a:pt x="163" y="46"/>
                    </a:cubicBezTo>
                    <a:cubicBezTo>
                      <a:pt x="163" y="44"/>
                      <a:pt x="163" y="34"/>
                      <a:pt x="161" y="3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3" name="Freeform 110">
                <a:extLst>
                  <a:ext uri="{FF2B5EF4-FFF2-40B4-BE49-F238E27FC236}">
                    <a16:creationId xmlns:a16="http://schemas.microsoft.com/office/drawing/2014/main" id="{E4F95AF0-685F-4209-8EC3-F5B3ABB953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03129" y="4418536"/>
                <a:ext cx="163114" cy="836902"/>
              </a:xfrm>
              <a:custGeom>
                <a:avLst/>
                <a:gdLst>
                  <a:gd name="T0" fmla="*/ 28 w 71"/>
                  <a:gd name="T1" fmla="*/ 310 h 363"/>
                  <a:gd name="T2" fmla="*/ 19 w 71"/>
                  <a:gd name="T3" fmla="*/ 295 h 363"/>
                  <a:gd name="T4" fmla="*/ 27 w 71"/>
                  <a:gd name="T5" fmla="*/ 277 h 363"/>
                  <a:gd name="T6" fmla="*/ 33 w 71"/>
                  <a:gd name="T7" fmla="*/ 260 h 363"/>
                  <a:gd name="T8" fmla="*/ 36 w 71"/>
                  <a:gd name="T9" fmla="*/ 247 h 363"/>
                  <a:gd name="T10" fmla="*/ 31 w 71"/>
                  <a:gd name="T11" fmla="*/ 234 h 363"/>
                  <a:gd name="T12" fmla="*/ 32 w 71"/>
                  <a:gd name="T13" fmla="*/ 213 h 363"/>
                  <a:gd name="T14" fmla="*/ 35 w 71"/>
                  <a:gd name="T15" fmla="*/ 197 h 363"/>
                  <a:gd name="T16" fmla="*/ 38 w 71"/>
                  <a:gd name="T17" fmla="*/ 183 h 363"/>
                  <a:gd name="T18" fmla="*/ 43 w 71"/>
                  <a:gd name="T19" fmla="*/ 154 h 363"/>
                  <a:gd name="T20" fmla="*/ 46 w 71"/>
                  <a:gd name="T21" fmla="*/ 134 h 363"/>
                  <a:gd name="T22" fmla="*/ 47 w 71"/>
                  <a:gd name="T23" fmla="*/ 112 h 363"/>
                  <a:gd name="T24" fmla="*/ 53 w 71"/>
                  <a:gd name="T25" fmla="*/ 92 h 363"/>
                  <a:gd name="T26" fmla="*/ 60 w 71"/>
                  <a:gd name="T27" fmla="*/ 76 h 363"/>
                  <a:gd name="T28" fmla="*/ 69 w 71"/>
                  <a:gd name="T29" fmla="*/ 54 h 363"/>
                  <a:gd name="T30" fmla="*/ 63 w 71"/>
                  <a:gd name="T31" fmla="*/ 37 h 363"/>
                  <a:gd name="T32" fmla="*/ 59 w 71"/>
                  <a:gd name="T33" fmla="*/ 18 h 363"/>
                  <a:gd name="T34" fmla="*/ 50 w 71"/>
                  <a:gd name="T35" fmla="*/ 1 h 363"/>
                  <a:gd name="T36" fmla="*/ 45 w 71"/>
                  <a:gd name="T37" fmla="*/ 16 h 363"/>
                  <a:gd name="T38" fmla="*/ 44 w 71"/>
                  <a:gd name="T39" fmla="*/ 53 h 363"/>
                  <a:gd name="T40" fmla="*/ 37 w 71"/>
                  <a:gd name="T41" fmla="*/ 91 h 363"/>
                  <a:gd name="T42" fmla="*/ 34 w 71"/>
                  <a:gd name="T43" fmla="*/ 116 h 363"/>
                  <a:gd name="T44" fmla="*/ 29 w 71"/>
                  <a:gd name="T45" fmla="*/ 149 h 363"/>
                  <a:gd name="T46" fmla="*/ 18 w 71"/>
                  <a:gd name="T47" fmla="*/ 179 h 363"/>
                  <a:gd name="T48" fmla="*/ 17 w 71"/>
                  <a:gd name="T49" fmla="*/ 204 h 363"/>
                  <a:gd name="T50" fmla="*/ 12 w 71"/>
                  <a:gd name="T51" fmla="*/ 227 h 363"/>
                  <a:gd name="T52" fmla="*/ 22 w 71"/>
                  <a:gd name="T53" fmla="*/ 215 h 363"/>
                  <a:gd name="T54" fmla="*/ 24 w 71"/>
                  <a:gd name="T55" fmla="*/ 228 h 363"/>
                  <a:gd name="T56" fmla="*/ 21 w 71"/>
                  <a:gd name="T57" fmla="*/ 244 h 363"/>
                  <a:gd name="T58" fmla="*/ 17 w 71"/>
                  <a:gd name="T59" fmla="*/ 254 h 363"/>
                  <a:gd name="T60" fmla="*/ 16 w 71"/>
                  <a:gd name="T61" fmla="*/ 252 h 363"/>
                  <a:gd name="T62" fmla="*/ 10 w 71"/>
                  <a:gd name="T63" fmla="*/ 255 h 363"/>
                  <a:gd name="T64" fmla="*/ 1 w 71"/>
                  <a:gd name="T65" fmla="*/ 267 h 363"/>
                  <a:gd name="T66" fmla="*/ 11 w 71"/>
                  <a:gd name="T67" fmla="*/ 268 h 363"/>
                  <a:gd name="T68" fmla="*/ 17 w 71"/>
                  <a:gd name="T69" fmla="*/ 277 h 363"/>
                  <a:gd name="T70" fmla="*/ 7 w 71"/>
                  <a:gd name="T71" fmla="*/ 280 h 363"/>
                  <a:gd name="T72" fmla="*/ 9 w 71"/>
                  <a:gd name="T73" fmla="*/ 285 h 363"/>
                  <a:gd name="T74" fmla="*/ 4 w 71"/>
                  <a:gd name="T75" fmla="*/ 294 h 363"/>
                  <a:gd name="T76" fmla="*/ 10 w 71"/>
                  <a:gd name="T77" fmla="*/ 297 h 363"/>
                  <a:gd name="T78" fmla="*/ 11 w 71"/>
                  <a:gd name="T79" fmla="*/ 305 h 363"/>
                  <a:gd name="T80" fmla="*/ 6 w 71"/>
                  <a:gd name="T81" fmla="*/ 315 h 363"/>
                  <a:gd name="T82" fmla="*/ 16 w 71"/>
                  <a:gd name="T83" fmla="*/ 316 h 363"/>
                  <a:gd name="T84" fmla="*/ 20 w 71"/>
                  <a:gd name="T85" fmla="*/ 320 h 363"/>
                  <a:gd name="T86" fmla="*/ 15 w 71"/>
                  <a:gd name="T87" fmla="*/ 329 h 363"/>
                  <a:gd name="T88" fmla="*/ 29 w 71"/>
                  <a:gd name="T89" fmla="*/ 329 h 363"/>
                  <a:gd name="T90" fmla="*/ 19 w 71"/>
                  <a:gd name="T91" fmla="*/ 336 h 363"/>
                  <a:gd name="T92" fmla="*/ 30 w 71"/>
                  <a:gd name="T93" fmla="*/ 335 h 363"/>
                  <a:gd name="T94" fmla="*/ 18 w 71"/>
                  <a:gd name="T95" fmla="*/ 343 h 363"/>
                  <a:gd name="T96" fmla="*/ 29 w 71"/>
                  <a:gd name="T97" fmla="*/ 344 h 363"/>
                  <a:gd name="T98" fmla="*/ 45 w 71"/>
                  <a:gd name="T99" fmla="*/ 328 h 363"/>
                  <a:gd name="T100" fmla="*/ 50 w 71"/>
                  <a:gd name="T101" fmla="*/ 337 h 363"/>
                  <a:gd name="T102" fmla="*/ 43 w 71"/>
                  <a:gd name="T103" fmla="*/ 340 h 363"/>
                  <a:gd name="T104" fmla="*/ 35 w 71"/>
                  <a:gd name="T105" fmla="*/ 347 h 363"/>
                  <a:gd name="T106" fmla="*/ 41 w 71"/>
                  <a:gd name="T107" fmla="*/ 358 h 363"/>
                  <a:gd name="T108" fmla="*/ 52 w 71"/>
                  <a:gd name="T109" fmla="*/ 357 h 363"/>
                  <a:gd name="T110" fmla="*/ 64 w 71"/>
                  <a:gd name="T111" fmla="*/ 357 h 363"/>
                  <a:gd name="T112" fmla="*/ 57 w 71"/>
                  <a:gd name="T113" fmla="*/ 355 h 363"/>
                  <a:gd name="T114" fmla="*/ 50 w 71"/>
                  <a:gd name="T115" fmla="*/ 326 h 363"/>
                  <a:gd name="T116" fmla="*/ 33 w 71"/>
                  <a:gd name="T117" fmla="*/ 322 h 3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71" h="363">
                    <a:moveTo>
                      <a:pt x="33" y="322"/>
                    </a:moveTo>
                    <a:cubicBezTo>
                      <a:pt x="31" y="323"/>
                      <a:pt x="30" y="319"/>
                      <a:pt x="29" y="319"/>
                    </a:cubicBezTo>
                    <a:cubicBezTo>
                      <a:pt x="28" y="319"/>
                      <a:pt x="27" y="313"/>
                      <a:pt x="28" y="310"/>
                    </a:cubicBezTo>
                    <a:cubicBezTo>
                      <a:pt x="29" y="307"/>
                      <a:pt x="23" y="308"/>
                      <a:pt x="21" y="307"/>
                    </a:cubicBezTo>
                    <a:cubicBezTo>
                      <a:pt x="19" y="306"/>
                      <a:pt x="21" y="304"/>
                      <a:pt x="19" y="302"/>
                    </a:cubicBezTo>
                    <a:cubicBezTo>
                      <a:pt x="17" y="300"/>
                      <a:pt x="19" y="296"/>
                      <a:pt x="19" y="295"/>
                    </a:cubicBezTo>
                    <a:cubicBezTo>
                      <a:pt x="19" y="293"/>
                      <a:pt x="21" y="289"/>
                      <a:pt x="23" y="289"/>
                    </a:cubicBezTo>
                    <a:cubicBezTo>
                      <a:pt x="26" y="289"/>
                      <a:pt x="24" y="285"/>
                      <a:pt x="27" y="284"/>
                    </a:cubicBezTo>
                    <a:cubicBezTo>
                      <a:pt x="29" y="282"/>
                      <a:pt x="24" y="279"/>
                      <a:pt x="27" y="277"/>
                    </a:cubicBezTo>
                    <a:cubicBezTo>
                      <a:pt x="29" y="276"/>
                      <a:pt x="27" y="273"/>
                      <a:pt x="30" y="272"/>
                    </a:cubicBezTo>
                    <a:cubicBezTo>
                      <a:pt x="33" y="272"/>
                      <a:pt x="30" y="267"/>
                      <a:pt x="32" y="267"/>
                    </a:cubicBezTo>
                    <a:cubicBezTo>
                      <a:pt x="35" y="266"/>
                      <a:pt x="32" y="263"/>
                      <a:pt x="33" y="260"/>
                    </a:cubicBezTo>
                    <a:cubicBezTo>
                      <a:pt x="33" y="257"/>
                      <a:pt x="31" y="255"/>
                      <a:pt x="34" y="254"/>
                    </a:cubicBezTo>
                    <a:cubicBezTo>
                      <a:pt x="37" y="253"/>
                      <a:pt x="35" y="250"/>
                      <a:pt x="33" y="249"/>
                    </a:cubicBezTo>
                    <a:cubicBezTo>
                      <a:pt x="30" y="247"/>
                      <a:pt x="33" y="247"/>
                      <a:pt x="36" y="247"/>
                    </a:cubicBezTo>
                    <a:cubicBezTo>
                      <a:pt x="38" y="247"/>
                      <a:pt x="37" y="243"/>
                      <a:pt x="35" y="243"/>
                    </a:cubicBezTo>
                    <a:cubicBezTo>
                      <a:pt x="32" y="244"/>
                      <a:pt x="30" y="241"/>
                      <a:pt x="32" y="239"/>
                    </a:cubicBezTo>
                    <a:cubicBezTo>
                      <a:pt x="34" y="237"/>
                      <a:pt x="30" y="236"/>
                      <a:pt x="31" y="234"/>
                    </a:cubicBezTo>
                    <a:cubicBezTo>
                      <a:pt x="32" y="233"/>
                      <a:pt x="32" y="231"/>
                      <a:pt x="30" y="230"/>
                    </a:cubicBezTo>
                    <a:cubicBezTo>
                      <a:pt x="29" y="229"/>
                      <a:pt x="30" y="222"/>
                      <a:pt x="31" y="221"/>
                    </a:cubicBezTo>
                    <a:cubicBezTo>
                      <a:pt x="33" y="221"/>
                      <a:pt x="32" y="215"/>
                      <a:pt x="32" y="213"/>
                    </a:cubicBezTo>
                    <a:cubicBezTo>
                      <a:pt x="32" y="211"/>
                      <a:pt x="30" y="209"/>
                      <a:pt x="30" y="207"/>
                    </a:cubicBezTo>
                    <a:cubicBezTo>
                      <a:pt x="30" y="205"/>
                      <a:pt x="32" y="205"/>
                      <a:pt x="32" y="202"/>
                    </a:cubicBezTo>
                    <a:cubicBezTo>
                      <a:pt x="32" y="198"/>
                      <a:pt x="33" y="197"/>
                      <a:pt x="35" y="197"/>
                    </a:cubicBezTo>
                    <a:cubicBezTo>
                      <a:pt x="36" y="196"/>
                      <a:pt x="35" y="192"/>
                      <a:pt x="35" y="190"/>
                    </a:cubicBezTo>
                    <a:cubicBezTo>
                      <a:pt x="35" y="189"/>
                      <a:pt x="39" y="190"/>
                      <a:pt x="40" y="187"/>
                    </a:cubicBezTo>
                    <a:cubicBezTo>
                      <a:pt x="40" y="184"/>
                      <a:pt x="37" y="185"/>
                      <a:pt x="38" y="183"/>
                    </a:cubicBezTo>
                    <a:cubicBezTo>
                      <a:pt x="38" y="180"/>
                      <a:pt x="37" y="177"/>
                      <a:pt x="37" y="172"/>
                    </a:cubicBezTo>
                    <a:cubicBezTo>
                      <a:pt x="37" y="167"/>
                      <a:pt x="42" y="166"/>
                      <a:pt x="43" y="164"/>
                    </a:cubicBezTo>
                    <a:cubicBezTo>
                      <a:pt x="45" y="163"/>
                      <a:pt x="41" y="155"/>
                      <a:pt x="43" y="154"/>
                    </a:cubicBezTo>
                    <a:cubicBezTo>
                      <a:pt x="46" y="153"/>
                      <a:pt x="44" y="149"/>
                      <a:pt x="46" y="148"/>
                    </a:cubicBezTo>
                    <a:cubicBezTo>
                      <a:pt x="48" y="147"/>
                      <a:pt x="47" y="144"/>
                      <a:pt x="48" y="141"/>
                    </a:cubicBezTo>
                    <a:cubicBezTo>
                      <a:pt x="49" y="139"/>
                      <a:pt x="46" y="137"/>
                      <a:pt x="46" y="134"/>
                    </a:cubicBezTo>
                    <a:cubicBezTo>
                      <a:pt x="46" y="132"/>
                      <a:pt x="46" y="129"/>
                      <a:pt x="43" y="127"/>
                    </a:cubicBezTo>
                    <a:cubicBezTo>
                      <a:pt x="41" y="124"/>
                      <a:pt x="42" y="118"/>
                      <a:pt x="43" y="118"/>
                    </a:cubicBezTo>
                    <a:cubicBezTo>
                      <a:pt x="45" y="118"/>
                      <a:pt x="44" y="112"/>
                      <a:pt x="47" y="112"/>
                    </a:cubicBezTo>
                    <a:cubicBezTo>
                      <a:pt x="49" y="111"/>
                      <a:pt x="48" y="107"/>
                      <a:pt x="47" y="103"/>
                    </a:cubicBezTo>
                    <a:cubicBezTo>
                      <a:pt x="46" y="100"/>
                      <a:pt x="49" y="102"/>
                      <a:pt x="49" y="99"/>
                    </a:cubicBezTo>
                    <a:cubicBezTo>
                      <a:pt x="49" y="96"/>
                      <a:pt x="50" y="93"/>
                      <a:pt x="53" y="92"/>
                    </a:cubicBezTo>
                    <a:cubicBezTo>
                      <a:pt x="55" y="91"/>
                      <a:pt x="55" y="87"/>
                      <a:pt x="55" y="85"/>
                    </a:cubicBezTo>
                    <a:cubicBezTo>
                      <a:pt x="55" y="83"/>
                      <a:pt x="58" y="83"/>
                      <a:pt x="60" y="81"/>
                    </a:cubicBezTo>
                    <a:cubicBezTo>
                      <a:pt x="62" y="80"/>
                      <a:pt x="57" y="77"/>
                      <a:pt x="60" y="76"/>
                    </a:cubicBezTo>
                    <a:cubicBezTo>
                      <a:pt x="62" y="74"/>
                      <a:pt x="57" y="68"/>
                      <a:pt x="59" y="67"/>
                    </a:cubicBezTo>
                    <a:cubicBezTo>
                      <a:pt x="60" y="66"/>
                      <a:pt x="59" y="63"/>
                      <a:pt x="59" y="61"/>
                    </a:cubicBezTo>
                    <a:cubicBezTo>
                      <a:pt x="60" y="59"/>
                      <a:pt x="68" y="56"/>
                      <a:pt x="69" y="54"/>
                    </a:cubicBezTo>
                    <a:cubicBezTo>
                      <a:pt x="69" y="53"/>
                      <a:pt x="70" y="49"/>
                      <a:pt x="70" y="45"/>
                    </a:cubicBezTo>
                    <a:cubicBezTo>
                      <a:pt x="68" y="46"/>
                      <a:pt x="66" y="47"/>
                      <a:pt x="65" y="46"/>
                    </a:cubicBezTo>
                    <a:cubicBezTo>
                      <a:pt x="64" y="45"/>
                      <a:pt x="65" y="40"/>
                      <a:pt x="63" y="37"/>
                    </a:cubicBezTo>
                    <a:cubicBezTo>
                      <a:pt x="61" y="35"/>
                      <a:pt x="63" y="31"/>
                      <a:pt x="60" y="30"/>
                    </a:cubicBezTo>
                    <a:cubicBezTo>
                      <a:pt x="58" y="29"/>
                      <a:pt x="56" y="25"/>
                      <a:pt x="58" y="23"/>
                    </a:cubicBezTo>
                    <a:cubicBezTo>
                      <a:pt x="59" y="22"/>
                      <a:pt x="58" y="19"/>
                      <a:pt x="59" y="18"/>
                    </a:cubicBezTo>
                    <a:cubicBezTo>
                      <a:pt x="61" y="16"/>
                      <a:pt x="58" y="16"/>
                      <a:pt x="56" y="13"/>
                    </a:cubicBezTo>
                    <a:cubicBezTo>
                      <a:pt x="54" y="10"/>
                      <a:pt x="57" y="7"/>
                      <a:pt x="54" y="5"/>
                    </a:cubicBezTo>
                    <a:cubicBezTo>
                      <a:pt x="51" y="2"/>
                      <a:pt x="51" y="0"/>
                      <a:pt x="50" y="1"/>
                    </a:cubicBezTo>
                    <a:cubicBezTo>
                      <a:pt x="50" y="2"/>
                      <a:pt x="49" y="6"/>
                      <a:pt x="47" y="7"/>
                    </a:cubicBezTo>
                    <a:cubicBezTo>
                      <a:pt x="47" y="8"/>
                      <a:pt x="46" y="8"/>
                      <a:pt x="45" y="9"/>
                    </a:cubicBezTo>
                    <a:cubicBezTo>
                      <a:pt x="45" y="11"/>
                      <a:pt x="45" y="14"/>
                      <a:pt x="45" y="16"/>
                    </a:cubicBezTo>
                    <a:cubicBezTo>
                      <a:pt x="46" y="19"/>
                      <a:pt x="47" y="32"/>
                      <a:pt x="46" y="37"/>
                    </a:cubicBezTo>
                    <a:cubicBezTo>
                      <a:pt x="45" y="42"/>
                      <a:pt x="44" y="46"/>
                      <a:pt x="43" y="49"/>
                    </a:cubicBezTo>
                    <a:cubicBezTo>
                      <a:pt x="42" y="52"/>
                      <a:pt x="45" y="52"/>
                      <a:pt x="44" y="53"/>
                    </a:cubicBezTo>
                    <a:cubicBezTo>
                      <a:pt x="42" y="55"/>
                      <a:pt x="43" y="58"/>
                      <a:pt x="43" y="64"/>
                    </a:cubicBezTo>
                    <a:cubicBezTo>
                      <a:pt x="43" y="70"/>
                      <a:pt x="40" y="79"/>
                      <a:pt x="39" y="83"/>
                    </a:cubicBezTo>
                    <a:cubicBezTo>
                      <a:pt x="39" y="86"/>
                      <a:pt x="37" y="87"/>
                      <a:pt x="37" y="91"/>
                    </a:cubicBezTo>
                    <a:cubicBezTo>
                      <a:pt x="38" y="94"/>
                      <a:pt x="36" y="96"/>
                      <a:pt x="34" y="98"/>
                    </a:cubicBezTo>
                    <a:cubicBezTo>
                      <a:pt x="32" y="99"/>
                      <a:pt x="37" y="105"/>
                      <a:pt x="37" y="107"/>
                    </a:cubicBezTo>
                    <a:cubicBezTo>
                      <a:pt x="36" y="110"/>
                      <a:pt x="33" y="112"/>
                      <a:pt x="34" y="116"/>
                    </a:cubicBezTo>
                    <a:cubicBezTo>
                      <a:pt x="35" y="122"/>
                      <a:pt x="34" y="132"/>
                      <a:pt x="34" y="134"/>
                    </a:cubicBezTo>
                    <a:cubicBezTo>
                      <a:pt x="34" y="136"/>
                      <a:pt x="31" y="136"/>
                      <a:pt x="32" y="139"/>
                    </a:cubicBezTo>
                    <a:cubicBezTo>
                      <a:pt x="32" y="143"/>
                      <a:pt x="30" y="144"/>
                      <a:pt x="29" y="149"/>
                    </a:cubicBezTo>
                    <a:cubicBezTo>
                      <a:pt x="28" y="155"/>
                      <a:pt x="24" y="162"/>
                      <a:pt x="23" y="167"/>
                    </a:cubicBezTo>
                    <a:cubicBezTo>
                      <a:pt x="21" y="171"/>
                      <a:pt x="21" y="173"/>
                      <a:pt x="19" y="173"/>
                    </a:cubicBezTo>
                    <a:cubicBezTo>
                      <a:pt x="17" y="173"/>
                      <a:pt x="16" y="175"/>
                      <a:pt x="18" y="179"/>
                    </a:cubicBezTo>
                    <a:cubicBezTo>
                      <a:pt x="20" y="182"/>
                      <a:pt x="17" y="185"/>
                      <a:pt x="19" y="189"/>
                    </a:cubicBezTo>
                    <a:cubicBezTo>
                      <a:pt x="21" y="193"/>
                      <a:pt x="20" y="194"/>
                      <a:pt x="19" y="197"/>
                    </a:cubicBezTo>
                    <a:cubicBezTo>
                      <a:pt x="18" y="201"/>
                      <a:pt x="17" y="201"/>
                      <a:pt x="17" y="204"/>
                    </a:cubicBezTo>
                    <a:cubicBezTo>
                      <a:pt x="17" y="207"/>
                      <a:pt x="14" y="210"/>
                      <a:pt x="16" y="213"/>
                    </a:cubicBezTo>
                    <a:cubicBezTo>
                      <a:pt x="17" y="217"/>
                      <a:pt x="17" y="218"/>
                      <a:pt x="15" y="218"/>
                    </a:cubicBezTo>
                    <a:cubicBezTo>
                      <a:pt x="13" y="218"/>
                      <a:pt x="12" y="221"/>
                      <a:pt x="12" y="227"/>
                    </a:cubicBezTo>
                    <a:cubicBezTo>
                      <a:pt x="11" y="233"/>
                      <a:pt x="11" y="233"/>
                      <a:pt x="15" y="232"/>
                    </a:cubicBezTo>
                    <a:cubicBezTo>
                      <a:pt x="20" y="232"/>
                      <a:pt x="16" y="218"/>
                      <a:pt x="19" y="218"/>
                    </a:cubicBezTo>
                    <a:cubicBezTo>
                      <a:pt x="22" y="218"/>
                      <a:pt x="19" y="216"/>
                      <a:pt x="22" y="215"/>
                    </a:cubicBezTo>
                    <a:cubicBezTo>
                      <a:pt x="25" y="214"/>
                      <a:pt x="22" y="217"/>
                      <a:pt x="24" y="218"/>
                    </a:cubicBezTo>
                    <a:cubicBezTo>
                      <a:pt x="26" y="218"/>
                      <a:pt x="27" y="220"/>
                      <a:pt x="25" y="221"/>
                    </a:cubicBezTo>
                    <a:cubicBezTo>
                      <a:pt x="22" y="223"/>
                      <a:pt x="25" y="226"/>
                      <a:pt x="24" y="228"/>
                    </a:cubicBezTo>
                    <a:cubicBezTo>
                      <a:pt x="23" y="230"/>
                      <a:pt x="21" y="232"/>
                      <a:pt x="22" y="235"/>
                    </a:cubicBezTo>
                    <a:cubicBezTo>
                      <a:pt x="23" y="237"/>
                      <a:pt x="21" y="237"/>
                      <a:pt x="21" y="240"/>
                    </a:cubicBezTo>
                    <a:cubicBezTo>
                      <a:pt x="20" y="243"/>
                      <a:pt x="22" y="243"/>
                      <a:pt x="21" y="244"/>
                    </a:cubicBezTo>
                    <a:cubicBezTo>
                      <a:pt x="20" y="244"/>
                      <a:pt x="23" y="247"/>
                      <a:pt x="21" y="247"/>
                    </a:cubicBezTo>
                    <a:cubicBezTo>
                      <a:pt x="19" y="247"/>
                      <a:pt x="20" y="250"/>
                      <a:pt x="21" y="252"/>
                    </a:cubicBezTo>
                    <a:cubicBezTo>
                      <a:pt x="22" y="254"/>
                      <a:pt x="19" y="253"/>
                      <a:pt x="17" y="254"/>
                    </a:cubicBezTo>
                    <a:cubicBezTo>
                      <a:pt x="15" y="256"/>
                      <a:pt x="19" y="258"/>
                      <a:pt x="18" y="260"/>
                    </a:cubicBezTo>
                    <a:cubicBezTo>
                      <a:pt x="17" y="262"/>
                      <a:pt x="14" y="259"/>
                      <a:pt x="13" y="257"/>
                    </a:cubicBezTo>
                    <a:cubicBezTo>
                      <a:pt x="11" y="256"/>
                      <a:pt x="15" y="254"/>
                      <a:pt x="16" y="252"/>
                    </a:cubicBezTo>
                    <a:cubicBezTo>
                      <a:pt x="18" y="250"/>
                      <a:pt x="15" y="245"/>
                      <a:pt x="12" y="246"/>
                    </a:cubicBezTo>
                    <a:cubicBezTo>
                      <a:pt x="9" y="247"/>
                      <a:pt x="15" y="250"/>
                      <a:pt x="15" y="253"/>
                    </a:cubicBezTo>
                    <a:cubicBezTo>
                      <a:pt x="15" y="255"/>
                      <a:pt x="10" y="252"/>
                      <a:pt x="10" y="255"/>
                    </a:cubicBezTo>
                    <a:cubicBezTo>
                      <a:pt x="10" y="257"/>
                      <a:pt x="7" y="256"/>
                      <a:pt x="6" y="258"/>
                    </a:cubicBezTo>
                    <a:cubicBezTo>
                      <a:pt x="4" y="260"/>
                      <a:pt x="8" y="261"/>
                      <a:pt x="6" y="262"/>
                    </a:cubicBezTo>
                    <a:cubicBezTo>
                      <a:pt x="4" y="262"/>
                      <a:pt x="1" y="265"/>
                      <a:pt x="1" y="267"/>
                    </a:cubicBezTo>
                    <a:cubicBezTo>
                      <a:pt x="1" y="269"/>
                      <a:pt x="3" y="269"/>
                      <a:pt x="3" y="267"/>
                    </a:cubicBezTo>
                    <a:cubicBezTo>
                      <a:pt x="3" y="265"/>
                      <a:pt x="6" y="265"/>
                      <a:pt x="7" y="267"/>
                    </a:cubicBezTo>
                    <a:cubicBezTo>
                      <a:pt x="8" y="269"/>
                      <a:pt x="9" y="267"/>
                      <a:pt x="11" y="268"/>
                    </a:cubicBezTo>
                    <a:cubicBezTo>
                      <a:pt x="14" y="268"/>
                      <a:pt x="13" y="272"/>
                      <a:pt x="12" y="272"/>
                    </a:cubicBezTo>
                    <a:cubicBezTo>
                      <a:pt x="11" y="272"/>
                      <a:pt x="9" y="274"/>
                      <a:pt x="10" y="277"/>
                    </a:cubicBezTo>
                    <a:cubicBezTo>
                      <a:pt x="10" y="279"/>
                      <a:pt x="15" y="277"/>
                      <a:pt x="17" y="277"/>
                    </a:cubicBezTo>
                    <a:cubicBezTo>
                      <a:pt x="19" y="278"/>
                      <a:pt x="18" y="282"/>
                      <a:pt x="17" y="281"/>
                    </a:cubicBezTo>
                    <a:cubicBezTo>
                      <a:pt x="16" y="279"/>
                      <a:pt x="13" y="277"/>
                      <a:pt x="12" y="279"/>
                    </a:cubicBezTo>
                    <a:cubicBezTo>
                      <a:pt x="11" y="282"/>
                      <a:pt x="9" y="280"/>
                      <a:pt x="7" y="280"/>
                    </a:cubicBezTo>
                    <a:cubicBezTo>
                      <a:pt x="5" y="279"/>
                      <a:pt x="0" y="283"/>
                      <a:pt x="2" y="284"/>
                    </a:cubicBezTo>
                    <a:cubicBezTo>
                      <a:pt x="4" y="286"/>
                      <a:pt x="4" y="288"/>
                      <a:pt x="5" y="288"/>
                    </a:cubicBezTo>
                    <a:cubicBezTo>
                      <a:pt x="6" y="288"/>
                      <a:pt x="8" y="287"/>
                      <a:pt x="9" y="285"/>
                    </a:cubicBezTo>
                    <a:cubicBezTo>
                      <a:pt x="9" y="284"/>
                      <a:pt x="12" y="282"/>
                      <a:pt x="12" y="286"/>
                    </a:cubicBezTo>
                    <a:cubicBezTo>
                      <a:pt x="12" y="289"/>
                      <a:pt x="9" y="287"/>
                      <a:pt x="8" y="289"/>
                    </a:cubicBezTo>
                    <a:cubicBezTo>
                      <a:pt x="7" y="291"/>
                      <a:pt x="6" y="292"/>
                      <a:pt x="4" y="294"/>
                    </a:cubicBezTo>
                    <a:cubicBezTo>
                      <a:pt x="2" y="295"/>
                      <a:pt x="4" y="298"/>
                      <a:pt x="5" y="297"/>
                    </a:cubicBezTo>
                    <a:cubicBezTo>
                      <a:pt x="7" y="296"/>
                      <a:pt x="5" y="299"/>
                      <a:pt x="7" y="300"/>
                    </a:cubicBezTo>
                    <a:cubicBezTo>
                      <a:pt x="10" y="300"/>
                      <a:pt x="10" y="298"/>
                      <a:pt x="10" y="297"/>
                    </a:cubicBezTo>
                    <a:cubicBezTo>
                      <a:pt x="9" y="295"/>
                      <a:pt x="11" y="291"/>
                      <a:pt x="13" y="293"/>
                    </a:cubicBezTo>
                    <a:cubicBezTo>
                      <a:pt x="15" y="295"/>
                      <a:pt x="12" y="297"/>
                      <a:pt x="12" y="298"/>
                    </a:cubicBezTo>
                    <a:cubicBezTo>
                      <a:pt x="12" y="300"/>
                      <a:pt x="11" y="303"/>
                      <a:pt x="11" y="305"/>
                    </a:cubicBezTo>
                    <a:cubicBezTo>
                      <a:pt x="11" y="307"/>
                      <a:pt x="9" y="305"/>
                      <a:pt x="9" y="308"/>
                    </a:cubicBezTo>
                    <a:cubicBezTo>
                      <a:pt x="9" y="310"/>
                      <a:pt x="4" y="308"/>
                      <a:pt x="6" y="310"/>
                    </a:cubicBezTo>
                    <a:cubicBezTo>
                      <a:pt x="8" y="311"/>
                      <a:pt x="5" y="313"/>
                      <a:pt x="6" y="315"/>
                    </a:cubicBezTo>
                    <a:cubicBezTo>
                      <a:pt x="7" y="316"/>
                      <a:pt x="8" y="313"/>
                      <a:pt x="10" y="313"/>
                    </a:cubicBezTo>
                    <a:cubicBezTo>
                      <a:pt x="12" y="314"/>
                      <a:pt x="12" y="315"/>
                      <a:pt x="14" y="313"/>
                    </a:cubicBezTo>
                    <a:cubicBezTo>
                      <a:pt x="17" y="312"/>
                      <a:pt x="18" y="315"/>
                      <a:pt x="16" y="316"/>
                    </a:cubicBezTo>
                    <a:cubicBezTo>
                      <a:pt x="14" y="317"/>
                      <a:pt x="11" y="320"/>
                      <a:pt x="12" y="320"/>
                    </a:cubicBezTo>
                    <a:cubicBezTo>
                      <a:pt x="13" y="320"/>
                      <a:pt x="16" y="318"/>
                      <a:pt x="17" y="320"/>
                    </a:cubicBezTo>
                    <a:cubicBezTo>
                      <a:pt x="18" y="323"/>
                      <a:pt x="20" y="322"/>
                      <a:pt x="20" y="320"/>
                    </a:cubicBezTo>
                    <a:cubicBezTo>
                      <a:pt x="20" y="317"/>
                      <a:pt x="24" y="319"/>
                      <a:pt x="25" y="321"/>
                    </a:cubicBezTo>
                    <a:cubicBezTo>
                      <a:pt x="26" y="323"/>
                      <a:pt x="20" y="325"/>
                      <a:pt x="18" y="324"/>
                    </a:cubicBezTo>
                    <a:cubicBezTo>
                      <a:pt x="15" y="324"/>
                      <a:pt x="14" y="327"/>
                      <a:pt x="15" y="329"/>
                    </a:cubicBezTo>
                    <a:cubicBezTo>
                      <a:pt x="17" y="331"/>
                      <a:pt x="19" y="329"/>
                      <a:pt x="21" y="327"/>
                    </a:cubicBezTo>
                    <a:cubicBezTo>
                      <a:pt x="23" y="325"/>
                      <a:pt x="33" y="326"/>
                      <a:pt x="34" y="328"/>
                    </a:cubicBezTo>
                    <a:cubicBezTo>
                      <a:pt x="34" y="330"/>
                      <a:pt x="29" y="328"/>
                      <a:pt x="29" y="329"/>
                    </a:cubicBezTo>
                    <a:cubicBezTo>
                      <a:pt x="28" y="331"/>
                      <a:pt x="24" y="332"/>
                      <a:pt x="24" y="330"/>
                    </a:cubicBezTo>
                    <a:cubicBezTo>
                      <a:pt x="23" y="329"/>
                      <a:pt x="19" y="331"/>
                      <a:pt x="19" y="333"/>
                    </a:cubicBezTo>
                    <a:cubicBezTo>
                      <a:pt x="19" y="335"/>
                      <a:pt x="16" y="335"/>
                      <a:pt x="19" y="336"/>
                    </a:cubicBezTo>
                    <a:cubicBezTo>
                      <a:pt x="23" y="337"/>
                      <a:pt x="22" y="333"/>
                      <a:pt x="27" y="333"/>
                    </a:cubicBezTo>
                    <a:cubicBezTo>
                      <a:pt x="32" y="334"/>
                      <a:pt x="34" y="329"/>
                      <a:pt x="36" y="331"/>
                    </a:cubicBezTo>
                    <a:cubicBezTo>
                      <a:pt x="37" y="334"/>
                      <a:pt x="32" y="337"/>
                      <a:pt x="30" y="335"/>
                    </a:cubicBezTo>
                    <a:cubicBezTo>
                      <a:pt x="28" y="333"/>
                      <a:pt x="25" y="336"/>
                      <a:pt x="26" y="339"/>
                    </a:cubicBezTo>
                    <a:cubicBezTo>
                      <a:pt x="26" y="341"/>
                      <a:pt x="20" y="338"/>
                      <a:pt x="17" y="338"/>
                    </a:cubicBezTo>
                    <a:cubicBezTo>
                      <a:pt x="14" y="337"/>
                      <a:pt x="15" y="340"/>
                      <a:pt x="18" y="343"/>
                    </a:cubicBezTo>
                    <a:cubicBezTo>
                      <a:pt x="20" y="346"/>
                      <a:pt x="22" y="343"/>
                      <a:pt x="25" y="345"/>
                    </a:cubicBezTo>
                    <a:cubicBezTo>
                      <a:pt x="28" y="347"/>
                      <a:pt x="28" y="349"/>
                      <a:pt x="30" y="347"/>
                    </a:cubicBezTo>
                    <a:cubicBezTo>
                      <a:pt x="32" y="345"/>
                      <a:pt x="30" y="345"/>
                      <a:pt x="29" y="344"/>
                    </a:cubicBezTo>
                    <a:cubicBezTo>
                      <a:pt x="27" y="343"/>
                      <a:pt x="28" y="340"/>
                      <a:pt x="32" y="342"/>
                    </a:cubicBezTo>
                    <a:cubicBezTo>
                      <a:pt x="35" y="343"/>
                      <a:pt x="39" y="340"/>
                      <a:pt x="38" y="336"/>
                    </a:cubicBezTo>
                    <a:cubicBezTo>
                      <a:pt x="37" y="332"/>
                      <a:pt x="41" y="330"/>
                      <a:pt x="45" y="328"/>
                    </a:cubicBezTo>
                    <a:cubicBezTo>
                      <a:pt x="49" y="327"/>
                      <a:pt x="47" y="331"/>
                      <a:pt x="44" y="332"/>
                    </a:cubicBezTo>
                    <a:cubicBezTo>
                      <a:pt x="41" y="334"/>
                      <a:pt x="41" y="335"/>
                      <a:pt x="43" y="337"/>
                    </a:cubicBezTo>
                    <a:cubicBezTo>
                      <a:pt x="45" y="339"/>
                      <a:pt x="48" y="335"/>
                      <a:pt x="50" y="337"/>
                    </a:cubicBezTo>
                    <a:cubicBezTo>
                      <a:pt x="52" y="339"/>
                      <a:pt x="47" y="339"/>
                      <a:pt x="46" y="341"/>
                    </a:cubicBezTo>
                    <a:cubicBezTo>
                      <a:pt x="45" y="343"/>
                      <a:pt x="49" y="345"/>
                      <a:pt x="46" y="347"/>
                    </a:cubicBezTo>
                    <a:cubicBezTo>
                      <a:pt x="43" y="348"/>
                      <a:pt x="45" y="341"/>
                      <a:pt x="43" y="340"/>
                    </a:cubicBezTo>
                    <a:cubicBezTo>
                      <a:pt x="41" y="339"/>
                      <a:pt x="39" y="341"/>
                      <a:pt x="41" y="345"/>
                    </a:cubicBezTo>
                    <a:cubicBezTo>
                      <a:pt x="43" y="349"/>
                      <a:pt x="39" y="346"/>
                      <a:pt x="37" y="344"/>
                    </a:cubicBezTo>
                    <a:cubicBezTo>
                      <a:pt x="35" y="342"/>
                      <a:pt x="33" y="344"/>
                      <a:pt x="35" y="347"/>
                    </a:cubicBezTo>
                    <a:cubicBezTo>
                      <a:pt x="37" y="349"/>
                      <a:pt x="31" y="346"/>
                      <a:pt x="31" y="350"/>
                    </a:cubicBezTo>
                    <a:cubicBezTo>
                      <a:pt x="31" y="353"/>
                      <a:pt x="34" y="350"/>
                      <a:pt x="37" y="351"/>
                    </a:cubicBezTo>
                    <a:cubicBezTo>
                      <a:pt x="40" y="352"/>
                      <a:pt x="39" y="356"/>
                      <a:pt x="41" y="358"/>
                    </a:cubicBezTo>
                    <a:cubicBezTo>
                      <a:pt x="43" y="360"/>
                      <a:pt x="41" y="353"/>
                      <a:pt x="44" y="352"/>
                    </a:cubicBezTo>
                    <a:cubicBezTo>
                      <a:pt x="46" y="351"/>
                      <a:pt x="44" y="358"/>
                      <a:pt x="50" y="359"/>
                    </a:cubicBezTo>
                    <a:cubicBezTo>
                      <a:pt x="55" y="361"/>
                      <a:pt x="50" y="358"/>
                      <a:pt x="52" y="357"/>
                    </a:cubicBezTo>
                    <a:cubicBezTo>
                      <a:pt x="55" y="355"/>
                      <a:pt x="58" y="362"/>
                      <a:pt x="61" y="363"/>
                    </a:cubicBezTo>
                    <a:cubicBezTo>
                      <a:pt x="63" y="363"/>
                      <a:pt x="62" y="359"/>
                      <a:pt x="60" y="357"/>
                    </a:cubicBezTo>
                    <a:cubicBezTo>
                      <a:pt x="58" y="355"/>
                      <a:pt x="62" y="356"/>
                      <a:pt x="64" y="357"/>
                    </a:cubicBezTo>
                    <a:cubicBezTo>
                      <a:pt x="67" y="358"/>
                      <a:pt x="69" y="359"/>
                      <a:pt x="70" y="357"/>
                    </a:cubicBezTo>
                    <a:cubicBezTo>
                      <a:pt x="70" y="356"/>
                      <a:pt x="70" y="356"/>
                      <a:pt x="71" y="356"/>
                    </a:cubicBezTo>
                    <a:cubicBezTo>
                      <a:pt x="68" y="354"/>
                      <a:pt x="59" y="356"/>
                      <a:pt x="57" y="355"/>
                    </a:cubicBezTo>
                    <a:cubicBezTo>
                      <a:pt x="56" y="355"/>
                      <a:pt x="57" y="334"/>
                      <a:pt x="57" y="329"/>
                    </a:cubicBezTo>
                    <a:cubicBezTo>
                      <a:pt x="57" y="329"/>
                      <a:pt x="57" y="329"/>
                      <a:pt x="57" y="329"/>
                    </a:cubicBezTo>
                    <a:cubicBezTo>
                      <a:pt x="55" y="329"/>
                      <a:pt x="49" y="329"/>
                      <a:pt x="50" y="326"/>
                    </a:cubicBezTo>
                    <a:cubicBezTo>
                      <a:pt x="50" y="325"/>
                      <a:pt x="51" y="325"/>
                      <a:pt x="51" y="325"/>
                    </a:cubicBezTo>
                    <a:cubicBezTo>
                      <a:pt x="50" y="324"/>
                      <a:pt x="49" y="323"/>
                      <a:pt x="47" y="322"/>
                    </a:cubicBezTo>
                    <a:cubicBezTo>
                      <a:pt x="43" y="321"/>
                      <a:pt x="35" y="322"/>
                      <a:pt x="33" y="32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4" name="Freeform 111">
                <a:extLst>
                  <a:ext uri="{FF2B5EF4-FFF2-40B4-BE49-F238E27FC236}">
                    <a16:creationId xmlns:a16="http://schemas.microsoft.com/office/drawing/2014/main" id="{B03CEC0E-7512-4246-8F1E-DA7C4B7A2B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5291" y="4454923"/>
                <a:ext cx="163114" cy="166878"/>
              </a:xfrm>
              <a:custGeom>
                <a:avLst/>
                <a:gdLst>
                  <a:gd name="T0" fmla="*/ 69 w 71"/>
                  <a:gd name="T1" fmla="*/ 39 h 72"/>
                  <a:gd name="T2" fmla="*/ 62 w 71"/>
                  <a:gd name="T3" fmla="*/ 40 h 72"/>
                  <a:gd name="T4" fmla="*/ 58 w 71"/>
                  <a:gd name="T5" fmla="*/ 31 h 72"/>
                  <a:gd name="T6" fmla="*/ 52 w 71"/>
                  <a:gd name="T7" fmla="*/ 24 h 72"/>
                  <a:gd name="T8" fmla="*/ 45 w 71"/>
                  <a:gd name="T9" fmla="*/ 24 h 72"/>
                  <a:gd name="T10" fmla="*/ 41 w 71"/>
                  <a:gd name="T11" fmla="*/ 17 h 72"/>
                  <a:gd name="T12" fmla="*/ 40 w 71"/>
                  <a:gd name="T13" fmla="*/ 7 h 72"/>
                  <a:gd name="T14" fmla="*/ 40 w 71"/>
                  <a:gd name="T15" fmla="*/ 3 h 72"/>
                  <a:gd name="T16" fmla="*/ 38 w 71"/>
                  <a:gd name="T17" fmla="*/ 3 h 72"/>
                  <a:gd name="T18" fmla="*/ 31 w 71"/>
                  <a:gd name="T19" fmla="*/ 0 h 72"/>
                  <a:gd name="T20" fmla="*/ 21 w 71"/>
                  <a:gd name="T21" fmla="*/ 1 h 72"/>
                  <a:gd name="T22" fmla="*/ 12 w 71"/>
                  <a:gd name="T23" fmla="*/ 3 h 72"/>
                  <a:gd name="T24" fmla="*/ 5 w 71"/>
                  <a:gd name="T25" fmla="*/ 10 h 72"/>
                  <a:gd name="T26" fmla="*/ 3 w 71"/>
                  <a:gd name="T27" fmla="*/ 23 h 72"/>
                  <a:gd name="T28" fmla="*/ 0 w 71"/>
                  <a:gd name="T29" fmla="*/ 23 h 72"/>
                  <a:gd name="T30" fmla="*/ 11 w 71"/>
                  <a:gd name="T31" fmla="*/ 34 h 72"/>
                  <a:gd name="T32" fmla="*/ 20 w 71"/>
                  <a:gd name="T33" fmla="*/ 40 h 72"/>
                  <a:gd name="T34" fmla="*/ 29 w 71"/>
                  <a:gd name="T35" fmla="*/ 44 h 72"/>
                  <a:gd name="T36" fmla="*/ 44 w 71"/>
                  <a:gd name="T37" fmla="*/ 52 h 72"/>
                  <a:gd name="T38" fmla="*/ 38 w 71"/>
                  <a:gd name="T39" fmla="*/ 62 h 72"/>
                  <a:gd name="T40" fmla="*/ 35 w 71"/>
                  <a:gd name="T41" fmla="*/ 68 h 72"/>
                  <a:gd name="T42" fmla="*/ 43 w 71"/>
                  <a:gd name="T43" fmla="*/ 69 h 72"/>
                  <a:gd name="T44" fmla="*/ 50 w 71"/>
                  <a:gd name="T45" fmla="*/ 70 h 72"/>
                  <a:gd name="T46" fmla="*/ 57 w 71"/>
                  <a:gd name="T47" fmla="*/ 69 h 72"/>
                  <a:gd name="T48" fmla="*/ 64 w 71"/>
                  <a:gd name="T49" fmla="*/ 66 h 72"/>
                  <a:gd name="T50" fmla="*/ 68 w 71"/>
                  <a:gd name="T51" fmla="*/ 54 h 72"/>
                  <a:gd name="T52" fmla="*/ 69 w 71"/>
                  <a:gd name="T53" fmla="*/ 39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1" h="72">
                    <a:moveTo>
                      <a:pt x="69" y="39"/>
                    </a:moveTo>
                    <a:cubicBezTo>
                      <a:pt x="66" y="37"/>
                      <a:pt x="63" y="40"/>
                      <a:pt x="62" y="40"/>
                    </a:cubicBezTo>
                    <a:cubicBezTo>
                      <a:pt x="61" y="40"/>
                      <a:pt x="59" y="34"/>
                      <a:pt x="58" y="31"/>
                    </a:cubicBezTo>
                    <a:cubicBezTo>
                      <a:pt x="57" y="28"/>
                      <a:pt x="54" y="23"/>
                      <a:pt x="52" y="24"/>
                    </a:cubicBezTo>
                    <a:cubicBezTo>
                      <a:pt x="50" y="26"/>
                      <a:pt x="51" y="24"/>
                      <a:pt x="45" y="24"/>
                    </a:cubicBezTo>
                    <a:cubicBezTo>
                      <a:pt x="40" y="23"/>
                      <a:pt x="40" y="22"/>
                      <a:pt x="41" y="17"/>
                    </a:cubicBezTo>
                    <a:cubicBezTo>
                      <a:pt x="43" y="12"/>
                      <a:pt x="38" y="8"/>
                      <a:pt x="40" y="7"/>
                    </a:cubicBezTo>
                    <a:cubicBezTo>
                      <a:pt x="41" y="6"/>
                      <a:pt x="41" y="5"/>
                      <a:pt x="40" y="3"/>
                    </a:cubicBezTo>
                    <a:cubicBezTo>
                      <a:pt x="39" y="3"/>
                      <a:pt x="39" y="3"/>
                      <a:pt x="38" y="3"/>
                    </a:cubicBezTo>
                    <a:cubicBezTo>
                      <a:pt x="36" y="3"/>
                      <a:pt x="34" y="0"/>
                      <a:pt x="31" y="0"/>
                    </a:cubicBezTo>
                    <a:cubicBezTo>
                      <a:pt x="27" y="0"/>
                      <a:pt x="24" y="0"/>
                      <a:pt x="21" y="1"/>
                    </a:cubicBezTo>
                    <a:cubicBezTo>
                      <a:pt x="19" y="2"/>
                      <a:pt x="14" y="1"/>
                      <a:pt x="12" y="3"/>
                    </a:cubicBezTo>
                    <a:cubicBezTo>
                      <a:pt x="9" y="5"/>
                      <a:pt x="5" y="9"/>
                      <a:pt x="5" y="10"/>
                    </a:cubicBezTo>
                    <a:cubicBezTo>
                      <a:pt x="6" y="12"/>
                      <a:pt x="4" y="22"/>
                      <a:pt x="3" y="23"/>
                    </a:cubicBezTo>
                    <a:cubicBezTo>
                      <a:pt x="3" y="23"/>
                      <a:pt x="1" y="23"/>
                      <a:pt x="0" y="23"/>
                    </a:cubicBezTo>
                    <a:cubicBezTo>
                      <a:pt x="2" y="26"/>
                      <a:pt x="8" y="32"/>
                      <a:pt x="11" y="34"/>
                    </a:cubicBezTo>
                    <a:cubicBezTo>
                      <a:pt x="16" y="37"/>
                      <a:pt x="15" y="39"/>
                      <a:pt x="20" y="40"/>
                    </a:cubicBezTo>
                    <a:cubicBezTo>
                      <a:pt x="25" y="40"/>
                      <a:pt x="28" y="42"/>
                      <a:pt x="29" y="44"/>
                    </a:cubicBezTo>
                    <a:cubicBezTo>
                      <a:pt x="31" y="46"/>
                      <a:pt x="43" y="50"/>
                      <a:pt x="44" y="52"/>
                    </a:cubicBezTo>
                    <a:cubicBezTo>
                      <a:pt x="45" y="53"/>
                      <a:pt x="38" y="58"/>
                      <a:pt x="38" y="62"/>
                    </a:cubicBezTo>
                    <a:cubicBezTo>
                      <a:pt x="38" y="67"/>
                      <a:pt x="35" y="66"/>
                      <a:pt x="35" y="68"/>
                    </a:cubicBezTo>
                    <a:cubicBezTo>
                      <a:pt x="35" y="69"/>
                      <a:pt x="41" y="68"/>
                      <a:pt x="43" y="69"/>
                    </a:cubicBezTo>
                    <a:cubicBezTo>
                      <a:pt x="45" y="71"/>
                      <a:pt x="48" y="69"/>
                      <a:pt x="50" y="70"/>
                    </a:cubicBezTo>
                    <a:cubicBezTo>
                      <a:pt x="53" y="72"/>
                      <a:pt x="56" y="68"/>
                      <a:pt x="57" y="69"/>
                    </a:cubicBezTo>
                    <a:cubicBezTo>
                      <a:pt x="59" y="69"/>
                      <a:pt x="61" y="65"/>
                      <a:pt x="64" y="66"/>
                    </a:cubicBezTo>
                    <a:cubicBezTo>
                      <a:pt x="66" y="66"/>
                      <a:pt x="68" y="57"/>
                      <a:pt x="68" y="54"/>
                    </a:cubicBezTo>
                    <a:cubicBezTo>
                      <a:pt x="67" y="50"/>
                      <a:pt x="71" y="40"/>
                      <a:pt x="69" y="3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5" name="Freeform 112">
                <a:extLst>
                  <a:ext uri="{FF2B5EF4-FFF2-40B4-BE49-F238E27FC236}">
                    <a16:creationId xmlns:a16="http://schemas.microsoft.com/office/drawing/2014/main" id="{6B5C1B4F-ECCE-4281-8A4B-D501B43624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13665" y="3881514"/>
                <a:ext cx="62736" cy="50189"/>
              </a:xfrm>
              <a:custGeom>
                <a:avLst/>
                <a:gdLst>
                  <a:gd name="T0" fmla="*/ 26 w 27"/>
                  <a:gd name="T1" fmla="*/ 17 h 22"/>
                  <a:gd name="T2" fmla="*/ 27 w 27"/>
                  <a:gd name="T3" fmla="*/ 12 h 22"/>
                  <a:gd name="T4" fmla="*/ 19 w 27"/>
                  <a:gd name="T5" fmla="*/ 2 h 22"/>
                  <a:gd name="T6" fmla="*/ 15 w 27"/>
                  <a:gd name="T7" fmla="*/ 2 h 22"/>
                  <a:gd name="T8" fmla="*/ 7 w 27"/>
                  <a:gd name="T9" fmla="*/ 0 h 22"/>
                  <a:gd name="T10" fmla="*/ 3 w 27"/>
                  <a:gd name="T11" fmla="*/ 0 h 22"/>
                  <a:gd name="T12" fmla="*/ 2 w 27"/>
                  <a:gd name="T13" fmla="*/ 3 h 22"/>
                  <a:gd name="T14" fmla="*/ 4 w 27"/>
                  <a:gd name="T15" fmla="*/ 10 h 22"/>
                  <a:gd name="T16" fmla="*/ 9 w 27"/>
                  <a:gd name="T17" fmla="*/ 9 h 22"/>
                  <a:gd name="T18" fmla="*/ 12 w 27"/>
                  <a:gd name="T19" fmla="*/ 12 h 22"/>
                  <a:gd name="T20" fmla="*/ 18 w 27"/>
                  <a:gd name="T21" fmla="*/ 17 h 22"/>
                  <a:gd name="T22" fmla="*/ 23 w 27"/>
                  <a:gd name="T23" fmla="*/ 22 h 22"/>
                  <a:gd name="T24" fmla="*/ 25 w 27"/>
                  <a:gd name="T25" fmla="*/ 22 h 22"/>
                  <a:gd name="T26" fmla="*/ 26 w 27"/>
                  <a:gd name="T27" fmla="*/ 17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7" h="22">
                    <a:moveTo>
                      <a:pt x="26" y="17"/>
                    </a:moveTo>
                    <a:cubicBezTo>
                      <a:pt x="25" y="16"/>
                      <a:pt x="26" y="14"/>
                      <a:pt x="27" y="12"/>
                    </a:cubicBezTo>
                    <a:cubicBezTo>
                      <a:pt x="24" y="9"/>
                      <a:pt x="21" y="5"/>
                      <a:pt x="19" y="2"/>
                    </a:cubicBezTo>
                    <a:cubicBezTo>
                      <a:pt x="17" y="2"/>
                      <a:pt x="16" y="2"/>
                      <a:pt x="15" y="2"/>
                    </a:cubicBezTo>
                    <a:cubicBezTo>
                      <a:pt x="13" y="0"/>
                      <a:pt x="9" y="1"/>
                      <a:pt x="7" y="0"/>
                    </a:cubicBezTo>
                    <a:cubicBezTo>
                      <a:pt x="6" y="0"/>
                      <a:pt x="4" y="0"/>
                      <a:pt x="3" y="0"/>
                    </a:cubicBezTo>
                    <a:cubicBezTo>
                      <a:pt x="3" y="2"/>
                      <a:pt x="3" y="3"/>
                      <a:pt x="2" y="3"/>
                    </a:cubicBezTo>
                    <a:cubicBezTo>
                      <a:pt x="0" y="4"/>
                      <a:pt x="0" y="9"/>
                      <a:pt x="4" y="10"/>
                    </a:cubicBezTo>
                    <a:cubicBezTo>
                      <a:pt x="8" y="12"/>
                      <a:pt x="7" y="9"/>
                      <a:pt x="9" y="9"/>
                    </a:cubicBezTo>
                    <a:cubicBezTo>
                      <a:pt x="11" y="9"/>
                      <a:pt x="11" y="12"/>
                      <a:pt x="12" y="12"/>
                    </a:cubicBezTo>
                    <a:cubicBezTo>
                      <a:pt x="14" y="12"/>
                      <a:pt x="18" y="15"/>
                      <a:pt x="18" y="17"/>
                    </a:cubicBezTo>
                    <a:cubicBezTo>
                      <a:pt x="18" y="20"/>
                      <a:pt x="20" y="22"/>
                      <a:pt x="23" y="22"/>
                    </a:cubicBezTo>
                    <a:cubicBezTo>
                      <a:pt x="23" y="22"/>
                      <a:pt x="24" y="22"/>
                      <a:pt x="25" y="22"/>
                    </a:cubicBezTo>
                    <a:cubicBezTo>
                      <a:pt x="25" y="20"/>
                      <a:pt x="26" y="18"/>
                      <a:pt x="26" y="1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6" name="Freeform 113">
                <a:extLst>
                  <a:ext uri="{FF2B5EF4-FFF2-40B4-BE49-F238E27FC236}">
                    <a16:creationId xmlns:a16="http://schemas.microsoft.com/office/drawing/2014/main" id="{E11AF6E2-AF0F-4D82-B08F-14B9C0B30A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71383" y="3906608"/>
                <a:ext cx="109161" cy="50189"/>
              </a:xfrm>
              <a:custGeom>
                <a:avLst/>
                <a:gdLst>
                  <a:gd name="T0" fmla="*/ 42 w 47"/>
                  <a:gd name="T1" fmla="*/ 6 h 22"/>
                  <a:gd name="T2" fmla="*/ 30 w 47"/>
                  <a:gd name="T3" fmla="*/ 1 h 22"/>
                  <a:gd name="T4" fmla="*/ 19 w 47"/>
                  <a:gd name="T5" fmla="*/ 5 h 22"/>
                  <a:gd name="T6" fmla="*/ 6 w 47"/>
                  <a:gd name="T7" fmla="*/ 5 h 22"/>
                  <a:gd name="T8" fmla="*/ 2 w 47"/>
                  <a:gd name="T9" fmla="*/ 1 h 22"/>
                  <a:gd name="T10" fmla="*/ 1 w 47"/>
                  <a:gd name="T11" fmla="*/ 6 h 22"/>
                  <a:gd name="T12" fmla="*/ 0 w 47"/>
                  <a:gd name="T13" fmla="*/ 11 h 22"/>
                  <a:gd name="T14" fmla="*/ 10 w 47"/>
                  <a:gd name="T15" fmla="*/ 15 h 22"/>
                  <a:gd name="T16" fmla="*/ 16 w 47"/>
                  <a:gd name="T17" fmla="*/ 19 h 22"/>
                  <a:gd name="T18" fmla="*/ 22 w 47"/>
                  <a:gd name="T19" fmla="*/ 18 h 22"/>
                  <a:gd name="T20" fmla="*/ 20 w 47"/>
                  <a:gd name="T21" fmla="*/ 13 h 22"/>
                  <a:gd name="T22" fmla="*/ 24 w 47"/>
                  <a:gd name="T23" fmla="*/ 9 h 22"/>
                  <a:gd name="T24" fmla="*/ 33 w 47"/>
                  <a:gd name="T25" fmla="*/ 6 h 22"/>
                  <a:gd name="T26" fmla="*/ 35 w 47"/>
                  <a:gd name="T27" fmla="*/ 12 h 22"/>
                  <a:gd name="T28" fmla="*/ 40 w 47"/>
                  <a:gd name="T29" fmla="*/ 20 h 22"/>
                  <a:gd name="T30" fmla="*/ 46 w 47"/>
                  <a:gd name="T31" fmla="*/ 15 h 22"/>
                  <a:gd name="T32" fmla="*/ 47 w 47"/>
                  <a:gd name="T33" fmla="*/ 13 h 22"/>
                  <a:gd name="T34" fmla="*/ 42 w 47"/>
                  <a:gd name="T35" fmla="*/ 6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7" h="22">
                    <a:moveTo>
                      <a:pt x="42" y="6"/>
                    </a:moveTo>
                    <a:cubicBezTo>
                      <a:pt x="39" y="2"/>
                      <a:pt x="34" y="2"/>
                      <a:pt x="30" y="1"/>
                    </a:cubicBezTo>
                    <a:cubicBezTo>
                      <a:pt x="27" y="0"/>
                      <a:pt x="23" y="1"/>
                      <a:pt x="19" y="5"/>
                    </a:cubicBezTo>
                    <a:cubicBezTo>
                      <a:pt x="15" y="9"/>
                      <a:pt x="10" y="7"/>
                      <a:pt x="6" y="5"/>
                    </a:cubicBezTo>
                    <a:cubicBezTo>
                      <a:pt x="5" y="4"/>
                      <a:pt x="4" y="3"/>
                      <a:pt x="2" y="1"/>
                    </a:cubicBezTo>
                    <a:cubicBezTo>
                      <a:pt x="1" y="3"/>
                      <a:pt x="0" y="5"/>
                      <a:pt x="1" y="6"/>
                    </a:cubicBezTo>
                    <a:cubicBezTo>
                      <a:pt x="1" y="7"/>
                      <a:pt x="0" y="9"/>
                      <a:pt x="0" y="11"/>
                    </a:cubicBezTo>
                    <a:cubicBezTo>
                      <a:pt x="3" y="11"/>
                      <a:pt x="8" y="13"/>
                      <a:pt x="10" y="15"/>
                    </a:cubicBezTo>
                    <a:cubicBezTo>
                      <a:pt x="13" y="19"/>
                      <a:pt x="14" y="16"/>
                      <a:pt x="16" y="19"/>
                    </a:cubicBezTo>
                    <a:cubicBezTo>
                      <a:pt x="18" y="22"/>
                      <a:pt x="21" y="20"/>
                      <a:pt x="22" y="18"/>
                    </a:cubicBezTo>
                    <a:cubicBezTo>
                      <a:pt x="23" y="16"/>
                      <a:pt x="20" y="15"/>
                      <a:pt x="20" y="13"/>
                    </a:cubicBezTo>
                    <a:cubicBezTo>
                      <a:pt x="19" y="11"/>
                      <a:pt x="23" y="12"/>
                      <a:pt x="24" y="9"/>
                    </a:cubicBezTo>
                    <a:cubicBezTo>
                      <a:pt x="25" y="7"/>
                      <a:pt x="31" y="5"/>
                      <a:pt x="33" y="6"/>
                    </a:cubicBezTo>
                    <a:cubicBezTo>
                      <a:pt x="36" y="8"/>
                      <a:pt x="38" y="9"/>
                      <a:pt x="35" y="12"/>
                    </a:cubicBezTo>
                    <a:cubicBezTo>
                      <a:pt x="34" y="14"/>
                      <a:pt x="37" y="18"/>
                      <a:pt x="40" y="20"/>
                    </a:cubicBezTo>
                    <a:cubicBezTo>
                      <a:pt x="42" y="18"/>
                      <a:pt x="45" y="16"/>
                      <a:pt x="46" y="15"/>
                    </a:cubicBezTo>
                    <a:cubicBezTo>
                      <a:pt x="46" y="15"/>
                      <a:pt x="46" y="14"/>
                      <a:pt x="47" y="13"/>
                    </a:cubicBezTo>
                    <a:cubicBezTo>
                      <a:pt x="45" y="12"/>
                      <a:pt x="44" y="9"/>
                      <a:pt x="42" y="6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7" name="Freeform 114">
                <a:extLst>
                  <a:ext uri="{FF2B5EF4-FFF2-40B4-BE49-F238E27FC236}">
                    <a16:creationId xmlns:a16="http://schemas.microsoft.com/office/drawing/2014/main" id="{78F346BA-FA7E-4DF8-ACE9-939A3B8FCA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45411" y="3851400"/>
                <a:ext cx="220832" cy="316191"/>
              </a:xfrm>
              <a:custGeom>
                <a:avLst/>
                <a:gdLst>
                  <a:gd name="T0" fmla="*/ 15 w 96"/>
                  <a:gd name="T1" fmla="*/ 100 h 137"/>
                  <a:gd name="T2" fmla="*/ 21 w 96"/>
                  <a:gd name="T3" fmla="*/ 100 h 137"/>
                  <a:gd name="T4" fmla="*/ 26 w 96"/>
                  <a:gd name="T5" fmla="*/ 105 h 137"/>
                  <a:gd name="T6" fmla="*/ 27 w 96"/>
                  <a:gd name="T7" fmla="*/ 105 h 137"/>
                  <a:gd name="T8" fmla="*/ 34 w 96"/>
                  <a:gd name="T9" fmla="*/ 105 h 137"/>
                  <a:gd name="T10" fmla="*/ 39 w 96"/>
                  <a:gd name="T11" fmla="*/ 112 h 137"/>
                  <a:gd name="T12" fmla="*/ 44 w 96"/>
                  <a:gd name="T13" fmla="*/ 117 h 137"/>
                  <a:gd name="T14" fmla="*/ 47 w 96"/>
                  <a:gd name="T15" fmla="*/ 122 h 137"/>
                  <a:gd name="T16" fmla="*/ 56 w 96"/>
                  <a:gd name="T17" fmla="*/ 123 h 137"/>
                  <a:gd name="T18" fmla="*/ 61 w 96"/>
                  <a:gd name="T19" fmla="*/ 122 h 137"/>
                  <a:gd name="T20" fmla="*/ 66 w 96"/>
                  <a:gd name="T21" fmla="*/ 122 h 137"/>
                  <a:gd name="T22" fmla="*/ 72 w 96"/>
                  <a:gd name="T23" fmla="*/ 127 h 137"/>
                  <a:gd name="T24" fmla="*/ 68 w 96"/>
                  <a:gd name="T25" fmla="*/ 133 h 137"/>
                  <a:gd name="T26" fmla="*/ 72 w 96"/>
                  <a:gd name="T27" fmla="*/ 137 h 137"/>
                  <a:gd name="T28" fmla="*/ 73 w 96"/>
                  <a:gd name="T29" fmla="*/ 137 h 137"/>
                  <a:gd name="T30" fmla="*/ 76 w 96"/>
                  <a:gd name="T31" fmla="*/ 126 h 137"/>
                  <a:gd name="T32" fmla="*/ 78 w 96"/>
                  <a:gd name="T33" fmla="*/ 115 h 137"/>
                  <a:gd name="T34" fmla="*/ 72 w 96"/>
                  <a:gd name="T35" fmla="*/ 102 h 137"/>
                  <a:gd name="T36" fmla="*/ 78 w 96"/>
                  <a:gd name="T37" fmla="*/ 98 h 137"/>
                  <a:gd name="T38" fmla="*/ 76 w 96"/>
                  <a:gd name="T39" fmla="*/ 95 h 137"/>
                  <a:gd name="T40" fmla="*/ 74 w 96"/>
                  <a:gd name="T41" fmla="*/ 90 h 137"/>
                  <a:gd name="T42" fmla="*/ 86 w 96"/>
                  <a:gd name="T43" fmla="*/ 89 h 137"/>
                  <a:gd name="T44" fmla="*/ 95 w 96"/>
                  <a:gd name="T45" fmla="*/ 86 h 137"/>
                  <a:gd name="T46" fmla="*/ 94 w 96"/>
                  <a:gd name="T47" fmla="*/ 82 h 137"/>
                  <a:gd name="T48" fmla="*/ 94 w 96"/>
                  <a:gd name="T49" fmla="*/ 76 h 137"/>
                  <a:gd name="T50" fmla="*/ 91 w 96"/>
                  <a:gd name="T51" fmla="*/ 70 h 137"/>
                  <a:gd name="T52" fmla="*/ 93 w 96"/>
                  <a:gd name="T53" fmla="*/ 55 h 137"/>
                  <a:gd name="T54" fmla="*/ 84 w 96"/>
                  <a:gd name="T55" fmla="*/ 53 h 137"/>
                  <a:gd name="T56" fmla="*/ 72 w 96"/>
                  <a:gd name="T57" fmla="*/ 48 h 137"/>
                  <a:gd name="T58" fmla="*/ 59 w 96"/>
                  <a:gd name="T59" fmla="*/ 47 h 137"/>
                  <a:gd name="T60" fmla="*/ 53 w 96"/>
                  <a:gd name="T61" fmla="*/ 36 h 137"/>
                  <a:gd name="T62" fmla="*/ 50 w 96"/>
                  <a:gd name="T63" fmla="*/ 31 h 137"/>
                  <a:gd name="T64" fmla="*/ 46 w 96"/>
                  <a:gd name="T65" fmla="*/ 29 h 137"/>
                  <a:gd name="T66" fmla="*/ 47 w 96"/>
                  <a:gd name="T67" fmla="*/ 25 h 137"/>
                  <a:gd name="T68" fmla="*/ 48 w 96"/>
                  <a:gd name="T69" fmla="*/ 19 h 137"/>
                  <a:gd name="T70" fmla="*/ 55 w 96"/>
                  <a:gd name="T71" fmla="*/ 10 h 137"/>
                  <a:gd name="T72" fmla="*/ 58 w 96"/>
                  <a:gd name="T73" fmla="*/ 9 h 137"/>
                  <a:gd name="T74" fmla="*/ 60 w 96"/>
                  <a:gd name="T75" fmla="*/ 7 h 137"/>
                  <a:gd name="T76" fmla="*/ 62 w 96"/>
                  <a:gd name="T77" fmla="*/ 2 h 137"/>
                  <a:gd name="T78" fmla="*/ 53 w 96"/>
                  <a:gd name="T79" fmla="*/ 6 h 137"/>
                  <a:gd name="T80" fmla="*/ 46 w 96"/>
                  <a:gd name="T81" fmla="*/ 11 h 137"/>
                  <a:gd name="T82" fmla="*/ 38 w 96"/>
                  <a:gd name="T83" fmla="*/ 13 h 137"/>
                  <a:gd name="T84" fmla="*/ 35 w 96"/>
                  <a:gd name="T85" fmla="*/ 12 h 137"/>
                  <a:gd name="T86" fmla="*/ 27 w 96"/>
                  <a:gd name="T87" fmla="*/ 19 h 137"/>
                  <a:gd name="T88" fmla="*/ 24 w 96"/>
                  <a:gd name="T89" fmla="*/ 27 h 137"/>
                  <a:gd name="T90" fmla="*/ 16 w 96"/>
                  <a:gd name="T91" fmla="*/ 36 h 137"/>
                  <a:gd name="T92" fmla="*/ 15 w 96"/>
                  <a:gd name="T93" fmla="*/ 37 h 137"/>
                  <a:gd name="T94" fmla="*/ 14 w 96"/>
                  <a:gd name="T95" fmla="*/ 39 h 137"/>
                  <a:gd name="T96" fmla="*/ 8 w 96"/>
                  <a:gd name="T97" fmla="*/ 44 h 137"/>
                  <a:gd name="T98" fmla="*/ 11 w 96"/>
                  <a:gd name="T99" fmla="*/ 47 h 137"/>
                  <a:gd name="T100" fmla="*/ 12 w 96"/>
                  <a:gd name="T101" fmla="*/ 53 h 137"/>
                  <a:gd name="T102" fmla="*/ 12 w 96"/>
                  <a:gd name="T103" fmla="*/ 58 h 137"/>
                  <a:gd name="T104" fmla="*/ 14 w 96"/>
                  <a:gd name="T105" fmla="*/ 70 h 137"/>
                  <a:gd name="T106" fmla="*/ 12 w 96"/>
                  <a:gd name="T107" fmla="*/ 77 h 137"/>
                  <a:gd name="T108" fmla="*/ 5 w 96"/>
                  <a:gd name="T109" fmla="*/ 82 h 137"/>
                  <a:gd name="T110" fmla="*/ 1 w 96"/>
                  <a:gd name="T111" fmla="*/ 88 h 137"/>
                  <a:gd name="T112" fmla="*/ 0 w 96"/>
                  <a:gd name="T113" fmla="*/ 91 h 137"/>
                  <a:gd name="T114" fmla="*/ 10 w 96"/>
                  <a:gd name="T115" fmla="*/ 96 h 137"/>
                  <a:gd name="T116" fmla="*/ 15 w 96"/>
                  <a:gd name="T117" fmla="*/ 100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96" h="137">
                    <a:moveTo>
                      <a:pt x="15" y="100"/>
                    </a:moveTo>
                    <a:cubicBezTo>
                      <a:pt x="17" y="102"/>
                      <a:pt x="20" y="101"/>
                      <a:pt x="21" y="100"/>
                    </a:cubicBezTo>
                    <a:cubicBezTo>
                      <a:pt x="21" y="99"/>
                      <a:pt x="23" y="101"/>
                      <a:pt x="26" y="105"/>
                    </a:cubicBezTo>
                    <a:cubicBezTo>
                      <a:pt x="27" y="105"/>
                      <a:pt x="27" y="105"/>
                      <a:pt x="27" y="105"/>
                    </a:cubicBezTo>
                    <a:cubicBezTo>
                      <a:pt x="29" y="105"/>
                      <a:pt x="32" y="104"/>
                      <a:pt x="34" y="105"/>
                    </a:cubicBezTo>
                    <a:cubicBezTo>
                      <a:pt x="36" y="106"/>
                      <a:pt x="35" y="111"/>
                      <a:pt x="39" y="112"/>
                    </a:cubicBezTo>
                    <a:cubicBezTo>
                      <a:pt x="42" y="112"/>
                      <a:pt x="44" y="115"/>
                      <a:pt x="44" y="117"/>
                    </a:cubicBezTo>
                    <a:cubicBezTo>
                      <a:pt x="43" y="118"/>
                      <a:pt x="47" y="119"/>
                      <a:pt x="47" y="122"/>
                    </a:cubicBezTo>
                    <a:cubicBezTo>
                      <a:pt x="46" y="124"/>
                      <a:pt x="55" y="124"/>
                      <a:pt x="56" y="123"/>
                    </a:cubicBezTo>
                    <a:cubicBezTo>
                      <a:pt x="57" y="122"/>
                      <a:pt x="59" y="121"/>
                      <a:pt x="61" y="122"/>
                    </a:cubicBezTo>
                    <a:cubicBezTo>
                      <a:pt x="62" y="123"/>
                      <a:pt x="65" y="121"/>
                      <a:pt x="66" y="122"/>
                    </a:cubicBezTo>
                    <a:cubicBezTo>
                      <a:pt x="67" y="122"/>
                      <a:pt x="73" y="125"/>
                      <a:pt x="72" y="127"/>
                    </a:cubicBezTo>
                    <a:cubicBezTo>
                      <a:pt x="71" y="129"/>
                      <a:pt x="67" y="132"/>
                      <a:pt x="68" y="133"/>
                    </a:cubicBezTo>
                    <a:cubicBezTo>
                      <a:pt x="68" y="135"/>
                      <a:pt x="71" y="136"/>
                      <a:pt x="72" y="137"/>
                    </a:cubicBezTo>
                    <a:cubicBezTo>
                      <a:pt x="73" y="137"/>
                      <a:pt x="73" y="137"/>
                      <a:pt x="73" y="137"/>
                    </a:cubicBezTo>
                    <a:cubicBezTo>
                      <a:pt x="75" y="137"/>
                      <a:pt x="76" y="129"/>
                      <a:pt x="76" y="126"/>
                    </a:cubicBezTo>
                    <a:cubicBezTo>
                      <a:pt x="76" y="124"/>
                      <a:pt x="77" y="118"/>
                      <a:pt x="78" y="115"/>
                    </a:cubicBezTo>
                    <a:cubicBezTo>
                      <a:pt x="79" y="111"/>
                      <a:pt x="72" y="107"/>
                      <a:pt x="72" y="102"/>
                    </a:cubicBezTo>
                    <a:cubicBezTo>
                      <a:pt x="72" y="97"/>
                      <a:pt x="75" y="100"/>
                      <a:pt x="78" y="98"/>
                    </a:cubicBezTo>
                    <a:cubicBezTo>
                      <a:pt x="81" y="96"/>
                      <a:pt x="78" y="95"/>
                      <a:pt x="76" y="95"/>
                    </a:cubicBezTo>
                    <a:cubicBezTo>
                      <a:pt x="75" y="94"/>
                      <a:pt x="74" y="92"/>
                      <a:pt x="74" y="90"/>
                    </a:cubicBezTo>
                    <a:cubicBezTo>
                      <a:pt x="75" y="89"/>
                      <a:pt x="83" y="89"/>
                      <a:pt x="86" y="89"/>
                    </a:cubicBezTo>
                    <a:cubicBezTo>
                      <a:pt x="89" y="89"/>
                      <a:pt x="95" y="87"/>
                      <a:pt x="95" y="86"/>
                    </a:cubicBezTo>
                    <a:cubicBezTo>
                      <a:pt x="95" y="86"/>
                      <a:pt x="96" y="84"/>
                      <a:pt x="94" y="82"/>
                    </a:cubicBezTo>
                    <a:cubicBezTo>
                      <a:pt x="92" y="81"/>
                      <a:pt x="92" y="78"/>
                      <a:pt x="94" y="76"/>
                    </a:cubicBezTo>
                    <a:cubicBezTo>
                      <a:pt x="96" y="74"/>
                      <a:pt x="93" y="72"/>
                      <a:pt x="91" y="70"/>
                    </a:cubicBezTo>
                    <a:cubicBezTo>
                      <a:pt x="89" y="68"/>
                      <a:pt x="91" y="59"/>
                      <a:pt x="93" y="55"/>
                    </a:cubicBezTo>
                    <a:cubicBezTo>
                      <a:pt x="95" y="51"/>
                      <a:pt x="88" y="52"/>
                      <a:pt x="84" y="53"/>
                    </a:cubicBezTo>
                    <a:cubicBezTo>
                      <a:pt x="79" y="53"/>
                      <a:pt x="75" y="52"/>
                      <a:pt x="72" y="48"/>
                    </a:cubicBezTo>
                    <a:cubicBezTo>
                      <a:pt x="69" y="44"/>
                      <a:pt x="65" y="47"/>
                      <a:pt x="59" y="47"/>
                    </a:cubicBezTo>
                    <a:cubicBezTo>
                      <a:pt x="52" y="47"/>
                      <a:pt x="53" y="39"/>
                      <a:pt x="53" y="36"/>
                    </a:cubicBezTo>
                    <a:cubicBezTo>
                      <a:pt x="54" y="33"/>
                      <a:pt x="50" y="33"/>
                      <a:pt x="50" y="31"/>
                    </a:cubicBezTo>
                    <a:cubicBezTo>
                      <a:pt x="50" y="29"/>
                      <a:pt x="48" y="29"/>
                      <a:pt x="46" y="29"/>
                    </a:cubicBezTo>
                    <a:cubicBezTo>
                      <a:pt x="44" y="29"/>
                      <a:pt x="46" y="27"/>
                      <a:pt x="47" y="25"/>
                    </a:cubicBezTo>
                    <a:cubicBezTo>
                      <a:pt x="48" y="24"/>
                      <a:pt x="48" y="23"/>
                      <a:pt x="48" y="19"/>
                    </a:cubicBezTo>
                    <a:cubicBezTo>
                      <a:pt x="49" y="16"/>
                      <a:pt x="53" y="13"/>
                      <a:pt x="55" y="10"/>
                    </a:cubicBezTo>
                    <a:cubicBezTo>
                      <a:pt x="56" y="9"/>
                      <a:pt x="57" y="9"/>
                      <a:pt x="58" y="9"/>
                    </a:cubicBezTo>
                    <a:cubicBezTo>
                      <a:pt x="58" y="8"/>
                      <a:pt x="59" y="7"/>
                      <a:pt x="60" y="7"/>
                    </a:cubicBezTo>
                    <a:cubicBezTo>
                      <a:pt x="63" y="6"/>
                      <a:pt x="65" y="4"/>
                      <a:pt x="62" y="2"/>
                    </a:cubicBezTo>
                    <a:cubicBezTo>
                      <a:pt x="58" y="0"/>
                      <a:pt x="57" y="6"/>
                      <a:pt x="53" y="6"/>
                    </a:cubicBezTo>
                    <a:cubicBezTo>
                      <a:pt x="49" y="7"/>
                      <a:pt x="48" y="9"/>
                      <a:pt x="46" y="11"/>
                    </a:cubicBezTo>
                    <a:cubicBezTo>
                      <a:pt x="43" y="12"/>
                      <a:pt x="39" y="11"/>
                      <a:pt x="38" y="13"/>
                    </a:cubicBezTo>
                    <a:cubicBezTo>
                      <a:pt x="38" y="15"/>
                      <a:pt x="37" y="13"/>
                      <a:pt x="35" y="12"/>
                    </a:cubicBezTo>
                    <a:cubicBezTo>
                      <a:pt x="33" y="12"/>
                      <a:pt x="27" y="17"/>
                      <a:pt x="27" y="19"/>
                    </a:cubicBezTo>
                    <a:cubicBezTo>
                      <a:pt x="27" y="22"/>
                      <a:pt x="28" y="24"/>
                      <a:pt x="24" y="27"/>
                    </a:cubicBezTo>
                    <a:cubicBezTo>
                      <a:pt x="20" y="29"/>
                      <a:pt x="18" y="34"/>
                      <a:pt x="16" y="36"/>
                    </a:cubicBezTo>
                    <a:cubicBezTo>
                      <a:pt x="16" y="37"/>
                      <a:pt x="15" y="37"/>
                      <a:pt x="15" y="37"/>
                    </a:cubicBezTo>
                    <a:cubicBezTo>
                      <a:pt x="14" y="38"/>
                      <a:pt x="14" y="39"/>
                      <a:pt x="14" y="39"/>
                    </a:cubicBezTo>
                    <a:cubicBezTo>
                      <a:pt x="13" y="40"/>
                      <a:pt x="10" y="42"/>
                      <a:pt x="8" y="44"/>
                    </a:cubicBezTo>
                    <a:cubicBezTo>
                      <a:pt x="9" y="45"/>
                      <a:pt x="10" y="46"/>
                      <a:pt x="11" y="47"/>
                    </a:cubicBezTo>
                    <a:cubicBezTo>
                      <a:pt x="13" y="50"/>
                      <a:pt x="12" y="52"/>
                      <a:pt x="12" y="53"/>
                    </a:cubicBezTo>
                    <a:cubicBezTo>
                      <a:pt x="13" y="55"/>
                      <a:pt x="14" y="57"/>
                      <a:pt x="12" y="58"/>
                    </a:cubicBezTo>
                    <a:cubicBezTo>
                      <a:pt x="11" y="58"/>
                      <a:pt x="12" y="68"/>
                      <a:pt x="14" y="70"/>
                    </a:cubicBezTo>
                    <a:cubicBezTo>
                      <a:pt x="15" y="72"/>
                      <a:pt x="14" y="73"/>
                      <a:pt x="12" y="77"/>
                    </a:cubicBezTo>
                    <a:cubicBezTo>
                      <a:pt x="10" y="81"/>
                      <a:pt x="9" y="82"/>
                      <a:pt x="5" y="82"/>
                    </a:cubicBezTo>
                    <a:cubicBezTo>
                      <a:pt x="2" y="83"/>
                      <a:pt x="2" y="88"/>
                      <a:pt x="1" y="88"/>
                    </a:cubicBezTo>
                    <a:cubicBezTo>
                      <a:pt x="0" y="88"/>
                      <a:pt x="0" y="89"/>
                      <a:pt x="0" y="91"/>
                    </a:cubicBezTo>
                    <a:cubicBezTo>
                      <a:pt x="3" y="93"/>
                      <a:pt x="8" y="96"/>
                      <a:pt x="10" y="96"/>
                    </a:cubicBezTo>
                    <a:cubicBezTo>
                      <a:pt x="11" y="96"/>
                      <a:pt x="12" y="99"/>
                      <a:pt x="15" y="10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8" name="Freeform 115">
                <a:extLst>
                  <a:ext uri="{FF2B5EF4-FFF2-40B4-BE49-F238E27FC236}">
                    <a16:creationId xmlns:a16="http://schemas.microsoft.com/office/drawing/2014/main" id="{51396BE7-D131-40D1-A7E9-8BA8F52C49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18564" y="4270479"/>
                <a:ext cx="228360" cy="258473"/>
              </a:xfrm>
              <a:custGeom>
                <a:avLst/>
                <a:gdLst>
                  <a:gd name="T0" fmla="*/ 98 w 99"/>
                  <a:gd name="T1" fmla="*/ 67 h 112"/>
                  <a:gd name="T2" fmla="*/ 93 w 99"/>
                  <a:gd name="T3" fmla="*/ 59 h 112"/>
                  <a:gd name="T4" fmla="*/ 86 w 99"/>
                  <a:gd name="T5" fmla="*/ 55 h 112"/>
                  <a:gd name="T6" fmla="*/ 78 w 99"/>
                  <a:gd name="T7" fmla="*/ 51 h 112"/>
                  <a:gd name="T8" fmla="*/ 77 w 99"/>
                  <a:gd name="T9" fmla="*/ 44 h 112"/>
                  <a:gd name="T10" fmla="*/ 76 w 99"/>
                  <a:gd name="T11" fmla="*/ 38 h 112"/>
                  <a:gd name="T12" fmla="*/ 72 w 99"/>
                  <a:gd name="T13" fmla="*/ 33 h 112"/>
                  <a:gd name="T14" fmla="*/ 64 w 99"/>
                  <a:gd name="T15" fmla="*/ 31 h 112"/>
                  <a:gd name="T16" fmla="*/ 57 w 99"/>
                  <a:gd name="T17" fmla="*/ 28 h 112"/>
                  <a:gd name="T18" fmla="*/ 54 w 99"/>
                  <a:gd name="T19" fmla="*/ 25 h 112"/>
                  <a:gd name="T20" fmla="*/ 48 w 99"/>
                  <a:gd name="T21" fmla="*/ 24 h 112"/>
                  <a:gd name="T22" fmla="*/ 38 w 99"/>
                  <a:gd name="T23" fmla="*/ 18 h 112"/>
                  <a:gd name="T24" fmla="*/ 36 w 99"/>
                  <a:gd name="T25" fmla="*/ 2 h 112"/>
                  <a:gd name="T26" fmla="*/ 28 w 99"/>
                  <a:gd name="T27" fmla="*/ 2 h 112"/>
                  <a:gd name="T28" fmla="*/ 19 w 99"/>
                  <a:gd name="T29" fmla="*/ 6 h 112"/>
                  <a:gd name="T30" fmla="*/ 12 w 99"/>
                  <a:gd name="T31" fmla="*/ 10 h 112"/>
                  <a:gd name="T32" fmla="*/ 5 w 99"/>
                  <a:gd name="T33" fmla="*/ 11 h 112"/>
                  <a:gd name="T34" fmla="*/ 2 w 99"/>
                  <a:gd name="T35" fmla="*/ 11 h 112"/>
                  <a:gd name="T36" fmla="*/ 8 w 99"/>
                  <a:gd name="T37" fmla="*/ 22 h 112"/>
                  <a:gd name="T38" fmla="*/ 6 w 99"/>
                  <a:gd name="T39" fmla="*/ 26 h 112"/>
                  <a:gd name="T40" fmla="*/ 6 w 99"/>
                  <a:gd name="T41" fmla="*/ 38 h 112"/>
                  <a:gd name="T42" fmla="*/ 4 w 99"/>
                  <a:gd name="T43" fmla="*/ 44 h 112"/>
                  <a:gd name="T44" fmla="*/ 3 w 99"/>
                  <a:gd name="T45" fmla="*/ 51 h 112"/>
                  <a:gd name="T46" fmla="*/ 6 w 99"/>
                  <a:gd name="T47" fmla="*/ 55 h 112"/>
                  <a:gd name="T48" fmla="*/ 1 w 99"/>
                  <a:gd name="T49" fmla="*/ 61 h 112"/>
                  <a:gd name="T50" fmla="*/ 1 w 99"/>
                  <a:gd name="T51" fmla="*/ 65 h 112"/>
                  <a:gd name="T52" fmla="*/ 4 w 99"/>
                  <a:gd name="T53" fmla="*/ 69 h 112"/>
                  <a:gd name="T54" fmla="*/ 6 w 99"/>
                  <a:gd name="T55" fmla="*/ 77 h 112"/>
                  <a:gd name="T56" fmla="*/ 9 w 99"/>
                  <a:gd name="T57" fmla="*/ 82 h 112"/>
                  <a:gd name="T58" fmla="*/ 8 w 99"/>
                  <a:gd name="T59" fmla="*/ 87 h 112"/>
                  <a:gd name="T60" fmla="*/ 10 w 99"/>
                  <a:gd name="T61" fmla="*/ 94 h 112"/>
                  <a:gd name="T62" fmla="*/ 13 w 99"/>
                  <a:gd name="T63" fmla="*/ 101 h 112"/>
                  <a:gd name="T64" fmla="*/ 15 w 99"/>
                  <a:gd name="T65" fmla="*/ 110 h 112"/>
                  <a:gd name="T66" fmla="*/ 26 w 99"/>
                  <a:gd name="T67" fmla="*/ 104 h 112"/>
                  <a:gd name="T68" fmla="*/ 33 w 99"/>
                  <a:gd name="T69" fmla="*/ 104 h 112"/>
                  <a:gd name="T70" fmla="*/ 42 w 99"/>
                  <a:gd name="T71" fmla="*/ 107 h 112"/>
                  <a:gd name="T72" fmla="*/ 47 w 99"/>
                  <a:gd name="T73" fmla="*/ 103 h 112"/>
                  <a:gd name="T74" fmla="*/ 58 w 99"/>
                  <a:gd name="T75" fmla="*/ 103 h 112"/>
                  <a:gd name="T76" fmla="*/ 60 w 99"/>
                  <a:gd name="T77" fmla="*/ 90 h 112"/>
                  <a:gd name="T78" fmla="*/ 67 w 99"/>
                  <a:gd name="T79" fmla="*/ 83 h 112"/>
                  <a:gd name="T80" fmla="*/ 76 w 99"/>
                  <a:gd name="T81" fmla="*/ 81 h 112"/>
                  <a:gd name="T82" fmla="*/ 86 w 99"/>
                  <a:gd name="T83" fmla="*/ 80 h 112"/>
                  <a:gd name="T84" fmla="*/ 93 w 99"/>
                  <a:gd name="T85" fmla="*/ 83 h 112"/>
                  <a:gd name="T86" fmla="*/ 97 w 99"/>
                  <a:gd name="T87" fmla="*/ 77 h 112"/>
                  <a:gd name="T88" fmla="*/ 98 w 99"/>
                  <a:gd name="T89" fmla="*/ 67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99" h="112">
                    <a:moveTo>
                      <a:pt x="98" y="67"/>
                    </a:moveTo>
                    <a:cubicBezTo>
                      <a:pt x="97" y="63"/>
                      <a:pt x="93" y="63"/>
                      <a:pt x="93" y="59"/>
                    </a:cubicBezTo>
                    <a:cubicBezTo>
                      <a:pt x="93" y="55"/>
                      <a:pt x="92" y="55"/>
                      <a:pt x="86" y="55"/>
                    </a:cubicBezTo>
                    <a:cubicBezTo>
                      <a:pt x="81" y="55"/>
                      <a:pt x="78" y="54"/>
                      <a:pt x="78" y="51"/>
                    </a:cubicBezTo>
                    <a:cubicBezTo>
                      <a:pt x="77" y="48"/>
                      <a:pt x="74" y="46"/>
                      <a:pt x="77" y="44"/>
                    </a:cubicBezTo>
                    <a:cubicBezTo>
                      <a:pt x="79" y="43"/>
                      <a:pt x="75" y="41"/>
                      <a:pt x="76" y="38"/>
                    </a:cubicBezTo>
                    <a:cubicBezTo>
                      <a:pt x="76" y="35"/>
                      <a:pt x="74" y="34"/>
                      <a:pt x="72" y="33"/>
                    </a:cubicBezTo>
                    <a:cubicBezTo>
                      <a:pt x="71" y="31"/>
                      <a:pt x="64" y="33"/>
                      <a:pt x="64" y="31"/>
                    </a:cubicBezTo>
                    <a:cubicBezTo>
                      <a:pt x="64" y="28"/>
                      <a:pt x="59" y="28"/>
                      <a:pt x="57" y="28"/>
                    </a:cubicBezTo>
                    <a:cubicBezTo>
                      <a:pt x="55" y="28"/>
                      <a:pt x="56" y="25"/>
                      <a:pt x="54" y="25"/>
                    </a:cubicBezTo>
                    <a:cubicBezTo>
                      <a:pt x="51" y="25"/>
                      <a:pt x="52" y="23"/>
                      <a:pt x="48" y="24"/>
                    </a:cubicBezTo>
                    <a:cubicBezTo>
                      <a:pt x="44" y="24"/>
                      <a:pt x="42" y="22"/>
                      <a:pt x="38" y="18"/>
                    </a:cubicBezTo>
                    <a:cubicBezTo>
                      <a:pt x="35" y="13"/>
                      <a:pt x="35" y="5"/>
                      <a:pt x="36" y="2"/>
                    </a:cubicBezTo>
                    <a:cubicBezTo>
                      <a:pt x="37" y="0"/>
                      <a:pt x="31" y="2"/>
                      <a:pt x="28" y="2"/>
                    </a:cubicBezTo>
                    <a:cubicBezTo>
                      <a:pt x="25" y="2"/>
                      <a:pt x="22" y="4"/>
                      <a:pt x="19" y="6"/>
                    </a:cubicBezTo>
                    <a:cubicBezTo>
                      <a:pt x="15" y="8"/>
                      <a:pt x="13" y="8"/>
                      <a:pt x="12" y="10"/>
                    </a:cubicBezTo>
                    <a:cubicBezTo>
                      <a:pt x="10" y="11"/>
                      <a:pt x="8" y="12"/>
                      <a:pt x="5" y="11"/>
                    </a:cubicBezTo>
                    <a:cubicBezTo>
                      <a:pt x="4" y="11"/>
                      <a:pt x="3" y="11"/>
                      <a:pt x="2" y="11"/>
                    </a:cubicBezTo>
                    <a:cubicBezTo>
                      <a:pt x="4" y="14"/>
                      <a:pt x="7" y="20"/>
                      <a:pt x="8" y="22"/>
                    </a:cubicBezTo>
                    <a:cubicBezTo>
                      <a:pt x="9" y="25"/>
                      <a:pt x="7" y="25"/>
                      <a:pt x="6" y="26"/>
                    </a:cubicBezTo>
                    <a:cubicBezTo>
                      <a:pt x="5" y="27"/>
                      <a:pt x="6" y="36"/>
                      <a:pt x="6" y="38"/>
                    </a:cubicBezTo>
                    <a:cubicBezTo>
                      <a:pt x="7" y="40"/>
                      <a:pt x="3" y="43"/>
                      <a:pt x="4" y="44"/>
                    </a:cubicBezTo>
                    <a:cubicBezTo>
                      <a:pt x="6" y="46"/>
                      <a:pt x="3" y="49"/>
                      <a:pt x="3" y="51"/>
                    </a:cubicBezTo>
                    <a:cubicBezTo>
                      <a:pt x="3" y="53"/>
                      <a:pt x="6" y="53"/>
                      <a:pt x="6" y="55"/>
                    </a:cubicBezTo>
                    <a:cubicBezTo>
                      <a:pt x="6" y="57"/>
                      <a:pt x="3" y="61"/>
                      <a:pt x="1" y="61"/>
                    </a:cubicBezTo>
                    <a:cubicBezTo>
                      <a:pt x="0" y="62"/>
                      <a:pt x="0" y="63"/>
                      <a:pt x="1" y="65"/>
                    </a:cubicBezTo>
                    <a:cubicBezTo>
                      <a:pt x="1" y="65"/>
                      <a:pt x="2" y="67"/>
                      <a:pt x="4" y="69"/>
                    </a:cubicBezTo>
                    <a:cubicBezTo>
                      <a:pt x="7" y="71"/>
                      <a:pt x="4" y="74"/>
                      <a:pt x="6" y="77"/>
                    </a:cubicBezTo>
                    <a:cubicBezTo>
                      <a:pt x="8" y="80"/>
                      <a:pt x="11" y="80"/>
                      <a:pt x="9" y="82"/>
                    </a:cubicBezTo>
                    <a:cubicBezTo>
                      <a:pt x="8" y="83"/>
                      <a:pt x="9" y="86"/>
                      <a:pt x="8" y="87"/>
                    </a:cubicBezTo>
                    <a:cubicBezTo>
                      <a:pt x="6" y="89"/>
                      <a:pt x="8" y="93"/>
                      <a:pt x="10" y="94"/>
                    </a:cubicBezTo>
                    <a:cubicBezTo>
                      <a:pt x="13" y="95"/>
                      <a:pt x="11" y="99"/>
                      <a:pt x="13" y="101"/>
                    </a:cubicBezTo>
                    <a:cubicBezTo>
                      <a:pt x="15" y="104"/>
                      <a:pt x="14" y="109"/>
                      <a:pt x="15" y="110"/>
                    </a:cubicBezTo>
                    <a:cubicBezTo>
                      <a:pt x="16" y="112"/>
                      <a:pt x="22" y="108"/>
                      <a:pt x="26" y="104"/>
                    </a:cubicBezTo>
                    <a:cubicBezTo>
                      <a:pt x="30" y="100"/>
                      <a:pt x="30" y="103"/>
                      <a:pt x="33" y="104"/>
                    </a:cubicBezTo>
                    <a:cubicBezTo>
                      <a:pt x="37" y="104"/>
                      <a:pt x="41" y="104"/>
                      <a:pt x="42" y="107"/>
                    </a:cubicBezTo>
                    <a:cubicBezTo>
                      <a:pt x="44" y="111"/>
                      <a:pt x="46" y="104"/>
                      <a:pt x="47" y="103"/>
                    </a:cubicBezTo>
                    <a:cubicBezTo>
                      <a:pt x="48" y="101"/>
                      <a:pt x="57" y="103"/>
                      <a:pt x="58" y="103"/>
                    </a:cubicBezTo>
                    <a:cubicBezTo>
                      <a:pt x="59" y="102"/>
                      <a:pt x="61" y="92"/>
                      <a:pt x="60" y="90"/>
                    </a:cubicBezTo>
                    <a:cubicBezTo>
                      <a:pt x="60" y="89"/>
                      <a:pt x="64" y="85"/>
                      <a:pt x="67" y="83"/>
                    </a:cubicBezTo>
                    <a:cubicBezTo>
                      <a:pt x="69" y="81"/>
                      <a:pt x="74" y="82"/>
                      <a:pt x="76" y="81"/>
                    </a:cubicBezTo>
                    <a:cubicBezTo>
                      <a:pt x="79" y="80"/>
                      <a:pt x="82" y="80"/>
                      <a:pt x="86" y="80"/>
                    </a:cubicBezTo>
                    <a:cubicBezTo>
                      <a:pt x="89" y="80"/>
                      <a:pt x="91" y="83"/>
                      <a:pt x="93" y="83"/>
                    </a:cubicBezTo>
                    <a:cubicBezTo>
                      <a:pt x="95" y="83"/>
                      <a:pt x="97" y="80"/>
                      <a:pt x="97" y="77"/>
                    </a:cubicBezTo>
                    <a:cubicBezTo>
                      <a:pt x="96" y="75"/>
                      <a:pt x="99" y="71"/>
                      <a:pt x="98" y="6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9" name="Freeform 116">
                <a:extLst>
                  <a:ext uri="{FF2B5EF4-FFF2-40B4-BE49-F238E27FC236}">
                    <a16:creationId xmlns:a16="http://schemas.microsoft.com/office/drawing/2014/main" id="{E8319A9F-CD41-4CD4-91DC-0CDBCF7F1E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8987" y="4091053"/>
                <a:ext cx="239653" cy="348814"/>
              </a:xfrm>
              <a:custGeom>
                <a:avLst/>
                <a:gdLst>
                  <a:gd name="T0" fmla="*/ 95 w 104"/>
                  <a:gd name="T1" fmla="*/ 143 h 151"/>
                  <a:gd name="T2" fmla="*/ 96 w 104"/>
                  <a:gd name="T3" fmla="*/ 143 h 151"/>
                  <a:gd name="T4" fmla="*/ 96 w 104"/>
                  <a:gd name="T5" fmla="*/ 139 h 151"/>
                  <a:gd name="T6" fmla="*/ 101 w 104"/>
                  <a:gd name="T7" fmla="*/ 133 h 151"/>
                  <a:gd name="T8" fmla="*/ 98 w 104"/>
                  <a:gd name="T9" fmla="*/ 129 h 151"/>
                  <a:gd name="T10" fmla="*/ 99 w 104"/>
                  <a:gd name="T11" fmla="*/ 122 h 151"/>
                  <a:gd name="T12" fmla="*/ 101 w 104"/>
                  <a:gd name="T13" fmla="*/ 116 h 151"/>
                  <a:gd name="T14" fmla="*/ 101 w 104"/>
                  <a:gd name="T15" fmla="*/ 104 h 151"/>
                  <a:gd name="T16" fmla="*/ 103 w 104"/>
                  <a:gd name="T17" fmla="*/ 100 h 151"/>
                  <a:gd name="T18" fmla="*/ 97 w 104"/>
                  <a:gd name="T19" fmla="*/ 89 h 151"/>
                  <a:gd name="T20" fmla="*/ 89 w 104"/>
                  <a:gd name="T21" fmla="*/ 89 h 151"/>
                  <a:gd name="T22" fmla="*/ 88 w 104"/>
                  <a:gd name="T23" fmla="*/ 79 h 151"/>
                  <a:gd name="T24" fmla="*/ 84 w 104"/>
                  <a:gd name="T25" fmla="*/ 79 h 151"/>
                  <a:gd name="T26" fmla="*/ 75 w 104"/>
                  <a:gd name="T27" fmla="*/ 81 h 151"/>
                  <a:gd name="T28" fmla="*/ 71 w 104"/>
                  <a:gd name="T29" fmla="*/ 76 h 151"/>
                  <a:gd name="T30" fmla="*/ 67 w 104"/>
                  <a:gd name="T31" fmla="*/ 73 h 151"/>
                  <a:gd name="T32" fmla="*/ 64 w 104"/>
                  <a:gd name="T33" fmla="*/ 66 h 151"/>
                  <a:gd name="T34" fmla="*/ 62 w 104"/>
                  <a:gd name="T35" fmla="*/ 59 h 151"/>
                  <a:gd name="T36" fmla="*/ 63 w 104"/>
                  <a:gd name="T37" fmla="*/ 54 h 151"/>
                  <a:gd name="T38" fmla="*/ 66 w 104"/>
                  <a:gd name="T39" fmla="*/ 50 h 151"/>
                  <a:gd name="T40" fmla="*/ 69 w 104"/>
                  <a:gd name="T41" fmla="*/ 42 h 151"/>
                  <a:gd name="T42" fmla="*/ 76 w 104"/>
                  <a:gd name="T43" fmla="*/ 37 h 151"/>
                  <a:gd name="T44" fmla="*/ 86 w 104"/>
                  <a:gd name="T45" fmla="*/ 34 h 151"/>
                  <a:gd name="T46" fmla="*/ 92 w 104"/>
                  <a:gd name="T47" fmla="*/ 33 h 151"/>
                  <a:gd name="T48" fmla="*/ 88 w 104"/>
                  <a:gd name="T49" fmla="*/ 29 h 151"/>
                  <a:gd name="T50" fmla="*/ 92 w 104"/>
                  <a:gd name="T51" fmla="*/ 23 h 151"/>
                  <a:gd name="T52" fmla="*/ 86 w 104"/>
                  <a:gd name="T53" fmla="*/ 18 h 151"/>
                  <a:gd name="T54" fmla="*/ 81 w 104"/>
                  <a:gd name="T55" fmla="*/ 18 h 151"/>
                  <a:gd name="T56" fmla="*/ 76 w 104"/>
                  <a:gd name="T57" fmla="*/ 19 h 151"/>
                  <a:gd name="T58" fmla="*/ 67 w 104"/>
                  <a:gd name="T59" fmla="*/ 18 h 151"/>
                  <a:gd name="T60" fmla="*/ 64 w 104"/>
                  <a:gd name="T61" fmla="*/ 13 h 151"/>
                  <a:gd name="T62" fmla="*/ 59 w 104"/>
                  <a:gd name="T63" fmla="*/ 8 h 151"/>
                  <a:gd name="T64" fmla="*/ 54 w 104"/>
                  <a:gd name="T65" fmla="*/ 1 h 151"/>
                  <a:gd name="T66" fmla="*/ 47 w 104"/>
                  <a:gd name="T67" fmla="*/ 1 h 151"/>
                  <a:gd name="T68" fmla="*/ 49 w 104"/>
                  <a:gd name="T69" fmla="*/ 7 h 151"/>
                  <a:gd name="T70" fmla="*/ 44 w 104"/>
                  <a:gd name="T71" fmla="*/ 15 h 151"/>
                  <a:gd name="T72" fmla="*/ 28 w 104"/>
                  <a:gd name="T73" fmla="*/ 24 h 151"/>
                  <a:gd name="T74" fmla="*/ 21 w 104"/>
                  <a:gd name="T75" fmla="*/ 36 h 151"/>
                  <a:gd name="T76" fmla="*/ 15 w 104"/>
                  <a:gd name="T77" fmla="*/ 37 h 151"/>
                  <a:gd name="T78" fmla="*/ 9 w 104"/>
                  <a:gd name="T79" fmla="*/ 35 h 151"/>
                  <a:gd name="T80" fmla="*/ 9 w 104"/>
                  <a:gd name="T81" fmla="*/ 31 h 151"/>
                  <a:gd name="T82" fmla="*/ 8 w 104"/>
                  <a:gd name="T83" fmla="*/ 27 h 151"/>
                  <a:gd name="T84" fmla="*/ 1 w 104"/>
                  <a:gd name="T85" fmla="*/ 34 h 151"/>
                  <a:gd name="T86" fmla="*/ 4 w 104"/>
                  <a:gd name="T87" fmla="*/ 45 h 151"/>
                  <a:gd name="T88" fmla="*/ 2 w 104"/>
                  <a:gd name="T89" fmla="*/ 47 h 151"/>
                  <a:gd name="T90" fmla="*/ 10 w 104"/>
                  <a:gd name="T91" fmla="*/ 54 h 151"/>
                  <a:gd name="T92" fmla="*/ 18 w 104"/>
                  <a:gd name="T93" fmla="*/ 65 h 151"/>
                  <a:gd name="T94" fmla="*/ 24 w 104"/>
                  <a:gd name="T95" fmla="*/ 77 h 151"/>
                  <a:gd name="T96" fmla="*/ 37 w 104"/>
                  <a:gd name="T97" fmla="*/ 101 h 151"/>
                  <a:gd name="T98" fmla="*/ 41 w 104"/>
                  <a:gd name="T99" fmla="*/ 111 h 151"/>
                  <a:gd name="T100" fmla="*/ 44 w 104"/>
                  <a:gd name="T101" fmla="*/ 119 h 151"/>
                  <a:gd name="T102" fmla="*/ 57 w 104"/>
                  <a:gd name="T103" fmla="*/ 128 h 151"/>
                  <a:gd name="T104" fmla="*/ 80 w 104"/>
                  <a:gd name="T105" fmla="*/ 142 h 151"/>
                  <a:gd name="T106" fmla="*/ 90 w 104"/>
                  <a:gd name="T107" fmla="*/ 149 h 151"/>
                  <a:gd name="T108" fmla="*/ 90 w 104"/>
                  <a:gd name="T109" fmla="*/ 151 h 151"/>
                  <a:gd name="T110" fmla="*/ 92 w 104"/>
                  <a:gd name="T111" fmla="*/ 149 h 151"/>
                  <a:gd name="T112" fmla="*/ 95 w 104"/>
                  <a:gd name="T113" fmla="*/ 143 h 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04" h="151">
                    <a:moveTo>
                      <a:pt x="95" y="143"/>
                    </a:moveTo>
                    <a:cubicBezTo>
                      <a:pt x="96" y="143"/>
                      <a:pt x="96" y="143"/>
                      <a:pt x="96" y="143"/>
                    </a:cubicBezTo>
                    <a:cubicBezTo>
                      <a:pt x="95" y="141"/>
                      <a:pt x="95" y="140"/>
                      <a:pt x="96" y="139"/>
                    </a:cubicBezTo>
                    <a:cubicBezTo>
                      <a:pt x="98" y="139"/>
                      <a:pt x="101" y="135"/>
                      <a:pt x="101" y="133"/>
                    </a:cubicBezTo>
                    <a:cubicBezTo>
                      <a:pt x="101" y="131"/>
                      <a:pt x="98" y="131"/>
                      <a:pt x="98" y="129"/>
                    </a:cubicBezTo>
                    <a:cubicBezTo>
                      <a:pt x="98" y="127"/>
                      <a:pt x="101" y="124"/>
                      <a:pt x="99" y="122"/>
                    </a:cubicBezTo>
                    <a:cubicBezTo>
                      <a:pt x="98" y="121"/>
                      <a:pt x="102" y="118"/>
                      <a:pt x="101" y="116"/>
                    </a:cubicBezTo>
                    <a:cubicBezTo>
                      <a:pt x="101" y="114"/>
                      <a:pt x="100" y="105"/>
                      <a:pt x="101" y="104"/>
                    </a:cubicBezTo>
                    <a:cubicBezTo>
                      <a:pt x="102" y="103"/>
                      <a:pt x="104" y="103"/>
                      <a:pt x="103" y="100"/>
                    </a:cubicBezTo>
                    <a:cubicBezTo>
                      <a:pt x="102" y="98"/>
                      <a:pt x="99" y="92"/>
                      <a:pt x="97" y="89"/>
                    </a:cubicBezTo>
                    <a:cubicBezTo>
                      <a:pt x="95" y="88"/>
                      <a:pt x="91" y="88"/>
                      <a:pt x="89" y="89"/>
                    </a:cubicBezTo>
                    <a:cubicBezTo>
                      <a:pt x="87" y="90"/>
                      <a:pt x="88" y="82"/>
                      <a:pt x="88" y="79"/>
                    </a:cubicBezTo>
                    <a:cubicBezTo>
                      <a:pt x="88" y="76"/>
                      <a:pt x="85" y="77"/>
                      <a:pt x="84" y="79"/>
                    </a:cubicBezTo>
                    <a:cubicBezTo>
                      <a:pt x="83" y="81"/>
                      <a:pt x="79" y="81"/>
                      <a:pt x="75" y="81"/>
                    </a:cubicBezTo>
                    <a:cubicBezTo>
                      <a:pt x="72" y="81"/>
                      <a:pt x="74" y="76"/>
                      <a:pt x="71" y="76"/>
                    </a:cubicBezTo>
                    <a:cubicBezTo>
                      <a:pt x="69" y="76"/>
                      <a:pt x="67" y="75"/>
                      <a:pt x="67" y="73"/>
                    </a:cubicBezTo>
                    <a:cubicBezTo>
                      <a:pt x="67" y="71"/>
                      <a:pt x="65" y="69"/>
                      <a:pt x="64" y="66"/>
                    </a:cubicBezTo>
                    <a:cubicBezTo>
                      <a:pt x="62" y="63"/>
                      <a:pt x="60" y="61"/>
                      <a:pt x="62" y="59"/>
                    </a:cubicBezTo>
                    <a:cubicBezTo>
                      <a:pt x="63" y="57"/>
                      <a:pt x="61" y="56"/>
                      <a:pt x="63" y="54"/>
                    </a:cubicBezTo>
                    <a:cubicBezTo>
                      <a:pt x="65" y="52"/>
                      <a:pt x="67" y="52"/>
                      <a:pt x="66" y="50"/>
                    </a:cubicBezTo>
                    <a:cubicBezTo>
                      <a:pt x="66" y="47"/>
                      <a:pt x="69" y="45"/>
                      <a:pt x="69" y="42"/>
                    </a:cubicBezTo>
                    <a:cubicBezTo>
                      <a:pt x="69" y="39"/>
                      <a:pt x="73" y="40"/>
                      <a:pt x="76" y="37"/>
                    </a:cubicBezTo>
                    <a:cubicBezTo>
                      <a:pt x="79" y="35"/>
                      <a:pt x="83" y="36"/>
                      <a:pt x="86" y="34"/>
                    </a:cubicBezTo>
                    <a:cubicBezTo>
                      <a:pt x="89" y="31"/>
                      <a:pt x="90" y="33"/>
                      <a:pt x="92" y="33"/>
                    </a:cubicBezTo>
                    <a:cubicBezTo>
                      <a:pt x="91" y="32"/>
                      <a:pt x="88" y="31"/>
                      <a:pt x="88" y="29"/>
                    </a:cubicBezTo>
                    <a:cubicBezTo>
                      <a:pt x="87" y="28"/>
                      <a:pt x="91" y="25"/>
                      <a:pt x="92" y="23"/>
                    </a:cubicBezTo>
                    <a:cubicBezTo>
                      <a:pt x="93" y="21"/>
                      <a:pt x="87" y="18"/>
                      <a:pt x="86" y="18"/>
                    </a:cubicBezTo>
                    <a:cubicBezTo>
                      <a:pt x="85" y="17"/>
                      <a:pt x="82" y="19"/>
                      <a:pt x="81" y="18"/>
                    </a:cubicBezTo>
                    <a:cubicBezTo>
                      <a:pt x="79" y="17"/>
                      <a:pt x="77" y="18"/>
                      <a:pt x="76" y="19"/>
                    </a:cubicBezTo>
                    <a:cubicBezTo>
                      <a:pt x="75" y="20"/>
                      <a:pt x="66" y="20"/>
                      <a:pt x="67" y="18"/>
                    </a:cubicBezTo>
                    <a:cubicBezTo>
                      <a:pt x="67" y="15"/>
                      <a:pt x="63" y="14"/>
                      <a:pt x="64" y="13"/>
                    </a:cubicBezTo>
                    <a:cubicBezTo>
                      <a:pt x="64" y="11"/>
                      <a:pt x="62" y="8"/>
                      <a:pt x="59" y="8"/>
                    </a:cubicBezTo>
                    <a:cubicBezTo>
                      <a:pt x="55" y="7"/>
                      <a:pt x="56" y="2"/>
                      <a:pt x="54" y="1"/>
                    </a:cubicBezTo>
                    <a:cubicBezTo>
                      <a:pt x="52" y="0"/>
                      <a:pt x="49" y="1"/>
                      <a:pt x="47" y="1"/>
                    </a:cubicBezTo>
                    <a:cubicBezTo>
                      <a:pt x="50" y="4"/>
                      <a:pt x="50" y="5"/>
                      <a:pt x="49" y="7"/>
                    </a:cubicBezTo>
                    <a:cubicBezTo>
                      <a:pt x="46" y="9"/>
                      <a:pt x="49" y="9"/>
                      <a:pt x="44" y="15"/>
                    </a:cubicBezTo>
                    <a:cubicBezTo>
                      <a:pt x="40" y="21"/>
                      <a:pt x="32" y="22"/>
                      <a:pt x="28" y="24"/>
                    </a:cubicBezTo>
                    <a:cubicBezTo>
                      <a:pt x="25" y="25"/>
                      <a:pt x="23" y="32"/>
                      <a:pt x="21" y="36"/>
                    </a:cubicBezTo>
                    <a:cubicBezTo>
                      <a:pt x="19" y="41"/>
                      <a:pt x="17" y="40"/>
                      <a:pt x="15" y="37"/>
                    </a:cubicBezTo>
                    <a:cubicBezTo>
                      <a:pt x="13" y="34"/>
                      <a:pt x="12" y="37"/>
                      <a:pt x="9" y="35"/>
                    </a:cubicBezTo>
                    <a:cubicBezTo>
                      <a:pt x="7" y="33"/>
                      <a:pt x="8" y="33"/>
                      <a:pt x="9" y="31"/>
                    </a:cubicBezTo>
                    <a:cubicBezTo>
                      <a:pt x="10" y="30"/>
                      <a:pt x="9" y="28"/>
                      <a:pt x="8" y="27"/>
                    </a:cubicBezTo>
                    <a:cubicBezTo>
                      <a:pt x="5" y="27"/>
                      <a:pt x="2" y="31"/>
                      <a:pt x="1" y="34"/>
                    </a:cubicBezTo>
                    <a:cubicBezTo>
                      <a:pt x="0" y="37"/>
                      <a:pt x="4" y="43"/>
                      <a:pt x="4" y="45"/>
                    </a:cubicBezTo>
                    <a:cubicBezTo>
                      <a:pt x="5" y="47"/>
                      <a:pt x="2" y="45"/>
                      <a:pt x="2" y="47"/>
                    </a:cubicBezTo>
                    <a:cubicBezTo>
                      <a:pt x="1" y="49"/>
                      <a:pt x="7" y="52"/>
                      <a:pt x="10" y="54"/>
                    </a:cubicBezTo>
                    <a:cubicBezTo>
                      <a:pt x="13" y="56"/>
                      <a:pt x="16" y="62"/>
                      <a:pt x="18" y="65"/>
                    </a:cubicBezTo>
                    <a:cubicBezTo>
                      <a:pt x="21" y="68"/>
                      <a:pt x="21" y="70"/>
                      <a:pt x="24" y="77"/>
                    </a:cubicBezTo>
                    <a:cubicBezTo>
                      <a:pt x="27" y="84"/>
                      <a:pt x="33" y="96"/>
                      <a:pt x="37" y="101"/>
                    </a:cubicBezTo>
                    <a:cubicBezTo>
                      <a:pt x="40" y="106"/>
                      <a:pt x="42" y="110"/>
                      <a:pt x="41" y="111"/>
                    </a:cubicBezTo>
                    <a:cubicBezTo>
                      <a:pt x="40" y="113"/>
                      <a:pt x="42" y="117"/>
                      <a:pt x="44" y="119"/>
                    </a:cubicBezTo>
                    <a:cubicBezTo>
                      <a:pt x="47" y="121"/>
                      <a:pt x="50" y="124"/>
                      <a:pt x="57" y="128"/>
                    </a:cubicBezTo>
                    <a:cubicBezTo>
                      <a:pt x="65" y="131"/>
                      <a:pt x="78" y="139"/>
                      <a:pt x="80" y="142"/>
                    </a:cubicBezTo>
                    <a:cubicBezTo>
                      <a:pt x="82" y="145"/>
                      <a:pt x="89" y="149"/>
                      <a:pt x="90" y="149"/>
                    </a:cubicBezTo>
                    <a:cubicBezTo>
                      <a:pt x="90" y="149"/>
                      <a:pt x="90" y="150"/>
                      <a:pt x="90" y="151"/>
                    </a:cubicBezTo>
                    <a:cubicBezTo>
                      <a:pt x="91" y="150"/>
                      <a:pt x="92" y="150"/>
                      <a:pt x="92" y="149"/>
                    </a:cubicBezTo>
                    <a:cubicBezTo>
                      <a:pt x="94" y="148"/>
                      <a:pt x="95" y="144"/>
                      <a:pt x="95" y="14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0" name="Freeform 117">
                <a:extLst>
                  <a:ext uri="{FF2B5EF4-FFF2-40B4-BE49-F238E27FC236}">
                    <a16:creationId xmlns:a16="http://schemas.microsoft.com/office/drawing/2014/main" id="{5E4708E0-AE1E-45EE-925E-74560B2A37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47044" y="3860183"/>
                <a:ext cx="258474" cy="217068"/>
              </a:xfrm>
              <a:custGeom>
                <a:avLst/>
                <a:gdLst>
                  <a:gd name="T0" fmla="*/ 11 w 112"/>
                  <a:gd name="T1" fmla="*/ 6 h 94"/>
                  <a:gd name="T2" fmla="*/ 4 w 112"/>
                  <a:gd name="T3" fmla="*/ 15 h 94"/>
                  <a:gd name="T4" fmla="*/ 3 w 112"/>
                  <a:gd name="T5" fmla="*/ 21 h 94"/>
                  <a:gd name="T6" fmla="*/ 2 w 112"/>
                  <a:gd name="T7" fmla="*/ 25 h 94"/>
                  <a:gd name="T8" fmla="*/ 6 w 112"/>
                  <a:gd name="T9" fmla="*/ 27 h 94"/>
                  <a:gd name="T10" fmla="*/ 9 w 112"/>
                  <a:gd name="T11" fmla="*/ 32 h 94"/>
                  <a:gd name="T12" fmla="*/ 15 w 112"/>
                  <a:gd name="T13" fmla="*/ 43 h 94"/>
                  <a:gd name="T14" fmla="*/ 28 w 112"/>
                  <a:gd name="T15" fmla="*/ 44 h 94"/>
                  <a:gd name="T16" fmla="*/ 40 w 112"/>
                  <a:gd name="T17" fmla="*/ 49 h 94"/>
                  <a:gd name="T18" fmla="*/ 49 w 112"/>
                  <a:gd name="T19" fmla="*/ 51 h 94"/>
                  <a:gd name="T20" fmla="*/ 47 w 112"/>
                  <a:gd name="T21" fmla="*/ 66 h 94"/>
                  <a:gd name="T22" fmla="*/ 50 w 112"/>
                  <a:gd name="T23" fmla="*/ 72 h 94"/>
                  <a:gd name="T24" fmla="*/ 50 w 112"/>
                  <a:gd name="T25" fmla="*/ 78 h 94"/>
                  <a:gd name="T26" fmla="*/ 51 w 112"/>
                  <a:gd name="T27" fmla="*/ 82 h 94"/>
                  <a:gd name="T28" fmla="*/ 50 w 112"/>
                  <a:gd name="T29" fmla="*/ 83 h 94"/>
                  <a:gd name="T30" fmla="*/ 56 w 112"/>
                  <a:gd name="T31" fmla="*/ 91 h 94"/>
                  <a:gd name="T32" fmla="*/ 61 w 112"/>
                  <a:gd name="T33" fmla="*/ 93 h 94"/>
                  <a:gd name="T34" fmla="*/ 65 w 112"/>
                  <a:gd name="T35" fmla="*/ 92 h 94"/>
                  <a:gd name="T36" fmla="*/ 71 w 112"/>
                  <a:gd name="T37" fmla="*/ 89 h 94"/>
                  <a:gd name="T38" fmla="*/ 76 w 112"/>
                  <a:gd name="T39" fmla="*/ 87 h 94"/>
                  <a:gd name="T40" fmla="*/ 81 w 112"/>
                  <a:gd name="T41" fmla="*/ 82 h 94"/>
                  <a:gd name="T42" fmla="*/ 82 w 112"/>
                  <a:gd name="T43" fmla="*/ 79 h 94"/>
                  <a:gd name="T44" fmla="*/ 78 w 112"/>
                  <a:gd name="T45" fmla="*/ 78 h 94"/>
                  <a:gd name="T46" fmla="*/ 76 w 112"/>
                  <a:gd name="T47" fmla="*/ 73 h 94"/>
                  <a:gd name="T48" fmla="*/ 72 w 112"/>
                  <a:gd name="T49" fmla="*/ 67 h 94"/>
                  <a:gd name="T50" fmla="*/ 78 w 112"/>
                  <a:gd name="T51" fmla="*/ 66 h 94"/>
                  <a:gd name="T52" fmla="*/ 85 w 112"/>
                  <a:gd name="T53" fmla="*/ 68 h 94"/>
                  <a:gd name="T54" fmla="*/ 88 w 112"/>
                  <a:gd name="T55" fmla="*/ 69 h 94"/>
                  <a:gd name="T56" fmla="*/ 93 w 112"/>
                  <a:gd name="T57" fmla="*/ 66 h 94"/>
                  <a:gd name="T58" fmla="*/ 103 w 112"/>
                  <a:gd name="T59" fmla="*/ 62 h 94"/>
                  <a:gd name="T60" fmla="*/ 106 w 112"/>
                  <a:gd name="T61" fmla="*/ 59 h 94"/>
                  <a:gd name="T62" fmla="*/ 100 w 112"/>
                  <a:gd name="T63" fmla="*/ 52 h 94"/>
                  <a:gd name="T64" fmla="*/ 101 w 112"/>
                  <a:gd name="T65" fmla="*/ 48 h 94"/>
                  <a:gd name="T66" fmla="*/ 105 w 112"/>
                  <a:gd name="T67" fmla="*/ 44 h 94"/>
                  <a:gd name="T68" fmla="*/ 106 w 112"/>
                  <a:gd name="T69" fmla="*/ 40 h 94"/>
                  <a:gd name="T70" fmla="*/ 109 w 112"/>
                  <a:gd name="T71" fmla="*/ 34 h 94"/>
                  <a:gd name="T72" fmla="*/ 112 w 112"/>
                  <a:gd name="T73" fmla="*/ 31 h 94"/>
                  <a:gd name="T74" fmla="*/ 100 w 112"/>
                  <a:gd name="T75" fmla="*/ 29 h 94"/>
                  <a:gd name="T76" fmla="*/ 102 w 112"/>
                  <a:gd name="T77" fmla="*/ 23 h 94"/>
                  <a:gd name="T78" fmla="*/ 90 w 112"/>
                  <a:gd name="T79" fmla="*/ 18 h 94"/>
                  <a:gd name="T80" fmla="*/ 92 w 112"/>
                  <a:gd name="T81" fmla="*/ 14 h 94"/>
                  <a:gd name="T82" fmla="*/ 85 w 112"/>
                  <a:gd name="T83" fmla="*/ 12 h 94"/>
                  <a:gd name="T84" fmla="*/ 69 w 112"/>
                  <a:gd name="T85" fmla="*/ 17 h 94"/>
                  <a:gd name="T86" fmla="*/ 54 w 112"/>
                  <a:gd name="T87" fmla="*/ 13 h 94"/>
                  <a:gd name="T88" fmla="*/ 44 w 112"/>
                  <a:gd name="T89" fmla="*/ 11 h 94"/>
                  <a:gd name="T90" fmla="*/ 37 w 112"/>
                  <a:gd name="T91" fmla="*/ 5 h 94"/>
                  <a:gd name="T92" fmla="*/ 31 w 112"/>
                  <a:gd name="T93" fmla="*/ 0 h 94"/>
                  <a:gd name="T94" fmla="*/ 28 w 112"/>
                  <a:gd name="T95" fmla="*/ 6 h 94"/>
                  <a:gd name="T96" fmla="*/ 17 w 112"/>
                  <a:gd name="T97" fmla="*/ 12 h 94"/>
                  <a:gd name="T98" fmla="*/ 20 w 112"/>
                  <a:gd name="T99" fmla="*/ 24 h 94"/>
                  <a:gd name="T100" fmla="*/ 11 w 112"/>
                  <a:gd name="T101" fmla="*/ 21 h 94"/>
                  <a:gd name="T102" fmla="*/ 15 w 112"/>
                  <a:gd name="T103" fmla="*/ 10 h 94"/>
                  <a:gd name="T104" fmla="*/ 14 w 112"/>
                  <a:gd name="T105" fmla="*/ 5 h 94"/>
                  <a:gd name="T106" fmla="*/ 11 w 112"/>
                  <a:gd name="T107" fmla="*/ 6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12" h="94">
                    <a:moveTo>
                      <a:pt x="11" y="6"/>
                    </a:moveTo>
                    <a:cubicBezTo>
                      <a:pt x="9" y="9"/>
                      <a:pt x="5" y="12"/>
                      <a:pt x="4" y="15"/>
                    </a:cubicBezTo>
                    <a:cubicBezTo>
                      <a:pt x="4" y="19"/>
                      <a:pt x="4" y="20"/>
                      <a:pt x="3" y="21"/>
                    </a:cubicBezTo>
                    <a:cubicBezTo>
                      <a:pt x="2" y="23"/>
                      <a:pt x="0" y="25"/>
                      <a:pt x="2" y="25"/>
                    </a:cubicBezTo>
                    <a:cubicBezTo>
                      <a:pt x="4" y="25"/>
                      <a:pt x="6" y="25"/>
                      <a:pt x="6" y="27"/>
                    </a:cubicBezTo>
                    <a:cubicBezTo>
                      <a:pt x="6" y="29"/>
                      <a:pt x="10" y="29"/>
                      <a:pt x="9" y="32"/>
                    </a:cubicBezTo>
                    <a:cubicBezTo>
                      <a:pt x="9" y="35"/>
                      <a:pt x="8" y="43"/>
                      <a:pt x="15" y="43"/>
                    </a:cubicBezTo>
                    <a:cubicBezTo>
                      <a:pt x="21" y="43"/>
                      <a:pt x="25" y="40"/>
                      <a:pt x="28" y="44"/>
                    </a:cubicBezTo>
                    <a:cubicBezTo>
                      <a:pt x="31" y="48"/>
                      <a:pt x="35" y="49"/>
                      <a:pt x="40" y="49"/>
                    </a:cubicBezTo>
                    <a:cubicBezTo>
                      <a:pt x="44" y="48"/>
                      <a:pt x="51" y="47"/>
                      <a:pt x="49" y="51"/>
                    </a:cubicBezTo>
                    <a:cubicBezTo>
                      <a:pt x="47" y="55"/>
                      <a:pt x="45" y="64"/>
                      <a:pt x="47" y="66"/>
                    </a:cubicBezTo>
                    <a:cubicBezTo>
                      <a:pt x="49" y="68"/>
                      <a:pt x="52" y="70"/>
                      <a:pt x="50" y="72"/>
                    </a:cubicBezTo>
                    <a:cubicBezTo>
                      <a:pt x="48" y="74"/>
                      <a:pt x="48" y="77"/>
                      <a:pt x="50" y="78"/>
                    </a:cubicBezTo>
                    <a:cubicBezTo>
                      <a:pt x="52" y="80"/>
                      <a:pt x="51" y="82"/>
                      <a:pt x="51" y="82"/>
                    </a:cubicBezTo>
                    <a:cubicBezTo>
                      <a:pt x="51" y="82"/>
                      <a:pt x="51" y="83"/>
                      <a:pt x="50" y="83"/>
                    </a:cubicBezTo>
                    <a:cubicBezTo>
                      <a:pt x="53" y="86"/>
                      <a:pt x="55" y="90"/>
                      <a:pt x="56" y="91"/>
                    </a:cubicBezTo>
                    <a:cubicBezTo>
                      <a:pt x="59" y="93"/>
                      <a:pt x="59" y="94"/>
                      <a:pt x="61" y="93"/>
                    </a:cubicBezTo>
                    <a:cubicBezTo>
                      <a:pt x="63" y="92"/>
                      <a:pt x="64" y="91"/>
                      <a:pt x="65" y="92"/>
                    </a:cubicBezTo>
                    <a:cubicBezTo>
                      <a:pt x="67" y="93"/>
                      <a:pt x="69" y="91"/>
                      <a:pt x="71" y="89"/>
                    </a:cubicBezTo>
                    <a:cubicBezTo>
                      <a:pt x="73" y="87"/>
                      <a:pt x="76" y="89"/>
                      <a:pt x="76" y="87"/>
                    </a:cubicBezTo>
                    <a:cubicBezTo>
                      <a:pt x="77" y="84"/>
                      <a:pt x="78" y="83"/>
                      <a:pt x="81" y="82"/>
                    </a:cubicBezTo>
                    <a:cubicBezTo>
                      <a:pt x="84" y="82"/>
                      <a:pt x="84" y="79"/>
                      <a:pt x="82" y="79"/>
                    </a:cubicBezTo>
                    <a:cubicBezTo>
                      <a:pt x="80" y="79"/>
                      <a:pt x="78" y="81"/>
                      <a:pt x="78" y="78"/>
                    </a:cubicBezTo>
                    <a:cubicBezTo>
                      <a:pt x="78" y="75"/>
                      <a:pt x="76" y="76"/>
                      <a:pt x="76" y="73"/>
                    </a:cubicBezTo>
                    <a:cubicBezTo>
                      <a:pt x="76" y="70"/>
                      <a:pt x="75" y="69"/>
                      <a:pt x="72" y="67"/>
                    </a:cubicBezTo>
                    <a:cubicBezTo>
                      <a:pt x="70" y="65"/>
                      <a:pt x="76" y="65"/>
                      <a:pt x="78" y="66"/>
                    </a:cubicBezTo>
                    <a:cubicBezTo>
                      <a:pt x="79" y="67"/>
                      <a:pt x="84" y="66"/>
                      <a:pt x="85" y="68"/>
                    </a:cubicBezTo>
                    <a:cubicBezTo>
                      <a:pt x="85" y="71"/>
                      <a:pt x="88" y="71"/>
                      <a:pt x="88" y="69"/>
                    </a:cubicBezTo>
                    <a:cubicBezTo>
                      <a:pt x="88" y="66"/>
                      <a:pt x="91" y="65"/>
                      <a:pt x="93" y="66"/>
                    </a:cubicBezTo>
                    <a:cubicBezTo>
                      <a:pt x="96" y="66"/>
                      <a:pt x="101" y="62"/>
                      <a:pt x="103" y="62"/>
                    </a:cubicBezTo>
                    <a:cubicBezTo>
                      <a:pt x="105" y="61"/>
                      <a:pt x="105" y="60"/>
                      <a:pt x="106" y="59"/>
                    </a:cubicBezTo>
                    <a:cubicBezTo>
                      <a:pt x="104" y="57"/>
                      <a:pt x="101" y="53"/>
                      <a:pt x="100" y="52"/>
                    </a:cubicBezTo>
                    <a:cubicBezTo>
                      <a:pt x="99" y="51"/>
                      <a:pt x="101" y="50"/>
                      <a:pt x="101" y="48"/>
                    </a:cubicBezTo>
                    <a:cubicBezTo>
                      <a:pt x="101" y="46"/>
                      <a:pt x="101" y="44"/>
                      <a:pt x="105" y="44"/>
                    </a:cubicBezTo>
                    <a:cubicBezTo>
                      <a:pt x="109" y="44"/>
                      <a:pt x="108" y="41"/>
                      <a:pt x="106" y="40"/>
                    </a:cubicBezTo>
                    <a:cubicBezTo>
                      <a:pt x="104" y="39"/>
                      <a:pt x="107" y="36"/>
                      <a:pt x="109" y="34"/>
                    </a:cubicBezTo>
                    <a:cubicBezTo>
                      <a:pt x="110" y="34"/>
                      <a:pt x="111" y="32"/>
                      <a:pt x="112" y="31"/>
                    </a:cubicBezTo>
                    <a:cubicBezTo>
                      <a:pt x="108" y="29"/>
                      <a:pt x="103" y="29"/>
                      <a:pt x="100" y="29"/>
                    </a:cubicBezTo>
                    <a:cubicBezTo>
                      <a:pt x="97" y="30"/>
                      <a:pt x="102" y="26"/>
                      <a:pt x="102" y="23"/>
                    </a:cubicBezTo>
                    <a:cubicBezTo>
                      <a:pt x="103" y="20"/>
                      <a:pt x="94" y="19"/>
                      <a:pt x="90" y="18"/>
                    </a:cubicBezTo>
                    <a:cubicBezTo>
                      <a:pt x="87" y="18"/>
                      <a:pt x="88" y="14"/>
                      <a:pt x="92" y="14"/>
                    </a:cubicBezTo>
                    <a:cubicBezTo>
                      <a:pt x="95" y="14"/>
                      <a:pt x="90" y="11"/>
                      <a:pt x="85" y="12"/>
                    </a:cubicBezTo>
                    <a:cubicBezTo>
                      <a:pt x="80" y="13"/>
                      <a:pt x="73" y="15"/>
                      <a:pt x="69" y="17"/>
                    </a:cubicBezTo>
                    <a:cubicBezTo>
                      <a:pt x="65" y="20"/>
                      <a:pt x="59" y="11"/>
                      <a:pt x="54" y="13"/>
                    </a:cubicBezTo>
                    <a:cubicBezTo>
                      <a:pt x="50" y="15"/>
                      <a:pt x="43" y="15"/>
                      <a:pt x="44" y="11"/>
                    </a:cubicBezTo>
                    <a:cubicBezTo>
                      <a:pt x="44" y="8"/>
                      <a:pt x="42" y="5"/>
                      <a:pt x="37" y="5"/>
                    </a:cubicBezTo>
                    <a:cubicBezTo>
                      <a:pt x="33" y="5"/>
                      <a:pt x="34" y="0"/>
                      <a:pt x="31" y="0"/>
                    </a:cubicBezTo>
                    <a:cubicBezTo>
                      <a:pt x="27" y="0"/>
                      <a:pt x="31" y="5"/>
                      <a:pt x="28" y="6"/>
                    </a:cubicBezTo>
                    <a:cubicBezTo>
                      <a:pt x="26" y="7"/>
                      <a:pt x="18" y="9"/>
                      <a:pt x="17" y="12"/>
                    </a:cubicBezTo>
                    <a:cubicBezTo>
                      <a:pt x="17" y="15"/>
                      <a:pt x="22" y="20"/>
                      <a:pt x="20" y="24"/>
                    </a:cubicBezTo>
                    <a:cubicBezTo>
                      <a:pt x="18" y="27"/>
                      <a:pt x="13" y="24"/>
                      <a:pt x="11" y="21"/>
                    </a:cubicBezTo>
                    <a:cubicBezTo>
                      <a:pt x="10" y="17"/>
                      <a:pt x="16" y="12"/>
                      <a:pt x="15" y="10"/>
                    </a:cubicBezTo>
                    <a:cubicBezTo>
                      <a:pt x="14" y="9"/>
                      <a:pt x="13" y="6"/>
                      <a:pt x="14" y="5"/>
                    </a:cubicBezTo>
                    <a:cubicBezTo>
                      <a:pt x="13" y="5"/>
                      <a:pt x="12" y="5"/>
                      <a:pt x="11" y="6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1" name="Freeform 118">
                <a:extLst>
                  <a:ext uri="{FF2B5EF4-FFF2-40B4-BE49-F238E27FC236}">
                    <a16:creationId xmlns:a16="http://schemas.microsoft.com/office/drawing/2014/main" id="{1F08A624-547B-48B0-8DC1-03FE5729F9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4376" y="3970599"/>
                <a:ext cx="81557" cy="85321"/>
              </a:xfrm>
              <a:custGeom>
                <a:avLst/>
                <a:gdLst>
                  <a:gd name="T0" fmla="*/ 9 w 35"/>
                  <a:gd name="T1" fmla="*/ 8 h 37"/>
                  <a:gd name="T2" fmla="*/ 5 w 35"/>
                  <a:gd name="T3" fmla="*/ 12 h 37"/>
                  <a:gd name="T4" fmla="*/ 2 w 35"/>
                  <a:gd name="T5" fmla="*/ 18 h 37"/>
                  <a:gd name="T6" fmla="*/ 8 w 35"/>
                  <a:gd name="T7" fmla="*/ 27 h 37"/>
                  <a:gd name="T8" fmla="*/ 13 w 35"/>
                  <a:gd name="T9" fmla="*/ 36 h 37"/>
                  <a:gd name="T10" fmla="*/ 17 w 35"/>
                  <a:gd name="T11" fmla="*/ 36 h 37"/>
                  <a:gd name="T12" fmla="*/ 20 w 35"/>
                  <a:gd name="T13" fmla="*/ 31 h 37"/>
                  <a:gd name="T14" fmla="*/ 29 w 35"/>
                  <a:gd name="T15" fmla="*/ 31 h 37"/>
                  <a:gd name="T16" fmla="*/ 30 w 35"/>
                  <a:gd name="T17" fmla="*/ 32 h 37"/>
                  <a:gd name="T18" fmla="*/ 33 w 35"/>
                  <a:gd name="T19" fmla="*/ 29 h 37"/>
                  <a:gd name="T20" fmla="*/ 32 w 35"/>
                  <a:gd name="T21" fmla="*/ 18 h 37"/>
                  <a:gd name="T22" fmla="*/ 33 w 35"/>
                  <a:gd name="T23" fmla="*/ 8 h 37"/>
                  <a:gd name="T24" fmla="*/ 35 w 35"/>
                  <a:gd name="T25" fmla="*/ 4 h 37"/>
                  <a:gd name="T26" fmla="*/ 27 w 35"/>
                  <a:gd name="T27" fmla="*/ 2 h 37"/>
                  <a:gd name="T28" fmla="*/ 16 w 35"/>
                  <a:gd name="T29" fmla="*/ 3 h 37"/>
                  <a:gd name="T30" fmla="*/ 10 w 35"/>
                  <a:gd name="T31" fmla="*/ 2 h 37"/>
                  <a:gd name="T32" fmla="*/ 9 w 35"/>
                  <a:gd name="T33" fmla="*/ 3 h 37"/>
                  <a:gd name="T34" fmla="*/ 9 w 35"/>
                  <a:gd name="T35" fmla="*/ 8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5" h="37">
                    <a:moveTo>
                      <a:pt x="9" y="8"/>
                    </a:moveTo>
                    <a:cubicBezTo>
                      <a:pt x="10" y="10"/>
                      <a:pt x="7" y="11"/>
                      <a:pt x="5" y="12"/>
                    </a:cubicBezTo>
                    <a:cubicBezTo>
                      <a:pt x="2" y="12"/>
                      <a:pt x="3" y="17"/>
                      <a:pt x="2" y="18"/>
                    </a:cubicBezTo>
                    <a:cubicBezTo>
                      <a:pt x="0" y="20"/>
                      <a:pt x="7" y="24"/>
                      <a:pt x="8" y="27"/>
                    </a:cubicBezTo>
                    <a:cubicBezTo>
                      <a:pt x="9" y="29"/>
                      <a:pt x="11" y="33"/>
                      <a:pt x="13" y="36"/>
                    </a:cubicBezTo>
                    <a:cubicBezTo>
                      <a:pt x="15" y="36"/>
                      <a:pt x="16" y="37"/>
                      <a:pt x="17" y="36"/>
                    </a:cubicBezTo>
                    <a:cubicBezTo>
                      <a:pt x="19" y="35"/>
                      <a:pt x="17" y="31"/>
                      <a:pt x="20" y="31"/>
                    </a:cubicBezTo>
                    <a:cubicBezTo>
                      <a:pt x="24" y="31"/>
                      <a:pt x="28" y="29"/>
                      <a:pt x="29" y="31"/>
                    </a:cubicBezTo>
                    <a:cubicBezTo>
                      <a:pt x="30" y="32"/>
                      <a:pt x="30" y="32"/>
                      <a:pt x="30" y="32"/>
                    </a:cubicBezTo>
                    <a:cubicBezTo>
                      <a:pt x="31" y="31"/>
                      <a:pt x="32" y="29"/>
                      <a:pt x="33" y="29"/>
                    </a:cubicBezTo>
                    <a:cubicBezTo>
                      <a:pt x="33" y="27"/>
                      <a:pt x="33" y="21"/>
                      <a:pt x="32" y="18"/>
                    </a:cubicBezTo>
                    <a:cubicBezTo>
                      <a:pt x="30" y="14"/>
                      <a:pt x="31" y="10"/>
                      <a:pt x="33" y="8"/>
                    </a:cubicBezTo>
                    <a:cubicBezTo>
                      <a:pt x="33" y="8"/>
                      <a:pt x="34" y="6"/>
                      <a:pt x="35" y="4"/>
                    </a:cubicBezTo>
                    <a:cubicBezTo>
                      <a:pt x="32" y="3"/>
                      <a:pt x="29" y="2"/>
                      <a:pt x="27" y="2"/>
                    </a:cubicBezTo>
                    <a:cubicBezTo>
                      <a:pt x="22" y="3"/>
                      <a:pt x="18" y="5"/>
                      <a:pt x="16" y="3"/>
                    </a:cubicBezTo>
                    <a:cubicBezTo>
                      <a:pt x="15" y="0"/>
                      <a:pt x="12" y="1"/>
                      <a:pt x="10" y="2"/>
                    </a:cubicBezTo>
                    <a:cubicBezTo>
                      <a:pt x="10" y="3"/>
                      <a:pt x="10" y="3"/>
                      <a:pt x="9" y="3"/>
                    </a:cubicBezTo>
                    <a:cubicBezTo>
                      <a:pt x="9" y="5"/>
                      <a:pt x="8" y="7"/>
                      <a:pt x="9" y="8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2" name="Freeform 119">
                <a:extLst>
                  <a:ext uri="{FF2B5EF4-FFF2-40B4-BE49-F238E27FC236}">
                    <a16:creationId xmlns:a16="http://schemas.microsoft.com/office/drawing/2014/main" id="{74E32B58-E4F8-4E88-A5CB-8EDD35949A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75404" y="3931703"/>
                <a:ext cx="89086" cy="136765"/>
              </a:xfrm>
              <a:custGeom>
                <a:avLst/>
                <a:gdLst>
                  <a:gd name="T0" fmla="*/ 10 w 39"/>
                  <a:gd name="T1" fmla="*/ 3 h 59"/>
                  <a:gd name="T2" fmla="*/ 7 w 39"/>
                  <a:gd name="T3" fmla="*/ 9 h 59"/>
                  <a:gd name="T4" fmla="*/ 6 w 39"/>
                  <a:gd name="T5" fmla="*/ 13 h 59"/>
                  <a:gd name="T6" fmla="*/ 2 w 39"/>
                  <a:gd name="T7" fmla="*/ 17 h 59"/>
                  <a:gd name="T8" fmla="*/ 1 w 39"/>
                  <a:gd name="T9" fmla="*/ 21 h 59"/>
                  <a:gd name="T10" fmla="*/ 7 w 39"/>
                  <a:gd name="T11" fmla="*/ 28 h 59"/>
                  <a:gd name="T12" fmla="*/ 9 w 39"/>
                  <a:gd name="T13" fmla="*/ 26 h 59"/>
                  <a:gd name="T14" fmla="*/ 13 w 39"/>
                  <a:gd name="T15" fmla="*/ 33 h 59"/>
                  <a:gd name="T16" fmla="*/ 14 w 39"/>
                  <a:gd name="T17" fmla="*/ 40 h 59"/>
                  <a:gd name="T18" fmla="*/ 15 w 39"/>
                  <a:gd name="T19" fmla="*/ 54 h 59"/>
                  <a:gd name="T20" fmla="*/ 24 w 39"/>
                  <a:gd name="T21" fmla="*/ 57 h 59"/>
                  <a:gd name="T22" fmla="*/ 29 w 39"/>
                  <a:gd name="T23" fmla="*/ 55 h 59"/>
                  <a:gd name="T24" fmla="*/ 33 w 39"/>
                  <a:gd name="T25" fmla="*/ 53 h 59"/>
                  <a:gd name="T26" fmla="*/ 39 w 39"/>
                  <a:gd name="T27" fmla="*/ 53 h 59"/>
                  <a:gd name="T28" fmla="*/ 34 w 39"/>
                  <a:gd name="T29" fmla="*/ 44 h 59"/>
                  <a:gd name="T30" fmla="*/ 28 w 39"/>
                  <a:gd name="T31" fmla="*/ 35 h 59"/>
                  <a:gd name="T32" fmla="*/ 31 w 39"/>
                  <a:gd name="T33" fmla="*/ 29 h 59"/>
                  <a:gd name="T34" fmla="*/ 35 w 39"/>
                  <a:gd name="T35" fmla="*/ 25 h 59"/>
                  <a:gd name="T36" fmla="*/ 35 w 39"/>
                  <a:gd name="T37" fmla="*/ 20 h 59"/>
                  <a:gd name="T38" fmla="*/ 28 w 39"/>
                  <a:gd name="T39" fmla="*/ 13 h 59"/>
                  <a:gd name="T40" fmla="*/ 24 w 39"/>
                  <a:gd name="T41" fmla="*/ 8 h 59"/>
                  <a:gd name="T42" fmla="*/ 16 w 39"/>
                  <a:gd name="T43" fmla="*/ 1 h 59"/>
                  <a:gd name="T44" fmla="*/ 13 w 39"/>
                  <a:gd name="T45" fmla="*/ 0 h 59"/>
                  <a:gd name="T46" fmla="*/ 10 w 39"/>
                  <a:gd name="T47" fmla="*/ 3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9" h="59">
                    <a:moveTo>
                      <a:pt x="10" y="3"/>
                    </a:moveTo>
                    <a:cubicBezTo>
                      <a:pt x="8" y="5"/>
                      <a:pt x="5" y="8"/>
                      <a:pt x="7" y="9"/>
                    </a:cubicBezTo>
                    <a:cubicBezTo>
                      <a:pt x="9" y="10"/>
                      <a:pt x="10" y="13"/>
                      <a:pt x="6" y="13"/>
                    </a:cubicBezTo>
                    <a:cubicBezTo>
                      <a:pt x="2" y="13"/>
                      <a:pt x="2" y="15"/>
                      <a:pt x="2" y="17"/>
                    </a:cubicBezTo>
                    <a:cubicBezTo>
                      <a:pt x="2" y="19"/>
                      <a:pt x="0" y="20"/>
                      <a:pt x="1" y="21"/>
                    </a:cubicBezTo>
                    <a:cubicBezTo>
                      <a:pt x="2" y="22"/>
                      <a:pt x="5" y="26"/>
                      <a:pt x="7" y="28"/>
                    </a:cubicBezTo>
                    <a:cubicBezTo>
                      <a:pt x="7" y="27"/>
                      <a:pt x="8" y="26"/>
                      <a:pt x="9" y="26"/>
                    </a:cubicBezTo>
                    <a:cubicBezTo>
                      <a:pt x="13" y="27"/>
                      <a:pt x="10" y="32"/>
                      <a:pt x="13" y="33"/>
                    </a:cubicBezTo>
                    <a:cubicBezTo>
                      <a:pt x="16" y="34"/>
                      <a:pt x="16" y="38"/>
                      <a:pt x="14" y="40"/>
                    </a:cubicBezTo>
                    <a:cubicBezTo>
                      <a:pt x="12" y="41"/>
                      <a:pt x="11" y="49"/>
                      <a:pt x="15" y="54"/>
                    </a:cubicBezTo>
                    <a:cubicBezTo>
                      <a:pt x="20" y="59"/>
                      <a:pt x="23" y="58"/>
                      <a:pt x="24" y="57"/>
                    </a:cubicBezTo>
                    <a:cubicBezTo>
                      <a:pt x="25" y="56"/>
                      <a:pt x="28" y="57"/>
                      <a:pt x="29" y="55"/>
                    </a:cubicBezTo>
                    <a:cubicBezTo>
                      <a:pt x="30" y="53"/>
                      <a:pt x="31" y="55"/>
                      <a:pt x="33" y="53"/>
                    </a:cubicBezTo>
                    <a:cubicBezTo>
                      <a:pt x="34" y="52"/>
                      <a:pt x="37" y="52"/>
                      <a:pt x="39" y="53"/>
                    </a:cubicBezTo>
                    <a:cubicBezTo>
                      <a:pt x="37" y="50"/>
                      <a:pt x="35" y="46"/>
                      <a:pt x="34" y="44"/>
                    </a:cubicBezTo>
                    <a:cubicBezTo>
                      <a:pt x="33" y="41"/>
                      <a:pt x="26" y="37"/>
                      <a:pt x="28" y="35"/>
                    </a:cubicBezTo>
                    <a:cubicBezTo>
                      <a:pt x="29" y="34"/>
                      <a:pt x="28" y="29"/>
                      <a:pt x="31" y="29"/>
                    </a:cubicBezTo>
                    <a:cubicBezTo>
                      <a:pt x="33" y="28"/>
                      <a:pt x="36" y="27"/>
                      <a:pt x="35" y="25"/>
                    </a:cubicBezTo>
                    <a:cubicBezTo>
                      <a:pt x="34" y="24"/>
                      <a:pt x="35" y="22"/>
                      <a:pt x="35" y="20"/>
                    </a:cubicBezTo>
                    <a:cubicBezTo>
                      <a:pt x="33" y="19"/>
                      <a:pt x="30" y="13"/>
                      <a:pt x="28" y="13"/>
                    </a:cubicBezTo>
                    <a:cubicBezTo>
                      <a:pt x="26" y="13"/>
                      <a:pt x="23" y="11"/>
                      <a:pt x="24" y="8"/>
                    </a:cubicBezTo>
                    <a:cubicBezTo>
                      <a:pt x="24" y="5"/>
                      <a:pt x="19" y="5"/>
                      <a:pt x="16" y="1"/>
                    </a:cubicBezTo>
                    <a:cubicBezTo>
                      <a:pt x="15" y="1"/>
                      <a:pt x="14" y="0"/>
                      <a:pt x="13" y="0"/>
                    </a:cubicBezTo>
                    <a:cubicBezTo>
                      <a:pt x="12" y="1"/>
                      <a:pt x="11" y="3"/>
                      <a:pt x="10" y="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3" name="Freeform 120">
                <a:extLst>
                  <a:ext uri="{FF2B5EF4-FFF2-40B4-BE49-F238E27FC236}">
                    <a16:creationId xmlns:a16="http://schemas.microsoft.com/office/drawing/2014/main" id="{172AAA69-DB34-4044-9451-5621A8CEDC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4641" y="3980637"/>
                <a:ext cx="56463" cy="71519"/>
              </a:xfrm>
              <a:custGeom>
                <a:avLst/>
                <a:gdLst>
                  <a:gd name="T0" fmla="*/ 2 w 25"/>
                  <a:gd name="T1" fmla="*/ 14 h 31"/>
                  <a:gd name="T2" fmla="*/ 3 w 25"/>
                  <a:gd name="T3" fmla="*/ 25 h 31"/>
                  <a:gd name="T4" fmla="*/ 0 w 25"/>
                  <a:gd name="T5" fmla="*/ 28 h 31"/>
                  <a:gd name="T6" fmla="*/ 7 w 25"/>
                  <a:gd name="T7" fmla="*/ 30 h 31"/>
                  <a:gd name="T8" fmla="*/ 16 w 25"/>
                  <a:gd name="T9" fmla="*/ 26 h 31"/>
                  <a:gd name="T10" fmla="*/ 25 w 25"/>
                  <a:gd name="T11" fmla="*/ 13 h 31"/>
                  <a:gd name="T12" fmla="*/ 25 w 25"/>
                  <a:gd name="T13" fmla="*/ 13 h 31"/>
                  <a:gd name="T14" fmla="*/ 11 w 25"/>
                  <a:gd name="T15" fmla="*/ 2 h 31"/>
                  <a:gd name="T16" fmla="*/ 5 w 25"/>
                  <a:gd name="T17" fmla="*/ 0 h 31"/>
                  <a:gd name="T18" fmla="*/ 3 w 25"/>
                  <a:gd name="T19" fmla="*/ 4 h 31"/>
                  <a:gd name="T20" fmla="*/ 2 w 25"/>
                  <a:gd name="T21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" h="31">
                    <a:moveTo>
                      <a:pt x="2" y="14"/>
                    </a:moveTo>
                    <a:cubicBezTo>
                      <a:pt x="3" y="17"/>
                      <a:pt x="3" y="23"/>
                      <a:pt x="3" y="25"/>
                    </a:cubicBezTo>
                    <a:cubicBezTo>
                      <a:pt x="2" y="25"/>
                      <a:pt x="1" y="27"/>
                      <a:pt x="0" y="28"/>
                    </a:cubicBezTo>
                    <a:cubicBezTo>
                      <a:pt x="1" y="30"/>
                      <a:pt x="4" y="31"/>
                      <a:pt x="7" y="30"/>
                    </a:cubicBezTo>
                    <a:cubicBezTo>
                      <a:pt x="12" y="28"/>
                      <a:pt x="14" y="31"/>
                      <a:pt x="16" y="26"/>
                    </a:cubicBezTo>
                    <a:cubicBezTo>
                      <a:pt x="17" y="22"/>
                      <a:pt x="22" y="17"/>
                      <a:pt x="25" y="13"/>
                    </a:cubicBezTo>
                    <a:cubicBezTo>
                      <a:pt x="25" y="13"/>
                      <a:pt x="25" y="13"/>
                      <a:pt x="25" y="13"/>
                    </a:cubicBezTo>
                    <a:cubicBezTo>
                      <a:pt x="22" y="12"/>
                      <a:pt x="17" y="4"/>
                      <a:pt x="11" y="2"/>
                    </a:cubicBezTo>
                    <a:cubicBezTo>
                      <a:pt x="9" y="2"/>
                      <a:pt x="7" y="1"/>
                      <a:pt x="5" y="0"/>
                    </a:cubicBezTo>
                    <a:cubicBezTo>
                      <a:pt x="4" y="2"/>
                      <a:pt x="3" y="4"/>
                      <a:pt x="3" y="4"/>
                    </a:cubicBezTo>
                    <a:cubicBezTo>
                      <a:pt x="1" y="6"/>
                      <a:pt x="0" y="10"/>
                      <a:pt x="2" y="14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4" name="Freeform 121">
                <a:extLst>
                  <a:ext uri="{FF2B5EF4-FFF2-40B4-BE49-F238E27FC236}">
                    <a16:creationId xmlns:a16="http://schemas.microsoft.com/office/drawing/2014/main" id="{EA3A0EB4-A1E4-49B0-8E77-8B2085E7F5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38760" y="3641861"/>
                <a:ext cx="196992" cy="69010"/>
              </a:xfrm>
              <a:custGeom>
                <a:avLst/>
                <a:gdLst>
                  <a:gd name="T0" fmla="*/ 69 w 85"/>
                  <a:gd name="T1" fmla="*/ 19 h 30"/>
                  <a:gd name="T2" fmla="*/ 30 w 85"/>
                  <a:gd name="T3" fmla="*/ 4 h 30"/>
                  <a:gd name="T4" fmla="*/ 1 w 85"/>
                  <a:gd name="T5" fmla="*/ 14 h 30"/>
                  <a:gd name="T6" fmla="*/ 15 w 85"/>
                  <a:gd name="T7" fmla="*/ 7 h 30"/>
                  <a:gd name="T8" fmla="*/ 23 w 85"/>
                  <a:gd name="T9" fmla="*/ 10 h 30"/>
                  <a:gd name="T10" fmla="*/ 37 w 85"/>
                  <a:gd name="T11" fmla="*/ 14 h 30"/>
                  <a:gd name="T12" fmla="*/ 54 w 85"/>
                  <a:gd name="T13" fmla="*/ 23 h 30"/>
                  <a:gd name="T14" fmla="*/ 58 w 85"/>
                  <a:gd name="T15" fmla="*/ 29 h 30"/>
                  <a:gd name="T16" fmla="*/ 84 w 85"/>
                  <a:gd name="T17" fmla="*/ 28 h 30"/>
                  <a:gd name="T18" fmla="*/ 69 w 85"/>
                  <a:gd name="T19" fmla="*/ 19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5" h="30">
                    <a:moveTo>
                      <a:pt x="69" y="19"/>
                    </a:moveTo>
                    <a:cubicBezTo>
                      <a:pt x="63" y="19"/>
                      <a:pt x="46" y="7"/>
                      <a:pt x="30" y="4"/>
                    </a:cubicBezTo>
                    <a:cubicBezTo>
                      <a:pt x="14" y="0"/>
                      <a:pt x="0" y="12"/>
                      <a:pt x="1" y="14"/>
                    </a:cubicBezTo>
                    <a:cubicBezTo>
                      <a:pt x="3" y="16"/>
                      <a:pt x="11" y="10"/>
                      <a:pt x="15" y="7"/>
                    </a:cubicBezTo>
                    <a:cubicBezTo>
                      <a:pt x="19" y="4"/>
                      <a:pt x="23" y="9"/>
                      <a:pt x="23" y="10"/>
                    </a:cubicBezTo>
                    <a:cubicBezTo>
                      <a:pt x="23" y="12"/>
                      <a:pt x="28" y="13"/>
                      <a:pt x="37" y="14"/>
                    </a:cubicBezTo>
                    <a:cubicBezTo>
                      <a:pt x="45" y="14"/>
                      <a:pt x="46" y="21"/>
                      <a:pt x="54" y="23"/>
                    </a:cubicBezTo>
                    <a:cubicBezTo>
                      <a:pt x="61" y="24"/>
                      <a:pt x="54" y="27"/>
                      <a:pt x="58" y="29"/>
                    </a:cubicBezTo>
                    <a:cubicBezTo>
                      <a:pt x="61" y="30"/>
                      <a:pt x="82" y="30"/>
                      <a:pt x="84" y="28"/>
                    </a:cubicBezTo>
                    <a:cubicBezTo>
                      <a:pt x="85" y="26"/>
                      <a:pt x="74" y="19"/>
                      <a:pt x="69" y="1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5" name="Freeform 122">
                <a:extLst>
                  <a:ext uri="{FF2B5EF4-FFF2-40B4-BE49-F238E27FC236}">
                    <a16:creationId xmlns:a16="http://schemas.microsoft.com/office/drawing/2014/main" id="{2D847BCB-CE0B-47A3-A342-080BC988D3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1685" y="3735965"/>
                <a:ext cx="43915" cy="21330"/>
              </a:xfrm>
              <a:custGeom>
                <a:avLst/>
                <a:gdLst>
                  <a:gd name="T0" fmla="*/ 1 w 19"/>
                  <a:gd name="T1" fmla="*/ 3 h 9"/>
                  <a:gd name="T2" fmla="*/ 18 w 19"/>
                  <a:gd name="T3" fmla="*/ 6 h 9"/>
                  <a:gd name="T4" fmla="*/ 1 w 19"/>
                  <a:gd name="T5" fmla="*/ 3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9" h="9">
                    <a:moveTo>
                      <a:pt x="1" y="3"/>
                    </a:moveTo>
                    <a:cubicBezTo>
                      <a:pt x="3" y="5"/>
                      <a:pt x="16" y="9"/>
                      <a:pt x="18" y="6"/>
                    </a:cubicBezTo>
                    <a:cubicBezTo>
                      <a:pt x="19" y="3"/>
                      <a:pt x="0" y="0"/>
                      <a:pt x="1" y="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6" name="Freeform 123">
                <a:extLst>
                  <a:ext uri="{FF2B5EF4-FFF2-40B4-BE49-F238E27FC236}">
                    <a16:creationId xmlns:a16="http://schemas.microsoft.com/office/drawing/2014/main" id="{57A08BF3-BA9E-4B6E-BC54-44D43F883E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59970" y="3733456"/>
                <a:ext cx="41406" cy="23840"/>
              </a:xfrm>
              <a:custGeom>
                <a:avLst/>
                <a:gdLst>
                  <a:gd name="T0" fmla="*/ 3 w 18"/>
                  <a:gd name="T1" fmla="*/ 5 h 10"/>
                  <a:gd name="T2" fmla="*/ 16 w 18"/>
                  <a:gd name="T3" fmla="*/ 5 h 10"/>
                  <a:gd name="T4" fmla="*/ 3 w 18"/>
                  <a:gd name="T5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10">
                    <a:moveTo>
                      <a:pt x="3" y="5"/>
                    </a:moveTo>
                    <a:cubicBezTo>
                      <a:pt x="6" y="10"/>
                      <a:pt x="15" y="7"/>
                      <a:pt x="16" y="5"/>
                    </a:cubicBezTo>
                    <a:cubicBezTo>
                      <a:pt x="18" y="1"/>
                      <a:pt x="0" y="0"/>
                      <a:pt x="3" y="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7" name="Freeform 124">
                <a:extLst>
                  <a:ext uri="{FF2B5EF4-FFF2-40B4-BE49-F238E27FC236}">
                    <a16:creationId xmlns:a16="http://schemas.microsoft.com/office/drawing/2014/main" id="{637D32A7-F7AA-428E-AA41-97308E4D8C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4005" y="4060939"/>
                <a:ext cx="112925" cy="124218"/>
              </a:xfrm>
              <a:custGeom>
                <a:avLst/>
                <a:gdLst>
                  <a:gd name="T0" fmla="*/ 44 w 49"/>
                  <a:gd name="T1" fmla="*/ 14 h 54"/>
                  <a:gd name="T2" fmla="*/ 39 w 49"/>
                  <a:gd name="T3" fmla="*/ 9 h 54"/>
                  <a:gd name="T4" fmla="*/ 33 w 49"/>
                  <a:gd name="T5" fmla="*/ 9 h 54"/>
                  <a:gd name="T6" fmla="*/ 28 w 49"/>
                  <a:gd name="T7" fmla="*/ 5 h 54"/>
                  <a:gd name="T8" fmla="*/ 18 w 49"/>
                  <a:gd name="T9" fmla="*/ 0 h 54"/>
                  <a:gd name="T10" fmla="*/ 18 w 49"/>
                  <a:gd name="T11" fmla="*/ 1 h 54"/>
                  <a:gd name="T12" fmla="*/ 12 w 49"/>
                  <a:gd name="T13" fmla="*/ 4 h 54"/>
                  <a:gd name="T14" fmla="*/ 9 w 49"/>
                  <a:gd name="T15" fmla="*/ 10 h 54"/>
                  <a:gd name="T16" fmla="*/ 6 w 49"/>
                  <a:gd name="T17" fmla="*/ 15 h 54"/>
                  <a:gd name="T18" fmla="*/ 4 w 49"/>
                  <a:gd name="T19" fmla="*/ 19 h 54"/>
                  <a:gd name="T20" fmla="*/ 2 w 49"/>
                  <a:gd name="T21" fmla="*/ 24 h 54"/>
                  <a:gd name="T22" fmla="*/ 1 w 49"/>
                  <a:gd name="T23" fmla="*/ 30 h 54"/>
                  <a:gd name="T24" fmla="*/ 6 w 49"/>
                  <a:gd name="T25" fmla="*/ 34 h 54"/>
                  <a:gd name="T26" fmla="*/ 10 w 49"/>
                  <a:gd name="T27" fmla="*/ 35 h 54"/>
                  <a:gd name="T28" fmla="*/ 6 w 49"/>
                  <a:gd name="T29" fmla="*/ 40 h 54"/>
                  <a:gd name="T30" fmla="*/ 6 w 49"/>
                  <a:gd name="T31" fmla="*/ 40 h 54"/>
                  <a:gd name="T32" fmla="*/ 7 w 49"/>
                  <a:gd name="T33" fmla="*/ 44 h 54"/>
                  <a:gd name="T34" fmla="*/ 7 w 49"/>
                  <a:gd name="T35" fmla="*/ 48 h 54"/>
                  <a:gd name="T36" fmla="*/ 13 w 49"/>
                  <a:gd name="T37" fmla="*/ 50 h 54"/>
                  <a:gd name="T38" fmla="*/ 19 w 49"/>
                  <a:gd name="T39" fmla="*/ 49 h 54"/>
                  <a:gd name="T40" fmla="*/ 26 w 49"/>
                  <a:gd name="T41" fmla="*/ 37 h 54"/>
                  <a:gd name="T42" fmla="*/ 42 w 49"/>
                  <a:gd name="T43" fmla="*/ 28 h 54"/>
                  <a:gd name="T44" fmla="*/ 47 w 49"/>
                  <a:gd name="T45" fmla="*/ 20 h 54"/>
                  <a:gd name="T46" fmla="*/ 44 w 49"/>
                  <a:gd name="T47" fmla="*/ 1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9" h="54">
                    <a:moveTo>
                      <a:pt x="44" y="14"/>
                    </a:moveTo>
                    <a:cubicBezTo>
                      <a:pt x="41" y="10"/>
                      <a:pt x="39" y="8"/>
                      <a:pt x="39" y="9"/>
                    </a:cubicBezTo>
                    <a:cubicBezTo>
                      <a:pt x="38" y="10"/>
                      <a:pt x="35" y="11"/>
                      <a:pt x="33" y="9"/>
                    </a:cubicBezTo>
                    <a:cubicBezTo>
                      <a:pt x="30" y="8"/>
                      <a:pt x="29" y="5"/>
                      <a:pt x="28" y="5"/>
                    </a:cubicBezTo>
                    <a:cubicBezTo>
                      <a:pt x="26" y="5"/>
                      <a:pt x="21" y="2"/>
                      <a:pt x="18" y="0"/>
                    </a:cubicBezTo>
                    <a:cubicBezTo>
                      <a:pt x="18" y="0"/>
                      <a:pt x="18" y="1"/>
                      <a:pt x="18" y="1"/>
                    </a:cubicBezTo>
                    <a:cubicBezTo>
                      <a:pt x="18" y="3"/>
                      <a:pt x="15" y="4"/>
                      <a:pt x="12" y="4"/>
                    </a:cubicBezTo>
                    <a:cubicBezTo>
                      <a:pt x="9" y="4"/>
                      <a:pt x="9" y="7"/>
                      <a:pt x="9" y="10"/>
                    </a:cubicBezTo>
                    <a:cubicBezTo>
                      <a:pt x="9" y="12"/>
                      <a:pt x="7" y="12"/>
                      <a:pt x="6" y="15"/>
                    </a:cubicBezTo>
                    <a:cubicBezTo>
                      <a:pt x="5" y="17"/>
                      <a:pt x="6" y="18"/>
                      <a:pt x="4" y="19"/>
                    </a:cubicBezTo>
                    <a:cubicBezTo>
                      <a:pt x="1" y="20"/>
                      <a:pt x="0" y="22"/>
                      <a:pt x="2" y="24"/>
                    </a:cubicBezTo>
                    <a:cubicBezTo>
                      <a:pt x="3" y="27"/>
                      <a:pt x="2" y="28"/>
                      <a:pt x="1" y="30"/>
                    </a:cubicBezTo>
                    <a:cubicBezTo>
                      <a:pt x="1" y="31"/>
                      <a:pt x="4" y="32"/>
                      <a:pt x="6" y="34"/>
                    </a:cubicBezTo>
                    <a:cubicBezTo>
                      <a:pt x="9" y="36"/>
                      <a:pt x="9" y="33"/>
                      <a:pt x="10" y="35"/>
                    </a:cubicBezTo>
                    <a:cubicBezTo>
                      <a:pt x="11" y="37"/>
                      <a:pt x="9" y="40"/>
                      <a:pt x="6" y="40"/>
                    </a:cubicBezTo>
                    <a:cubicBezTo>
                      <a:pt x="6" y="40"/>
                      <a:pt x="6" y="40"/>
                      <a:pt x="6" y="40"/>
                    </a:cubicBezTo>
                    <a:cubicBezTo>
                      <a:pt x="7" y="41"/>
                      <a:pt x="8" y="43"/>
                      <a:pt x="7" y="44"/>
                    </a:cubicBezTo>
                    <a:cubicBezTo>
                      <a:pt x="6" y="46"/>
                      <a:pt x="5" y="46"/>
                      <a:pt x="7" y="48"/>
                    </a:cubicBezTo>
                    <a:cubicBezTo>
                      <a:pt x="10" y="50"/>
                      <a:pt x="11" y="47"/>
                      <a:pt x="13" y="50"/>
                    </a:cubicBezTo>
                    <a:cubicBezTo>
                      <a:pt x="15" y="53"/>
                      <a:pt x="17" y="54"/>
                      <a:pt x="19" y="49"/>
                    </a:cubicBezTo>
                    <a:cubicBezTo>
                      <a:pt x="21" y="45"/>
                      <a:pt x="23" y="38"/>
                      <a:pt x="26" y="37"/>
                    </a:cubicBezTo>
                    <a:cubicBezTo>
                      <a:pt x="30" y="35"/>
                      <a:pt x="38" y="34"/>
                      <a:pt x="42" y="28"/>
                    </a:cubicBezTo>
                    <a:cubicBezTo>
                      <a:pt x="47" y="22"/>
                      <a:pt x="44" y="22"/>
                      <a:pt x="47" y="20"/>
                    </a:cubicBezTo>
                    <a:cubicBezTo>
                      <a:pt x="49" y="18"/>
                      <a:pt x="47" y="17"/>
                      <a:pt x="44" y="14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8" name="Freeform 125">
                <a:extLst>
                  <a:ext uri="{FF2B5EF4-FFF2-40B4-BE49-F238E27FC236}">
                    <a16:creationId xmlns:a16="http://schemas.microsoft.com/office/drawing/2014/main" id="{72613661-F14C-43F3-80EC-589B945A73D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563356" y="1960529"/>
                <a:ext cx="1135527" cy="848194"/>
              </a:xfrm>
              <a:custGeom>
                <a:avLst/>
                <a:gdLst>
                  <a:gd name="T0" fmla="*/ 432 w 493"/>
                  <a:gd name="T1" fmla="*/ 42 h 368"/>
                  <a:gd name="T2" fmla="*/ 396 w 493"/>
                  <a:gd name="T3" fmla="*/ 59 h 368"/>
                  <a:gd name="T4" fmla="*/ 394 w 493"/>
                  <a:gd name="T5" fmla="*/ 37 h 368"/>
                  <a:gd name="T6" fmla="*/ 352 w 493"/>
                  <a:gd name="T7" fmla="*/ 34 h 368"/>
                  <a:gd name="T8" fmla="*/ 393 w 493"/>
                  <a:gd name="T9" fmla="*/ 27 h 368"/>
                  <a:gd name="T10" fmla="*/ 390 w 493"/>
                  <a:gd name="T11" fmla="*/ 12 h 368"/>
                  <a:gd name="T12" fmla="*/ 333 w 493"/>
                  <a:gd name="T13" fmla="*/ 0 h 368"/>
                  <a:gd name="T14" fmla="*/ 280 w 493"/>
                  <a:gd name="T15" fmla="*/ 7 h 368"/>
                  <a:gd name="T16" fmla="*/ 240 w 493"/>
                  <a:gd name="T17" fmla="*/ 7 h 368"/>
                  <a:gd name="T18" fmla="*/ 207 w 493"/>
                  <a:gd name="T19" fmla="*/ 22 h 368"/>
                  <a:gd name="T20" fmla="*/ 199 w 493"/>
                  <a:gd name="T21" fmla="*/ 26 h 368"/>
                  <a:gd name="T22" fmla="*/ 176 w 493"/>
                  <a:gd name="T23" fmla="*/ 33 h 368"/>
                  <a:gd name="T24" fmla="*/ 154 w 493"/>
                  <a:gd name="T25" fmla="*/ 41 h 368"/>
                  <a:gd name="T26" fmla="*/ 116 w 493"/>
                  <a:gd name="T27" fmla="*/ 34 h 368"/>
                  <a:gd name="T28" fmla="*/ 95 w 493"/>
                  <a:gd name="T29" fmla="*/ 50 h 368"/>
                  <a:gd name="T30" fmla="*/ 63 w 493"/>
                  <a:gd name="T31" fmla="*/ 70 h 368"/>
                  <a:gd name="T32" fmla="*/ 0 w 493"/>
                  <a:gd name="T33" fmla="*/ 101 h 368"/>
                  <a:gd name="T34" fmla="*/ 40 w 493"/>
                  <a:gd name="T35" fmla="*/ 113 h 368"/>
                  <a:gd name="T36" fmla="*/ 11 w 493"/>
                  <a:gd name="T37" fmla="*/ 123 h 368"/>
                  <a:gd name="T38" fmla="*/ 36 w 493"/>
                  <a:gd name="T39" fmla="*/ 138 h 368"/>
                  <a:gd name="T40" fmla="*/ 67 w 493"/>
                  <a:gd name="T41" fmla="*/ 137 h 368"/>
                  <a:gd name="T42" fmla="*/ 116 w 493"/>
                  <a:gd name="T43" fmla="*/ 150 h 368"/>
                  <a:gd name="T44" fmla="*/ 140 w 493"/>
                  <a:gd name="T45" fmla="*/ 183 h 368"/>
                  <a:gd name="T46" fmla="*/ 144 w 493"/>
                  <a:gd name="T47" fmla="*/ 212 h 368"/>
                  <a:gd name="T48" fmla="*/ 174 w 493"/>
                  <a:gd name="T49" fmla="*/ 222 h 368"/>
                  <a:gd name="T50" fmla="*/ 171 w 493"/>
                  <a:gd name="T51" fmla="*/ 234 h 368"/>
                  <a:gd name="T52" fmla="*/ 167 w 493"/>
                  <a:gd name="T53" fmla="*/ 254 h 368"/>
                  <a:gd name="T54" fmla="*/ 161 w 493"/>
                  <a:gd name="T55" fmla="*/ 278 h 368"/>
                  <a:gd name="T56" fmla="*/ 168 w 493"/>
                  <a:gd name="T57" fmla="*/ 311 h 368"/>
                  <a:gd name="T58" fmla="*/ 183 w 493"/>
                  <a:gd name="T59" fmla="*/ 330 h 368"/>
                  <a:gd name="T60" fmla="*/ 205 w 493"/>
                  <a:gd name="T61" fmla="*/ 355 h 368"/>
                  <a:gd name="T62" fmla="*/ 236 w 493"/>
                  <a:gd name="T63" fmla="*/ 367 h 368"/>
                  <a:gd name="T64" fmla="*/ 245 w 493"/>
                  <a:gd name="T65" fmla="*/ 336 h 368"/>
                  <a:gd name="T66" fmla="*/ 259 w 493"/>
                  <a:gd name="T67" fmla="*/ 320 h 368"/>
                  <a:gd name="T68" fmla="*/ 261 w 493"/>
                  <a:gd name="T69" fmla="*/ 305 h 368"/>
                  <a:gd name="T70" fmla="*/ 274 w 493"/>
                  <a:gd name="T71" fmla="*/ 295 h 368"/>
                  <a:gd name="T72" fmla="*/ 286 w 493"/>
                  <a:gd name="T73" fmla="*/ 292 h 368"/>
                  <a:gd name="T74" fmla="*/ 329 w 493"/>
                  <a:gd name="T75" fmla="*/ 263 h 368"/>
                  <a:gd name="T76" fmla="*/ 356 w 493"/>
                  <a:gd name="T77" fmla="*/ 256 h 368"/>
                  <a:gd name="T78" fmla="*/ 411 w 493"/>
                  <a:gd name="T79" fmla="*/ 232 h 368"/>
                  <a:gd name="T80" fmla="*/ 381 w 493"/>
                  <a:gd name="T81" fmla="*/ 225 h 368"/>
                  <a:gd name="T82" fmla="*/ 412 w 493"/>
                  <a:gd name="T83" fmla="*/ 227 h 368"/>
                  <a:gd name="T84" fmla="*/ 406 w 493"/>
                  <a:gd name="T85" fmla="*/ 200 h 368"/>
                  <a:gd name="T86" fmla="*/ 390 w 493"/>
                  <a:gd name="T87" fmla="*/ 186 h 368"/>
                  <a:gd name="T88" fmla="*/ 425 w 493"/>
                  <a:gd name="T89" fmla="*/ 181 h 368"/>
                  <a:gd name="T90" fmla="*/ 434 w 493"/>
                  <a:gd name="T91" fmla="*/ 164 h 368"/>
                  <a:gd name="T92" fmla="*/ 430 w 493"/>
                  <a:gd name="T93" fmla="*/ 138 h 368"/>
                  <a:gd name="T94" fmla="*/ 421 w 493"/>
                  <a:gd name="T95" fmla="*/ 127 h 368"/>
                  <a:gd name="T96" fmla="*/ 424 w 493"/>
                  <a:gd name="T97" fmla="*/ 115 h 368"/>
                  <a:gd name="T98" fmla="*/ 412 w 493"/>
                  <a:gd name="T99" fmla="*/ 110 h 368"/>
                  <a:gd name="T100" fmla="*/ 445 w 493"/>
                  <a:gd name="T101" fmla="*/ 76 h 368"/>
                  <a:gd name="T102" fmla="*/ 437 w 493"/>
                  <a:gd name="T103" fmla="*/ 67 h 368"/>
                  <a:gd name="T104" fmla="*/ 446 w 493"/>
                  <a:gd name="T105" fmla="*/ 58 h 368"/>
                  <a:gd name="T106" fmla="*/ 493 w 493"/>
                  <a:gd name="T107" fmla="*/ 41 h 368"/>
                  <a:gd name="T108" fmla="*/ 162 w 493"/>
                  <a:gd name="T109" fmla="*/ 235 h 368"/>
                  <a:gd name="T110" fmla="*/ 154 w 493"/>
                  <a:gd name="T111" fmla="*/ 244 h 3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493" h="368">
                    <a:moveTo>
                      <a:pt x="465" y="34"/>
                    </a:moveTo>
                    <a:cubicBezTo>
                      <a:pt x="456" y="34"/>
                      <a:pt x="449" y="35"/>
                      <a:pt x="449" y="41"/>
                    </a:cubicBezTo>
                    <a:cubicBezTo>
                      <a:pt x="448" y="47"/>
                      <a:pt x="437" y="40"/>
                      <a:pt x="432" y="42"/>
                    </a:cubicBezTo>
                    <a:cubicBezTo>
                      <a:pt x="427" y="44"/>
                      <a:pt x="430" y="37"/>
                      <a:pt x="425" y="40"/>
                    </a:cubicBezTo>
                    <a:cubicBezTo>
                      <a:pt x="420" y="42"/>
                      <a:pt x="415" y="48"/>
                      <a:pt x="409" y="50"/>
                    </a:cubicBezTo>
                    <a:cubicBezTo>
                      <a:pt x="404" y="52"/>
                      <a:pt x="399" y="58"/>
                      <a:pt x="396" y="59"/>
                    </a:cubicBezTo>
                    <a:cubicBezTo>
                      <a:pt x="392" y="59"/>
                      <a:pt x="403" y="48"/>
                      <a:pt x="409" y="42"/>
                    </a:cubicBezTo>
                    <a:cubicBezTo>
                      <a:pt x="415" y="36"/>
                      <a:pt x="412" y="30"/>
                      <a:pt x="404" y="31"/>
                    </a:cubicBezTo>
                    <a:cubicBezTo>
                      <a:pt x="397" y="31"/>
                      <a:pt x="398" y="36"/>
                      <a:pt x="394" y="37"/>
                    </a:cubicBezTo>
                    <a:cubicBezTo>
                      <a:pt x="390" y="38"/>
                      <a:pt x="369" y="48"/>
                      <a:pt x="368" y="45"/>
                    </a:cubicBezTo>
                    <a:cubicBezTo>
                      <a:pt x="367" y="42"/>
                      <a:pt x="385" y="37"/>
                      <a:pt x="385" y="35"/>
                    </a:cubicBezTo>
                    <a:cubicBezTo>
                      <a:pt x="385" y="32"/>
                      <a:pt x="362" y="32"/>
                      <a:pt x="352" y="34"/>
                    </a:cubicBezTo>
                    <a:cubicBezTo>
                      <a:pt x="342" y="35"/>
                      <a:pt x="325" y="41"/>
                      <a:pt x="325" y="38"/>
                    </a:cubicBezTo>
                    <a:cubicBezTo>
                      <a:pt x="324" y="35"/>
                      <a:pt x="345" y="31"/>
                      <a:pt x="355" y="30"/>
                    </a:cubicBezTo>
                    <a:cubicBezTo>
                      <a:pt x="366" y="29"/>
                      <a:pt x="385" y="31"/>
                      <a:pt x="393" y="27"/>
                    </a:cubicBezTo>
                    <a:cubicBezTo>
                      <a:pt x="401" y="24"/>
                      <a:pt x="413" y="24"/>
                      <a:pt x="416" y="21"/>
                    </a:cubicBezTo>
                    <a:cubicBezTo>
                      <a:pt x="418" y="18"/>
                      <a:pt x="406" y="15"/>
                      <a:pt x="401" y="15"/>
                    </a:cubicBezTo>
                    <a:cubicBezTo>
                      <a:pt x="395" y="15"/>
                      <a:pt x="389" y="15"/>
                      <a:pt x="390" y="12"/>
                    </a:cubicBezTo>
                    <a:cubicBezTo>
                      <a:pt x="390" y="9"/>
                      <a:pt x="381" y="8"/>
                      <a:pt x="380" y="6"/>
                    </a:cubicBezTo>
                    <a:cubicBezTo>
                      <a:pt x="379" y="4"/>
                      <a:pt x="361" y="6"/>
                      <a:pt x="357" y="3"/>
                    </a:cubicBezTo>
                    <a:cubicBezTo>
                      <a:pt x="354" y="1"/>
                      <a:pt x="342" y="0"/>
                      <a:pt x="333" y="0"/>
                    </a:cubicBezTo>
                    <a:cubicBezTo>
                      <a:pt x="323" y="1"/>
                      <a:pt x="304" y="1"/>
                      <a:pt x="299" y="1"/>
                    </a:cubicBezTo>
                    <a:cubicBezTo>
                      <a:pt x="295" y="2"/>
                      <a:pt x="292" y="3"/>
                      <a:pt x="288" y="3"/>
                    </a:cubicBezTo>
                    <a:cubicBezTo>
                      <a:pt x="284" y="3"/>
                      <a:pt x="278" y="4"/>
                      <a:pt x="280" y="7"/>
                    </a:cubicBezTo>
                    <a:cubicBezTo>
                      <a:pt x="284" y="12"/>
                      <a:pt x="274" y="14"/>
                      <a:pt x="274" y="10"/>
                    </a:cubicBezTo>
                    <a:cubicBezTo>
                      <a:pt x="275" y="6"/>
                      <a:pt x="265" y="5"/>
                      <a:pt x="262" y="7"/>
                    </a:cubicBezTo>
                    <a:cubicBezTo>
                      <a:pt x="258" y="10"/>
                      <a:pt x="242" y="4"/>
                      <a:pt x="240" y="7"/>
                    </a:cubicBezTo>
                    <a:cubicBezTo>
                      <a:pt x="238" y="11"/>
                      <a:pt x="219" y="10"/>
                      <a:pt x="213" y="11"/>
                    </a:cubicBezTo>
                    <a:cubicBezTo>
                      <a:pt x="208" y="11"/>
                      <a:pt x="222" y="16"/>
                      <a:pt x="222" y="18"/>
                    </a:cubicBezTo>
                    <a:cubicBezTo>
                      <a:pt x="221" y="20"/>
                      <a:pt x="204" y="18"/>
                      <a:pt x="207" y="22"/>
                    </a:cubicBezTo>
                    <a:cubicBezTo>
                      <a:pt x="211" y="26"/>
                      <a:pt x="222" y="30"/>
                      <a:pt x="228" y="35"/>
                    </a:cubicBezTo>
                    <a:cubicBezTo>
                      <a:pt x="233" y="40"/>
                      <a:pt x="223" y="37"/>
                      <a:pt x="217" y="33"/>
                    </a:cubicBezTo>
                    <a:cubicBezTo>
                      <a:pt x="211" y="29"/>
                      <a:pt x="203" y="31"/>
                      <a:pt x="199" y="26"/>
                    </a:cubicBezTo>
                    <a:cubicBezTo>
                      <a:pt x="196" y="22"/>
                      <a:pt x="181" y="19"/>
                      <a:pt x="178" y="22"/>
                    </a:cubicBezTo>
                    <a:cubicBezTo>
                      <a:pt x="174" y="25"/>
                      <a:pt x="188" y="30"/>
                      <a:pt x="188" y="33"/>
                    </a:cubicBezTo>
                    <a:cubicBezTo>
                      <a:pt x="188" y="36"/>
                      <a:pt x="178" y="32"/>
                      <a:pt x="176" y="33"/>
                    </a:cubicBezTo>
                    <a:cubicBezTo>
                      <a:pt x="175" y="35"/>
                      <a:pt x="166" y="25"/>
                      <a:pt x="162" y="25"/>
                    </a:cubicBezTo>
                    <a:cubicBezTo>
                      <a:pt x="157" y="25"/>
                      <a:pt x="161" y="30"/>
                      <a:pt x="161" y="36"/>
                    </a:cubicBezTo>
                    <a:cubicBezTo>
                      <a:pt x="161" y="41"/>
                      <a:pt x="152" y="45"/>
                      <a:pt x="154" y="41"/>
                    </a:cubicBezTo>
                    <a:cubicBezTo>
                      <a:pt x="157" y="37"/>
                      <a:pt x="155" y="26"/>
                      <a:pt x="150" y="25"/>
                    </a:cubicBezTo>
                    <a:cubicBezTo>
                      <a:pt x="145" y="23"/>
                      <a:pt x="132" y="29"/>
                      <a:pt x="125" y="28"/>
                    </a:cubicBezTo>
                    <a:cubicBezTo>
                      <a:pt x="119" y="28"/>
                      <a:pt x="110" y="30"/>
                      <a:pt x="116" y="34"/>
                    </a:cubicBezTo>
                    <a:cubicBezTo>
                      <a:pt x="121" y="37"/>
                      <a:pt x="115" y="39"/>
                      <a:pt x="110" y="35"/>
                    </a:cubicBezTo>
                    <a:cubicBezTo>
                      <a:pt x="105" y="32"/>
                      <a:pt x="89" y="35"/>
                      <a:pt x="92" y="38"/>
                    </a:cubicBezTo>
                    <a:cubicBezTo>
                      <a:pt x="96" y="40"/>
                      <a:pt x="97" y="47"/>
                      <a:pt x="95" y="50"/>
                    </a:cubicBezTo>
                    <a:cubicBezTo>
                      <a:pt x="93" y="53"/>
                      <a:pt x="86" y="47"/>
                      <a:pt x="79" y="47"/>
                    </a:cubicBezTo>
                    <a:cubicBezTo>
                      <a:pt x="73" y="48"/>
                      <a:pt x="41" y="63"/>
                      <a:pt x="43" y="67"/>
                    </a:cubicBezTo>
                    <a:cubicBezTo>
                      <a:pt x="45" y="71"/>
                      <a:pt x="58" y="68"/>
                      <a:pt x="63" y="70"/>
                    </a:cubicBezTo>
                    <a:cubicBezTo>
                      <a:pt x="67" y="73"/>
                      <a:pt x="61" y="81"/>
                      <a:pt x="56" y="85"/>
                    </a:cubicBezTo>
                    <a:cubicBezTo>
                      <a:pt x="51" y="89"/>
                      <a:pt x="31" y="85"/>
                      <a:pt x="31" y="89"/>
                    </a:cubicBezTo>
                    <a:cubicBezTo>
                      <a:pt x="30" y="94"/>
                      <a:pt x="0" y="94"/>
                      <a:pt x="0" y="101"/>
                    </a:cubicBezTo>
                    <a:cubicBezTo>
                      <a:pt x="0" y="104"/>
                      <a:pt x="2" y="107"/>
                      <a:pt x="5" y="107"/>
                    </a:cubicBezTo>
                    <a:cubicBezTo>
                      <a:pt x="9" y="108"/>
                      <a:pt x="14" y="107"/>
                      <a:pt x="18" y="111"/>
                    </a:cubicBezTo>
                    <a:cubicBezTo>
                      <a:pt x="22" y="115"/>
                      <a:pt x="33" y="116"/>
                      <a:pt x="40" y="113"/>
                    </a:cubicBezTo>
                    <a:cubicBezTo>
                      <a:pt x="47" y="110"/>
                      <a:pt x="53" y="113"/>
                      <a:pt x="53" y="118"/>
                    </a:cubicBezTo>
                    <a:cubicBezTo>
                      <a:pt x="52" y="122"/>
                      <a:pt x="36" y="116"/>
                      <a:pt x="31" y="119"/>
                    </a:cubicBezTo>
                    <a:cubicBezTo>
                      <a:pt x="26" y="122"/>
                      <a:pt x="11" y="119"/>
                      <a:pt x="11" y="123"/>
                    </a:cubicBezTo>
                    <a:cubicBezTo>
                      <a:pt x="12" y="126"/>
                      <a:pt x="20" y="125"/>
                      <a:pt x="26" y="127"/>
                    </a:cubicBezTo>
                    <a:cubicBezTo>
                      <a:pt x="32" y="128"/>
                      <a:pt x="26" y="130"/>
                      <a:pt x="26" y="133"/>
                    </a:cubicBezTo>
                    <a:cubicBezTo>
                      <a:pt x="26" y="136"/>
                      <a:pt x="29" y="135"/>
                      <a:pt x="36" y="138"/>
                    </a:cubicBezTo>
                    <a:cubicBezTo>
                      <a:pt x="42" y="141"/>
                      <a:pt x="52" y="143"/>
                      <a:pt x="49" y="140"/>
                    </a:cubicBezTo>
                    <a:cubicBezTo>
                      <a:pt x="45" y="136"/>
                      <a:pt x="55" y="137"/>
                      <a:pt x="57" y="139"/>
                    </a:cubicBezTo>
                    <a:cubicBezTo>
                      <a:pt x="58" y="141"/>
                      <a:pt x="63" y="136"/>
                      <a:pt x="67" y="137"/>
                    </a:cubicBezTo>
                    <a:cubicBezTo>
                      <a:pt x="72" y="138"/>
                      <a:pt x="74" y="133"/>
                      <a:pt x="77" y="135"/>
                    </a:cubicBezTo>
                    <a:cubicBezTo>
                      <a:pt x="81" y="137"/>
                      <a:pt x="97" y="139"/>
                      <a:pt x="103" y="142"/>
                    </a:cubicBezTo>
                    <a:cubicBezTo>
                      <a:pt x="109" y="145"/>
                      <a:pt x="117" y="146"/>
                      <a:pt x="116" y="150"/>
                    </a:cubicBezTo>
                    <a:cubicBezTo>
                      <a:pt x="115" y="155"/>
                      <a:pt x="121" y="158"/>
                      <a:pt x="127" y="161"/>
                    </a:cubicBezTo>
                    <a:cubicBezTo>
                      <a:pt x="134" y="164"/>
                      <a:pt x="135" y="170"/>
                      <a:pt x="135" y="174"/>
                    </a:cubicBezTo>
                    <a:cubicBezTo>
                      <a:pt x="134" y="178"/>
                      <a:pt x="141" y="181"/>
                      <a:pt x="140" y="183"/>
                    </a:cubicBezTo>
                    <a:cubicBezTo>
                      <a:pt x="139" y="185"/>
                      <a:pt x="140" y="187"/>
                      <a:pt x="144" y="191"/>
                    </a:cubicBezTo>
                    <a:cubicBezTo>
                      <a:pt x="149" y="195"/>
                      <a:pt x="138" y="198"/>
                      <a:pt x="140" y="201"/>
                    </a:cubicBezTo>
                    <a:cubicBezTo>
                      <a:pt x="143" y="204"/>
                      <a:pt x="136" y="211"/>
                      <a:pt x="144" y="212"/>
                    </a:cubicBezTo>
                    <a:cubicBezTo>
                      <a:pt x="152" y="213"/>
                      <a:pt x="150" y="207"/>
                      <a:pt x="156" y="207"/>
                    </a:cubicBezTo>
                    <a:cubicBezTo>
                      <a:pt x="162" y="207"/>
                      <a:pt x="156" y="212"/>
                      <a:pt x="159" y="215"/>
                    </a:cubicBezTo>
                    <a:cubicBezTo>
                      <a:pt x="162" y="218"/>
                      <a:pt x="169" y="217"/>
                      <a:pt x="174" y="222"/>
                    </a:cubicBezTo>
                    <a:cubicBezTo>
                      <a:pt x="180" y="227"/>
                      <a:pt x="177" y="230"/>
                      <a:pt x="171" y="226"/>
                    </a:cubicBezTo>
                    <a:cubicBezTo>
                      <a:pt x="166" y="221"/>
                      <a:pt x="150" y="222"/>
                      <a:pt x="150" y="224"/>
                    </a:cubicBezTo>
                    <a:cubicBezTo>
                      <a:pt x="150" y="225"/>
                      <a:pt x="167" y="235"/>
                      <a:pt x="171" y="234"/>
                    </a:cubicBezTo>
                    <a:cubicBezTo>
                      <a:pt x="175" y="232"/>
                      <a:pt x="181" y="240"/>
                      <a:pt x="178" y="242"/>
                    </a:cubicBezTo>
                    <a:cubicBezTo>
                      <a:pt x="176" y="245"/>
                      <a:pt x="177" y="250"/>
                      <a:pt x="177" y="253"/>
                    </a:cubicBezTo>
                    <a:cubicBezTo>
                      <a:pt x="176" y="256"/>
                      <a:pt x="170" y="253"/>
                      <a:pt x="167" y="254"/>
                    </a:cubicBezTo>
                    <a:cubicBezTo>
                      <a:pt x="163" y="254"/>
                      <a:pt x="160" y="255"/>
                      <a:pt x="160" y="260"/>
                    </a:cubicBezTo>
                    <a:cubicBezTo>
                      <a:pt x="160" y="264"/>
                      <a:pt x="154" y="266"/>
                      <a:pt x="154" y="271"/>
                    </a:cubicBezTo>
                    <a:cubicBezTo>
                      <a:pt x="153" y="276"/>
                      <a:pt x="158" y="276"/>
                      <a:pt x="161" y="278"/>
                    </a:cubicBezTo>
                    <a:cubicBezTo>
                      <a:pt x="164" y="280"/>
                      <a:pt x="156" y="282"/>
                      <a:pt x="155" y="285"/>
                    </a:cubicBezTo>
                    <a:cubicBezTo>
                      <a:pt x="155" y="289"/>
                      <a:pt x="163" y="295"/>
                      <a:pt x="166" y="297"/>
                    </a:cubicBezTo>
                    <a:cubicBezTo>
                      <a:pt x="169" y="299"/>
                      <a:pt x="167" y="307"/>
                      <a:pt x="168" y="311"/>
                    </a:cubicBezTo>
                    <a:cubicBezTo>
                      <a:pt x="169" y="315"/>
                      <a:pt x="173" y="310"/>
                      <a:pt x="173" y="315"/>
                    </a:cubicBezTo>
                    <a:cubicBezTo>
                      <a:pt x="172" y="320"/>
                      <a:pt x="176" y="320"/>
                      <a:pt x="177" y="323"/>
                    </a:cubicBezTo>
                    <a:cubicBezTo>
                      <a:pt x="177" y="326"/>
                      <a:pt x="184" y="326"/>
                      <a:pt x="183" y="330"/>
                    </a:cubicBezTo>
                    <a:cubicBezTo>
                      <a:pt x="181" y="334"/>
                      <a:pt x="185" y="338"/>
                      <a:pt x="187" y="340"/>
                    </a:cubicBezTo>
                    <a:cubicBezTo>
                      <a:pt x="188" y="342"/>
                      <a:pt x="194" y="346"/>
                      <a:pt x="196" y="349"/>
                    </a:cubicBezTo>
                    <a:cubicBezTo>
                      <a:pt x="197" y="352"/>
                      <a:pt x="200" y="357"/>
                      <a:pt x="205" y="355"/>
                    </a:cubicBezTo>
                    <a:cubicBezTo>
                      <a:pt x="209" y="354"/>
                      <a:pt x="209" y="358"/>
                      <a:pt x="213" y="358"/>
                    </a:cubicBezTo>
                    <a:cubicBezTo>
                      <a:pt x="216" y="357"/>
                      <a:pt x="221" y="359"/>
                      <a:pt x="222" y="362"/>
                    </a:cubicBezTo>
                    <a:cubicBezTo>
                      <a:pt x="223" y="364"/>
                      <a:pt x="233" y="367"/>
                      <a:pt x="236" y="367"/>
                    </a:cubicBezTo>
                    <a:cubicBezTo>
                      <a:pt x="239" y="368"/>
                      <a:pt x="239" y="362"/>
                      <a:pt x="242" y="361"/>
                    </a:cubicBezTo>
                    <a:cubicBezTo>
                      <a:pt x="245" y="360"/>
                      <a:pt x="244" y="349"/>
                      <a:pt x="246" y="348"/>
                    </a:cubicBezTo>
                    <a:cubicBezTo>
                      <a:pt x="248" y="348"/>
                      <a:pt x="248" y="337"/>
                      <a:pt x="245" y="336"/>
                    </a:cubicBezTo>
                    <a:cubicBezTo>
                      <a:pt x="243" y="335"/>
                      <a:pt x="244" y="331"/>
                      <a:pt x="249" y="332"/>
                    </a:cubicBezTo>
                    <a:cubicBezTo>
                      <a:pt x="255" y="333"/>
                      <a:pt x="253" y="327"/>
                      <a:pt x="256" y="326"/>
                    </a:cubicBezTo>
                    <a:cubicBezTo>
                      <a:pt x="258" y="326"/>
                      <a:pt x="257" y="321"/>
                      <a:pt x="259" y="320"/>
                    </a:cubicBezTo>
                    <a:cubicBezTo>
                      <a:pt x="261" y="320"/>
                      <a:pt x="261" y="316"/>
                      <a:pt x="259" y="314"/>
                    </a:cubicBezTo>
                    <a:cubicBezTo>
                      <a:pt x="258" y="313"/>
                      <a:pt x="259" y="311"/>
                      <a:pt x="262" y="311"/>
                    </a:cubicBezTo>
                    <a:cubicBezTo>
                      <a:pt x="265" y="310"/>
                      <a:pt x="264" y="306"/>
                      <a:pt x="261" y="305"/>
                    </a:cubicBezTo>
                    <a:cubicBezTo>
                      <a:pt x="257" y="303"/>
                      <a:pt x="258" y="299"/>
                      <a:pt x="262" y="302"/>
                    </a:cubicBezTo>
                    <a:cubicBezTo>
                      <a:pt x="266" y="304"/>
                      <a:pt x="268" y="302"/>
                      <a:pt x="266" y="299"/>
                    </a:cubicBezTo>
                    <a:cubicBezTo>
                      <a:pt x="264" y="297"/>
                      <a:pt x="269" y="295"/>
                      <a:pt x="274" y="295"/>
                    </a:cubicBezTo>
                    <a:cubicBezTo>
                      <a:pt x="279" y="294"/>
                      <a:pt x="281" y="292"/>
                      <a:pt x="281" y="288"/>
                    </a:cubicBezTo>
                    <a:cubicBezTo>
                      <a:pt x="280" y="284"/>
                      <a:pt x="286" y="284"/>
                      <a:pt x="285" y="288"/>
                    </a:cubicBezTo>
                    <a:cubicBezTo>
                      <a:pt x="283" y="291"/>
                      <a:pt x="284" y="294"/>
                      <a:pt x="286" y="292"/>
                    </a:cubicBezTo>
                    <a:cubicBezTo>
                      <a:pt x="289" y="289"/>
                      <a:pt x="293" y="291"/>
                      <a:pt x="301" y="289"/>
                    </a:cubicBezTo>
                    <a:cubicBezTo>
                      <a:pt x="309" y="286"/>
                      <a:pt x="317" y="280"/>
                      <a:pt x="319" y="273"/>
                    </a:cubicBezTo>
                    <a:cubicBezTo>
                      <a:pt x="321" y="267"/>
                      <a:pt x="330" y="268"/>
                      <a:pt x="329" y="263"/>
                    </a:cubicBezTo>
                    <a:cubicBezTo>
                      <a:pt x="328" y="259"/>
                      <a:pt x="331" y="257"/>
                      <a:pt x="337" y="260"/>
                    </a:cubicBezTo>
                    <a:cubicBezTo>
                      <a:pt x="343" y="263"/>
                      <a:pt x="338" y="258"/>
                      <a:pt x="344" y="258"/>
                    </a:cubicBezTo>
                    <a:cubicBezTo>
                      <a:pt x="351" y="258"/>
                      <a:pt x="350" y="256"/>
                      <a:pt x="356" y="256"/>
                    </a:cubicBezTo>
                    <a:cubicBezTo>
                      <a:pt x="363" y="255"/>
                      <a:pt x="379" y="253"/>
                      <a:pt x="385" y="248"/>
                    </a:cubicBezTo>
                    <a:cubicBezTo>
                      <a:pt x="391" y="243"/>
                      <a:pt x="403" y="239"/>
                      <a:pt x="408" y="236"/>
                    </a:cubicBezTo>
                    <a:cubicBezTo>
                      <a:pt x="413" y="233"/>
                      <a:pt x="414" y="230"/>
                      <a:pt x="411" y="232"/>
                    </a:cubicBezTo>
                    <a:cubicBezTo>
                      <a:pt x="408" y="234"/>
                      <a:pt x="402" y="234"/>
                      <a:pt x="397" y="233"/>
                    </a:cubicBezTo>
                    <a:cubicBezTo>
                      <a:pt x="392" y="231"/>
                      <a:pt x="384" y="227"/>
                      <a:pt x="379" y="230"/>
                    </a:cubicBezTo>
                    <a:cubicBezTo>
                      <a:pt x="373" y="234"/>
                      <a:pt x="377" y="226"/>
                      <a:pt x="381" y="225"/>
                    </a:cubicBezTo>
                    <a:cubicBezTo>
                      <a:pt x="386" y="225"/>
                      <a:pt x="384" y="222"/>
                      <a:pt x="383" y="218"/>
                    </a:cubicBezTo>
                    <a:cubicBezTo>
                      <a:pt x="382" y="213"/>
                      <a:pt x="390" y="216"/>
                      <a:pt x="394" y="221"/>
                    </a:cubicBezTo>
                    <a:cubicBezTo>
                      <a:pt x="398" y="227"/>
                      <a:pt x="405" y="229"/>
                      <a:pt x="412" y="227"/>
                    </a:cubicBezTo>
                    <a:cubicBezTo>
                      <a:pt x="418" y="226"/>
                      <a:pt x="412" y="220"/>
                      <a:pt x="415" y="217"/>
                    </a:cubicBezTo>
                    <a:cubicBezTo>
                      <a:pt x="417" y="213"/>
                      <a:pt x="395" y="202"/>
                      <a:pt x="394" y="198"/>
                    </a:cubicBezTo>
                    <a:cubicBezTo>
                      <a:pt x="393" y="194"/>
                      <a:pt x="399" y="197"/>
                      <a:pt x="406" y="200"/>
                    </a:cubicBezTo>
                    <a:cubicBezTo>
                      <a:pt x="412" y="202"/>
                      <a:pt x="413" y="195"/>
                      <a:pt x="413" y="191"/>
                    </a:cubicBezTo>
                    <a:cubicBezTo>
                      <a:pt x="413" y="188"/>
                      <a:pt x="400" y="188"/>
                      <a:pt x="394" y="191"/>
                    </a:cubicBezTo>
                    <a:cubicBezTo>
                      <a:pt x="388" y="194"/>
                      <a:pt x="382" y="187"/>
                      <a:pt x="390" y="186"/>
                    </a:cubicBezTo>
                    <a:cubicBezTo>
                      <a:pt x="398" y="185"/>
                      <a:pt x="391" y="182"/>
                      <a:pt x="393" y="179"/>
                    </a:cubicBezTo>
                    <a:cubicBezTo>
                      <a:pt x="396" y="177"/>
                      <a:pt x="406" y="186"/>
                      <a:pt x="411" y="184"/>
                    </a:cubicBezTo>
                    <a:cubicBezTo>
                      <a:pt x="417" y="183"/>
                      <a:pt x="420" y="185"/>
                      <a:pt x="425" y="181"/>
                    </a:cubicBezTo>
                    <a:cubicBezTo>
                      <a:pt x="429" y="177"/>
                      <a:pt x="417" y="174"/>
                      <a:pt x="414" y="171"/>
                    </a:cubicBezTo>
                    <a:cubicBezTo>
                      <a:pt x="412" y="168"/>
                      <a:pt x="427" y="169"/>
                      <a:pt x="432" y="169"/>
                    </a:cubicBezTo>
                    <a:cubicBezTo>
                      <a:pt x="437" y="170"/>
                      <a:pt x="438" y="162"/>
                      <a:pt x="434" y="164"/>
                    </a:cubicBezTo>
                    <a:cubicBezTo>
                      <a:pt x="430" y="165"/>
                      <a:pt x="417" y="159"/>
                      <a:pt x="420" y="155"/>
                    </a:cubicBezTo>
                    <a:cubicBezTo>
                      <a:pt x="422" y="151"/>
                      <a:pt x="428" y="156"/>
                      <a:pt x="434" y="152"/>
                    </a:cubicBezTo>
                    <a:cubicBezTo>
                      <a:pt x="440" y="149"/>
                      <a:pt x="434" y="138"/>
                      <a:pt x="430" y="138"/>
                    </a:cubicBezTo>
                    <a:cubicBezTo>
                      <a:pt x="426" y="138"/>
                      <a:pt x="416" y="136"/>
                      <a:pt x="416" y="134"/>
                    </a:cubicBezTo>
                    <a:cubicBezTo>
                      <a:pt x="416" y="132"/>
                      <a:pt x="407" y="130"/>
                      <a:pt x="410" y="128"/>
                    </a:cubicBezTo>
                    <a:cubicBezTo>
                      <a:pt x="412" y="126"/>
                      <a:pt x="415" y="131"/>
                      <a:pt x="421" y="127"/>
                    </a:cubicBezTo>
                    <a:cubicBezTo>
                      <a:pt x="426" y="123"/>
                      <a:pt x="437" y="128"/>
                      <a:pt x="442" y="127"/>
                    </a:cubicBezTo>
                    <a:cubicBezTo>
                      <a:pt x="447" y="126"/>
                      <a:pt x="440" y="116"/>
                      <a:pt x="437" y="118"/>
                    </a:cubicBezTo>
                    <a:cubicBezTo>
                      <a:pt x="435" y="120"/>
                      <a:pt x="425" y="120"/>
                      <a:pt x="424" y="115"/>
                    </a:cubicBezTo>
                    <a:cubicBezTo>
                      <a:pt x="423" y="110"/>
                      <a:pt x="433" y="115"/>
                      <a:pt x="435" y="113"/>
                    </a:cubicBezTo>
                    <a:cubicBezTo>
                      <a:pt x="437" y="110"/>
                      <a:pt x="421" y="104"/>
                      <a:pt x="419" y="109"/>
                    </a:cubicBezTo>
                    <a:cubicBezTo>
                      <a:pt x="417" y="114"/>
                      <a:pt x="408" y="113"/>
                      <a:pt x="412" y="110"/>
                    </a:cubicBezTo>
                    <a:cubicBezTo>
                      <a:pt x="417" y="107"/>
                      <a:pt x="418" y="99"/>
                      <a:pt x="417" y="95"/>
                    </a:cubicBezTo>
                    <a:cubicBezTo>
                      <a:pt x="417" y="91"/>
                      <a:pt x="434" y="90"/>
                      <a:pt x="432" y="84"/>
                    </a:cubicBezTo>
                    <a:cubicBezTo>
                      <a:pt x="430" y="77"/>
                      <a:pt x="440" y="76"/>
                      <a:pt x="445" y="76"/>
                    </a:cubicBezTo>
                    <a:cubicBezTo>
                      <a:pt x="451" y="76"/>
                      <a:pt x="445" y="69"/>
                      <a:pt x="440" y="69"/>
                    </a:cubicBezTo>
                    <a:cubicBezTo>
                      <a:pt x="434" y="70"/>
                      <a:pt x="429" y="76"/>
                      <a:pt x="426" y="74"/>
                    </a:cubicBezTo>
                    <a:cubicBezTo>
                      <a:pt x="424" y="71"/>
                      <a:pt x="432" y="67"/>
                      <a:pt x="437" y="67"/>
                    </a:cubicBezTo>
                    <a:cubicBezTo>
                      <a:pt x="442" y="67"/>
                      <a:pt x="453" y="66"/>
                      <a:pt x="457" y="64"/>
                    </a:cubicBezTo>
                    <a:cubicBezTo>
                      <a:pt x="461" y="62"/>
                      <a:pt x="450" y="60"/>
                      <a:pt x="443" y="60"/>
                    </a:cubicBezTo>
                    <a:cubicBezTo>
                      <a:pt x="435" y="61"/>
                      <a:pt x="435" y="58"/>
                      <a:pt x="446" y="58"/>
                    </a:cubicBezTo>
                    <a:cubicBezTo>
                      <a:pt x="458" y="58"/>
                      <a:pt x="456" y="55"/>
                      <a:pt x="464" y="54"/>
                    </a:cubicBezTo>
                    <a:cubicBezTo>
                      <a:pt x="472" y="53"/>
                      <a:pt x="470" y="50"/>
                      <a:pt x="475" y="50"/>
                    </a:cubicBezTo>
                    <a:cubicBezTo>
                      <a:pt x="480" y="50"/>
                      <a:pt x="493" y="44"/>
                      <a:pt x="493" y="41"/>
                    </a:cubicBezTo>
                    <a:cubicBezTo>
                      <a:pt x="493" y="39"/>
                      <a:pt x="474" y="34"/>
                      <a:pt x="465" y="34"/>
                    </a:cubicBezTo>
                    <a:close/>
                    <a:moveTo>
                      <a:pt x="169" y="241"/>
                    </a:moveTo>
                    <a:cubicBezTo>
                      <a:pt x="169" y="237"/>
                      <a:pt x="165" y="239"/>
                      <a:pt x="162" y="235"/>
                    </a:cubicBezTo>
                    <a:cubicBezTo>
                      <a:pt x="160" y="230"/>
                      <a:pt x="148" y="228"/>
                      <a:pt x="147" y="232"/>
                    </a:cubicBezTo>
                    <a:cubicBezTo>
                      <a:pt x="146" y="233"/>
                      <a:pt x="142" y="235"/>
                      <a:pt x="145" y="239"/>
                    </a:cubicBezTo>
                    <a:cubicBezTo>
                      <a:pt x="149" y="242"/>
                      <a:pt x="151" y="241"/>
                      <a:pt x="154" y="244"/>
                    </a:cubicBezTo>
                    <a:cubicBezTo>
                      <a:pt x="158" y="247"/>
                      <a:pt x="169" y="245"/>
                      <a:pt x="169" y="24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9" name="Freeform 127">
                <a:extLst>
                  <a:ext uri="{FF2B5EF4-FFF2-40B4-BE49-F238E27FC236}">
                    <a16:creationId xmlns:a16="http://schemas.microsoft.com/office/drawing/2014/main" id="{7F1FC9B7-0096-47E5-A400-B2BBDD7BE3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5409" y="2456146"/>
                <a:ext cx="718958" cy="495617"/>
              </a:xfrm>
              <a:custGeom>
                <a:avLst/>
                <a:gdLst>
                  <a:gd name="T0" fmla="*/ 285 w 312"/>
                  <a:gd name="T1" fmla="*/ 178 h 215"/>
                  <a:gd name="T2" fmla="*/ 249 w 312"/>
                  <a:gd name="T3" fmla="*/ 163 h 215"/>
                  <a:gd name="T4" fmla="*/ 230 w 312"/>
                  <a:gd name="T5" fmla="*/ 147 h 215"/>
                  <a:gd name="T6" fmla="*/ 218 w 312"/>
                  <a:gd name="T7" fmla="*/ 25 h 215"/>
                  <a:gd name="T8" fmla="*/ 182 w 312"/>
                  <a:gd name="T9" fmla="*/ 20 h 215"/>
                  <a:gd name="T10" fmla="*/ 132 w 312"/>
                  <a:gd name="T11" fmla="*/ 14 h 215"/>
                  <a:gd name="T12" fmla="*/ 110 w 312"/>
                  <a:gd name="T13" fmla="*/ 8 h 215"/>
                  <a:gd name="T14" fmla="*/ 96 w 312"/>
                  <a:gd name="T15" fmla="*/ 7 h 215"/>
                  <a:gd name="T16" fmla="*/ 85 w 312"/>
                  <a:gd name="T17" fmla="*/ 6 h 215"/>
                  <a:gd name="T18" fmla="*/ 66 w 312"/>
                  <a:gd name="T19" fmla="*/ 15 h 215"/>
                  <a:gd name="T20" fmla="*/ 39 w 312"/>
                  <a:gd name="T21" fmla="*/ 24 h 215"/>
                  <a:gd name="T22" fmla="*/ 13 w 312"/>
                  <a:gd name="T23" fmla="*/ 42 h 215"/>
                  <a:gd name="T24" fmla="*/ 49 w 312"/>
                  <a:gd name="T25" fmla="*/ 62 h 215"/>
                  <a:gd name="T26" fmla="*/ 50 w 312"/>
                  <a:gd name="T27" fmla="*/ 73 h 215"/>
                  <a:gd name="T28" fmla="*/ 33 w 312"/>
                  <a:gd name="T29" fmla="*/ 69 h 215"/>
                  <a:gd name="T30" fmla="*/ 12 w 312"/>
                  <a:gd name="T31" fmla="*/ 75 h 215"/>
                  <a:gd name="T32" fmla="*/ 11 w 312"/>
                  <a:gd name="T33" fmla="*/ 90 h 215"/>
                  <a:gd name="T34" fmla="*/ 42 w 312"/>
                  <a:gd name="T35" fmla="*/ 97 h 215"/>
                  <a:gd name="T36" fmla="*/ 55 w 312"/>
                  <a:gd name="T37" fmla="*/ 108 h 215"/>
                  <a:gd name="T38" fmla="*/ 30 w 312"/>
                  <a:gd name="T39" fmla="*/ 112 h 215"/>
                  <a:gd name="T40" fmla="*/ 15 w 312"/>
                  <a:gd name="T41" fmla="*/ 134 h 215"/>
                  <a:gd name="T42" fmla="*/ 32 w 312"/>
                  <a:gd name="T43" fmla="*/ 156 h 215"/>
                  <a:gd name="T44" fmla="*/ 49 w 312"/>
                  <a:gd name="T45" fmla="*/ 160 h 215"/>
                  <a:gd name="T46" fmla="*/ 68 w 312"/>
                  <a:gd name="T47" fmla="*/ 168 h 215"/>
                  <a:gd name="T48" fmla="*/ 85 w 312"/>
                  <a:gd name="T49" fmla="*/ 166 h 215"/>
                  <a:gd name="T50" fmla="*/ 73 w 312"/>
                  <a:gd name="T51" fmla="*/ 191 h 215"/>
                  <a:gd name="T52" fmla="*/ 41 w 312"/>
                  <a:gd name="T53" fmla="*/ 212 h 215"/>
                  <a:gd name="T54" fmla="*/ 60 w 312"/>
                  <a:gd name="T55" fmla="*/ 204 h 215"/>
                  <a:gd name="T56" fmla="*/ 78 w 312"/>
                  <a:gd name="T57" fmla="*/ 196 h 215"/>
                  <a:gd name="T58" fmla="*/ 104 w 312"/>
                  <a:gd name="T59" fmla="*/ 178 h 215"/>
                  <a:gd name="T60" fmla="*/ 117 w 312"/>
                  <a:gd name="T61" fmla="*/ 166 h 215"/>
                  <a:gd name="T62" fmla="*/ 123 w 312"/>
                  <a:gd name="T63" fmla="*/ 152 h 215"/>
                  <a:gd name="T64" fmla="*/ 139 w 312"/>
                  <a:gd name="T65" fmla="*/ 136 h 215"/>
                  <a:gd name="T66" fmla="*/ 136 w 312"/>
                  <a:gd name="T67" fmla="*/ 143 h 215"/>
                  <a:gd name="T68" fmla="*/ 130 w 312"/>
                  <a:gd name="T69" fmla="*/ 160 h 215"/>
                  <a:gd name="T70" fmla="*/ 161 w 312"/>
                  <a:gd name="T71" fmla="*/ 153 h 215"/>
                  <a:gd name="T72" fmla="*/ 160 w 312"/>
                  <a:gd name="T73" fmla="*/ 140 h 215"/>
                  <a:gd name="T74" fmla="*/ 177 w 312"/>
                  <a:gd name="T75" fmla="*/ 143 h 215"/>
                  <a:gd name="T76" fmla="*/ 181 w 312"/>
                  <a:gd name="T77" fmla="*/ 148 h 215"/>
                  <a:gd name="T78" fmla="*/ 196 w 312"/>
                  <a:gd name="T79" fmla="*/ 151 h 215"/>
                  <a:gd name="T80" fmla="*/ 231 w 312"/>
                  <a:gd name="T81" fmla="*/ 153 h 215"/>
                  <a:gd name="T82" fmla="*/ 243 w 312"/>
                  <a:gd name="T83" fmla="*/ 165 h 215"/>
                  <a:gd name="T84" fmla="*/ 263 w 312"/>
                  <a:gd name="T85" fmla="*/ 172 h 215"/>
                  <a:gd name="T86" fmla="*/ 268 w 312"/>
                  <a:gd name="T87" fmla="*/ 177 h 215"/>
                  <a:gd name="T88" fmla="*/ 263 w 312"/>
                  <a:gd name="T89" fmla="*/ 185 h 215"/>
                  <a:gd name="T90" fmla="*/ 268 w 312"/>
                  <a:gd name="T91" fmla="*/ 186 h 215"/>
                  <a:gd name="T92" fmla="*/ 275 w 312"/>
                  <a:gd name="T93" fmla="*/ 184 h 215"/>
                  <a:gd name="T94" fmla="*/ 277 w 312"/>
                  <a:gd name="T95" fmla="*/ 187 h 215"/>
                  <a:gd name="T96" fmla="*/ 277 w 312"/>
                  <a:gd name="T97" fmla="*/ 195 h 215"/>
                  <a:gd name="T98" fmla="*/ 286 w 312"/>
                  <a:gd name="T99" fmla="*/ 195 h 215"/>
                  <a:gd name="T100" fmla="*/ 288 w 312"/>
                  <a:gd name="T101" fmla="*/ 203 h 215"/>
                  <a:gd name="T102" fmla="*/ 282 w 312"/>
                  <a:gd name="T103" fmla="*/ 214 h 215"/>
                  <a:gd name="T104" fmla="*/ 291 w 312"/>
                  <a:gd name="T105" fmla="*/ 208 h 215"/>
                  <a:gd name="T106" fmla="*/ 300 w 312"/>
                  <a:gd name="T107" fmla="*/ 213 h 215"/>
                  <a:gd name="T108" fmla="*/ 309 w 312"/>
                  <a:gd name="T109" fmla="*/ 211 h 2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312" h="215">
                    <a:moveTo>
                      <a:pt x="307" y="203"/>
                    </a:moveTo>
                    <a:cubicBezTo>
                      <a:pt x="308" y="200"/>
                      <a:pt x="308" y="198"/>
                      <a:pt x="299" y="195"/>
                    </a:cubicBezTo>
                    <a:cubicBezTo>
                      <a:pt x="290" y="191"/>
                      <a:pt x="291" y="189"/>
                      <a:pt x="285" y="178"/>
                    </a:cubicBezTo>
                    <a:cubicBezTo>
                      <a:pt x="279" y="167"/>
                      <a:pt x="268" y="162"/>
                      <a:pt x="268" y="158"/>
                    </a:cubicBezTo>
                    <a:cubicBezTo>
                      <a:pt x="268" y="154"/>
                      <a:pt x="257" y="155"/>
                      <a:pt x="257" y="158"/>
                    </a:cubicBezTo>
                    <a:cubicBezTo>
                      <a:pt x="257" y="161"/>
                      <a:pt x="252" y="162"/>
                      <a:pt x="249" y="163"/>
                    </a:cubicBezTo>
                    <a:cubicBezTo>
                      <a:pt x="247" y="165"/>
                      <a:pt x="246" y="162"/>
                      <a:pt x="243" y="159"/>
                    </a:cubicBezTo>
                    <a:cubicBezTo>
                      <a:pt x="241" y="156"/>
                      <a:pt x="235" y="153"/>
                      <a:pt x="235" y="151"/>
                    </a:cubicBezTo>
                    <a:cubicBezTo>
                      <a:pt x="235" y="149"/>
                      <a:pt x="234" y="145"/>
                      <a:pt x="230" y="147"/>
                    </a:cubicBezTo>
                    <a:cubicBezTo>
                      <a:pt x="226" y="149"/>
                      <a:pt x="224" y="147"/>
                      <a:pt x="222" y="149"/>
                    </a:cubicBezTo>
                    <a:cubicBezTo>
                      <a:pt x="221" y="150"/>
                      <a:pt x="218" y="148"/>
                      <a:pt x="218" y="148"/>
                    </a:cubicBezTo>
                    <a:cubicBezTo>
                      <a:pt x="218" y="25"/>
                      <a:pt x="218" y="25"/>
                      <a:pt x="218" y="25"/>
                    </a:cubicBezTo>
                    <a:cubicBezTo>
                      <a:pt x="217" y="24"/>
                      <a:pt x="215" y="24"/>
                      <a:pt x="214" y="24"/>
                    </a:cubicBezTo>
                    <a:cubicBezTo>
                      <a:pt x="209" y="22"/>
                      <a:pt x="202" y="18"/>
                      <a:pt x="197" y="19"/>
                    </a:cubicBezTo>
                    <a:cubicBezTo>
                      <a:pt x="193" y="20"/>
                      <a:pt x="185" y="21"/>
                      <a:pt x="182" y="20"/>
                    </a:cubicBezTo>
                    <a:cubicBezTo>
                      <a:pt x="179" y="18"/>
                      <a:pt x="175" y="17"/>
                      <a:pt x="170" y="18"/>
                    </a:cubicBezTo>
                    <a:cubicBezTo>
                      <a:pt x="164" y="19"/>
                      <a:pt x="160" y="15"/>
                      <a:pt x="152" y="13"/>
                    </a:cubicBezTo>
                    <a:cubicBezTo>
                      <a:pt x="145" y="11"/>
                      <a:pt x="134" y="13"/>
                      <a:pt x="132" y="14"/>
                    </a:cubicBezTo>
                    <a:cubicBezTo>
                      <a:pt x="129" y="15"/>
                      <a:pt x="130" y="12"/>
                      <a:pt x="127" y="12"/>
                    </a:cubicBezTo>
                    <a:cubicBezTo>
                      <a:pt x="124" y="12"/>
                      <a:pt x="126" y="11"/>
                      <a:pt x="124" y="8"/>
                    </a:cubicBezTo>
                    <a:cubicBezTo>
                      <a:pt x="123" y="5"/>
                      <a:pt x="114" y="8"/>
                      <a:pt x="110" y="8"/>
                    </a:cubicBezTo>
                    <a:cubicBezTo>
                      <a:pt x="107" y="8"/>
                      <a:pt x="106" y="6"/>
                      <a:pt x="106" y="5"/>
                    </a:cubicBezTo>
                    <a:cubicBezTo>
                      <a:pt x="107" y="3"/>
                      <a:pt x="104" y="4"/>
                      <a:pt x="102" y="6"/>
                    </a:cubicBezTo>
                    <a:cubicBezTo>
                      <a:pt x="101" y="8"/>
                      <a:pt x="98" y="8"/>
                      <a:pt x="96" y="7"/>
                    </a:cubicBezTo>
                    <a:cubicBezTo>
                      <a:pt x="95" y="6"/>
                      <a:pt x="99" y="5"/>
                      <a:pt x="99" y="3"/>
                    </a:cubicBezTo>
                    <a:cubicBezTo>
                      <a:pt x="100" y="2"/>
                      <a:pt x="95" y="1"/>
                      <a:pt x="93" y="0"/>
                    </a:cubicBezTo>
                    <a:cubicBezTo>
                      <a:pt x="91" y="0"/>
                      <a:pt x="88" y="2"/>
                      <a:pt x="85" y="6"/>
                    </a:cubicBezTo>
                    <a:cubicBezTo>
                      <a:pt x="81" y="9"/>
                      <a:pt x="75" y="9"/>
                      <a:pt x="72" y="8"/>
                    </a:cubicBezTo>
                    <a:cubicBezTo>
                      <a:pt x="68" y="8"/>
                      <a:pt x="64" y="9"/>
                      <a:pt x="64" y="11"/>
                    </a:cubicBezTo>
                    <a:cubicBezTo>
                      <a:pt x="65" y="13"/>
                      <a:pt x="69" y="12"/>
                      <a:pt x="66" y="15"/>
                    </a:cubicBezTo>
                    <a:cubicBezTo>
                      <a:pt x="64" y="17"/>
                      <a:pt x="63" y="11"/>
                      <a:pt x="60" y="14"/>
                    </a:cubicBezTo>
                    <a:cubicBezTo>
                      <a:pt x="58" y="17"/>
                      <a:pt x="50" y="17"/>
                      <a:pt x="48" y="16"/>
                    </a:cubicBezTo>
                    <a:cubicBezTo>
                      <a:pt x="47" y="16"/>
                      <a:pt x="41" y="22"/>
                      <a:pt x="39" y="24"/>
                    </a:cubicBezTo>
                    <a:cubicBezTo>
                      <a:pt x="37" y="26"/>
                      <a:pt x="40" y="28"/>
                      <a:pt x="36" y="33"/>
                    </a:cubicBezTo>
                    <a:cubicBezTo>
                      <a:pt x="31" y="38"/>
                      <a:pt x="18" y="37"/>
                      <a:pt x="15" y="37"/>
                    </a:cubicBezTo>
                    <a:cubicBezTo>
                      <a:pt x="13" y="37"/>
                      <a:pt x="15" y="40"/>
                      <a:pt x="13" y="42"/>
                    </a:cubicBezTo>
                    <a:cubicBezTo>
                      <a:pt x="12" y="44"/>
                      <a:pt x="15" y="46"/>
                      <a:pt x="22" y="47"/>
                    </a:cubicBezTo>
                    <a:cubicBezTo>
                      <a:pt x="29" y="49"/>
                      <a:pt x="34" y="59"/>
                      <a:pt x="35" y="61"/>
                    </a:cubicBezTo>
                    <a:cubicBezTo>
                      <a:pt x="36" y="64"/>
                      <a:pt x="45" y="61"/>
                      <a:pt x="49" y="62"/>
                    </a:cubicBezTo>
                    <a:cubicBezTo>
                      <a:pt x="52" y="62"/>
                      <a:pt x="48" y="67"/>
                      <a:pt x="52" y="69"/>
                    </a:cubicBezTo>
                    <a:cubicBezTo>
                      <a:pt x="55" y="70"/>
                      <a:pt x="59" y="68"/>
                      <a:pt x="60" y="70"/>
                    </a:cubicBezTo>
                    <a:cubicBezTo>
                      <a:pt x="61" y="73"/>
                      <a:pt x="54" y="70"/>
                      <a:pt x="50" y="73"/>
                    </a:cubicBezTo>
                    <a:cubicBezTo>
                      <a:pt x="47" y="76"/>
                      <a:pt x="45" y="77"/>
                      <a:pt x="44" y="75"/>
                    </a:cubicBezTo>
                    <a:cubicBezTo>
                      <a:pt x="42" y="73"/>
                      <a:pt x="36" y="74"/>
                      <a:pt x="33" y="75"/>
                    </a:cubicBezTo>
                    <a:cubicBezTo>
                      <a:pt x="30" y="75"/>
                      <a:pt x="33" y="71"/>
                      <a:pt x="33" y="69"/>
                    </a:cubicBezTo>
                    <a:cubicBezTo>
                      <a:pt x="34" y="67"/>
                      <a:pt x="29" y="66"/>
                      <a:pt x="23" y="70"/>
                    </a:cubicBezTo>
                    <a:cubicBezTo>
                      <a:pt x="17" y="73"/>
                      <a:pt x="20" y="72"/>
                      <a:pt x="19" y="74"/>
                    </a:cubicBezTo>
                    <a:cubicBezTo>
                      <a:pt x="18" y="77"/>
                      <a:pt x="16" y="73"/>
                      <a:pt x="12" y="75"/>
                    </a:cubicBezTo>
                    <a:cubicBezTo>
                      <a:pt x="8" y="77"/>
                      <a:pt x="2" y="79"/>
                      <a:pt x="1" y="81"/>
                    </a:cubicBezTo>
                    <a:cubicBezTo>
                      <a:pt x="0" y="84"/>
                      <a:pt x="9" y="85"/>
                      <a:pt x="13" y="86"/>
                    </a:cubicBezTo>
                    <a:cubicBezTo>
                      <a:pt x="16" y="87"/>
                      <a:pt x="8" y="89"/>
                      <a:pt x="11" y="90"/>
                    </a:cubicBezTo>
                    <a:cubicBezTo>
                      <a:pt x="14" y="91"/>
                      <a:pt x="13" y="93"/>
                      <a:pt x="17" y="96"/>
                    </a:cubicBezTo>
                    <a:cubicBezTo>
                      <a:pt x="22" y="98"/>
                      <a:pt x="32" y="96"/>
                      <a:pt x="34" y="96"/>
                    </a:cubicBezTo>
                    <a:cubicBezTo>
                      <a:pt x="37" y="96"/>
                      <a:pt x="40" y="99"/>
                      <a:pt x="42" y="97"/>
                    </a:cubicBezTo>
                    <a:cubicBezTo>
                      <a:pt x="44" y="94"/>
                      <a:pt x="52" y="88"/>
                      <a:pt x="56" y="92"/>
                    </a:cubicBezTo>
                    <a:cubicBezTo>
                      <a:pt x="60" y="95"/>
                      <a:pt x="52" y="95"/>
                      <a:pt x="54" y="97"/>
                    </a:cubicBezTo>
                    <a:cubicBezTo>
                      <a:pt x="56" y="100"/>
                      <a:pt x="58" y="105"/>
                      <a:pt x="55" y="108"/>
                    </a:cubicBezTo>
                    <a:cubicBezTo>
                      <a:pt x="51" y="111"/>
                      <a:pt x="47" y="109"/>
                      <a:pt x="45" y="109"/>
                    </a:cubicBezTo>
                    <a:cubicBezTo>
                      <a:pt x="43" y="108"/>
                      <a:pt x="44" y="113"/>
                      <a:pt x="40" y="115"/>
                    </a:cubicBezTo>
                    <a:cubicBezTo>
                      <a:pt x="37" y="118"/>
                      <a:pt x="35" y="112"/>
                      <a:pt x="30" y="112"/>
                    </a:cubicBezTo>
                    <a:cubicBezTo>
                      <a:pt x="26" y="112"/>
                      <a:pt x="27" y="118"/>
                      <a:pt x="27" y="121"/>
                    </a:cubicBezTo>
                    <a:cubicBezTo>
                      <a:pt x="27" y="123"/>
                      <a:pt x="21" y="120"/>
                      <a:pt x="19" y="126"/>
                    </a:cubicBezTo>
                    <a:cubicBezTo>
                      <a:pt x="17" y="133"/>
                      <a:pt x="11" y="127"/>
                      <a:pt x="15" y="134"/>
                    </a:cubicBezTo>
                    <a:cubicBezTo>
                      <a:pt x="20" y="140"/>
                      <a:pt x="19" y="136"/>
                      <a:pt x="22" y="138"/>
                    </a:cubicBezTo>
                    <a:cubicBezTo>
                      <a:pt x="26" y="141"/>
                      <a:pt x="19" y="145"/>
                      <a:pt x="22" y="146"/>
                    </a:cubicBezTo>
                    <a:cubicBezTo>
                      <a:pt x="26" y="147"/>
                      <a:pt x="30" y="153"/>
                      <a:pt x="32" y="156"/>
                    </a:cubicBezTo>
                    <a:cubicBezTo>
                      <a:pt x="35" y="158"/>
                      <a:pt x="38" y="154"/>
                      <a:pt x="42" y="154"/>
                    </a:cubicBezTo>
                    <a:cubicBezTo>
                      <a:pt x="45" y="154"/>
                      <a:pt x="44" y="149"/>
                      <a:pt x="46" y="151"/>
                    </a:cubicBezTo>
                    <a:cubicBezTo>
                      <a:pt x="48" y="153"/>
                      <a:pt x="51" y="158"/>
                      <a:pt x="49" y="160"/>
                    </a:cubicBezTo>
                    <a:cubicBezTo>
                      <a:pt x="47" y="161"/>
                      <a:pt x="48" y="166"/>
                      <a:pt x="48" y="168"/>
                    </a:cubicBezTo>
                    <a:cubicBezTo>
                      <a:pt x="48" y="170"/>
                      <a:pt x="56" y="169"/>
                      <a:pt x="57" y="167"/>
                    </a:cubicBezTo>
                    <a:cubicBezTo>
                      <a:pt x="57" y="164"/>
                      <a:pt x="64" y="164"/>
                      <a:pt x="68" y="168"/>
                    </a:cubicBezTo>
                    <a:cubicBezTo>
                      <a:pt x="72" y="172"/>
                      <a:pt x="73" y="172"/>
                      <a:pt x="73" y="169"/>
                    </a:cubicBezTo>
                    <a:cubicBezTo>
                      <a:pt x="73" y="166"/>
                      <a:pt x="76" y="163"/>
                      <a:pt x="76" y="165"/>
                    </a:cubicBezTo>
                    <a:cubicBezTo>
                      <a:pt x="76" y="168"/>
                      <a:pt x="80" y="169"/>
                      <a:pt x="85" y="166"/>
                    </a:cubicBezTo>
                    <a:cubicBezTo>
                      <a:pt x="91" y="164"/>
                      <a:pt x="88" y="166"/>
                      <a:pt x="85" y="170"/>
                    </a:cubicBezTo>
                    <a:cubicBezTo>
                      <a:pt x="81" y="175"/>
                      <a:pt x="85" y="182"/>
                      <a:pt x="82" y="183"/>
                    </a:cubicBezTo>
                    <a:cubicBezTo>
                      <a:pt x="80" y="183"/>
                      <a:pt x="77" y="191"/>
                      <a:pt x="73" y="191"/>
                    </a:cubicBezTo>
                    <a:cubicBezTo>
                      <a:pt x="68" y="192"/>
                      <a:pt x="60" y="201"/>
                      <a:pt x="59" y="202"/>
                    </a:cubicBezTo>
                    <a:cubicBezTo>
                      <a:pt x="58" y="203"/>
                      <a:pt x="48" y="199"/>
                      <a:pt x="47" y="203"/>
                    </a:cubicBezTo>
                    <a:cubicBezTo>
                      <a:pt x="45" y="207"/>
                      <a:pt x="39" y="210"/>
                      <a:pt x="41" y="212"/>
                    </a:cubicBezTo>
                    <a:cubicBezTo>
                      <a:pt x="42" y="213"/>
                      <a:pt x="50" y="209"/>
                      <a:pt x="50" y="207"/>
                    </a:cubicBezTo>
                    <a:cubicBezTo>
                      <a:pt x="51" y="205"/>
                      <a:pt x="52" y="205"/>
                      <a:pt x="53" y="207"/>
                    </a:cubicBezTo>
                    <a:cubicBezTo>
                      <a:pt x="55" y="208"/>
                      <a:pt x="58" y="206"/>
                      <a:pt x="60" y="204"/>
                    </a:cubicBezTo>
                    <a:cubicBezTo>
                      <a:pt x="61" y="203"/>
                      <a:pt x="64" y="204"/>
                      <a:pt x="66" y="204"/>
                    </a:cubicBezTo>
                    <a:cubicBezTo>
                      <a:pt x="67" y="204"/>
                      <a:pt x="68" y="202"/>
                      <a:pt x="73" y="201"/>
                    </a:cubicBezTo>
                    <a:cubicBezTo>
                      <a:pt x="78" y="200"/>
                      <a:pt x="76" y="199"/>
                      <a:pt x="78" y="196"/>
                    </a:cubicBezTo>
                    <a:cubicBezTo>
                      <a:pt x="79" y="194"/>
                      <a:pt x="90" y="188"/>
                      <a:pt x="92" y="188"/>
                    </a:cubicBezTo>
                    <a:cubicBezTo>
                      <a:pt x="94" y="187"/>
                      <a:pt x="93" y="184"/>
                      <a:pt x="95" y="183"/>
                    </a:cubicBezTo>
                    <a:cubicBezTo>
                      <a:pt x="98" y="183"/>
                      <a:pt x="101" y="180"/>
                      <a:pt x="104" y="178"/>
                    </a:cubicBezTo>
                    <a:cubicBezTo>
                      <a:pt x="107" y="175"/>
                      <a:pt x="108" y="176"/>
                      <a:pt x="110" y="176"/>
                    </a:cubicBezTo>
                    <a:cubicBezTo>
                      <a:pt x="113" y="175"/>
                      <a:pt x="111" y="170"/>
                      <a:pt x="113" y="170"/>
                    </a:cubicBezTo>
                    <a:cubicBezTo>
                      <a:pt x="116" y="169"/>
                      <a:pt x="117" y="168"/>
                      <a:pt x="117" y="166"/>
                    </a:cubicBezTo>
                    <a:cubicBezTo>
                      <a:pt x="117" y="164"/>
                      <a:pt x="111" y="164"/>
                      <a:pt x="111" y="162"/>
                    </a:cubicBezTo>
                    <a:cubicBezTo>
                      <a:pt x="110" y="161"/>
                      <a:pt x="116" y="156"/>
                      <a:pt x="118" y="157"/>
                    </a:cubicBezTo>
                    <a:cubicBezTo>
                      <a:pt x="119" y="157"/>
                      <a:pt x="123" y="155"/>
                      <a:pt x="123" y="152"/>
                    </a:cubicBezTo>
                    <a:cubicBezTo>
                      <a:pt x="123" y="149"/>
                      <a:pt x="126" y="148"/>
                      <a:pt x="128" y="146"/>
                    </a:cubicBezTo>
                    <a:cubicBezTo>
                      <a:pt x="131" y="143"/>
                      <a:pt x="130" y="141"/>
                      <a:pt x="132" y="141"/>
                    </a:cubicBezTo>
                    <a:cubicBezTo>
                      <a:pt x="135" y="141"/>
                      <a:pt x="137" y="138"/>
                      <a:pt x="139" y="136"/>
                    </a:cubicBezTo>
                    <a:cubicBezTo>
                      <a:pt x="142" y="135"/>
                      <a:pt x="139" y="138"/>
                      <a:pt x="144" y="138"/>
                    </a:cubicBezTo>
                    <a:cubicBezTo>
                      <a:pt x="149" y="138"/>
                      <a:pt x="148" y="143"/>
                      <a:pt x="144" y="141"/>
                    </a:cubicBezTo>
                    <a:cubicBezTo>
                      <a:pt x="141" y="140"/>
                      <a:pt x="139" y="140"/>
                      <a:pt x="136" y="143"/>
                    </a:cubicBezTo>
                    <a:cubicBezTo>
                      <a:pt x="133" y="146"/>
                      <a:pt x="135" y="147"/>
                      <a:pt x="133" y="150"/>
                    </a:cubicBezTo>
                    <a:cubicBezTo>
                      <a:pt x="130" y="154"/>
                      <a:pt x="130" y="156"/>
                      <a:pt x="133" y="156"/>
                    </a:cubicBezTo>
                    <a:cubicBezTo>
                      <a:pt x="136" y="156"/>
                      <a:pt x="133" y="159"/>
                      <a:pt x="130" y="160"/>
                    </a:cubicBezTo>
                    <a:cubicBezTo>
                      <a:pt x="127" y="161"/>
                      <a:pt x="129" y="162"/>
                      <a:pt x="134" y="162"/>
                    </a:cubicBezTo>
                    <a:cubicBezTo>
                      <a:pt x="138" y="162"/>
                      <a:pt x="144" y="156"/>
                      <a:pt x="149" y="154"/>
                    </a:cubicBezTo>
                    <a:cubicBezTo>
                      <a:pt x="155" y="151"/>
                      <a:pt x="159" y="154"/>
                      <a:pt x="161" y="153"/>
                    </a:cubicBezTo>
                    <a:cubicBezTo>
                      <a:pt x="163" y="153"/>
                      <a:pt x="159" y="150"/>
                      <a:pt x="161" y="149"/>
                    </a:cubicBezTo>
                    <a:cubicBezTo>
                      <a:pt x="163" y="148"/>
                      <a:pt x="159" y="148"/>
                      <a:pt x="158" y="144"/>
                    </a:cubicBezTo>
                    <a:cubicBezTo>
                      <a:pt x="156" y="141"/>
                      <a:pt x="160" y="143"/>
                      <a:pt x="160" y="140"/>
                    </a:cubicBezTo>
                    <a:cubicBezTo>
                      <a:pt x="161" y="138"/>
                      <a:pt x="163" y="139"/>
                      <a:pt x="165" y="140"/>
                    </a:cubicBezTo>
                    <a:cubicBezTo>
                      <a:pt x="167" y="141"/>
                      <a:pt x="169" y="139"/>
                      <a:pt x="171" y="142"/>
                    </a:cubicBezTo>
                    <a:cubicBezTo>
                      <a:pt x="172" y="145"/>
                      <a:pt x="174" y="141"/>
                      <a:pt x="177" y="143"/>
                    </a:cubicBezTo>
                    <a:cubicBezTo>
                      <a:pt x="180" y="146"/>
                      <a:pt x="176" y="145"/>
                      <a:pt x="173" y="146"/>
                    </a:cubicBezTo>
                    <a:cubicBezTo>
                      <a:pt x="170" y="147"/>
                      <a:pt x="172" y="151"/>
                      <a:pt x="174" y="149"/>
                    </a:cubicBezTo>
                    <a:cubicBezTo>
                      <a:pt x="177" y="147"/>
                      <a:pt x="179" y="146"/>
                      <a:pt x="181" y="148"/>
                    </a:cubicBezTo>
                    <a:cubicBezTo>
                      <a:pt x="183" y="150"/>
                      <a:pt x="184" y="149"/>
                      <a:pt x="185" y="147"/>
                    </a:cubicBezTo>
                    <a:cubicBezTo>
                      <a:pt x="187" y="145"/>
                      <a:pt x="187" y="147"/>
                      <a:pt x="187" y="149"/>
                    </a:cubicBezTo>
                    <a:cubicBezTo>
                      <a:pt x="187" y="150"/>
                      <a:pt x="191" y="151"/>
                      <a:pt x="196" y="151"/>
                    </a:cubicBezTo>
                    <a:cubicBezTo>
                      <a:pt x="202" y="152"/>
                      <a:pt x="211" y="151"/>
                      <a:pt x="214" y="151"/>
                    </a:cubicBezTo>
                    <a:cubicBezTo>
                      <a:pt x="216" y="151"/>
                      <a:pt x="215" y="155"/>
                      <a:pt x="221" y="156"/>
                    </a:cubicBezTo>
                    <a:cubicBezTo>
                      <a:pt x="226" y="157"/>
                      <a:pt x="228" y="150"/>
                      <a:pt x="231" y="153"/>
                    </a:cubicBezTo>
                    <a:cubicBezTo>
                      <a:pt x="234" y="155"/>
                      <a:pt x="231" y="156"/>
                      <a:pt x="229" y="158"/>
                    </a:cubicBezTo>
                    <a:cubicBezTo>
                      <a:pt x="228" y="159"/>
                      <a:pt x="231" y="159"/>
                      <a:pt x="233" y="160"/>
                    </a:cubicBezTo>
                    <a:cubicBezTo>
                      <a:pt x="235" y="161"/>
                      <a:pt x="240" y="163"/>
                      <a:pt x="243" y="165"/>
                    </a:cubicBezTo>
                    <a:cubicBezTo>
                      <a:pt x="245" y="167"/>
                      <a:pt x="246" y="170"/>
                      <a:pt x="252" y="173"/>
                    </a:cubicBezTo>
                    <a:cubicBezTo>
                      <a:pt x="258" y="176"/>
                      <a:pt x="252" y="166"/>
                      <a:pt x="257" y="169"/>
                    </a:cubicBezTo>
                    <a:cubicBezTo>
                      <a:pt x="261" y="172"/>
                      <a:pt x="259" y="169"/>
                      <a:pt x="263" y="172"/>
                    </a:cubicBezTo>
                    <a:cubicBezTo>
                      <a:pt x="267" y="175"/>
                      <a:pt x="265" y="171"/>
                      <a:pt x="264" y="165"/>
                    </a:cubicBezTo>
                    <a:cubicBezTo>
                      <a:pt x="262" y="160"/>
                      <a:pt x="265" y="164"/>
                      <a:pt x="267" y="166"/>
                    </a:cubicBezTo>
                    <a:cubicBezTo>
                      <a:pt x="269" y="169"/>
                      <a:pt x="269" y="173"/>
                      <a:pt x="268" y="177"/>
                    </a:cubicBezTo>
                    <a:cubicBezTo>
                      <a:pt x="266" y="180"/>
                      <a:pt x="261" y="177"/>
                      <a:pt x="262" y="175"/>
                    </a:cubicBezTo>
                    <a:cubicBezTo>
                      <a:pt x="262" y="174"/>
                      <a:pt x="256" y="174"/>
                      <a:pt x="256" y="177"/>
                    </a:cubicBezTo>
                    <a:cubicBezTo>
                      <a:pt x="256" y="179"/>
                      <a:pt x="260" y="184"/>
                      <a:pt x="263" y="185"/>
                    </a:cubicBezTo>
                    <a:cubicBezTo>
                      <a:pt x="266" y="185"/>
                      <a:pt x="263" y="190"/>
                      <a:pt x="265" y="190"/>
                    </a:cubicBezTo>
                    <a:cubicBezTo>
                      <a:pt x="268" y="191"/>
                      <a:pt x="268" y="196"/>
                      <a:pt x="269" y="195"/>
                    </a:cubicBezTo>
                    <a:cubicBezTo>
                      <a:pt x="270" y="194"/>
                      <a:pt x="270" y="189"/>
                      <a:pt x="268" y="186"/>
                    </a:cubicBezTo>
                    <a:cubicBezTo>
                      <a:pt x="267" y="184"/>
                      <a:pt x="267" y="180"/>
                      <a:pt x="269" y="181"/>
                    </a:cubicBezTo>
                    <a:cubicBezTo>
                      <a:pt x="272" y="181"/>
                      <a:pt x="269" y="185"/>
                      <a:pt x="271" y="186"/>
                    </a:cubicBezTo>
                    <a:cubicBezTo>
                      <a:pt x="272" y="188"/>
                      <a:pt x="273" y="185"/>
                      <a:pt x="275" y="184"/>
                    </a:cubicBezTo>
                    <a:cubicBezTo>
                      <a:pt x="278" y="182"/>
                      <a:pt x="274" y="178"/>
                      <a:pt x="275" y="176"/>
                    </a:cubicBezTo>
                    <a:cubicBezTo>
                      <a:pt x="276" y="174"/>
                      <a:pt x="279" y="178"/>
                      <a:pt x="280" y="182"/>
                    </a:cubicBezTo>
                    <a:cubicBezTo>
                      <a:pt x="281" y="185"/>
                      <a:pt x="277" y="185"/>
                      <a:pt x="277" y="187"/>
                    </a:cubicBezTo>
                    <a:cubicBezTo>
                      <a:pt x="277" y="189"/>
                      <a:pt x="274" y="188"/>
                      <a:pt x="273" y="189"/>
                    </a:cubicBezTo>
                    <a:cubicBezTo>
                      <a:pt x="272" y="190"/>
                      <a:pt x="272" y="197"/>
                      <a:pt x="274" y="198"/>
                    </a:cubicBezTo>
                    <a:cubicBezTo>
                      <a:pt x="275" y="198"/>
                      <a:pt x="276" y="192"/>
                      <a:pt x="277" y="195"/>
                    </a:cubicBezTo>
                    <a:cubicBezTo>
                      <a:pt x="278" y="198"/>
                      <a:pt x="281" y="191"/>
                      <a:pt x="282" y="194"/>
                    </a:cubicBezTo>
                    <a:cubicBezTo>
                      <a:pt x="283" y="197"/>
                      <a:pt x="287" y="200"/>
                      <a:pt x="289" y="199"/>
                    </a:cubicBezTo>
                    <a:cubicBezTo>
                      <a:pt x="291" y="198"/>
                      <a:pt x="288" y="195"/>
                      <a:pt x="286" y="195"/>
                    </a:cubicBezTo>
                    <a:cubicBezTo>
                      <a:pt x="283" y="195"/>
                      <a:pt x="284" y="191"/>
                      <a:pt x="286" y="191"/>
                    </a:cubicBezTo>
                    <a:cubicBezTo>
                      <a:pt x="288" y="191"/>
                      <a:pt x="292" y="197"/>
                      <a:pt x="292" y="199"/>
                    </a:cubicBezTo>
                    <a:cubicBezTo>
                      <a:pt x="292" y="201"/>
                      <a:pt x="290" y="201"/>
                      <a:pt x="288" y="203"/>
                    </a:cubicBezTo>
                    <a:cubicBezTo>
                      <a:pt x="286" y="205"/>
                      <a:pt x="283" y="199"/>
                      <a:pt x="281" y="199"/>
                    </a:cubicBezTo>
                    <a:cubicBezTo>
                      <a:pt x="279" y="200"/>
                      <a:pt x="281" y="203"/>
                      <a:pt x="282" y="206"/>
                    </a:cubicBezTo>
                    <a:cubicBezTo>
                      <a:pt x="283" y="208"/>
                      <a:pt x="279" y="212"/>
                      <a:pt x="282" y="214"/>
                    </a:cubicBezTo>
                    <a:cubicBezTo>
                      <a:pt x="285" y="215"/>
                      <a:pt x="284" y="212"/>
                      <a:pt x="285" y="211"/>
                    </a:cubicBezTo>
                    <a:cubicBezTo>
                      <a:pt x="286" y="209"/>
                      <a:pt x="288" y="211"/>
                      <a:pt x="289" y="212"/>
                    </a:cubicBezTo>
                    <a:cubicBezTo>
                      <a:pt x="291" y="214"/>
                      <a:pt x="291" y="210"/>
                      <a:pt x="291" y="208"/>
                    </a:cubicBezTo>
                    <a:cubicBezTo>
                      <a:pt x="291" y="206"/>
                      <a:pt x="294" y="207"/>
                      <a:pt x="295" y="209"/>
                    </a:cubicBezTo>
                    <a:cubicBezTo>
                      <a:pt x="297" y="212"/>
                      <a:pt x="297" y="207"/>
                      <a:pt x="299" y="207"/>
                    </a:cubicBezTo>
                    <a:cubicBezTo>
                      <a:pt x="301" y="208"/>
                      <a:pt x="300" y="211"/>
                      <a:pt x="300" y="213"/>
                    </a:cubicBezTo>
                    <a:cubicBezTo>
                      <a:pt x="300" y="215"/>
                      <a:pt x="304" y="212"/>
                      <a:pt x="303" y="214"/>
                    </a:cubicBezTo>
                    <a:cubicBezTo>
                      <a:pt x="303" y="214"/>
                      <a:pt x="303" y="214"/>
                      <a:pt x="303" y="215"/>
                    </a:cubicBezTo>
                    <a:cubicBezTo>
                      <a:pt x="305" y="213"/>
                      <a:pt x="307" y="212"/>
                      <a:pt x="309" y="211"/>
                    </a:cubicBezTo>
                    <a:cubicBezTo>
                      <a:pt x="312" y="208"/>
                      <a:pt x="306" y="206"/>
                      <a:pt x="307" y="20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0" name="Freeform 128">
                <a:extLst>
                  <a:ext uri="{FF2B5EF4-FFF2-40B4-BE49-F238E27FC236}">
                    <a16:creationId xmlns:a16="http://schemas.microsoft.com/office/drawing/2014/main" id="{81581C3C-7292-4593-A1AD-C818691678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92937" y="2963055"/>
                <a:ext cx="20076" cy="23840"/>
              </a:xfrm>
              <a:custGeom>
                <a:avLst/>
                <a:gdLst>
                  <a:gd name="T0" fmla="*/ 3 w 9"/>
                  <a:gd name="T1" fmla="*/ 9 h 10"/>
                  <a:gd name="T2" fmla="*/ 7 w 9"/>
                  <a:gd name="T3" fmla="*/ 3 h 10"/>
                  <a:gd name="T4" fmla="*/ 3 w 9"/>
                  <a:gd name="T5" fmla="*/ 9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10">
                    <a:moveTo>
                      <a:pt x="3" y="9"/>
                    </a:moveTo>
                    <a:cubicBezTo>
                      <a:pt x="7" y="7"/>
                      <a:pt x="9" y="5"/>
                      <a:pt x="7" y="3"/>
                    </a:cubicBezTo>
                    <a:cubicBezTo>
                      <a:pt x="6" y="0"/>
                      <a:pt x="0" y="10"/>
                      <a:pt x="3" y="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1" name="Freeform 129">
                <a:extLst>
                  <a:ext uri="{FF2B5EF4-FFF2-40B4-BE49-F238E27FC236}">
                    <a16:creationId xmlns:a16="http://schemas.microsoft.com/office/drawing/2014/main" id="{9B93C8CC-7488-4D0C-A7AA-FC3F17EAA4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36853" y="2942979"/>
                <a:ext cx="41406" cy="16311"/>
              </a:xfrm>
              <a:custGeom>
                <a:avLst/>
                <a:gdLst>
                  <a:gd name="T0" fmla="*/ 14 w 18"/>
                  <a:gd name="T1" fmla="*/ 2 h 7"/>
                  <a:gd name="T2" fmla="*/ 4 w 18"/>
                  <a:gd name="T3" fmla="*/ 7 h 7"/>
                  <a:gd name="T4" fmla="*/ 10 w 18"/>
                  <a:gd name="T5" fmla="*/ 5 h 7"/>
                  <a:gd name="T6" fmla="*/ 14 w 18"/>
                  <a:gd name="T7" fmla="*/ 2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" h="7">
                    <a:moveTo>
                      <a:pt x="14" y="2"/>
                    </a:moveTo>
                    <a:cubicBezTo>
                      <a:pt x="10" y="0"/>
                      <a:pt x="0" y="6"/>
                      <a:pt x="4" y="7"/>
                    </a:cubicBezTo>
                    <a:cubicBezTo>
                      <a:pt x="6" y="7"/>
                      <a:pt x="7" y="5"/>
                      <a:pt x="10" y="5"/>
                    </a:cubicBezTo>
                    <a:cubicBezTo>
                      <a:pt x="13" y="5"/>
                      <a:pt x="18" y="3"/>
                      <a:pt x="14" y="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2" name="Freeform 130">
                <a:extLst>
                  <a:ext uri="{FF2B5EF4-FFF2-40B4-BE49-F238E27FC236}">
                    <a16:creationId xmlns:a16="http://schemas.microsoft.com/office/drawing/2014/main" id="{E7F1CA81-F826-4DAE-B28D-137A2EF8D7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30081" y="2846365"/>
                <a:ext cx="55208" cy="50189"/>
              </a:xfrm>
              <a:custGeom>
                <a:avLst/>
                <a:gdLst>
                  <a:gd name="T0" fmla="*/ 21 w 24"/>
                  <a:gd name="T1" fmla="*/ 2 h 22"/>
                  <a:gd name="T2" fmla="*/ 15 w 24"/>
                  <a:gd name="T3" fmla="*/ 4 h 22"/>
                  <a:gd name="T4" fmla="*/ 7 w 24"/>
                  <a:gd name="T5" fmla="*/ 12 h 22"/>
                  <a:gd name="T6" fmla="*/ 2 w 24"/>
                  <a:gd name="T7" fmla="*/ 14 h 22"/>
                  <a:gd name="T8" fmla="*/ 5 w 24"/>
                  <a:gd name="T9" fmla="*/ 21 h 22"/>
                  <a:gd name="T10" fmla="*/ 9 w 24"/>
                  <a:gd name="T11" fmla="*/ 21 h 22"/>
                  <a:gd name="T12" fmla="*/ 20 w 24"/>
                  <a:gd name="T13" fmla="*/ 13 h 22"/>
                  <a:gd name="T14" fmla="*/ 17 w 24"/>
                  <a:gd name="T15" fmla="*/ 8 h 22"/>
                  <a:gd name="T16" fmla="*/ 22 w 24"/>
                  <a:gd name="T17" fmla="*/ 6 h 22"/>
                  <a:gd name="T18" fmla="*/ 21 w 24"/>
                  <a:gd name="T19" fmla="*/ 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" h="22">
                    <a:moveTo>
                      <a:pt x="21" y="2"/>
                    </a:moveTo>
                    <a:cubicBezTo>
                      <a:pt x="21" y="0"/>
                      <a:pt x="18" y="0"/>
                      <a:pt x="15" y="4"/>
                    </a:cubicBezTo>
                    <a:cubicBezTo>
                      <a:pt x="11" y="8"/>
                      <a:pt x="8" y="10"/>
                      <a:pt x="7" y="12"/>
                    </a:cubicBezTo>
                    <a:cubicBezTo>
                      <a:pt x="7" y="14"/>
                      <a:pt x="3" y="12"/>
                      <a:pt x="2" y="14"/>
                    </a:cubicBezTo>
                    <a:cubicBezTo>
                      <a:pt x="0" y="17"/>
                      <a:pt x="2" y="22"/>
                      <a:pt x="5" y="21"/>
                    </a:cubicBezTo>
                    <a:cubicBezTo>
                      <a:pt x="7" y="19"/>
                      <a:pt x="8" y="21"/>
                      <a:pt x="9" y="21"/>
                    </a:cubicBezTo>
                    <a:cubicBezTo>
                      <a:pt x="11" y="21"/>
                      <a:pt x="18" y="16"/>
                      <a:pt x="20" y="13"/>
                    </a:cubicBezTo>
                    <a:cubicBezTo>
                      <a:pt x="21" y="11"/>
                      <a:pt x="17" y="10"/>
                      <a:pt x="17" y="8"/>
                    </a:cubicBezTo>
                    <a:cubicBezTo>
                      <a:pt x="17" y="7"/>
                      <a:pt x="20" y="7"/>
                      <a:pt x="22" y="6"/>
                    </a:cubicBezTo>
                    <a:cubicBezTo>
                      <a:pt x="24" y="5"/>
                      <a:pt x="21" y="4"/>
                      <a:pt x="21" y="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3" name="Freeform 131">
                <a:extLst>
                  <a:ext uri="{FF2B5EF4-FFF2-40B4-BE49-F238E27FC236}">
                    <a16:creationId xmlns:a16="http://schemas.microsoft.com/office/drawing/2014/main" id="{6EAE9BEC-8817-40D2-B774-6FCD4B5C29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96702" y="2794921"/>
                <a:ext cx="37642" cy="23840"/>
              </a:xfrm>
              <a:custGeom>
                <a:avLst/>
                <a:gdLst>
                  <a:gd name="T0" fmla="*/ 8 w 16"/>
                  <a:gd name="T1" fmla="*/ 3 h 10"/>
                  <a:gd name="T2" fmla="*/ 1 w 16"/>
                  <a:gd name="T3" fmla="*/ 5 h 10"/>
                  <a:gd name="T4" fmla="*/ 12 w 16"/>
                  <a:gd name="T5" fmla="*/ 9 h 10"/>
                  <a:gd name="T6" fmla="*/ 14 w 16"/>
                  <a:gd name="T7" fmla="*/ 3 h 10"/>
                  <a:gd name="T8" fmla="*/ 8 w 16"/>
                  <a:gd name="T9" fmla="*/ 3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0">
                    <a:moveTo>
                      <a:pt x="8" y="3"/>
                    </a:moveTo>
                    <a:cubicBezTo>
                      <a:pt x="8" y="0"/>
                      <a:pt x="0" y="2"/>
                      <a:pt x="1" y="5"/>
                    </a:cubicBezTo>
                    <a:cubicBezTo>
                      <a:pt x="2" y="8"/>
                      <a:pt x="9" y="10"/>
                      <a:pt x="12" y="9"/>
                    </a:cubicBezTo>
                    <a:cubicBezTo>
                      <a:pt x="15" y="8"/>
                      <a:pt x="16" y="5"/>
                      <a:pt x="14" y="3"/>
                    </a:cubicBezTo>
                    <a:cubicBezTo>
                      <a:pt x="12" y="1"/>
                      <a:pt x="9" y="6"/>
                      <a:pt x="8" y="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4" name="Freeform 132">
                <a:extLst>
                  <a:ext uri="{FF2B5EF4-FFF2-40B4-BE49-F238E27FC236}">
                    <a16:creationId xmlns:a16="http://schemas.microsoft.com/office/drawing/2014/main" id="{771D0C1C-5981-4DF3-ADDA-87C59B9FAA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94707" y="3077235"/>
                <a:ext cx="1076555" cy="537022"/>
              </a:xfrm>
              <a:custGeom>
                <a:avLst/>
                <a:gdLst>
                  <a:gd name="T0" fmla="*/ 439 w 467"/>
                  <a:gd name="T1" fmla="*/ 36 h 233"/>
                  <a:gd name="T2" fmla="*/ 391 w 467"/>
                  <a:gd name="T3" fmla="*/ 55 h 233"/>
                  <a:gd name="T4" fmla="*/ 369 w 467"/>
                  <a:gd name="T5" fmla="*/ 64 h 233"/>
                  <a:gd name="T6" fmla="*/ 348 w 467"/>
                  <a:gd name="T7" fmla="*/ 81 h 233"/>
                  <a:gd name="T8" fmla="*/ 342 w 467"/>
                  <a:gd name="T9" fmla="*/ 74 h 233"/>
                  <a:gd name="T10" fmla="*/ 329 w 467"/>
                  <a:gd name="T11" fmla="*/ 59 h 233"/>
                  <a:gd name="T12" fmla="*/ 311 w 467"/>
                  <a:gd name="T13" fmla="*/ 49 h 233"/>
                  <a:gd name="T14" fmla="*/ 297 w 467"/>
                  <a:gd name="T15" fmla="*/ 63 h 233"/>
                  <a:gd name="T16" fmla="*/ 328 w 467"/>
                  <a:gd name="T17" fmla="*/ 35 h 233"/>
                  <a:gd name="T18" fmla="*/ 323 w 467"/>
                  <a:gd name="T19" fmla="*/ 32 h 233"/>
                  <a:gd name="T20" fmla="*/ 295 w 467"/>
                  <a:gd name="T21" fmla="*/ 27 h 233"/>
                  <a:gd name="T22" fmla="*/ 264 w 467"/>
                  <a:gd name="T23" fmla="*/ 29 h 233"/>
                  <a:gd name="T24" fmla="*/ 272 w 467"/>
                  <a:gd name="T25" fmla="*/ 15 h 233"/>
                  <a:gd name="T26" fmla="*/ 251 w 467"/>
                  <a:gd name="T27" fmla="*/ 11 h 233"/>
                  <a:gd name="T28" fmla="*/ 238 w 467"/>
                  <a:gd name="T29" fmla="*/ 6 h 233"/>
                  <a:gd name="T30" fmla="*/ 19 w 467"/>
                  <a:gd name="T31" fmla="*/ 17 h 233"/>
                  <a:gd name="T32" fmla="*/ 14 w 467"/>
                  <a:gd name="T33" fmla="*/ 16 h 233"/>
                  <a:gd name="T34" fmla="*/ 0 w 467"/>
                  <a:gd name="T35" fmla="*/ 13 h 233"/>
                  <a:gd name="T36" fmla="*/ 8 w 467"/>
                  <a:gd name="T37" fmla="*/ 34 h 233"/>
                  <a:gd name="T38" fmla="*/ 3 w 467"/>
                  <a:gd name="T39" fmla="*/ 74 h 233"/>
                  <a:gd name="T40" fmla="*/ 9 w 467"/>
                  <a:gd name="T41" fmla="*/ 108 h 233"/>
                  <a:gd name="T42" fmla="*/ 22 w 467"/>
                  <a:gd name="T43" fmla="*/ 124 h 233"/>
                  <a:gd name="T44" fmla="*/ 36 w 467"/>
                  <a:gd name="T45" fmla="*/ 147 h 233"/>
                  <a:gd name="T46" fmla="*/ 60 w 467"/>
                  <a:gd name="T47" fmla="*/ 162 h 233"/>
                  <a:gd name="T48" fmla="*/ 89 w 467"/>
                  <a:gd name="T49" fmla="*/ 169 h 233"/>
                  <a:gd name="T50" fmla="*/ 136 w 467"/>
                  <a:gd name="T51" fmla="*/ 173 h 233"/>
                  <a:gd name="T52" fmla="*/ 162 w 467"/>
                  <a:gd name="T53" fmla="*/ 187 h 233"/>
                  <a:gd name="T54" fmla="*/ 181 w 467"/>
                  <a:gd name="T55" fmla="*/ 190 h 233"/>
                  <a:gd name="T56" fmla="*/ 205 w 467"/>
                  <a:gd name="T57" fmla="*/ 215 h 233"/>
                  <a:gd name="T58" fmla="*/ 222 w 467"/>
                  <a:gd name="T59" fmla="*/ 225 h 233"/>
                  <a:gd name="T60" fmla="*/ 227 w 467"/>
                  <a:gd name="T61" fmla="*/ 202 h 233"/>
                  <a:gd name="T62" fmla="*/ 244 w 467"/>
                  <a:gd name="T63" fmla="*/ 192 h 233"/>
                  <a:gd name="T64" fmla="*/ 257 w 467"/>
                  <a:gd name="T65" fmla="*/ 190 h 233"/>
                  <a:gd name="T66" fmla="*/ 276 w 467"/>
                  <a:gd name="T67" fmla="*/ 195 h 233"/>
                  <a:gd name="T68" fmla="*/ 284 w 467"/>
                  <a:gd name="T69" fmla="*/ 193 h 233"/>
                  <a:gd name="T70" fmla="*/ 295 w 467"/>
                  <a:gd name="T71" fmla="*/ 183 h 233"/>
                  <a:gd name="T72" fmla="*/ 317 w 467"/>
                  <a:gd name="T73" fmla="*/ 190 h 233"/>
                  <a:gd name="T74" fmla="*/ 338 w 467"/>
                  <a:gd name="T75" fmla="*/ 197 h 233"/>
                  <a:gd name="T76" fmla="*/ 345 w 467"/>
                  <a:gd name="T77" fmla="*/ 222 h 233"/>
                  <a:gd name="T78" fmla="*/ 360 w 467"/>
                  <a:gd name="T79" fmla="*/ 221 h 233"/>
                  <a:gd name="T80" fmla="*/ 349 w 467"/>
                  <a:gd name="T81" fmla="*/ 181 h 233"/>
                  <a:gd name="T82" fmla="*/ 372 w 467"/>
                  <a:gd name="T83" fmla="*/ 154 h 233"/>
                  <a:gd name="T84" fmla="*/ 386 w 467"/>
                  <a:gd name="T85" fmla="*/ 141 h 233"/>
                  <a:gd name="T86" fmla="*/ 395 w 467"/>
                  <a:gd name="T87" fmla="*/ 134 h 233"/>
                  <a:gd name="T88" fmla="*/ 390 w 467"/>
                  <a:gd name="T89" fmla="*/ 122 h 233"/>
                  <a:gd name="T90" fmla="*/ 389 w 467"/>
                  <a:gd name="T91" fmla="*/ 101 h 233"/>
                  <a:gd name="T92" fmla="*/ 393 w 467"/>
                  <a:gd name="T93" fmla="*/ 119 h 233"/>
                  <a:gd name="T94" fmla="*/ 398 w 467"/>
                  <a:gd name="T95" fmla="*/ 103 h 233"/>
                  <a:gd name="T96" fmla="*/ 413 w 467"/>
                  <a:gd name="T97" fmla="*/ 90 h 233"/>
                  <a:gd name="T98" fmla="*/ 425 w 467"/>
                  <a:gd name="T99" fmla="*/ 82 h 233"/>
                  <a:gd name="T100" fmla="*/ 434 w 467"/>
                  <a:gd name="T101" fmla="*/ 73 h 233"/>
                  <a:gd name="T102" fmla="*/ 445 w 467"/>
                  <a:gd name="T103" fmla="*/ 58 h 233"/>
                  <a:gd name="T104" fmla="*/ 467 w 467"/>
                  <a:gd name="T105" fmla="*/ 48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467" h="233">
                    <a:moveTo>
                      <a:pt x="460" y="25"/>
                    </a:moveTo>
                    <a:cubicBezTo>
                      <a:pt x="460" y="23"/>
                      <a:pt x="452" y="25"/>
                      <a:pt x="449" y="22"/>
                    </a:cubicBezTo>
                    <a:cubicBezTo>
                      <a:pt x="446" y="19"/>
                      <a:pt x="440" y="31"/>
                      <a:pt x="439" y="36"/>
                    </a:cubicBezTo>
                    <a:cubicBezTo>
                      <a:pt x="438" y="41"/>
                      <a:pt x="429" y="47"/>
                      <a:pt x="429" y="47"/>
                    </a:cubicBezTo>
                    <a:cubicBezTo>
                      <a:pt x="429" y="47"/>
                      <a:pt x="404" y="47"/>
                      <a:pt x="401" y="47"/>
                    </a:cubicBezTo>
                    <a:cubicBezTo>
                      <a:pt x="400" y="47"/>
                      <a:pt x="394" y="52"/>
                      <a:pt x="391" y="55"/>
                    </a:cubicBezTo>
                    <a:cubicBezTo>
                      <a:pt x="391" y="55"/>
                      <a:pt x="391" y="55"/>
                      <a:pt x="391" y="56"/>
                    </a:cubicBezTo>
                    <a:cubicBezTo>
                      <a:pt x="393" y="60"/>
                      <a:pt x="384" y="63"/>
                      <a:pt x="375" y="63"/>
                    </a:cubicBezTo>
                    <a:cubicBezTo>
                      <a:pt x="372" y="64"/>
                      <a:pt x="370" y="64"/>
                      <a:pt x="369" y="64"/>
                    </a:cubicBezTo>
                    <a:cubicBezTo>
                      <a:pt x="369" y="65"/>
                      <a:pt x="369" y="66"/>
                      <a:pt x="369" y="67"/>
                    </a:cubicBezTo>
                    <a:cubicBezTo>
                      <a:pt x="369" y="68"/>
                      <a:pt x="368" y="69"/>
                      <a:pt x="367" y="69"/>
                    </a:cubicBezTo>
                    <a:cubicBezTo>
                      <a:pt x="366" y="72"/>
                      <a:pt x="355" y="77"/>
                      <a:pt x="348" y="81"/>
                    </a:cubicBezTo>
                    <a:cubicBezTo>
                      <a:pt x="342" y="84"/>
                      <a:pt x="332" y="82"/>
                      <a:pt x="332" y="77"/>
                    </a:cubicBezTo>
                    <a:cubicBezTo>
                      <a:pt x="332" y="72"/>
                      <a:pt x="337" y="73"/>
                      <a:pt x="338" y="75"/>
                    </a:cubicBezTo>
                    <a:cubicBezTo>
                      <a:pt x="339" y="76"/>
                      <a:pt x="340" y="76"/>
                      <a:pt x="342" y="74"/>
                    </a:cubicBezTo>
                    <a:cubicBezTo>
                      <a:pt x="340" y="73"/>
                      <a:pt x="340" y="70"/>
                      <a:pt x="340" y="68"/>
                    </a:cubicBezTo>
                    <a:cubicBezTo>
                      <a:pt x="338" y="67"/>
                      <a:pt x="342" y="59"/>
                      <a:pt x="337" y="58"/>
                    </a:cubicBezTo>
                    <a:cubicBezTo>
                      <a:pt x="333" y="56"/>
                      <a:pt x="328" y="64"/>
                      <a:pt x="329" y="59"/>
                    </a:cubicBezTo>
                    <a:cubicBezTo>
                      <a:pt x="330" y="55"/>
                      <a:pt x="336" y="51"/>
                      <a:pt x="332" y="45"/>
                    </a:cubicBezTo>
                    <a:cubicBezTo>
                      <a:pt x="328" y="39"/>
                      <a:pt x="321" y="39"/>
                      <a:pt x="320" y="43"/>
                    </a:cubicBezTo>
                    <a:cubicBezTo>
                      <a:pt x="318" y="48"/>
                      <a:pt x="313" y="46"/>
                      <a:pt x="311" y="49"/>
                    </a:cubicBezTo>
                    <a:cubicBezTo>
                      <a:pt x="310" y="53"/>
                      <a:pt x="308" y="61"/>
                      <a:pt x="309" y="66"/>
                    </a:cubicBezTo>
                    <a:cubicBezTo>
                      <a:pt x="311" y="72"/>
                      <a:pt x="309" y="75"/>
                      <a:pt x="304" y="78"/>
                    </a:cubicBezTo>
                    <a:cubicBezTo>
                      <a:pt x="298" y="81"/>
                      <a:pt x="295" y="73"/>
                      <a:pt x="297" y="63"/>
                    </a:cubicBezTo>
                    <a:cubicBezTo>
                      <a:pt x="299" y="56"/>
                      <a:pt x="303" y="49"/>
                      <a:pt x="299" y="49"/>
                    </a:cubicBezTo>
                    <a:cubicBezTo>
                      <a:pt x="296" y="49"/>
                      <a:pt x="304" y="40"/>
                      <a:pt x="311" y="39"/>
                    </a:cubicBezTo>
                    <a:cubicBezTo>
                      <a:pt x="319" y="37"/>
                      <a:pt x="328" y="37"/>
                      <a:pt x="328" y="35"/>
                    </a:cubicBezTo>
                    <a:cubicBezTo>
                      <a:pt x="328" y="35"/>
                      <a:pt x="328" y="35"/>
                      <a:pt x="329" y="34"/>
                    </a:cubicBezTo>
                    <a:cubicBezTo>
                      <a:pt x="328" y="33"/>
                      <a:pt x="326" y="32"/>
                      <a:pt x="324" y="31"/>
                    </a:cubicBezTo>
                    <a:cubicBezTo>
                      <a:pt x="324" y="32"/>
                      <a:pt x="324" y="32"/>
                      <a:pt x="323" y="32"/>
                    </a:cubicBezTo>
                    <a:cubicBezTo>
                      <a:pt x="321" y="34"/>
                      <a:pt x="321" y="29"/>
                      <a:pt x="316" y="29"/>
                    </a:cubicBezTo>
                    <a:cubicBezTo>
                      <a:pt x="311" y="29"/>
                      <a:pt x="305" y="34"/>
                      <a:pt x="301" y="32"/>
                    </a:cubicBezTo>
                    <a:cubicBezTo>
                      <a:pt x="297" y="30"/>
                      <a:pt x="299" y="27"/>
                      <a:pt x="295" y="27"/>
                    </a:cubicBezTo>
                    <a:cubicBezTo>
                      <a:pt x="291" y="27"/>
                      <a:pt x="298" y="20"/>
                      <a:pt x="292" y="23"/>
                    </a:cubicBezTo>
                    <a:cubicBezTo>
                      <a:pt x="286" y="26"/>
                      <a:pt x="278" y="34"/>
                      <a:pt x="274" y="30"/>
                    </a:cubicBezTo>
                    <a:cubicBezTo>
                      <a:pt x="270" y="27"/>
                      <a:pt x="266" y="31"/>
                      <a:pt x="264" y="29"/>
                    </a:cubicBezTo>
                    <a:cubicBezTo>
                      <a:pt x="261" y="26"/>
                      <a:pt x="274" y="18"/>
                      <a:pt x="280" y="18"/>
                    </a:cubicBezTo>
                    <a:cubicBezTo>
                      <a:pt x="281" y="18"/>
                      <a:pt x="282" y="18"/>
                      <a:pt x="284" y="17"/>
                    </a:cubicBezTo>
                    <a:cubicBezTo>
                      <a:pt x="281" y="15"/>
                      <a:pt x="274" y="13"/>
                      <a:pt x="272" y="15"/>
                    </a:cubicBezTo>
                    <a:cubicBezTo>
                      <a:pt x="270" y="18"/>
                      <a:pt x="267" y="16"/>
                      <a:pt x="265" y="14"/>
                    </a:cubicBezTo>
                    <a:cubicBezTo>
                      <a:pt x="264" y="12"/>
                      <a:pt x="262" y="14"/>
                      <a:pt x="259" y="11"/>
                    </a:cubicBezTo>
                    <a:cubicBezTo>
                      <a:pt x="256" y="8"/>
                      <a:pt x="253" y="10"/>
                      <a:pt x="251" y="11"/>
                    </a:cubicBezTo>
                    <a:cubicBezTo>
                      <a:pt x="250" y="12"/>
                      <a:pt x="248" y="10"/>
                      <a:pt x="244" y="9"/>
                    </a:cubicBezTo>
                    <a:cubicBezTo>
                      <a:pt x="241" y="7"/>
                      <a:pt x="244" y="4"/>
                      <a:pt x="241" y="2"/>
                    </a:cubicBezTo>
                    <a:cubicBezTo>
                      <a:pt x="238" y="0"/>
                      <a:pt x="238" y="6"/>
                      <a:pt x="238" y="6"/>
                    </a:cubicBezTo>
                    <a:cubicBezTo>
                      <a:pt x="17" y="7"/>
                      <a:pt x="17" y="7"/>
                      <a:pt x="17" y="7"/>
                    </a:cubicBezTo>
                    <a:cubicBezTo>
                      <a:pt x="17" y="8"/>
                      <a:pt x="17" y="8"/>
                      <a:pt x="17" y="8"/>
                    </a:cubicBezTo>
                    <a:cubicBezTo>
                      <a:pt x="20" y="11"/>
                      <a:pt x="18" y="13"/>
                      <a:pt x="19" y="17"/>
                    </a:cubicBezTo>
                    <a:cubicBezTo>
                      <a:pt x="20" y="20"/>
                      <a:pt x="19" y="25"/>
                      <a:pt x="16" y="25"/>
                    </a:cubicBezTo>
                    <a:cubicBezTo>
                      <a:pt x="14" y="25"/>
                      <a:pt x="13" y="22"/>
                      <a:pt x="15" y="21"/>
                    </a:cubicBezTo>
                    <a:cubicBezTo>
                      <a:pt x="17" y="20"/>
                      <a:pt x="16" y="16"/>
                      <a:pt x="14" y="16"/>
                    </a:cubicBezTo>
                    <a:cubicBezTo>
                      <a:pt x="13" y="16"/>
                      <a:pt x="13" y="14"/>
                      <a:pt x="13" y="13"/>
                    </a:cubicBezTo>
                    <a:cubicBezTo>
                      <a:pt x="9" y="14"/>
                      <a:pt x="5" y="13"/>
                      <a:pt x="0" y="13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16"/>
                      <a:pt x="1" y="20"/>
                      <a:pt x="4" y="24"/>
                    </a:cubicBezTo>
                    <a:cubicBezTo>
                      <a:pt x="7" y="28"/>
                      <a:pt x="5" y="30"/>
                      <a:pt x="8" y="32"/>
                    </a:cubicBezTo>
                    <a:cubicBezTo>
                      <a:pt x="10" y="33"/>
                      <a:pt x="10" y="35"/>
                      <a:pt x="8" y="34"/>
                    </a:cubicBezTo>
                    <a:cubicBezTo>
                      <a:pt x="5" y="34"/>
                      <a:pt x="7" y="36"/>
                      <a:pt x="6" y="42"/>
                    </a:cubicBezTo>
                    <a:cubicBezTo>
                      <a:pt x="5" y="47"/>
                      <a:pt x="5" y="58"/>
                      <a:pt x="5" y="61"/>
                    </a:cubicBezTo>
                    <a:cubicBezTo>
                      <a:pt x="4" y="65"/>
                      <a:pt x="1" y="70"/>
                      <a:pt x="3" y="74"/>
                    </a:cubicBezTo>
                    <a:cubicBezTo>
                      <a:pt x="5" y="77"/>
                      <a:pt x="7" y="82"/>
                      <a:pt x="5" y="87"/>
                    </a:cubicBezTo>
                    <a:cubicBezTo>
                      <a:pt x="4" y="91"/>
                      <a:pt x="4" y="94"/>
                      <a:pt x="6" y="97"/>
                    </a:cubicBezTo>
                    <a:cubicBezTo>
                      <a:pt x="8" y="101"/>
                      <a:pt x="7" y="107"/>
                      <a:pt x="9" y="108"/>
                    </a:cubicBezTo>
                    <a:cubicBezTo>
                      <a:pt x="11" y="109"/>
                      <a:pt x="13" y="112"/>
                      <a:pt x="15" y="115"/>
                    </a:cubicBezTo>
                    <a:cubicBezTo>
                      <a:pt x="17" y="118"/>
                      <a:pt x="19" y="116"/>
                      <a:pt x="19" y="119"/>
                    </a:cubicBezTo>
                    <a:cubicBezTo>
                      <a:pt x="19" y="123"/>
                      <a:pt x="19" y="123"/>
                      <a:pt x="22" y="124"/>
                    </a:cubicBezTo>
                    <a:cubicBezTo>
                      <a:pt x="25" y="126"/>
                      <a:pt x="23" y="129"/>
                      <a:pt x="23" y="131"/>
                    </a:cubicBezTo>
                    <a:cubicBezTo>
                      <a:pt x="23" y="132"/>
                      <a:pt x="27" y="136"/>
                      <a:pt x="32" y="140"/>
                    </a:cubicBezTo>
                    <a:cubicBezTo>
                      <a:pt x="36" y="144"/>
                      <a:pt x="32" y="147"/>
                      <a:pt x="36" y="147"/>
                    </a:cubicBezTo>
                    <a:cubicBezTo>
                      <a:pt x="39" y="147"/>
                      <a:pt x="42" y="149"/>
                      <a:pt x="46" y="151"/>
                    </a:cubicBezTo>
                    <a:cubicBezTo>
                      <a:pt x="49" y="153"/>
                      <a:pt x="50" y="152"/>
                      <a:pt x="53" y="153"/>
                    </a:cubicBezTo>
                    <a:cubicBezTo>
                      <a:pt x="55" y="153"/>
                      <a:pt x="59" y="158"/>
                      <a:pt x="60" y="162"/>
                    </a:cubicBezTo>
                    <a:cubicBezTo>
                      <a:pt x="60" y="163"/>
                      <a:pt x="61" y="165"/>
                      <a:pt x="62" y="167"/>
                    </a:cubicBezTo>
                    <a:cubicBezTo>
                      <a:pt x="80" y="164"/>
                      <a:pt x="80" y="164"/>
                      <a:pt x="80" y="164"/>
                    </a:cubicBezTo>
                    <a:cubicBezTo>
                      <a:pt x="80" y="164"/>
                      <a:pt x="86" y="168"/>
                      <a:pt x="89" y="169"/>
                    </a:cubicBezTo>
                    <a:cubicBezTo>
                      <a:pt x="93" y="170"/>
                      <a:pt x="110" y="176"/>
                      <a:pt x="110" y="176"/>
                    </a:cubicBezTo>
                    <a:cubicBezTo>
                      <a:pt x="133" y="176"/>
                      <a:pt x="133" y="176"/>
                      <a:pt x="133" y="176"/>
                    </a:cubicBezTo>
                    <a:cubicBezTo>
                      <a:pt x="136" y="173"/>
                      <a:pt x="136" y="173"/>
                      <a:pt x="136" y="173"/>
                    </a:cubicBezTo>
                    <a:cubicBezTo>
                      <a:pt x="148" y="173"/>
                      <a:pt x="148" y="173"/>
                      <a:pt x="148" y="173"/>
                    </a:cubicBezTo>
                    <a:cubicBezTo>
                      <a:pt x="148" y="173"/>
                      <a:pt x="156" y="180"/>
                      <a:pt x="157" y="181"/>
                    </a:cubicBezTo>
                    <a:cubicBezTo>
                      <a:pt x="158" y="181"/>
                      <a:pt x="162" y="185"/>
                      <a:pt x="162" y="187"/>
                    </a:cubicBezTo>
                    <a:cubicBezTo>
                      <a:pt x="162" y="189"/>
                      <a:pt x="163" y="191"/>
                      <a:pt x="165" y="192"/>
                    </a:cubicBezTo>
                    <a:cubicBezTo>
                      <a:pt x="167" y="193"/>
                      <a:pt x="174" y="197"/>
                      <a:pt x="175" y="197"/>
                    </a:cubicBezTo>
                    <a:cubicBezTo>
                      <a:pt x="176" y="197"/>
                      <a:pt x="178" y="189"/>
                      <a:pt x="181" y="190"/>
                    </a:cubicBezTo>
                    <a:cubicBezTo>
                      <a:pt x="184" y="190"/>
                      <a:pt x="194" y="192"/>
                      <a:pt x="195" y="198"/>
                    </a:cubicBezTo>
                    <a:cubicBezTo>
                      <a:pt x="197" y="203"/>
                      <a:pt x="201" y="207"/>
                      <a:pt x="203" y="209"/>
                    </a:cubicBezTo>
                    <a:cubicBezTo>
                      <a:pt x="204" y="210"/>
                      <a:pt x="204" y="213"/>
                      <a:pt x="205" y="215"/>
                    </a:cubicBezTo>
                    <a:cubicBezTo>
                      <a:pt x="206" y="216"/>
                      <a:pt x="206" y="220"/>
                      <a:pt x="207" y="220"/>
                    </a:cubicBezTo>
                    <a:cubicBezTo>
                      <a:pt x="208" y="220"/>
                      <a:pt x="215" y="224"/>
                      <a:pt x="218" y="224"/>
                    </a:cubicBezTo>
                    <a:cubicBezTo>
                      <a:pt x="219" y="224"/>
                      <a:pt x="220" y="224"/>
                      <a:pt x="222" y="225"/>
                    </a:cubicBezTo>
                    <a:cubicBezTo>
                      <a:pt x="222" y="219"/>
                      <a:pt x="215" y="217"/>
                      <a:pt x="219" y="215"/>
                    </a:cubicBezTo>
                    <a:cubicBezTo>
                      <a:pt x="224" y="211"/>
                      <a:pt x="219" y="208"/>
                      <a:pt x="221" y="207"/>
                    </a:cubicBezTo>
                    <a:cubicBezTo>
                      <a:pt x="223" y="205"/>
                      <a:pt x="227" y="204"/>
                      <a:pt x="227" y="202"/>
                    </a:cubicBezTo>
                    <a:cubicBezTo>
                      <a:pt x="227" y="200"/>
                      <a:pt x="229" y="200"/>
                      <a:pt x="232" y="200"/>
                    </a:cubicBezTo>
                    <a:cubicBezTo>
                      <a:pt x="235" y="200"/>
                      <a:pt x="240" y="195"/>
                      <a:pt x="240" y="193"/>
                    </a:cubicBezTo>
                    <a:cubicBezTo>
                      <a:pt x="239" y="192"/>
                      <a:pt x="240" y="191"/>
                      <a:pt x="244" y="192"/>
                    </a:cubicBezTo>
                    <a:cubicBezTo>
                      <a:pt x="247" y="193"/>
                      <a:pt x="247" y="188"/>
                      <a:pt x="249" y="189"/>
                    </a:cubicBezTo>
                    <a:cubicBezTo>
                      <a:pt x="251" y="189"/>
                      <a:pt x="253" y="191"/>
                      <a:pt x="253" y="189"/>
                    </a:cubicBezTo>
                    <a:cubicBezTo>
                      <a:pt x="253" y="187"/>
                      <a:pt x="255" y="188"/>
                      <a:pt x="257" y="190"/>
                    </a:cubicBezTo>
                    <a:cubicBezTo>
                      <a:pt x="258" y="192"/>
                      <a:pt x="263" y="193"/>
                      <a:pt x="263" y="190"/>
                    </a:cubicBezTo>
                    <a:cubicBezTo>
                      <a:pt x="264" y="188"/>
                      <a:pt x="266" y="190"/>
                      <a:pt x="269" y="193"/>
                    </a:cubicBezTo>
                    <a:cubicBezTo>
                      <a:pt x="271" y="195"/>
                      <a:pt x="272" y="194"/>
                      <a:pt x="276" y="195"/>
                    </a:cubicBezTo>
                    <a:cubicBezTo>
                      <a:pt x="279" y="195"/>
                      <a:pt x="279" y="194"/>
                      <a:pt x="279" y="192"/>
                    </a:cubicBezTo>
                    <a:cubicBezTo>
                      <a:pt x="279" y="190"/>
                      <a:pt x="283" y="196"/>
                      <a:pt x="286" y="197"/>
                    </a:cubicBezTo>
                    <a:cubicBezTo>
                      <a:pt x="290" y="197"/>
                      <a:pt x="287" y="195"/>
                      <a:pt x="284" y="193"/>
                    </a:cubicBezTo>
                    <a:cubicBezTo>
                      <a:pt x="282" y="191"/>
                      <a:pt x="285" y="190"/>
                      <a:pt x="283" y="188"/>
                    </a:cubicBezTo>
                    <a:cubicBezTo>
                      <a:pt x="281" y="187"/>
                      <a:pt x="286" y="184"/>
                      <a:pt x="290" y="185"/>
                    </a:cubicBezTo>
                    <a:cubicBezTo>
                      <a:pt x="294" y="185"/>
                      <a:pt x="294" y="186"/>
                      <a:pt x="295" y="183"/>
                    </a:cubicBezTo>
                    <a:cubicBezTo>
                      <a:pt x="297" y="181"/>
                      <a:pt x="299" y="183"/>
                      <a:pt x="299" y="185"/>
                    </a:cubicBezTo>
                    <a:cubicBezTo>
                      <a:pt x="299" y="188"/>
                      <a:pt x="306" y="184"/>
                      <a:pt x="309" y="184"/>
                    </a:cubicBezTo>
                    <a:cubicBezTo>
                      <a:pt x="313" y="184"/>
                      <a:pt x="317" y="187"/>
                      <a:pt x="317" y="190"/>
                    </a:cubicBezTo>
                    <a:cubicBezTo>
                      <a:pt x="317" y="192"/>
                      <a:pt x="320" y="193"/>
                      <a:pt x="322" y="190"/>
                    </a:cubicBezTo>
                    <a:cubicBezTo>
                      <a:pt x="325" y="188"/>
                      <a:pt x="327" y="185"/>
                      <a:pt x="330" y="188"/>
                    </a:cubicBezTo>
                    <a:cubicBezTo>
                      <a:pt x="332" y="190"/>
                      <a:pt x="335" y="194"/>
                      <a:pt x="338" y="197"/>
                    </a:cubicBezTo>
                    <a:cubicBezTo>
                      <a:pt x="341" y="200"/>
                      <a:pt x="337" y="204"/>
                      <a:pt x="338" y="206"/>
                    </a:cubicBezTo>
                    <a:cubicBezTo>
                      <a:pt x="340" y="208"/>
                      <a:pt x="338" y="212"/>
                      <a:pt x="342" y="214"/>
                    </a:cubicBezTo>
                    <a:cubicBezTo>
                      <a:pt x="345" y="216"/>
                      <a:pt x="342" y="222"/>
                      <a:pt x="345" y="222"/>
                    </a:cubicBezTo>
                    <a:cubicBezTo>
                      <a:pt x="348" y="223"/>
                      <a:pt x="350" y="228"/>
                      <a:pt x="350" y="229"/>
                    </a:cubicBezTo>
                    <a:cubicBezTo>
                      <a:pt x="351" y="231"/>
                      <a:pt x="356" y="233"/>
                      <a:pt x="356" y="230"/>
                    </a:cubicBezTo>
                    <a:cubicBezTo>
                      <a:pt x="357" y="227"/>
                      <a:pt x="360" y="224"/>
                      <a:pt x="360" y="221"/>
                    </a:cubicBezTo>
                    <a:cubicBezTo>
                      <a:pt x="360" y="218"/>
                      <a:pt x="358" y="208"/>
                      <a:pt x="355" y="205"/>
                    </a:cubicBezTo>
                    <a:cubicBezTo>
                      <a:pt x="353" y="202"/>
                      <a:pt x="356" y="201"/>
                      <a:pt x="353" y="197"/>
                    </a:cubicBezTo>
                    <a:cubicBezTo>
                      <a:pt x="350" y="193"/>
                      <a:pt x="348" y="187"/>
                      <a:pt x="349" y="181"/>
                    </a:cubicBezTo>
                    <a:cubicBezTo>
                      <a:pt x="349" y="176"/>
                      <a:pt x="355" y="167"/>
                      <a:pt x="358" y="165"/>
                    </a:cubicBezTo>
                    <a:cubicBezTo>
                      <a:pt x="361" y="162"/>
                      <a:pt x="365" y="163"/>
                      <a:pt x="365" y="160"/>
                    </a:cubicBezTo>
                    <a:cubicBezTo>
                      <a:pt x="366" y="158"/>
                      <a:pt x="370" y="154"/>
                      <a:pt x="372" y="154"/>
                    </a:cubicBezTo>
                    <a:cubicBezTo>
                      <a:pt x="374" y="154"/>
                      <a:pt x="376" y="155"/>
                      <a:pt x="377" y="152"/>
                    </a:cubicBezTo>
                    <a:cubicBezTo>
                      <a:pt x="377" y="150"/>
                      <a:pt x="381" y="147"/>
                      <a:pt x="385" y="146"/>
                    </a:cubicBezTo>
                    <a:cubicBezTo>
                      <a:pt x="390" y="146"/>
                      <a:pt x="387" y="143"/>
                      <a:pt x="386" y="141"/>
                    </a:cubicBezTo>
                    <a:cubicBezTo>
                      <a:pt x="385" y="139"/>
                      <a:pt x="387" y="137"/>
                      <a:pt x="388" y="138"/>
                    </a:cubicBezTo>
                    <a:cubicBezTo>
                      <a:pt x="389" y="140"/>
                      <a:pt x="392" y="140"/>
                      <a:pt x="393" y="139"/>
                    </a:cubicBezTo>
                    <a:cubicBezTo>
                      <a:pt x="395" y="137"/>
                      <a:pt x="399" y="134"/>
                      <a:pt x="395" y="134"/>
                    </a:cubicBezTo>
                    <a:cubicBezTo>
                      <a:pt x="391" y="134"/>
                      <a:pt x="391" y="132"/>
                      <a:pt x="393" y="131"/>
                    </a:cubicBezTo>
                    <a:cubicBezTo>
                      <a:pt x="395" y="130"/>
                      <a:pt x="393" y="126"/>
                      <a:pt x="390" y="126"/>
                    </a:cubicBezTo>
                    <a:cubicBezTo>
                      <a:pt x="387" y="125"/>
                      <a:pt x="388" y="124"/>
                      <a:pt x="390" y="122"/>
                    </a:cubicBezTo>
                    <a:cubicBezTo>
                      <a:pt x="392" y="120"/>
                      <a:pt x="387" y="116"/>
                      <a:pt x="385" y="115"/>
                    </a:cubicBezTo>
                    <a:cubicBezTo>
                      <a:pt x="382" y="113"/>
                      <a:pt x="386" y="112"/>
                      <a:pt x="388" y="112"/>
                    </a:cubicBezTo>
                    <a:cubicBezTo>
                      <a:pt x="390" y="112"/>
                      <a:pt x="388" y="103"/>
                      <a:pt x="389" y="101"/>
                    </a:cubicBezTo>
                    <a:cubicBezTo>
                      <a:pt x="390" y="100"/>
                      <a:pt x="393" y="100"/>
                      <a:pt x="392" y="101"/>
                    </a:cubicBezTo>
                    <a:cubicBezTo>
                      <a:pt x="391" y="103"/>
                      <a:pt x="389" y="107"/>
                      <a:pt x="391" y="109"/>
                    </a:cubicBezTo>
                    <a:cubicBezTo>
                      <a:pt x="393" y="112"/>
                      <a:pt x="394" y="115"/>
                      <a:pt x="393" y="119"/>
                    </a:cubicBezTo>
                    <a:cubicBezTo>
                      <a:pt x="392" y="123"/>
                      <a:pt x="394" y="122"/>
                      <a:pt x="397" y="117"/>
                    </a:cubicBezTo>
                    <a:cubicBezTo>
                      <a:pt x="399" y="111"/>
                      <a:pt x="400" y="107"/>
                      <a:pt x="398" y="106"/>
                    </a:cubicBezTo>
                    <a:cubicBezTo>
                      <a:pt x="396" y="106"/>
                      <a:pt x="396" y="100"/>
                      <a:pt x="398" y="103"/>
                    </a:cubicBezTo>
                    <a:cubicBezTo>
                      <a:pt x="400" y="105"/>
                      <a:pt x="401" y="106"/>
                      <a:pt x="404" y="102"/>
                    </a:cubicBezTo>
                    <a:cubicBezTo>
                      <a:pt x="407" y="99"/>
                      <a:pt x="410" y="94"/>
                      <a:pt x="408" y="92"/>
                    </a:cubicBezTo>
                    <a:cubicBezTo>
                      <a:pt x="406" y="91"/>
                      <a:pt x="409" y="90"/>
                      <a:pt x="413" y="90"/>
                    </a:cubicBezTo>
                    <a:cubicBezTo>
                      <a:pt x="416" y="90"/>
                      <a:pt x="424" y="88"/>
                      <a:pt x="425" y="87"/>
                    </a:cubicBezTo>
                    <a:cubicBezTo>
                      <a:pt x="426" y="83"/>
                      <a:pt x="412" y="88"/>
                      <a:pt x="412" y="86"/>
                    </a:cubicBezTo>
                    <a:cubicBezTo>
                      <a:pt x="412" y="85"/>
                      <a:pt x="421" y="83"/>
                      <a:pt x="425" y="82"/>
                    </a:cubicBezTo>
                    <a:cubicBezTo>
                      <a:pt x="429" y="82"/>
                      <a:pt x="427" y="77"/>
                      <a:pt x="429" y="79"/>
                    </a:cubicBezTo>
                    <a:cubicBezTo>
                      <a:pt x="431" y="81"/>
                      <a:pt x="434" y="81"/>
                      <a:pt x="436" y="80"/>
                    </a:cubicBezTo>
                    <a:cubicBezTo>
                      <a:pt x="438" y="78"/>
                      <a:pt x="437" y="74"/>
                      <a:pt x="434" y="73"/>
                    </a:cubicBezTo>
                    <a:cubicBezTo>
                      <a:pt x="431" y="73"/>
                      <a:pt x="436" y="71"/>
                      <a:pt x="435" y="69"/>
                    </a:cubicBezTo>
                    <a:cubicBezTo>
                      <a:pt x="434" y="68"/>
                      <a:pt x="437" y="61"/>
                      <a:pt x="440" y="60"/>
                    </a:cubicBezTo>
                    <a:cubicBezTo>
                      <a:pt x="444" y="60"/>
                      <a:pt x="442" y="58"/>
                      <a:pt x="445" y="58"/>
                    </a:cubicBezTo>
                    <a:cubicBezTo>
                      <a:pt x="448" y="58"/>
                      <a:pt x="448" y="54"/>
                      <a:pt x="451" y="52"/>
                    </a:cubicBezTo>
                    <a:cubicBezTo>
                      <a:pt x="453" y="49"/>
                      <a:pt x="457" y="56"/>
                      <a:pt x="461" y="52"/>
                    </a:cubicBezTo>
                    <a:cubicBezTo>
                      <a:pt x="462" y="51"/>
                      <a:pt x="464" y="49"/>
                      <a:pt x="467" y="48"/>
                    </a:cubicBezTo>
                    <a:cubicBezTo>
                      <a:pt x="457" y="35"/>
                      <a:pt x="460" y="27"/>
                      <a:pt x="460" y="2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5" name="Freeform 133">
                <a:extLst>
                  <a:ext uri="{FF2B5EF4-FFF2-40B4-BE49-F238E27FC236}">
                    <a16:creationId xmlns:a16="http://schemas.microsoft.com/office/drawing/2014/main" id="{160F79A8-FA2A-4FD8-93A6-964048DEC7C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47817" y="3212745"/>
                <a:ext cx="239653" cy="170643"/>
              </a:xfrm>
              <a:custGeom>
                <a:avLst/>
                <a:gdLst>
                  <a:gd name="T0" fmla="*/ 102 w 104"/>
                  <a:gd name="T1" fmla="*/ 13 h 74"/>
                  <a:gd name="T2" fmla="*/ 94 w 104"/>
                  <a:gd name="T3" fmla="*/ 13 h 74"/>
                  <a:gd name="T4" fmla="*/ 85 w 104"/>
                  <a:gd name="T5" fmla="*/ 11 h 74"/>
                  <a:gd name="T6" fmla="*/ 81 w 104"/>
                  <a:gd name="T7" fmla="*/ 10 h 74"/>
                  <a:gd name="T8" fmla="*/ 74 w 104"/>
                  <a:gd name="T9" fmla="*/ 11 h 74"/>
                  <a:gd name="T10" fmla="*/ 67 w 104"/>
                  <a:gd name="T11" fmla="*/ 7 h 74"/>
                  <a:gd name="T12" fmla="*/ 62 w 104"/>
                  <a:gd name="T13" fmla="*/ 5 h 74"/>
                  <a:gd name="T14" fmla="*/ 48 w 104"/>
                  <a:gd name="T15" fmla="*/ 3 h 74"/>
                  <a:gd name="T16" fmla="*/ 22 w 104"/>
                  <a:gd name="T17" fmla="*/ 3 h 74"/>
                  <a:gd name="T18" fmla="*/ 12 w 104"/>
                  <a:gd name="T19" fmla="*/ 0 h 74"/>
                  <a:gd name="T20" fmla="*/ 5 w 104"/>
                  <a:gd name="T21" fmla="*/ 4 h 74"/>
                  <a:gd name="T22" fmla="*/ 3 w 104"/>
                  <a:gd name="T23" fmla="*/ 10 h 74"/>
                  <a:gd name="T24" fmla="*/ 5 w 104"/>
                  <a:gd name="T25" fmla="*/ 18 h 74"/>
                  <a:gd name="T26" fmla="*/ 7 w 104"/>
                  <a:gd name="T27" fmla="*/ 17 h 74"/>
                  <a:gd name="T28" fmla="*/ 10 w 104"/>
                  <a:gd name="T29" fmla="*/ 18 h 74"/>
                  <a:gd name="T30" fmla="*/ 15 w 104"/>
                  <a:gd name="T31" fmla="*/ 19 h 74"/>
                  <a:gd name="T32" fmla="*/ 18 w 104"/>
                  <a:gd name="T33" fmla="*/ 19 h 74"/>
                  <a:gd name="T34" fmla="*/ 23 w 104"/>
                  <a:gd name="T35" fmla="*/ 20 h 74"/>
                  <a:gd name="T36" fmla="*/ 25 w 104"/>
                  <a:gd name="T37" fmla="*/ 23 h 74"/>
                  <a:gd name="T38" fmla="*/ 20 w 104"/>
                  <a:gd name="T39" fmla="*/ 27 h 74"/>
                  <a:gd name="T40" fmla="*/ 20 w 104"/>
                  <a:gd name="T41" fmla="*/ 35 h 74"/>
                  <a:gd name="T42" fmla="*/ 19 w 104"/>
                  <a:gd name="T43" fmla="*/ 40 h 74"/>
                  <a:gd name="T44" fmla="*/ 17 w 104"/>
                  <a:gd name="T45" fmla="*/ 44 h 74"/>
                  <a:gd name="T46" fmla="*/ 19 w 104"/>
                  <a:gd name="T47" fmla="*/ 48 h 74"/>
                  <a:gd name="T48" fmla="*/ 17 w 104"/>
                  <a:gd name="T49" fmla="*/ 52 h 74"/>
                  <a:gd name="T50" fmla="*/ 19 w 104"/>
                  <a:gd name="T51" fmla="*/ 56 h 74"/>
                  <a:gd name="T52" fmla="*/ 16 w 104"/>
                  <a:gd name="T53" fmla="*/ 61 h 74"/>
                  <a:gd name="T54" fmla="*/ 17 w 104"/>
                  <a:gd name="T55" fmla="*/ 64 h 74"/>
                  <a:gd name="T56" fmla="*/ 21 w 104"/>
                  <a:gd name="T57" fmla="*/ 64 h 74"/>
                  <a:gd name="T58" fmla="*/ 31 w 104"/>
                  <a:gd name="T59" fmla="*/ 73 h 74"/>
                  <a:gd name="T60" fmla="*/ 33 w 104"/>
                  <a:gd name="T61" fmla="*/ 71 h 74"/>
                  <a:gd name="T62" fmla="*/ 37 w 104"/>
                  <a:gd name="T63" fmla="*/ 71 h 74"/>
                  <a:gd name="T64" fmla="*/ 45 w 104"/>
                  <a:gd name="T65" fmla="*/ 68 h 74"/>
                  <a:gd name="T66" fmla="*/ 55 w 104"/>
                  <a:gd name="T67" fmla="*/ 67 h 74"/>
                  <a:gd name="T68" fmla="*/ 61 w 104"/>
                  <a:gd name="T69" fmla="*/ 65 h 74"/>
                  <a:gd name="T70" fmla="*/ 67 w 104"/>
                  <a:gd name="T71" fmla="*/ 60 h 74"/>
                  <a:gd name="T72" fmla="*/ 70 w 104"/>
                  <a:gd name="T73" fmla="*/ 55 h 74"/>
                  <a:gd name="T74" fmla="*/ 76 w 104"/>
                  <a:gd name="T75" fmla="*/ 48 h 74"/>
                  <a:gd name="T76" fmla="*/ 76 w 104"/>
                  <a:gd name="T77" fmla="*/ 37 h 74"/>
                  <a:gd name="T78" fmla="*/ 83 w 104"/>
                  <a:gd name="T79" fmla="*/ 29 h 74"/>
                  <a:gd name="T80" fmla="*/ 90 w 104"/>
                  <a:gd name="T81" fmla="*/ 25 h 74"/>
                  <a:gd name="T82" fmla="*/ 99 w 104"/>
                  <a:gd name="T83" fmla="*/ 20 h 74"/>
                  <a:gd name="T84" fmla="*/ 102 w 104"/>
                  <a:gd name="T85" fmla="*/ 13 h 74"/>
                  <a:gd name="T86" fmla="*/ 103 w 104"/>
                  <a:gd name="T87" fmla="*/ 39 h 74"/>
                  <a:gd name="T88" fmla="*/ 96 w 104"/>
                  <a:gd name="T89" fmla="*/ 42 h 74"/>
                  <a:gd name="T90" fmla="*/ 103 w 104"/>
                  <a:gd name="T91" fmla="*/ 39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04" h="74">
                    <a:moveTo>
                      <a:pt x="102" y="13"/>
                    </a:moveTo>
                    <a:cubicBezTo>
                      <a:pt x="100" y="13"/>
                      <a:pt x="96" y="14"/>
                      <a:pt x="94" y="13"/>
                    </a:cubicBezTo>
                    <a:cubicBezTo>
                      <a:pt x="92" y="13"/>
                      <a:pt x="86" y="12"/>
                      <a:pt x="85" y="11"/>
                    </a:cubicBezTo>
                    <a:cubicBezTo>
                      <a:pt x="83" y="9"/>
                      <a:pt x="81" y="8"/>
                      <a:pt x="81" y="10"/>
                    </a:cubicBezTo>
                    <a:cubicBezTo>
                      <a:pt x="81" y="12"/>
                      <a:pt x="77" y="12"/>
                      <a:pt x="74" y="11"/>
                    </a:cubicBezTo>
                    <a:cubicBezTo>
                      <a:pt x="72" y="9"/>
                      <a:pt x="68" y="8"/>
                      <a:pt x="67" y="7"/>
                    </a:cubicBezTo>
                    <a:cubicBezTo>
                      <a:pt x="66" y="6"/>
                      <a:pt x="64" y="5"/>
                      <a:pt x="62" y="5"/>
                    </a:cubicBezTo>
                    <a:cubicBezTo>
                      <a:pt x="60" y="5"/>
                      <a:pt x="53" y="2"/>
                      <a:pt x="48" y="3"/>
                    </a:cubicBezTo>
                    <a:cubicBezTo>
                      <a:pt x="43" y="4"/>
                      <a:pt x="28" y="2"/>
                      <a:pt x="22" y="3"/>
                    </a:cubicBezTo>
                    <a:cubicBezTo>
                      <a:pt x="16" y="3"/>
                      <a:pt x="15" y="0"/>
                      <a:pt x="12" y="0"/>
                    </a:cubicBezTo>
                    <a:cubicBezTo>
                      <a:pt x="9" y="0"/>
                      <a:pt x="10" y="4"/>
                      <a:pt x="5" y="4"/>
                    </a:cubicBezTo>
                    <a:cubicBezTo>
                      <a:pt x="1" y="5"/>
                      <a:pt x="0" y="8"/>
                      <a:pt x="3" y="10"/>
                    </a:cubicBezTo>
                    <a:cubicBezTo>
                      <a:pt x="5" y="12"/>
                      <a:pt x="5" y="15"/>
                      <a:pt x="5" y="18"/>
                    </a:cubicBezTo>
                    <a:cubicBezTo>
                      <a:pt x="6" y="18"/>
                      <a:pt x="7" y="18"/>
                      <a:pt x="7" y="17"/>
                    </a:cubicBezTo>
                    <a:cubicBezTo>
                      <a:pt x="9" y="16"/>
                      <a:pt x="10" y="16"/>
                      <a:pt x="10" y="18"/>
                    </a:cubicBezTo>
                    <a:cubicBezTo>
                      <a:pt x="10" y="19"/>
                      <a:pt x="13" y="19"/>
                      <a:pt x="15" y="19"/>
                    </a:cubicBezTo>
                    <a:cubicBezTo>
                      <a:pt x="17" y="19"/>
                      <a:pt x="16" y="20"/>
                      <a:pt x="18" y="19"/>
                    </a:cubicBezTo>
                    <a:cubicBezTo>
                      <a:pt x="20" y="17"/>
                      <a:pt x="23" y="18"/>
                      <a:pt x="23" y="20"/>
                    </a:cubicBezTo>
                    <a:cubicBezTo>
                      <a:pt x="23" y="21"/>
                      <a:pt x="27" y="20"/>
                      <a:pt x="25" y="23"/>
                    </a:cubicBezTo>
                    <a:cubicBezTo>
                      <a:pt x="23" y="25"/>
                      <a:pt x="20" y="26"/>
                      <a:pt x="20" y="27"/>
                    </a:cubicBezTo>
                    <a:cubicBezTo>
                      <a:pt x="20" y="29"/>
                      <a:pt x="22" y="33"/>
                      <a:pt x="20" y="35"/>
                    </a:cubicBezTo>
                    <a:cubicBezTo>
                      <a:pt x="18" y="37"/>
                      <a:pt x="21" y="40"/>
                      <a:pt x="19" y="40"/>
                    </a:cubicBezTo>
                    <a:cubicBezTo>
                      <a:pt x="17" y="40"/>
                      <a:pt x="15" y="41"/>
                      <a:pt x="17" y="44"/>
                    </a:cubicBezTo>
                    <a:cubicBezTo>
                      <a:pt x="19" y="46"/>
                      <a:pt x="21" y="48"/>
                      <a:pt x="19" y="48"/>
                    </a:cubicBezTo>
                    <a:cubicBezTo>
                      <a:pt x="17" y="48"/>
                      <a:pt x="16" y="51"/>
                      <a:pt x="17" y="52"/>
                    </a:cubicBezTo>
                    <a:cubicBezTo>
                      <a:pt x="18" y="53"/>
                      <a:pt x="22" y="56"/>
                      <a:pt x="19" y="56"/>
                    </a:cubicBezTo>
                    <a:cubicBezTo>
                      <a:pt x="16" y="57"/>
                      <a:pt x="16" y="59"/>
                      <a:pt x="16" y="61"/>
                    </a:cubicBezTo>
                    <a:cubicBezTo>
                      <a:pt x="16" y="62"/>
                      <a:pt x="16" y="63"/>
                      <a:pt x="17" y="64"/>
                    </a:cubicBezTo>
                    <a:cubicBezTo>
                      <a:pt x="18" y="64"/>
                      <a:pt x="20" y="64"/>
                      <a:pt x="21" y="64"/>
                    </a:cubicBezTo>
                    <a:cubicBezTo>
                      <a:pt x="25" y="66"/>
                      <a:pt x="26" y="74"/>
                      <a:pt x="31" y="73"/>
                    </a:cubicBezTo>
                    <a:cubicBezTo>
                      <a:pt x="33" y="73"/>
                      <a:pt x="32" y="72"/>
                      <a:pt x="33" y="71"/>
                    </a:cubicBezTo>
                    <a:cubicBezTo>
                      <a:pt x="34" y="70"/>
                      <a:pt x="36" y="71"/>
                      <a:pt x="37" y="71"/>
                    </a:cubicBezTo>
                    <a:cubicBezTo>
                      <a:pt x="39" y="71"/>
                      <a:pt x="40" y="68"/>
                      <a:pt x="45" y="68"/>
                    </a:cubicBezTo>
                    <a:cubicBezTo>
                      <a:pt x="49" y="68"/>
                      <a:pt x="52" y="67"/>
                      <a:pt x="55" y="67"/>
                    </a:cubicBezTo>
                    <a:cubicBezTo>
                      <a:pt x="58" y="67"/>
                      <a:pt x="60" y="67"/>
                      <a:pt x="61" y="65"/>
                    </a:cubicBezTo>
                    <a:cubicBezTo>
                      <a:pt x="62" y="62"/>
                      <a:pt x="64" y="61"/>
                      <a:pt x="67" y="60"/>
                    </a:cubicBezTo>
                    <a:cubicBezTo>
                      <a:pt x="70" y="60"/>
                      <a:pt x="70" y="56"/>
                      <a:pt x="70" y="55"/>
                    </a:cubicBezTo>
                    <a:cubicBezTo>
                      <a:pt x="70" y="53"/>
                      <a:pt x="76" y="50"/>
                      <a:pt x="76" y="48"/>
                    </a:cubicBezTo>
                    <a:cubicBezTo>
                      <a:pt x="76" y="47"/>
                      <a:pt x="73" y="41"/>
                      <a:pt x="76" y="37"/>
                    </a:cubicBezTo>
                    <a:cubicBezTo>
                      <a:pt x="79" y="32"/>
                      <a:pt x="83" y="31"/>
                      <a:pt x="83" y="29"/>
                    </a:cubicBezTo>
                    <a:cubicBezTo>
                      <a:pt x="83" y="26"/>
                      <a:pt x="86" y="25"/>
                      <a:pt x="90" y="25"/>
                    </a:cubicBezTo>
                    <a:cubicBezTo>
                      <a:pt x="94" y="24"/>
                      <a:pt x="96" y="22"/>
                      <a:pt x="99" y="20"/>
                    </a:cubicBezTo>
                    <a:cubicBezTo>
                      <a:pt x="102" y="19"/>
                      <a:pt x="103" y="17"/>
                      <a:pt x="102" y="13"/>
                    </a:cubicBezTo>
                    <a:close/>
                    <a:moveTo>
                      <a:pt x="103" y="39"/>
                    </a:moveTo>
                    <a:cubicBezTo>
                      <a:pt x="103" y="35"/>
                      <a:pt x="94" y="41"/>
                      <a:pt x="96" y="42"/>
                    </a:cubicBezTo>
                    <a:cubicBezTo>
                      <a:pt x="100" y="44"/>
                      <a:pt x="104" y="43"/>
                      <a:pt x="103" y="3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6" name="Freeform 134">
                <a:extLst>
                  <a:ext uri="{FF2B5EF4-FFF2-40B4-BE49-F238E27FC236}">
                    <a16:creationId xmlns:a16="http://schemas.microsoft.com/office/drawing/2014/main" id="{6A00554E-8FCA-46B9-B6EA-AA3F52C767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63131" y="3138716"/>
                <a:ext cx="61482" cy="37642"/>
              </a:xfrm>
              <a:custGeom>
                <a:avLst/>
                <a:gdLst>
                  <a:gd name="T0" fmla="*/ 0 w 27"/>
                  <a:gd name="T1" fmla="*/ 14 h 16"/>
                  <a:gd name="T2" fmla="*/ 5 w 27"/>
                  <a:gd name="T3" fmla="*/ 13 h 16"/>
                  <a:gd name="T4" fmla="*/ 7 w 27"/>
                  <a:gd name="T5" fmla="*/ 15 h 16"/>
                  <a:gd name="T6" fmla="*/ 12 w 27"/>
                  <a:gd name="T7" fmla="*/ 14 h 16"/>
                  <a:gd name="T8" fmla="*/ 17 w 27"/>
                  <a:gd name="T9" fmla="*/ 15 h 16"/>
                  <a:gd name="T10" fmla="*/ 20 w 27"/>
                  <a:gd name="T11" fmla="*/ 11 h 16"/>
                  <a:gd name="T12" fmla="*/ 22 w 27"/>
                  <a:gd name="T13" fmla="*/ 7 h 16"/>
                  <a:gd name="T14" fmla="*/ 27 w 27"/>
                  <a:gd name="T15" fmla="*/ 4 h 16"/>
                  <a:gd name="T16" fmla="*/ 25 w 27"/>
                  <a:gd name="T17" fmla="*/ 1 h 16"/>
                  <a:gd name="T18" fmla="*/ 20 w 27"/>
                  <a:gd name="T19" fmla="*/ 2 h 16"/>
                  <a:gd name="T20" fmla="*/ 13 w 27"/>
                  <a:gd name="T21" fmla="*/ 5 h 16"/>
                  <a:gd name="T22" fmla="*/ 4 w 27"/>
                  <a:gd name="T23" fmla="*/ 3 h 16"/>
                  <a:gd name="T24" fmla="*/ 0 w 27"/>
                  <a:gd name="T25" fmla="*/ 3 h 16"/>
                  <a:gd name="T26" fmla="*/ 0 w 27"/>
                  <a:gd name="T27" fmla="*/ 14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7" h="16">
                    <a:moveTo>
                      <a:pt x="0" y="14"/>
                    </a:moveTo>
                    <a:cubicBezTo>
                      <a:pt x="2" y="13"/>
                      <a:pt x="4" y="13"/>
                      <a:pt x="5" y="13"/>
                    </a:cubicBezTo>
                    <a:cubicBezTo>
                      <a:pt x="6" y="13"/>
                      <a:pt x="6" y="14"/>
                      <a:pt x="7" y="15"/>
                    </a:cubicBezTo>
                    <a:cubicBezTo>
                      <a:pt x="8" y="15"/>
                      <a:pt x="11" y="15"/>
                      <a:pt x="12" y="14"/>
                    </a:cubicBezTo>
                    <a:cubicBezTo>
                      <a:pt x="14" y="14"/>
                      <a:pt x="17" y="16"/>
                      <a:pt x="17" y="15"/>
                    </a:cubicBezTo>
                    <a:cubicBezTo>
                      <a:pt x="18" y="13"/>
                      <a:pt x="19" y="11"/>
                      <a:pt x="20" y="11"/>
                    </a:cubicBezTo>
                    <a:cubicBezTo>
                      <a:pt x="21" y="11"/>
                      <a:pt x="21" y="7"/>
                      <a:pt x="22" y="7"/>
                    </a:cubicBezTo>
                    <a:cubicBezTo>
                      <a:pt x="23" y="7"/>
                      <a:pt x="27" y="4"/>
                      <a:pt x="27" y="4"/>
                    </a:cubicBezTo>
                    <a:cubicBezTo>
                      <a:pt x="27" y="4"/>
                      <a:pt x="26" y="1"/>
                      <a:pt x="25" y="1"/>
                    </a:cubicBezTo>
                    <a:cubicBezTo>
                      <a:pt x="25" y="0"/>
                      <a:pt x="23" y="2"/>
                      <a:pt x="20" y="2"/>
                    </a:cubicBezTo>
                    <a:cubicBezTo>
                      <a:pt x="16" y="2"/>
                      <a:pt x="14" y="5"/>
                      <a:pt x="13" y="5"/>
                    </a:cubicBezTo>
                    <a:cubicBezTo>
                      <a:pt x="11" y="5"/>
                      <a:pt x="7" y="3"/>
                      <a:pt x="4" y="3"/>
                    </a:cubicBezTo>
                    <a:cubicBezTo>
                      <a:pt x="3" y="3"/>
                      <a:pt x="1" y="3"/>
                      <a:pt x="0" y="3"/>
                    </a:cubicBezTo>
                    <a:cubicBezTo>
                      <a:pt x="0" y="6"/>
                      <a:pt x="0" y="10"/>
                      <a:pt x="0" y="14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7" name="Freeform 135">
                <a:extLst>
                  <a:ext uri="{FF2B5EF4-FFF2-40B4-BE49-F238E27FC236}">
                    <a16:creationId xmlns:a16="http://schemas.microsoft.com/office/drawing/2014/main" id="{F927DA4D-607F-403D-80DF-724738CD1C1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91113" y="3259170"/>
                <a:ext cx="117944" cy="144293"/>
              </a:xfrm>
              <a:custGeom>
                <a:avLst/>
                <a:gdLst>
                  <a:gd name="T0" fmla="*/ 50 w 51"/>
                  <a:gd name="T1" fmla="*/ 0 h 63"/>
                  <a:gd name="T2" fmla="*/ 46 w 51"/>
                  <a:gd name="T3" fmla="*/ 1 h 63"/>
                  <a:gd name="T4" fmla="*/ 43 w 51"/>
                  <a:gd name="T5" fmla="*/ 3 h 63"/>
                  <a:gd name="T6" fmla="*/ 34 w 51"/>
                  <a:gd name="T7" fmla="*/ 2 h 63"/>
                  <a:gd name="T8" fmla="*/ 24 w 51"/>
                  <a:gd name="T9" fmla="*/ 2 h 63"/>
                  <a:gd name="T10" fmla="*/ 23 w 51"/>
                  <a:gd name="T11" fmla="*/ 2 h 63"/>
                  <a:gd name="T12" fmla="*/ 16 w 51"/>
                  <a:gd name="T13" fmla="*/ 6 h 63"/>
                  <a:gd name="T14" fmla="*/ 12 w 51"/>
                  <a:gd name="T15" fmla="*/ 8 h 63"/>
                  <a:gd name="T16" fmla="*/ 7 w 51"/>
                  <a:gd name="T17" fmla="*/ 9 h 63"/>
                  <a:gd name="T18" fmla="*/ 4 w 51"/>
                  <a:gd name="T19" fmla="*/ 13 h 63"/>
                  <a:gd name="T20" fmla="*/ 2 w 51"/>
                  <a:gd name="T21" fmla="*/ 16 h 63"/>
                  <a:gd name="T22" fmla="*/ 0 w 51"/>
                  <a:gd name="T23" fmla="*/ 21 h 63"/>
                  <a:gd name="T24" fmla="*/ 0 w 51"/>
                  <a:gd name="T25" fmla="*/ 21 h 63"/>
                  <a:gd name="T26" fmla="*/ 4 w 51"/>
                  <a:gd name="T27" fmla="*/ 28 h 63"/>
                  <a:gd name="T28" fmla="*/ 10 w 51"/>
                  <a:gd name="T29" fmla="*/ 30 h 63"/>
                  <a:gd name="T30" fmla="*/ 17 w 51"/>
                  <a:gd name="T31" fmla="*/ 32 h 63"/>
                  <a:gd name="T32" fmla="*/ 9 w 51"/>
                  <a:gd name="T33" fmla="*/ 33 h 63"/>
                  <a:gd name="T34" fmla="*/ 10 w 51"/>
                  <a:gd name="T35" fmla="*/ 40 h 63"/>
                  <a:gd name="T36" fmla="*/ 14 w 51"/>
                  <a:gd name="T37" fmla="*/ 45 h 63"/>
                  <a:gd name="T38" fmla="*/ 22 w 51"/>
                  <a:gd name="T39" fmla="*/ 49 h 63"/>
                  <a:gd name="T40" fmla="*/ 20 w 51"/>
                  <a:gd name="T41" fmla="*/ 41 h 63"/>
                  <a:gd name="T42" fmla="*/ 26 w 51"/>
                  <a:gd name="T43" fmla="*/ 40 h 63"/>
                  <a:gd name="T44" fmla="*/ 22 w 51"/>
                  <a:gd name="T45" fmla="*/ 37 h 63"/>
                  <a:gd name="T46" fmla="*/ 25 w 51"/>
                  <a:gd name="T47" fmla="*/ 36 h 63"/>
                  <a:gd name="T48" fmla="*/ 31 w 51"/>
                  <a:gd name="T49" fmla="*/ 35 h 63"/>
                  <a:gd name="T50" fmla="*/ 28 w 51"/>
                  <a:gd name="T51" fmla="*/ 28 h 63"/>
                  <a:gd name="T52" fmla="*/ 22 w 51"/>
                  <a:gd name="T53" fmla="*/ 29 h 63"/>
                  <a:gd name="T54" fmla="*/ 24 w 51"/>
                  <a:gd name="T55" fmla="*/ 24 h 63"/>
                  <a:gd name="T56" fmla="*/ 18 w 51"/>
                  <a:gd name="T57" fmla="*/ 15 h 63"/>
                  <a:gd name="T58" fmla="*/ 22 w 51"/>
                  <a:gd name="T59" fmla="*/ 13 h 63"/>
                  <a:gd name="T60" fmla="*/ 28 w 51"/>
                  <a:gd name="T61" fmla="*/ 14 h 63"/>
                  <a:gd name="T62" fmla="*/ 30 w 51"/>
                  <a:gd name="T63" fmla="*/ 8 h 63"/>
                  <a:gd name="T64" fmla="*/ 35 w 51"/>
                  <a:gd name="T65" fmla="*/ 10 h 63"/>
                  <a:gd name="T66" fmla="*/ 41 w 51"/>
                  <a:gd name="T67" fmla="*/ 7 h 63"/>
                  <a:gd name="T68" fmla="*/ 46 w 51"/>
                  <a:gd name="T69" fmla="*/ 9 h 63"/>
                  <a:gd name="T70" fmla="*/ 48 w 51"/>
                  <a:gd name="T71" fmla="*/ 6 h 63"/>
                  <a:gd name="T72" fmla="*/ 51 w 51"/>
                  <a:gd name="T73" fmla="*/ 3 h 63"/>
                  <a:gd name="T74" fmla="*/ 50 w 51"/>
                  <a:gd name="T75" fmla="*/ 0 h 63"/>
                  <a:gd name="T76" fmla="*/ 43 w 51"/>
                  <a:gd name="T77" fmla="*/ 59 h 63"/>
                  <a:gd name="T78" fmla="*/ 30 w 51"/>
                  <a:gd name="T79" fmla="*/ 58 h 63"/>
                  <a:gd name="T80" fmla="*/ 26 w 51"/>
                  <a:gd name="T81" fmla="*/ 60 h 63"/>
                  <a:gd name="T82" fmla="*/ 37 w 51"/>
                  <a:gd name="T83" fmla="*/ 63 h 63"/>
                  <a:gd name="T84" fmla="*/ 48 w 51"/>
                  <a:gd name="T85" fmla="*/ 60 h 63"/>
                  <a:gd name="T86" fmla="*/ 43 w 51"/>
                  <a:gd name="T87" fmla="*/ 59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51" h="63">
                    <a:moveTo>
                      <a:pt x="50" y="0"/>
                    </a:moveTo>
                    <a:cubicBezTo>
                      <a:pt x="48" y="0"/>
                      <a:pt x="46" y="0"/>
                      <a:pt x="46" y="1"/>
                    </a:cubicBezTo>
                    <a:cubicBezTo>
                      <a:pt x="47" y="3"/>
                      <a:pt x="45" y="3"/>
                      <a:pt x="43" y="3"/>
                    </a:cubicBezTo>
                    <a:cubicBezTo>
                      <a:pt x="43" y="3"/>
                      <a:pt x="36" y="3"/>
                      <a:pt x="34" y="2"/>
                    </a:cubicBezTo>
                    <a:cubicBezTo>
                      <a:pt x="33" y="1"/>
                      <a:pt x="27" y="1"/>
                      <a:pt x="24" y="2"/>
                    </a:cubicBezTo>
                    <a:cubicBezTo>
                      <a:pt x="24" y="2"/>
                      <a:pt x="24" y="2"/>
                      <a:pt x="23" y="2"/>
                    </a:cubicBezTo>
                    <a:cubicBezTo>
                      <a:pt x="23" y="3"/>
                      <a:pt x="17" y="6"/>
                      <a:pt x="16" y="6"/>
                    </a:cubicBezTo>
                    <a:cubicBezTo>
                      <a:pt x="15" y="5"/>
                      <a:pt x="14" y="7"/>
                      <a:pt x="12" y="8"/>
                    </a:cubicBezTo>
                    <a:cubicBezTo>
                      <a:pt x="10" y="8"/>
                      <a:pt x="7" y="8"/>
                      <a:pt x="7" y="9"/>
                    </a:cubicBezTo>
                    <a:cubicBezTo>
                      <a:pt x="7" y="9"/>
                      <a:pt x="5" y="12"/>
                      <a:pt x="4" y="13"/>
                    </a:cubicBezTo>
                    <a:cubicBezTo>
                      <a:pt x="3" y="14"/>
                      <a:pt x="4" y="16"/>
                      <a:pt x="2" y="16"/>
                    </a:cubicBezTo>
                    <a:cubicBezTo>
                      <a:pt x="1" y="16"/>
                      <a:pt x="0" y="19"/>
                      <a:pt x="0" y="21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3" y="22"/>
                      <a:pt x="5" y="25"/>
                      <a:pt x="4" y="28"/>
                    </a:cubicBezTo>
                    <a:cubicBezTo>
                      <a:pt x="4" y="31"/>
                      <a:pt x="8" y="32"/>
                      <a:pt x="10" y="30"/>
                    </a:cubicBezTo>
                    <a:cubicBezTo>
                      <a:pt x="12" y="27"/>
                      <a:pt x="17" y="31"/>
                      <a:pt x="17" y="32"/>
                    </a:cubicBezTo>
                    <a:cubicBezTo>
                      <a:pt x="17" y="34"/>
                      <a:pt x="12" y="31"/>
                      <a:pt x="9" y="33"/>
                    </a:cubicBezTo>
                    <a:cubicBezTo>
                      <a:pt x="6" y="35"/>
                      <a:pt x="11" y="37"/>
                      <a:pt x="10" y="40"/>
                    </a:cubicBezTo>
                    <a:cubicBezTo>
                      <a:pt x="10" y="42"/>
                      <a:pt x="12" y="45"/>
                      <a:pt x="14" y="45"/>
                    </a:cubicBezTo>
                    <a:cubicBezTo>
                      <a:pt x="17" y="45"/>
                      <a:pt x="20" y="50"/>
                      <a:pt x="22" y="49"/>
                    </a:cubicBezTo>
                    <a:cubicBezTo>
                      <a:pt x="24" y="48"/>
                      <a:pt x="20" y="42"/>
                      <a:pt x="20" y="41"/>
                    </a:cubicBezTo>
                    <a:cubicBezTo>
                      <a:pt x="21" y="40"/>
                      <a:pt x="24" y="42"/>
                      <a:pt x="26" y="40"/>
                    </a:cubicBezTo>
                    <a:cubicBezTo>
                      <a:pt x="28" y="39"/>
                      <a:pt x="25" y="37"/>
                      <a:pt x="22" y="37"/>
                    </a:cubicBezTo>
                    <a:cubicBezTo>
                      <a:pt x="20" y="37"/>
                      <a:pt x="22" y="34"/>
                      <a:pt x="25" y="36"/>
                    </a:cubicBezTo>
                    <a:cubicBezTo>
                      <a:pt x="28" y="37"/>
                      <a:pt x="30" y="35"/>
                      <a:pt x="31" y="35"/>
                    </a:cubicBezTo>
                    <a:cubicBezTo>
                      <a:pt x="32" y="35"/>
                      <a:pt x="33" y="30"/>
                      <a:pt x="28" y="28"/>
                    </a:cubicBezTo>
                    <a:cubicBezTo>
                      <a:pt x="24" y="27"/>
                      <a:pt x="25" y="32"/>
                      <a:pt x="22" y="29"/>
                    </a:cubicBezTo>
                    <a:cubicBezTo>
                      <a:pt x="19" y="26"/>
                      <a:pt x="24" y="27"/>
                      <a:pt x="24" y="24"/>
                    </a:cubicBezTo>
                    <a:cubicBezTo>
                      <a:pt x="24" y="22"/>
                      <a:pt x="20" y="18"/>
                      <a:pt x="18" y="15"/>
                    </a:cubicBezTo>
                    <a:cubicBezTo>
                      <a:pt x="16" y="12"/>
                      <a:pt x="21" y="11"/>
                      <a:pt x="22" y="13"/>
                    </a:cubicBezTo>
                    <a:cubicBezTo>
                      <a:pt x="23" y="15"/>
                      <a:pt x="26" y="15"/>
                      <a:pt x="28" y="14"/>
                    </a:cubicBezTo>
                    <a:cubicBezTo>
                      <a:pt x="30" y="13"/>
                      <a:pt x="26" y="9"/>
                      <a:pt x="30" y="8"/>
                    </a:cubicBezTo>
                    <a:cubicBezTo>
                      <a:pt x="34" y="7"/>
                      <a:pt x="34" y="9"/>
                      <a:pt x="35" y="10"/>
                    </a:cubicBezTo>
                    <a:cubicBezTo>
                      <a:pt x="36" y="10"/>
                      <a:pt x="37" y="7"/>
                      <a:pt x="41" y="7"/>
                    </a:cubicBezTo>
                    <a:cubicBezTo>
                      <a:pt x="43" y="7"/>
                      <a:pt x="45" y="8"/>
                      <a:pt x="46" y="9"/>
                    </a:cubicBezTo>
                    <a:cubicBezTo>
                      <a:pt x="47" y="8"/>
                      <a:pt x="48" y="7"/>
                      <a:pt x="48" y="6"/>
                    </a:cubicBezTo>
                    <a:cubicBezTo>
                      <a:pt x="48" y="5"/>
                      <a:pt x="51" y="5"/>
                      <a:pt x="51" y="3"/>
                    </a:cubicBezTo>
                    <a:cubicBezTo>
                      <a:pt x="51" y="2"/>
                      <a:pt x="50" y="1"/>
                      <a:pt x="50" y="0"/>
                    </a:cubicBezTo>
                    <a:close/>
                    <a:moveTo>
                      <a:pt x="43" y="59"/>
                    </a:moveTo>
                    <a:cubicBezTo>
                      <a:pt x="41" y="58"/>
                      <a:pt x="33" y="60"/>
                      <a:pt x="30" y="58"/>
                    </a:cubicBezTo>
                    <a:cubicBezTo>
                      <a:pt x="28" y="56"/>
                      <a:pt x="24" y="60"/>
                      <a:pt x="26" y="60"/>
                    </a:cubicBezTo>
                    <a:cubicBezTo>
                      <a:pt x="28" y="61"/>
                      <a:pt x="33" y="63"/>
                      <a:pt x="37" y="63"/>
                    </a:cubicBezTo>
                    <a:cubicBezTo>
                      <a:pt x="42" y="63"/>
                      <a:pt x="48" y="61"/>
                      <a:pt x="48" y="60"/>
                    </a:cubicBezTo>
                    <a:cubicBezTo>
                      <a:pt x="48" y="59"/>
                      <a:pt x="45" y="61"/>
                      <a:pt x="43" y="5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8" name="Freeform 136">
                <a:extLst>
                  <a:ext uri="{FF2B5EF4-FFF2-40B4-BE49-F238E27FC236}">
                    <a16:creationId xmlns:a16="http://schemas.microsoft.com/office/drawing/2014/main" id="{8CFF5FC1-29C9-45FF-A044-EF75EEA746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8181" y="3385897"/>
                <a:ext cx="48934" cy="30113"/>
              </a:xfrm>
              <a:custGeom>
                <a:avLst/>
                <a:gdLst>
                  <a:gd name="T0" fmla="*/ 14 w 21"/>
                  <a:gd name="T1" fmla="*/ 8 h 13"/>
                  <a:gd name="T2" fmla="*/ 19 w 21"/>
                  <a:gd name="T3" fmla="*/ 3 h 13"/>
                  <a:gd name="T4" fmla="*/ 19 w 21"/>
                  <a:gd name="T5" fmla="*/ 1 h 13"/>
                  <a:gd name="T6" fmla="*/ 7 w 21"/>
                  <a:gd name="T7" fmla="*/ 5 h 13"/>
                  <a:gd name="T8" fmla="*/ 4 w 21"/>
                  <a:gd name="T9" fmla="*/ 10 h 13"/>
                  <a:gd name="T10" fmla="*/ 14 w 21"/>
                  <a:gd name="T11" fmla="*/ 8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1" h="13">
                    <a:moveTo>
                      <a:pt x="14" y="8"/>
                    </a:moveTo>
                    <a:cubicBezTo>
                      <a:pt x="14" y="7"/>
                      <a:pt x="16" y="4"/>
                      <a:pt x="19" y="3"/>
                    </a:cubicBezTo>
                    <a:cubicBezTo>
                      <a:pt x="21" y="2"/>
                      <a:pt x="20" y="0"/>
                      <a:pt x="19" y="1"/>
                    </a:cubicBezTo>
                    <a:cubicBezTo>
                      <a:pt x="17" y="3"/>
                      <a:pt x="13" y="4"/>
                      <a:pt x="7" y="5"/>
                    </a:cubicBezTo>
                    <a:cubicBezTo>
                      <a:pt x="2" y="5"/>
                      <a:pt x="0" y="8"/>
                      <a:pt x="4" y="10"/>
                    </a:cubicBezTo>
                    <a:cubicBezTo>
                      <a:pt x="8" y="13"/>
                      <a:pt x="15" y="9"/>
                      <a:pt x="14" y="8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9" name="Freeform 137">
                <a:extLst>
                  <a:ext uri="{FF2B5EF4-FFF2-40B4-BE49-F238E27FC236}">
                    <a16:creationId xmlns:a16="http://schemas.microsoft.com/office/drawing/2014/main" id="{45733734-1382-49B3-B225-B3C64C2FC5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73032" y="2610477"/>
                <a:ext cx="198247" cy="99123"/>
              </a:xfrm>
              <a:custGeom>
                <a:avLst/>
                <a:gdLst>
                  <a:gd name="T0" fmla="*/ 72 w 86"/>
                  <a:gd name="T1" fmla="*/ 31 h 43"/>
                  <a:gd name="T2" fmla="*/ 79 w 86"/>
                  <a:gd name="T3" fmla="*/ 26 h 43"/>
                  <a:gd name="T4" fmla="*/ 85 w 86"/>
                  <a:gd name="T5" fmla="*/ 20 h 43"/>
                  <a:gd name="T6" fmla="*/ 81 w 86"/>
                  <a:gd name="T7" fmla="*/ 13 h 43"/>
                  <a:gd name="T8" fmla="*/ 76 w 86"/>
                  <a:gd name="T9" fmla="*/ 9 h 43"/>
                  <a:gd name="T10" fmla="*/ 75 w 86"/>
                  <a:gd name="T11" fmla="*/ 4 h 43"/>
                  <a:gd name="T12" fmla="*/ 69 w 86"/>
                  <a:gd name="T13" fmla="*/ 4 h 43"/>
                  <a:gd name="T14" fmla="*/ 62 w 86"/>
                  <a:gd name="T15" fmla="*/ 1 h 43"/>
                  <a:gd name="T16" fmla="*/ 61 w 86"/>
                  <a:gd name="T17" fmla="*/ 6 h 43"/>
                  <a:gd name="T18" fmla="*/ 56 w 86"/>
                  <a:gd name="T19" fmla="*/ 6 h 43"/>
                  <a:gd name="T20" fmla="*/ 53 w 86"/>
                  <a:gd name="T21" fmla="*/ 6 h 43"/>
                  <a:gd name="T22" fmla="*/ 48 w 86"/>
                  <a:gd name="T23" fmla="*/ 7 h 43"/>
                  <a:gd name="T24" fmla="*/ 44 w 86"/>
                  <a:gd name="T25" fmla="*/ 5 h 43"/>
                  <a:gd name="T26" fmla="*/ 39 w 86"/>
                  <a:gd name="T27" fmla="*/ 9 h 43"/>
                  <a:gd name="T28" fmla="*/ 35 w 86"/>
                  <a:gd name="T29" fmla="*/ 7 h 43"/>
                  <a:gd name="T30" fmla="*/ 32 w 86"/>
                  <a:gd name="T31" fmla="*/ 10 h 43"/>
                  <a:gd name="T32" fmla="*/ 31 w 86"/>
                  <a:gd name="T33" fmla="*/ 14 h 43"/>
                  <a:gd name="T34" fmla="*/ 25 w 86"/>
                  <a:gd name="T35" fmla="*/ 16 h 43"/>
                  <a:gd name="T36" fmla="*/ 23 w 86"/>
                  <a:gd name="T37" fmla="*/ 10 h 43"/>
                  <a:gd name="T38" fmla="*/ 11 w 86"/>
                  <a:gd name="T39" fmla="*/ 2 h 43"/>
                  <a:gd name="T40" fmla="*/ 12 w 86"/>
                  <a:gd name="T41" fmla="*/ 6 h 43"/>
                  <a:gd name="T42" fmla="*/ 9 w 86"/>
                  <a:gd name="T43" fmla="*/ 6 h 43"/>
                  <a:gd name="T44" fmla="*/ 4 w 86"/>
                  <a:gd name="T45" fmla="*/ 8 h 43"/>
                  <a:gd name="T46" fmla="*/ 0 w 86"/>
                  <a:gd name="T47" fmla="*/ 13 h 43"/>
                  <a:gd name="T48" fmla="*/ 8 w 86"/>
                  <a:gd name="T49" fmla="*/ 15 h 43"/>
                  <a:gd name="T50" fmla="*/ 17 w 86"/>
                  <a:gd name="T51" fmla="*/ 15 h 43"/>
                  <a:gd name="T52" fmla="*/ 16 w 86"/>
                  <a:gd name="T53" fmla="*/ 19 h 43"/>
                  <a:gd name="T54" fmla="*/ 12 w 86"/>
                  <a:gd name="T55" fmla="*/ 21 h 43"/>
                  <a:gd name="T56" fmla="*/ 3 w 86"/>
                  <a:gd name="T57" fmla="*/ 24 h 43"/>
                  <a:gd name="T58" fmla="*/ 14 w 86"/>
                  <a:gd name="T59" fmla="*/ 24 h 43"/>
                  <a:gd name="T60" fmla="*/ 17 w 86"/>
                  <a:gd name="T61" fmla="*/ 27 h 43"/>
                  <a:gd name="T62" fmla="*/ 19 w 86"/>
                  <a:gd name="T63" fmla="*/ 30 h 43"/>
                  <a:gd name="T64" fmla="*/ 17 w 86"/>
                  <a:gd name="T65" fmla="*/ 33 h 43"/>
                  <a:gd name="T66" fmla="*/ 13 w 86"/>
                  <a:gd name="T67" fmla="*/ 36 h 43"/>
                  <a:gd name="T68" fmla="*/ 23 w 86"/>
                  <a:gd name="T69" fmla="*/ 36 h 43"/>
                  <a:gd name="T70" fmla="*/ 37 w 86"/>
                  <a:gd name="T71" fmla="*/ 41 h 43"/>
                  <a:gd name="T72" fmla="*/ 51 w 86"/>
                  <a:gd name="T73" fmla="*/ 38 h 43"/>
                  <a:gd name="T74" fmla="*/ 61 w 86"/>
                  <a:gd name="T75" fmla="*/ 35 h 43"/>
                  <a:gd name="T76" fmla="*/ 72 w 86"/>
                  <a:gd name="T77" fmla="*/ 31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86" h="43">
                    <a:moveTo>
                      <a:pt x="72" y="31"/>
                    </a:moveTo>
                    <a:cubicBezTo>
                      <a:pt x="77" y="31"/>
                      <a:pt x="77" y="25"/>
                      <a:pt x="79" y="26"/>
                    </a:cubicBezTo>
                    <a:cubicBezTo>
                      <a:pt x="81" y="26"/>
                      <a:pt x="84" y="22"/>
                      <a:pt x="85" y="20"/>
                    </a:cubicBezTo>
                    <a:cubicBezTo>
                      <a:pt x="86" y="17"/>
                      <a:pt x="83" y="13"/>
                      <a:pt x="81" y="13"/>
                    </a:cubicBezTo>
                    <a:cubicBezTo>
                      <a:pt x="78" y="13"/>
                      <a:pt x="76" y="11"/>
                      <a:pt x="76" y="9"/>
                    </a:cubicBezTo>
                    <a:cubicBezTo>
                      <a:pt x="77" y="7"/>
                      <a:pt x="75" y="5"/>
                      <a:pt x="75" y="4"/>
                    </a:cubicBezTo>
                    <a:cubicBezTo>
                      <a:pt x="75" y="3"/>
                      <a:pt x="71" y="4"/>
                      <a:pt x="69" y="4"/>
                    </a:cubicBezTo>
                    <a:cubicBezTo>
                      <a:pt x="67" y="5"/>
                      <a:pt x="63" y="0"/>
                      <a:pt x="62" y="1"/>
                    </a:cubicBezTo>
                    <a:cubicBezTo>
                      <a:pt x="60" y="2"/>
                      <a:pt x="61" y="4"/>
                      <a:pt x="61" y="6"/>
                    </a:cubicBezTo>
                    <a:cubicBezTo>
                      <a:pt x="60" y="7"/>
                      <a:pt x="56" y="4"/>
                      <a:pt x="56" y="6"/>
                    </a:cubicBezTo>
                    <a:cubicBezTo>
                      <a:pt x="56" y="8"/>
                      <a:pt x="54" y="8"/>
                      <a:pt x="53" y="6"/>
                    </a:cubicBezTo>
                    <a:cubicBezTo>
                      <a:pt x="51" y="4"/>
                      <a:pt x="48" y="5"/>
                      <a:pt x="48" y="7"/>
                    </a:cubicBezTo>
                    <a:cubicBezTo>
                      <a:pt x="48" y="8"/>
                      <a:pt x="47" y="7"/>
                      <a:pt x="44" y="5"/>
                    </a:cubicBezTo>
                    <a:cubicBezTo>
                      <a:pt x="41" y="4"/>
                      <a:pt x="38" y="7"/>
                      <a:pt x="39" y="9"/>
                    </a:cubicBezTo>
                    <a:cubicBezTo>
                      <a:pt x="39" y="11"/>
                      <a:pt x="38" y="11"/>
                      <a:pt x="35" y="7"/>
                    </a:cubicBezTo>
                    <a:cubicBezTo>
                      <a:pt x="33" y="4"/>
                      <a:pt x="30" y="8"/>
                      <a:pt x="32" y="10"/>
                    </a:cubicBezTo>
                    <a:cubicBezTo>
                      <a:pt x="33" y="12"/>
                      <a:pt x="32" y="15"/>
                      <a:pt x="31" y="14"/>
                    </a:cubicBezTo>
                    <a:cubicBezTo>
                      <a:pt x="29" y="13"/>
                      <a:pt x="26" y="14"/>
                      <a:pt x="25" y="16"/>
                    </a:cubicBezTo>
                    <a:cubicBezTo>
                      <a:pt x="24" y="18"/>
                      <a:pt x="20" y="11"/>
                      <a:pt x="23" y="10"/>
                    </a:cubicBezTo>
                    <a:cubicBezTo>
                      <a:pt x="26" y="8"/>
                      <a:pt x="15" y="2"/>
                      <a:pt x="11" y="2"/>
                    </a:cubicBezTo>
                    <a:cubicBezTo>
                      <a:pt x="7" y="2"/>
                      <a:pt x="10" y="4"/>
                      <a:pt x="12" y="6"/>
                    </a:cubicBezTo>
                    <a:cubicBezTo>
                      <a:pt x="15" y="8"/>
                      <a:pt x="10" y="7"/>
                      <a:pt x="9" y="6"/>
                    </a:cubicBezTo>
                    <a:cubicBezTo>
                      <a:pt x="8" y="4"/>
                      <a:pt x="5" y="5"/>
                      <a:pt x="4" y="8"/>
                    </a:cubicBezTo>
                    <a:cubicBezTo>
                      <a:pt x="3" y="10"/>
                      <a:pt x="0" y="12"/>
                      <a:pt x="0" y="13"/>
                    </a:cubicBezTo>
                    <a:cubicBezTo>
                      <a:pt x="0" y="15"/>
                      <a:pt x="4" y="17"/>
                      <a:pt x="8" y="15"/>
                    </a:cubicBezTo>
                    <a:cubicBezTo>
                      <a:pt x="11" y="14"/>
                      <a:pt x="15" y="13"/>
                      <a:pt x="17" y="15"/>
                    </a:cubicBezTo>
                    <a:cubicBezTo>
                      <a:pt x="19" y="17"/>
                      <a:pt x="14" y="18"/>
                      <a:pt x="16" y="19"/>
                    </a:cubicBezTo>
                    <a:cubicBezTo>
                      <a:pt x="18" y="20"/>
                      <a:pt x="16" y="22"/>
                      <a:pt x="12" y="21"/>
                    </a:cubicBezTo>
                    <a:cubicBezTo>
                      <a:pt x="7" y="21"/>
                      <a:pt x="2" y="22"/>
                      <a:pt x="3" y="24"/>
                    </a:cubicBezTo>
                    <a:cubicBezTo>
                      <a:pt x="3" y="25"/>
                      <a:pt x="14" y="22"/>
                      <a:pt x="14" y="24"/>
                    </a:cubicBezTo>
                    <a:cubicBezTo>
                      <a:pt x="14" y="26"/>
                      <a:pt x="14" y="28"/>
                      <a:pt x="17" y="27"/>
                    </a:cubicBezTo>
                    <a:cubicBezTo>
                      <a:pt x="20" y="26"/>
                      <a:pt x="18" y="29"/>
                      <a:pt x="19" y="30"/>
                    </a:cubicBezTo>
                    <a:cubicBezTo>
                      <a:pt x="21" y="30"/>
                      <a:pt x="20" y="33"/>
                      <a:pt x="17" y="33"/>
                    </a:cubicBezTo>
                    <a:cubicBezTo>
                      <a:pt x="13" y="34"/>
                      <a:pt x="11" y="34"/>
                      <a:pt x="13" y="36"/>
                    </a:cubicBezTo>
                    <a:cubicBezTo>
                      <a:pt x="15" y="38"/>
                      <a:pt x="19" y="37"/>
                      <a:pt x="23" y="36"/>
                    </a:cubicBezTo>
                    <a:cubicBezTo>
                      <a:pt x="27" y="35"/>
                      <a:pt x="33" y="40"/>
                      <a:pt x="37" y="41"/>
                    </a:cubicBezTo>
                    <a:cubicBezTo>
                      <a:pt x="42" y="43"/>
                      <a:pt x="50" y="41"/>
                      <a:pt x="51" y="38"/>
                    </a:cubicBezTo>
                    <a:cubicBezTo>
                      <a:pt x="52" y="36"/>
                      <a:pt x="59" y="37"/>
                      <a:pt x="61" y="35"/>
                    </a:cubicBezTo>
                    <a:cubicBezTo>
                      <a:pt x="64" y="33"/>
                      <a:pt x="68" y="31"/>
                      <a:pt x="72" y="3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0" name="Freeform 138">
                <a:extLst>
                  <a:ext uri="{FF2B5EF4-FFF2-40B4-BE49-F238E27FC236}">
                    <a16:creationId xmlns:a16="http://schemas.microsoft.com/office/drawing/2014/main" id="{8C4A3A08-F715-4BD7-8837-6C807A9853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26487" y="2935451"/>
                <a:ext cx="85321" cy="92850"/>
              </a:xfrm>
              <a:custGeom>
                <a:avLst/>
                <a:gdLst>
                  <a:gd name="T0" fmla="*/ 33 w 37"/>
                  <a:gd name="T1" fmla="*/ 12 h 40"/>
                  <a:gd name="T2" fmla="*/ 30 w 37"/>
                  <a:gd name="T3" fmla="*/ 10 h 40"/>
                  <a:gd name="T4" fmla="*/ 26 w 37"/>
                  <a:gd name="T5" fmla="*/ 11 h 40"/>
                  <a:gd name="T6" fmla="*/ 21 w 37"/>
                  <a:gd name="T7" fmla="*/ 10 h 40"/>
                  <a:gd name="T8" fmla="*/ 22 w 37"/>
                  <a:gd name="T9" fmla="*/ 6 h 40"/>
                  <a:gd name="T10" fmla="*/ 25 w 37"/>
                  <a:gd name="T11" fmla="*/ 1 h 40"/>
                  <a:gd name="T12" fmla="*/ 24 w 37"/>
                  <a:gd name="T13" fmla="*/ 1 h 40"/>
                  <a:gd name="T14" fmla="*/ 16 w 37"/>
                  <a:gd name="T15" fmla="*/ 3 h 40"/>
                  <a:gd name="T16" fmla="*/ 19 w 37"/>
                  <a:gd name="T17" fmla="*/ 6 h 40"/>
                  <a:gd name="T18" fmla="*/ 13 w 37"/>
                  <a:gd name="T19" fmla="*/ 10 h 40"/>
                  <a:gd name="T20" fmla="*/ 4 w 37"/>
                  <a:gd name="T21" fmla="*/ 10 h 40"/>
                  <a:gd name="T22" fmla="*/ 5 w 37"/>
                  <a:gd name="T23" fmla="*/ 16 h 40"/>
                  <a:gd name="T24" fmla="*/ 9 w 37"/>
                  <a:gd name="T25" fmla="*/ 22 h 40"/>
                  <a:gd name="T26" fmla="*/ 7 w 37"/>
                  <a:gd name="T27" fmla="*/ 28 h 40"/>
                  <a:gd name="T28" fmla="*/ 1 w 37"/>
                  <a:gd name="T29" fmla="*/ 34 h 40"/>
                  <a:gd name="T30" fmla="*/ 9 w 37"/>
                  <a:gd name="T31" fmla="*/ 40 h 40"/>
                  <a:gd name="T32" fmla="*/ 23 w 37"/>
                  <a:gd name="T33" fmla="*/ 34 h 40"/>
                  <a:gd name="T34" fmla="*/ 33 w 37"/>
                  <a:gd name="T35" fmla="*/ 32 h 40"/>
                  <a:gd name="T36" fmla="*/ 33 w 37"/>
                  <a:gd name="T37" fmla="*/ 14 h 40"/>
                  <a:gd name="T38" fmla="*/ 33 w 37"/>
                  <a:gd name="T39" fmla="*/ 12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37" h="40">
                    <a:moveTo>
                      <a:pt x="33" y="12"/>
                    </a:moveTo>
                    <a:cubicBezTo>
                      <a:pt x="32" y="12"/>
                      <a:pt x="31" y="11"/>
                      <a:pt x="30" y="10"/>
                    </a:cubicBezTo>
                    <a:cubicBezTo>
                      <a:pt x="27" y="6"/>
                      <a:pt x="26" y="9"/>
                      <a:pt x="26" y="11"/>
                    </a:cubicBezTo>
                    <a:cubicBezTo>
                      <a:pt x="25" y="14"/>
                      <a:pt x="22" y="11"/>
                      <a:pt x="21" y="10"/>
                    </a:cubicBezTo>
                    <a:cubicBezTo>
                      <a:pt x="19" y="10"/>
                      <a:pt x="21" y="7"/>
                      <a:pt x="22" y="6"/>
                    </a:cubicBezTo>
                    <a:cubicBezTo>
                      <a:pt x="23" y="5"/>
                      <a:pt x="24" y="3"/>
                      <a:pt x="25" y="1"/>
                    </a:cubicBezTo>
                    <a:cubicBezTo>
                      <a:pt x="24" y="1"/>
                      <a:pt x="24" y="1"/>
                      <a:pt x="24" y="1"/>
                    </a:cubicBezTo>
                    <a:cubicBezTo>
                      <a:pt x="20" y="0"/>
                      <a:pt x="16" y="0"/>
                      <a:pt x="16" y="3"/>
                    </a:cubicBezTo>
                    <a:cubicBezTo>
                      <a:pt x="15" y="6"/>
                      <a:pt x="19" y="5"/>
                      <a:pt x="19" y="6"/>
                    </a:cubicBezTo>
                    <a:cubicBezTo>
                      <a:pt x="19" y="8"/>
                      <a:pt x="16" y="8"/>
                      <a:pt x="13" y="10"/>
                    </a:cubicBezTo>
                    <a:cubicBezTo>
                      <a:pt x="10" y="12"/>
                      <a:pt x="7" y="8"/>
                      <a:pt x="4" y="10"/>
                    </a:cubicBezTo>
                    <a:cubicBezTo>
                      <a:pt x="1" y="11"/>
                      <a:pt x="7" y="13"/>
                      <a:pt x="5" y="16"/>
                    </a:cubicBezTo>
                    <a:cubicBezTo>
                      <a:pt x="3" y="19"/>
                      <a:pt x="5" y="19"/>
                      <a:pt x="9" y="22"/>
                    </a:cubicBezTo>
                    <a:cubicBezTo>
                      <a:pt x="12" y="24"/>
                      <a:pt x="7" y="25"/>
                      <a:pt x="7" y="28"/>
                    </a:cubicBezTo>
                    <a:cubicBezTo>
                      <a:pt x="7" y="32"/>
                      <a:pt x="2" y="31"/>
                      <a:pt x="1" y="34"/>
                    </a:cubicBezTo>
                    <a:cubicBezTo>
                      <a:pt x="0" y="36"/>
                      <a:pt x="5" y="40"/>
                      <a:pt x="9" y="40"/>
                    </a:cubicBezTo>
                    <a:cubicBezTo>
                      <a:pt x="12" y="40"/>
                      <a:pt x="19" y="38"/>
                      <a:pt x="23" y="34"/>
                    </a:cubicBezTo>
                    <a:cubicBezTo>
                      <a:pt x="27" y="31"/>
                      <a:pt x="29" y="34"/>
                      <a:pt x="33" y="32"/>
                    </a:cubicBezTo>
                    <a:cubicBezTo>
                      <a:pt x="37" y="30"/>
                      <a:pt x="35" y="17"/>
                      <a:pt x="33" y="14"/>
                    </a:cubicBezTo>
                    <a:cubicBezTo>
                      <a:pt x="33" y="13"/>
                      <a:pt x="33" y="13"/>
                      <a:pt x="33" y="1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1" name="Freeform 139">
                <a:extLst>
                  <a:ext uri="{FF2B5EF4-FFF2-40B4-BE49-F238E27FC236}">
                    <a16:creationId xmlns:a16="http://schemas.microsoft.com/office/drawing/2014/main" id="{ABCD9A74-554E-4DE1-A2BF-B1F5C64068F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70402" y="2783629"/>
                <a:ext cx="186954" cy="286077"/>
              </a:xfrm>
              <a:custGeom>
                <a:avLst/>
                <a:gdLst>
                  <a:gd name="T0" fmla="*/ 6 w 81"/>
                  <a:gd name="T1" fmla="*/ 67 h 124"/>
                  <a:gd name="T2" fmla="*/ 2 w 81"/>
                  <a:gd name="T3" fmla="*/ 76 h 124"/>
                  <a:gd name="T4" fmla="*/ 11 w 81"/>
                  <a:gd name="T5" fmla="*/ 76 h 124"/>
                  <a:gd name="T6" fmla="*/ 20 w 81"/>
                  <a:gd name="T7" fmla="*/ 75 h 124"/>
                  <a:gd name="T8" fmla="*/ 81 w 81"/>
                  <a:gd name="T9" fmla="*/ 95 h 124"/>
                  <a:gd name="T10" fmla="*/ 68 w 81"/>
                  <a:gd name="T11" fmla="*/ 90 h 124"/>
                  <a:gd name="T12" fmla="*/ 66 w 81"/>
                  <a:gd name="T13" fmla="*/ 82 h 124"/>
                  <a:gd name="T14" fmla="*/ 54 w 81"/>
                  <a:gd name="T15" fmla="*/ 62 h 124"/>
                  <a:gd name="T16" fmla="*/ 42 w 81"/>
                  <a:gd name="T17" fmla="*/ 57 h 124"/>
                  <a:gd name="T18" fmla="*/ 51 w 81"/>
                  <a:gd name="T19" fmla="*/ 38 h 124"/>
                  <a:gd name="T20" fmla="*/ 33 w 81"/>
                  <a:gd name="T21" fmla="*/ 34 h 124"/>
                  <a:gd name="T22" fmla="*/ 40 w 81"/>
                  <a:gd name="T23" fmla="*/ 23 h 124"/>
                  <a:gd name="T24" fmla="*/ 28 w 81"/>
                  <a:gd name="T25" fmla="*/ 26 h 124"/>
                  <a:gd name="T26" fmla="*/ 20 w 81"/>
                  <a:gd name="T27" fmla="*/ 38 h 124"/>
                  <a:gd name="T28" fmla="*/ 13 w 81"/>
                  <a:gd name="T29" fmla="*/ 39 h 124"/>
                  <a:gd name="T30" fmla="*/ 15 w 81"/>
                  <a:gd name="T31" fmla="*/ 50 h 124"/>
                  <a:gd name="T32" fmla="*/ 13 w 81"/>
                  <a:gd name="T33" fmla="*/ 59 h 124"/>
                  <a:gd name="T34" fmla="*/ 22 w 81"/>
                  <a:gd name="T35" fmla="*/ 62 h 124"/>
                  <a:gd name="T36" fmla="*/ 27 w 81"/>
                  <a:gd name="T37" fmla="*/ 61 h 124"/>
                  <a:gd name="T38" fmla="*/ 36 w 81"/>
                  <a:gd name="T39" fmla="*/ 68 h 124"/>
                  <a:gd name="T40" fmla="*/ 39 w 81"/>
                  <a:gd name="T41" fmla="*/ 75 h 124"/>
                  <a:gd name="T42" fmla="*/ 41 w 81"/>
                  <a:gd name="T43" fmla="*/ 86 h 124"/>
                  <a:gd name="T44" fmla="*/ 30 w 81"/>
                  <a:gd name="T45" fmla="*/ 87 h 124"/>
                  <a:gd name="T46" fmla="*/ 33 w 81"/>
                  <a:gd name="T47" fmla="*/ 95 h 124"/>
                  <a:gd name="T48" fmla="*/ 28 w 81"/>
                  <a:gd name="T49" fmla="*/ 104 h 124"/>
                  <a:gd name="T50" fmla="*/ 41 w 81"/>
                  <a:gd name="T51" fmla="*/ 106 h 124"/>
                  <a:gd name="T52" fmla="*/ 33 w 81"/>
                  <a:gd name="T53" fmla="*/ 110 h 124"/>
                  <a:gd name="T54" fmla="*/ 29 w 81"/>
                  <a:gd name="T55" fmla="*/ 119 h 124"/>
                  <a:gd name="T56" fmla="*/ 38 w 81"/>
                  <a:gd name="T57" fmla="*/ 117 h 124"/>
                  <a:gd name="T58" fmla="*/ 50 w 81"/>
                  <a:gd name="T59" fmla="*/ 114 h 124"/>
                  <a:gd name="T60" fmla="*/ 66 w 81"/>
                  <a:gd name="T61" fmla="*/ 114 h 124"/>
                  <a:gd name="T62" fmla="*/ 73 w 81"/>
                  <a:gd name="T63" fmla="*/ 107 h 124"/>
                  <a:gd name="T64" fmla="*/ 81 w 81"/>
                  <a:gd name="T65" fmla="*/ 95 h 124"/>
                  <a:gd name="T66" fmla="*/ 15 w 81"/>
                  <a:gd name="T67" fmla="*/ 28 h 124"/>
                  <a:gd name="T68" fmla="*/ 55 w 81"/>
                  <a:gd name="T69" fmla="*/ 10 h 124"/>
                  <a:gd name="T70" fmla="*/ 55 w 81"/>
                  <a:gd name="T71" fmla="*/ 10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81" h="124">
                    <a:moveTo>
                      <a:pt x="16" y="66"/>
                    </a:moveTo>
                    <a:cubicBezTo>
                      <a:pt x="13" y="63"/>
                      <a:pt x="9" y="67"/>
                      <a:pt x="6" y="67"/>
                    </a:cubicBezTo>
                    <a:cubicBezTo>
                      <a:pt x="5" y="69"/>
                      <a:pt x="4" y="71"/>
                      <a:pt x="3" y="72"/>
                    </a:cubicBezTo>
                    <a:cubicBezTo>
                      <a:pt x="2" y="73"/>
                      <a:pt x="0" y="76"/>
                      <a:pt x="2" y="76"/>
                    </a:cubicBezTo>
                    <a:cubicBezTo>
                      <a:pt x="3" y="77"/>
                      <a:pt x="6" y="80"/>
                      <a:pt x="7" y="77"/>
                    </a:cubicBezTo>
                    <a:cubicBezTo>
                      <a:pt x="7" y="75"/>
                      <a:pt x="8" y="72"/>
                      <a:pt x="11" y="76"/>
                    </a:cubicBezTo>
                    <a:cubicBezTo>
                      <a:pt x="12" y="77"/>
                      <a:pt x="13" y="78"/>
                      <a:pt x="14" y="78"/>
                    </a:cubicBezTo>
                    <a:cubicBezTo>
                      <a:pt x="15" y="77"/>
                      <a:pt x="18" y="77"/>
                      <a:pt x="20" y="75"/>
                    </a:cubicBezTo>
                    <a:cubicBezTo>
                      <a:pt x="23" y="72"/>
                      <a:pt x="19" y="69"/>
                      <a:pt x="16" y="66"/>
                    </a:cubicBezTo>
                    <a:close/>
                    <a:moveTo>
                      <a:pt x="81" y="95"/>
                    </a:moveTo>
                    <a:cubicBezTo>
                      <a:pt x="81" y="91"/>
                      <a:pt x="73" y="89"/>
                      <a:pt x="72" y="91"/>
                    </a:cubicBezTo>
                    <a:cubicBezTo>
                      <a:pt x="71" y="93"/>
                      <a:pt x="70" y="93"/>
                      <a:pt x="68" y="90"/>
                    </a:cubicBezTo>
                    <a:cubicBezTo>
                      <a:pt x="67" y="88"/>
                      <a:pt x="70" y="86"/>
                      <a:pt x="68" y="86"/>
                    </a:cubicBezTo>
                    <a:cubicBezTo>
                      <a:pt x="67" y="86"/>
                      <a:pt x="65" y="83"/>
                      <a:pt x="66" y="82"/>
                    </a:cubicBezTo>
                    <a:cubicBezTo>
                      <a:pt x="66" y="80"/>
                      <a:pt x="64" y="73"/>
                      <a:pt x="60" y="72"/>
                    </a:cubicBezTo>
                    <a:cubicBezTo>
                      <a:pt x="56" y="71"/>
                      <a:pt x="55" y="65"/>
                      <a:pt x="54" y="62"/>
                    </a:cubicBezTo>
                    <a:cubicBezTo>
                      <a:pt x="54" y="59"/>
                      <a:pt x="51" y="61"/>
                      <a:pt x="49" y="58"/>
                    </a:cubicBezTo>
                    <a:cubicBezTo>
                      <a:pt x="47" y="55"/>
                      <a:pt x="43" y="57"/>
                      <a:pt x="42" y="57"/>
                    </a:cubicBezTo>
                    <a:cubicBezTo>
                      <a:pt x="40" y="57"/>
                      <a:pt x="42" y="53"/>
                      <a:pt x="44" y="52"/>
                    </a:cubicBezTo>
                    <a:cubicBezTo>
                      <a:pt x="47" y="50"/>
                      <a:pt x="51" y="40"/>
                      <a:pt x="51" y="38"/>
                    </a:cubicBezTo>
                    <a:cubicBezTo>
                      <a:pt x="51" y="36"/>
                      <a:pt x="38" y="36"/>
                      <a:pt x="36" y="37"/>
                    </a:cubicBezTo>
                    <a:cubicBezTo>
                      <a:pt x="33" y="38"/>
                      <a:pt x="31" y="35"/>
                      <a:pt x="33" y="34"/>
                    </a:cubicBezTo>
                    <a:cubicBezTo>
                      <a:pt x="35" y="33"/>
                      <a:pt x="39" y="29"/>
                      <a:pt x="39" y="28"/>
                    </a:cubicBezTo>
                    <a:cubicBezTo>
                      <a:pt x="39" y="26"/>
                      <a:pt x="42" y="24"/>
                      <a:pt x="40" y="23"/>
                    </a:cubicBezTo>
                    <a:cubicBezTo>
                      <a:pt x="39" y="21"/>
                      <a:pt x="38" y="25"/>
                      <a:pt x="37" y="26"/>
                    </a:cubicBezTo>
                    <a:cubicBezTo>
                      <a:pt x="35" y="27"/>
                      <a:pt x="32" y="27"/>
                      <a:pt x="28" y="26"/>
                    </a:cubicBezTo>
                    <a:cubicBezTo>
                      <a:pt x="24" y="25"/>
                      <a:pt x="23" y="31"/>
                      <a:pt x="23" y="33"/>
                    </a:cubicBezTo>
                    <a:cubicBezTo>
                      <a:pt x="23" y="35"/>
                      <a:pt x="19" y="37"/>
                      <a:pt x="20" y="38"/>
                    </a:cubicBezTo>
                    <a:cubicBezTo>
                      <a:pt x="20" y="40"/>
                      <a:pt x="19" y="42"/>
                      <a:pt x="17" y="41"/>
                    </a:cubicBezTo>
                    <a:cubicBezTo>
                      <a:pt x="16" y="40"/>
                      <a:pt x="15" y="37"/>
                      <a:pt x="13" y="39"/>
                    </a:cubicBezTo>
                    <a:cubicBezTo>
                      <a:pt x="10" y="41"/>
                      <a:pt x="15" y="43"/>
                      <a:pt x="18" y="44"/>
                    </a:cubicBezTo>
                    <a:cubicBezTo>
                      <a:pt x="22" y="44"/>
                      <a:pt x="16" y="46"/>
                      <a:pt x="15" y="50"/>
                    </a:cubicBezTo>
                    <a:cubicBezTo>
                      <a:pt x="15" y="53"/>
                      <a:pt x="20" y="51"/>
                      <a:pt x="20" y="54"/>
                    </a:cubicBezTo>
                    <a:cubicBezTo>
                      <a:pt x="20" y="56"/>
                      <a:pt x="13" y="57"/>
                      <a:pt x="13" y="59"/>
                    </a:cubicBezTo>
                    <a:cubicBezTo>
                      <a:pt x="13" y="61"/>
                      <a:pt x="17" y="58"/>
                      <a:pt x="19" y="57"/>
                    </a:cubicBezTo>
                    <a:cubicBezTo>
                      <a:pt x="21" y="56"/>
                      <a:pt x="18" y="62"/>
                      <a:pt x="22" y="62"/>
                    </a:cubicBezTo>
                    <a:cubicBezTo>
                      <a:pt x="26" y="61"/>
                      <a:pt x="25" y="55"/>
                      <a:pt x="27" y="55"/>
                    </a:cubicBezTo>
                    <a:cubicBezTo>
                      <a:pt x="28" y="56"/>
                      <a:pt x="26" y="58"/>
                      <a:pt x="27" y="61"/>
                    </a:cubicBezTo>
                    <a:cubicBezTo>
                      <a:pt x="29" y="63"/>
                      <a:pt x="24" y="67"/>
                      <a:pt x="25" y="69"/>
                    </a:cubicBezTo>
                    <a:cubicBezTo>
                      <a:pt x="25" y="71"/>
                      <a:pt x="33" y="71"/>
                      <a:pt x="36" y="68"/>
                    </a:cubicBezTo>
                    <a:cubicBezTo>
                      <a:pt x="39" y="65"/>
                      <a:pt x="40" y="68"/>
                      <a:pt x="38" y="70"/>
                    </a:cubicBezTo>
                    <a:cubicBezTo>
                      <a:pt x="36" y="73"/>
                      <a:pt x="37" y="75"/>
                      <a:pt x="39" y="75"/>
                    </a:cubicBezTo>
                    <a:cubicBezTo>
                      <a:pt x="42" y="76"/>
                      <a:pt x="43" y="76"/>
                      <a:pt x="42" y="78"/>
                    </a:cubicBezTo>
                    <a:cubicBezTo>
                      <a:pt x="41" y="80"/>
                      <a:pt x="42" y="84"/>
                      <a:pt x="41" y="86"/>
                    </a:cubicBezTo>
                    <a:cubicBezTo>
                      <a:pt x="40" y="87"/>
                      <a:pt x="33" y="87"/>
                      <a:pt x="33" y="86"/>
                    </a:cubicBezTo>
                    <a:cubicBezTo>
                      <a:pt x="32" y="85"/>
                      <a:pt x="29" y="86"/>
                      <a:pt x="30" y="87"/>
                    </a:cubicBezTo>
                    <a:cubicBezTo>
                      <a:pt x="31" y="89"/>
                      <a:pt x="28" y="91"/>
                      <a:pt x="28" y="92"/>
                    </a:cubicBezTo>
                    <a:cubicBezTo>
                      <a:pt x="28" y="94"/>
                      <a:pt x="32" y="93"/>
                      <a:pt x="33" y="95"/>
                    </a:cubicBezTo>
                    <a:cubicBezTo>
                      <a:pt x="33" y="97"/>
                      <a:pt x="29" y="100"/>
                      <a:pt x="25" y="101"/>
                    </a:cubicBezTo>
                    <a:cubicBezTo>
                      <a:pt x="20" y="102"/>
                      <a:pt x="26" y="106"/>
                      <a:pt x="28" y="104"/>
                    </a:cubicBezTo>
                    <a:cubicBezTo>
                      <a:pt x="30" y="103"/>
                      <a:pt x="30" y="105"/>
                      <a:pt x="33" y="105"/>
                    </a:cubicBezTo>
                    <a:cubicBezTo>
                      <a:pt x="36" y="105"/>
                      <a:pt x="38" y="108"/>
                      <a:pt x="41" y="106"/>
                    </a:cubicBezTo>
                    <a:cubicBezTo>
                      <a:pt x="45" y="105"/>
                      <a:pt x="44" y="106"/>
                      <a:pt x="42" y="108"/>
                    </a:cubicBezTo>
                    <a:cubicBezTo>
                      <a:pt x="39" y="110"/>
                      <a:pt x="35" y="108"/>
                      <a:pt x="33" y="110"/>
                    </a:cubicBezTo>
                    <a:cubicBezTo>
                      <a:pt x="31" y="111"/>
                      <a:pt x="21" y="120"/>
                      <a:pt x="23" y="122"/>
                    </a:cubicBezTo>
                    <a:cubicBezTo>
                      <a:pt x="24" y="124"/>
                      <a:pt x="25" y="120"/>
                      <a:pt x="29" y="119"/>
                    </a:cubicBezTo>
                    <a:cubicBezTo>
                      <a:pt x="32" y="117"/>
                      <a:pt x="33" y="120"/>
                      <a:pt x="35" y="120"/>
                    </a:cubicBezTo>
                    <a:cubicBezTo>
                      <a:pt x="37" y="120"/>
                      <a:pt x="37" y="116"/>
                      <a:pt x="38" y="117"/>
                    </a:cubicBezTo>
                    <a:cubicBezTo>
                      <a:pt x="40" y="117"/>
                      <a:pt x="41" y="115"/>
                      <a:pt x="44" y="116"/>
                    </a:cubicBezTo>
                    <a:cubicBezTo>
                      <a:pt x="47" y="116"/>
                      <a:pt x="49" y="115"/>
                      <a:pt x="50" y="114"/>
                    </a:cubicBezTo>
                    <a:cubicBezTo>
                      <a:pt x="52" y="113"/>
                      <a:pt x="56" y="116"/>
                      <a:pt x="57" y="115"/>
                    </a:cubicBezTo>
                    <a:cubicBezTo>
                      <a:pt x="58" y="115"/>
                      <a:pt x="63" y="114"/>
                      <a:pt x="66" y="114"/>
                    </a:cubicBezTo>
                    <a:cubicBezTo>
                      <a:pt x="68" y="114"/>
                      <a:pt x="75" y="111"/>
                      <a:pt x="77" y="109"/>
                    </a:cubicBezTo>
                    <a:cubicBezTo>
                      <a:pt x="79" y="107"/>
                      <a:pt x="76" y="107"/>
                      <a:pt x="73" y="107"/>
                    </a:cubicBezTo>
                    <a:cubicBezTo>
                      <a:pt x="71" y="108"/>
                      <a:pt x="72" y="105"/>
                      <a:pt x="74" y="103"/>
                    </a:cubicBezTo>
                    <a:cubicBezTo>
                      <a:pt x="77" y="100"/>
                      <a:pt x="81" y="99"/>
                      <a:pt x="81" y="95"/>
                    </a:cubicBezTo>
                    <a:close/>
                    <a:moveTo>
                      <a:pt x="9" y="35"/>
                    </a:moveTo>
                    <a:cubicBezTo>
                      <a:pt x="13" y="35"/>
                      <a:pt x="16" y="30"/>
                      <a:pt x="15" y="28"/>
                    </a:cubicBezTo>
                    <a:cubicBezTo>
                      <a:pt x="13" y="27"/>
                      <a:pt x="7" y="35"/>
                      <a:pt x="9" y="35"/>
                    </a:cubicBezTo>
                    <a:close/>
                    <a:moveTo>
                      <a:pt x="55" y="10"/>
                    </a:moveTo>
                    <a:cubicBezTo>
                      <a:pt x="57" y="7"/>
                      <a:pt x="60" y="0"/>
                      <a:pt x="57" y="1"/>
                    </a:cubicBezTo>
                    <a:cubicBezTo>
                      <a:pt x="54" y="1"/>
                      <a:pt x="54" y="10"/>
                      <a:pt x="55" y="1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2" name="Freeform 140">
                <a:extLst>
                  <a:ext uri="{FF2B5EF4-FFF2-40B4-BE49-F238E27FC236}">
                    <a16:creationId xmlns:a16="http://schemas.microsoft.com/office/drawing/2014/main" id="{3A975E57-CE4B-4A56-82D6-B0D503BED4C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70402" y="2783629"/>
                <a:ext cx="186954" cy="286077"/>
              </a:xfrm>
              <a:custGeom>
                <a:avLst/>
                <a:gdLst>
                  <a:gd name="T0" fmla="*/ 6 w 81"/>
                  <a:gd name="T1" fmla="*/ 67 h 124"/>
                  <a:gd name="T2" fmla="*/ 2 w 81"/>
                  <a:gd name="T3" fmla="*/ 76 h 124"/>
                  <a:gd name="T4" fmla="*/ 11 w 81"/>
                  <a:gd name="T5" fmla="*/ 76 h 124"/>
                  <a:gd name="T6" fmla="*/ 20 w 81"/>
                  <a:gd name="T7" fmla="*/ 75 h 124"/>
                  <a:gd name="T8" fmla="*/ 81 w 81"/>
                  <a:gd name="T9" fmla="*/ 95 h 124"/>
                  <a:gd name="T10" fmla="*/ 68 w 81"/>
                  <a:gd name="T11" fmla="*/ 90 h 124"/>
                  <a:gd name="T12" fmla="*/ 66 w 81"/>
                  <a:gd name="T13" fmla="*/ 82 h 124"/>
                  <a:gd name="T14" fmla="*/ 54 w 81"/>
                  <a:gd name="T15" fmla="*/ 62 h 124"/>
                  <a:gd name="T16" fmla="*/ 42 w 81"/>
                  <a:gd name="T17" fmla="*/ 57 h 124"/>
                  <a:gd name="T18" fmla="*/ 51 w 81"/>
                  <a:gd name="T19" fmla="*/ 38 h 124"/>
                  <a:gd name="T20" fmla="*/ 33 w 81"/>
                  <a:gd name="T21" fmla="*/ 34 h 124"/>
                  <a:gd name="T22" fmla="*/ 40 w 81"/>
                  <a:gd name="T23" fmla="*/ 23 h 124"/>
                  <a:gd name="T24" fmla="*/ 28 w 81"/>
                  <a:gd name="T25" fmla="*/ 26 h 124"/>
                  <a:gd name="T26" fmla="*/ 20 w 81"/>
                  <a:gd name="T27" fmla="*/ 38 h 124"/>
                  <a:gd name="T28" fmla="*/ 13 w 81"/>
                  <a:gd name="T29" fmla="*/ 39 h 124"/>
                  <a:gd name="T30" fmla="*/ 15 w 81"/>
                  <a:gd name="T31" fmla="*/ 50 h 124"/>
                  <a:gd name="T32" fmla="*/ 13 w 81"/>
                  <a:gd name="T33" fmla="*/ 59 h 124"/>
                  <a:gd name="T34" fmla="*/ 22 w 81"/>
                  <a:gd name="T35" fmla="*/ 62 h 124"/>
                  <a:gd name="T36" fmla="*/ 27 w 81"/>
                  <a:gd name="T37" fmla="*/ 61 h 124"/>
                  <a:gd name="T38" fmla="*/ 36 w 81"/>
                  <a:gd name="T39" fmla="*/ 68 h 124"/>
                  <a:gd name="T40" fmla="*/ 39 w 81"/>
                  <a:gd name="T41" fmla="*/ 75 h 124"/>
                  <a:gd name="T42" fmla="*/ 41 w 81"/>
                  <a:gd name="T43" fmla="*/ 86 h 124"/>
                  <a:gd name="T44" fmla="*/ 30 w 81"/>
                  <a:gd name="T45" fmla="*/ 87 h 124"/>
                  <a:gd name="T46" fmla="*/ 33 w 81"/>
                  <a:gd name="T47" fmla="*/ 95 h 124"/>
                  <a:gd name="T48" fmla="*/ 28 w 81"/>
                  <a:gd name="T49" fmla="*/ 104 h 124"/>
                  <a:gd name="T50" fmla="*/ 41 w 81"/>
                  <a:gd name="T51" fmla="*/ 106 h 124"/>
                  <a:gd name="T52" fmla="*/ 33 w 81"/>
                  <a:gd name="T53" fmla="*/ 110 h 124"/>
                  <a:gd name="T54" fmla="*/ 29 w 81"/>
                  <a:gd name="T55" fmla="*/ 119 h 124"/>
                  <a:gd name="T56" fmla="*/ 38 w 81"/>
                  <a:gd name="T57" fmla="*/ 117 h 124"/>
                  <a:gd name="T58" fmla="*/ 50 w 81"/>
                  <a:gd name="T59" fmla="*/ 114 h 124"/>
                  <a:gd name="T60" fmla="*/ 66 w 81"/>
                  <a:gd name="T61" fmla="*/ 114 h 124"/>
                  <a:gd name="T62" fmla="*/ 73 w 81"/>
                  <a:gd name="T63" fmla="*/ 107 h 124"/>
                  <a:gd name="T64" fmla="*/ 81 w 81"/>
                  <a:gd name="T65" fmla="*/ 95 h 124"/>
                  <a:gd name="T66" fmla="*/ 15 w 81"/>
                  <a:gd name="T67" fmla="*/ 28 h 124"/>
                  <a:gd name="T68" fmla="*/ 55 w 81"/>
                  <a:gd name="T69" fmla="*/ 10 h 124"/>
                  <a:gd name="T70" fmla="*/ 55 w 81"/>
                  <a:gd name="T71" fmla="*/ 10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81" h="124">
                    <a:moveTo>
                      <a:pt x="16" y="66"/>
                    </a:moveTo>
                    <a:cubicBezTo>
                      <a:pt x="13" y="63"/>
                      <a:pt x="9" y="67"/>
                      <a:pt x="6" y="67"/>
                    </a:cubicBezTo>
                    <a:cubicBezTo>
                      <a:pt x="5" y="69"/>
                      <a:pt x="4" y="71"/>
                      <a:pt x="3" y="72"/>
                    </a:cubicBezTo>
                    <a:cubicBezTo>
                      <a:pt x="2" y="73"/>
                      <a:pt x="0" y="76"/>
                      <a:pt x="2" y="76"/>
                    </a:cubicBezTo>
                    <a:cubicBezTo>
                      <a:pt x="3" y="77"/>
                      <a:pt x="6" y="80"/>
                      <a:pt x="7" y="77"/>
                    </a:cubicBezTo>
                    <a:cubicBezTo>
                      <a:pt x="7" y="75"/>
                      <a:pt x="8" y="72"/>
                      <a:pt x="11" y="76"/>
                    </a:cubicBezTo>
                    <a:cubicBezTo>
                      <a:pt x="12" y="77"/>
                      <a:pt x="13" y="78"/>
                      <a:pt x="14" y="78"/>
                    </a:cubicBezTo>
                    <a:cubicBezTo>
                      <a:pt x="15" y="77"/>
                      <a:pt x="18" y="77"/>
                      <a:pt x="20" y="75"/>
                    </a:cubicBezTo>
                    <a:cubicBezTo>
                      <a:pt x="23" y="72"/>
                      <a:pt x="19" y="69"/>
                      <a:pt x="16" y="66"/>
                    </a:cubicBezTo>
                    <a:close/>
                    <a:moveTo>
                      <a:pt x="81" y="95"/>
                    </a:moveTo>
                    <a:cubicBezTo>
                      <a:pt x="81" y="91"/>
                      <a:pt x="73" y="89"/>
                      <a:pt x="72" y="91"/>
                    </a:cubicBezTo>
                    <a:cubicBezTo>
                      <a:pt x="71" y="93"/>
                      <a:pt x="70" y="93"/>
                      <a:pt x="68" y="90"/>
                    </a:cubicBezTo>
                    <a:cubicBezTo>
                      <a:pt x="67" y="88"/>
                      <a:pt x="70" y="86"/>
                      <a:pt x="68" y="86"/>
                    </a:cubicBezTo>
                    <a:cubicBezTo>
                      <a:pt x="67" y="86"/>
                      <a:pt x="65" y="83"/>
                      <a:pt x="66" y="82"/>
                    </a:cubicBezTo>
                    <a:cubicBezTo>
                      <a:pt x="66" y="80"/>
                      <a:pt x="64" y="73"/>
                      <a:pt x="60" y="72"/>
                    </a:cubicBezTo>
                    <a:cubicBezTo>
                      <a:pt x="56" y="71"/>
                      <a:pt x="55" y="65"/>
                      <a:pt x="54" y="62"/>
                    </a:cubicBezTo>
                    <a:cubicBezTo>
                      <a:pt x="54" y="59"/>
                      <a:pt x="51" y="61"/>
                      <a:pt x="49" y="58"/>
                    </a:cubicBezTo>
                    <a:cubicBezTo>
                      <a:pt x="47" y="55"/>
                      <a:pt x="43" y="57"/>
                      <a:pt x="42" y="57"/>
                    </a:cubicBezTo>
                    <a:cubicBezTo>
                      <a:pt x="40" y="57"/>
                      <a:pt x="42" y="53"/>
                      <a:pt x="44" y="52"/>
                    </a:cubicBezTo>
                    <a:cubicBezTo>
                      <a:pt x="47" y="50"/>
                      <a:pt x="51" y="40"/>
                      <a:pt x="51" y="38"/>
                    </a:cubicBezTo>
                    <a:cubicBezTo>
                      <a:pt x="51" y="36"/>
                      <a:pt x="38" y="36"/>
                      <a:pt x="36" y="37"/>
                    </a:cubicBezTo>
                    <a:cubicBezTo>
                      <a:pt x="33" y="38"/>
                      <a:pt x="31" y="35"/>
                      <a:pt x="33" y="34"/>
                    </a:cubicBezTo>
                    <a:cubicBezTo>
                      <a:pt x="35" y="33"/>
                      <a:pt x="39" y="29"/>
                      <a:pt x="39" y="28"/>
                    </a:cubicBezTo>
                    <a:cubicBezTo>
                      <a:pt x="39" y="26"/>
                      <a:pt x="42" y="24"/>
                      <a:pt x="40" y="23"/>
                    </a:cubicBezTo>
                    <a:cubicBezTo>
                      <a:pt x="39" y="21"/>
                      <a:pt x="38" y="25"/>
                      <a:pt x="37" y="26"/>
                    </a:cubicBezTo>
                    <a:cubicBezTo>
                      <a:pt x="35" y="27"/>
                      <a:pt x="32" y="27"/>
                      <a:pt x="28" y="26"/>
                    </a:cubicBezTo>
                    <a:cubicBezTo>
                      <a:pt x="24" y="25"/>
                      <a:pt x="23" y="31"/>
                      <a:pt x="23" y="33"/>
                    </a:cubicBezTo>
                    <a:cubicBezTo>
                      <a:pt x="23" y="35"/>
                      <a:pt x="19" y="37"/>
                      <a:pt x="20" y="38"/>
                    </a:cubicBezTo>
                    <a:cubicBezTo>
                      <a:pt x="20" y="40"/>
                      <a:pt x="19" y="42"/>
                      <a:pt x="17" y="41"/>
                    </a:cubicBezTo>
                    <a:cubicBezTo>
                      <a:pt x="16" y="40"/>
                      <a:pt x="15" y="37"/>
                      <a:pt x="13" y="39"/>
                    </a:cubicBezTo>
                    <a:cubicBezTo>
                      <a:pt x="10" y="41"/>
                      <a:pt x="15" y="43"/>
                      <a:pt x="18" y="44"/>
                    </a:cubicBezTo>
                    <a:cubicBezTo>
                      <a:pt x="22" y="44"/>
                      <a:pt x="16" y="46"/>
                      <a:pt x="15" y="50"/>
                    </a:cubicBezTo>
                    <a:cubicBezTo>
                      <a:pt x="15" y="53"/>
                      <a:pt x="20" y="51"/>
                      <a:pt x="20" y="54"/>
                    </a:cubicBezTo>
                    <a:cubicBezTo>
                      <a:pt x="20" y="56"/>
                      <a:pt x="13" y="57"/>
                      <a:pt x="13" y="59"/>
                    </a:cubicBezTo>
                    <a:cubicBezTo>
                      <a:pt x="13" y="61"/>
                      <a:pt x="17" y="58"/>
                      <a:pt x="19" y="57"/>
                    </a:cubicBezTo>
                    <a:cubicBezTo>
                      <a:pt x="21" y="56"/>
                      <a:pt x="18" y="62"/>
                      <a:pt x="22" y="62"/>
                    </a:cubicBezTo>
                    <a:cubicBezTo>
                      <a:pt x="26" y="61"/>
                      <a:pt x="25" y="55"/>
                      <a:pt x="27" y="55"/>
                    </a:cubicBezTo>
                    <a:cubicBezTo>
                      <a:pt x="28" y="56"/>
                      <a:pt x="26" y="58"/>
                      <a:pt x="27" y="61"/>
                    </a:cubicBezTo>
                    <a:cubicBezTo>
                      <a:pt x="29" y="63"/>
                      <a:pt x="24" y="67"/>
                      <a:pt x="25" y="69"/>
                    </a:cubicBezTo>
                    <a:cubicBezTo>
                      <a:pt x="25" y="71"/>
                      <a:pt x="33" y="71"/>
                      <a:pt x="36" y="68"/>
                    </a:cubicBezTo>
                    <a:cubicBezTo>
                      <a:pt x="39" y="65"/>
                      <a:pt x="40" y="68"/>
                      <a:pt x="38" y="70"/>
                    </a:cubicBezTo>
                    <a:cubicBezTo>
                      <a:pt x="36" y="73"/>
                      <a:pt x="37" y="75"/>
                      <a:pt x="39" y="75"/>
                    </a:cubicBezTo>
                    <a:cubicBezTo>
                      <a:pt x="42" y="76"/>
                      <a:pt x="43" y="76"/>
                      <a:pt x="42" y="78"/>
                    </a:cubicBezTo>
                    <a:cubicBezTo>
                      <a:pt x="41" y="80"/>
                      <a:pt x="42" y="84"/>
                      <a:pt x="41" y="86"/>
                    </a:cubicBezTo>
                    <a:cubicBezTo>
                      <a:pt x="40" y="87"/>
                      <a:pt x="33" y="87"/>
                      <a:pt x="33" y="86"/>
                    </a:cubicBezTo>
                    <a:cubicBezTo>
                      <a:pt x="32" y="85"/>
                      <a:pt x="29" y="86"/>
                      <a:pt x="30" y="87"/>
                    </a:cubicBezTo>
                    <a:cubicBezTo>
                      <a:pt x="31" y="89"/>
                      <a:pt x="28" y="91"/>
                      <a:pt x="28" y="92"/>
                    </a:cubicBezTo>
                    <a:cubicBezTo>
                      <a:pt x="28" y="94"/>
                      <a:pt x="32" y="93"/>
                      <a:pt x="33" y="95"/>
                    </a:cubicBezTo>
                    <a:cubicBezTo>
                      <a:pt x="33" y="97"/>
                      <a:pt x="29" y="100"/>
                      <a:pt x="25" y="101"/>
                    </a:cubicBezTo>
                    <a:cubicBezTo>
                      <a:pt x="20" y="102"/>
                      <a:pt x="26" y="106"/>
                      <a:pt x="28" y="104"/>
                    </a:cubicBezTo>
                    <a:cubicBezTo>
                      <a:pt x="30" y="103"/>
                      <a:pt x="30" y="105"/>
                      <a:pt x="33" y="105"/>
                    </a:cubicBezTo>
                    <a:cubicBezTo>
                      <a:pt x="36" y="105"/>
                      <a:pt x="38" y="108"/>
                      <a:pt x="41" y="106"/>
                    </a:cubicBezTo>
                    <a:cubicBezTo>
                      <a:pt x="45" y="105"/>
                      <a:pt x="44" y="106"/>
                      <a:pt x="42" y="108"/>
                    </a:cubicBezTo>
                    <a:cubicBezTo>
                      <a:pt x="39" y="110"/>
                      <a:pt x="35" y="108"/>
                      <a:pt x="33" y="110"/>
                    </a:cubicBezTo>
                    <a:cubicBezTo>
                      <a:pt x="31" y="111"/>
                      <a:pt x="21" y="120"/>
                      <a:pt x="23" y="122"/>
                    </a:cubicBezTo>
                    <a:cubicBezTo>
                      <a:pt x="24" y="124"/>
                      <a:pt x="25" y="120"/>
                      <a:pt x="29" y="119"/>
                    </a:cubicBezTo>
                    <a:cubicBezTo>
                      <a:pt x="32" y="117"/>
                      <a:pt x="33" y="120"/>
                      <a:pt x="35" y="120"/>
                    </a:cubicBezTo>
                    <a:cubicBezTo>
                      <a:pt x="37" y="120"/>
                      <a:pt x="37" y="116"/>
                      <a:pt x="38" y="117"/>
                    </a:cubicBezTo>
                    <a:cubicBezTo>
                      <a:pt x="40" y="117"/>
                      <a:pt x="41" y="115"/>
                      <a:pt x="44" y="116"/>
                    </a:cubicBezTo>
                    <a:cubicBezTo>
                      <a:pt x="47" y="116"/>
                      <a:pt x="49" y="115"/>
                      <a:pt x="50" y="114"/>
                    </a:cubicBezTo>
                    <a:cubicBezTo>
                      <a:pt x="52" y="113"/>
                      <a:pt x="56" y="116"/>
                      <a:pt x="57" y="115"/>
                    </a:cubicBezTo>
                    <a:cubicBezTo>
                      <a:pt x="58" y="115"/>
                      <a:pt x="63" y="114"/>
                      <a:pt x="66" y="114"/>
                    </a:cubicBezTo>
                    <a:cubicBezTo>
                      <a:pt x="68" y="114"/>
                      <a:pt x="75" y="111"/>
                      <a:pt x="77" y="109"/>
                    </a:cubicBezTo>
                    <a:cubicBezTo>
                      <a:pt x="79" y="107"/>
                      <a:pt x="76" y="107"/>
                      <a:pt x="73" y="107"/>
                    </a:cubicBezTo>
                    <a:cubicBezTo>
                      <a:pt x="71" y="108"/>
                      <a:pt x="72" y="105"/>
                      <a:pt x="74" y="103"/>
                    </a:cubicBezTo>
                    <a:cubicBezTo>
                      <a:pt x="77" y="100"/>
                      <a:pt x="81" y="99"/>
                      <a:pt x="81" y="95"/>
                    </a:cubicBezTo>
                    <a:close/>
                    <a:moveTo>
                      <a:pt x="9" y="35"/>
                    </a:moveTo>
                    <a:cubicBezTo>
                      <a:pt x="13" y="35"/>
                      <a:pt x="16" y="30"/>
                      <a:pt x="15" y="28"/>
                    </a:cubicBezTo>
                    <a:cubicBezTo>
                      <a:pt x="13" y="27"/>
                      <a:pt x="7" y="35"/>
                      <a:pt x="9" y="35"/>
                    </a:cubicBezTo>
                    <a:close/>
                    <a:moveTo>
                      <a:pt x="55" y="10"/>
                    </a:moveTo>
                    <a:cubicBezTo>
                      <a:pt x="57" y="7"/>
                      <a:pt x="60" y="0"/>
                      <a:pt x="57" y="1"/>
                    </a:cubicBezTo>
                    <a:cubicBezTo>
                      <a:pt x="54" y="1"/>
                      <a:pt x="54" y="10"/>
                      <a:pt x="55" y="1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3" name="Freeform 141">
                <a:extLst>
                  <a:ext uri="{FF2B5EF4-FFF2-40B4-BE49-F238E27FC236}">
                    <a16:creationId xmlns:a16="http://schemas.microsoft.com/office/drawing/2014/main" id="{E802BB90-0670-4B71-BA36-F788E34E362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72791" y="2866441"/>
                <a:ext cx="87831" cy="82812"/>
              </a:xfrm>
              <a:custGeom>
                <a:avLst/>
                <a:gdLst>
                  <a:gd name="T0" fmla="*/ 19 w 38"/>
                  <a:gd name="T1" fmla="*/ 13 h 36"/>
                  <a:gd name="T2" fmla="*/ 19 w 38"/>
                  <a:gd name="T3" fmla="*/ 8 h 36"/>
                  <a:gd name="T4" fmla="*/ 20 w 38"/>
                  <a:gd name="T5" fmla="*/ 1 h 36"/>
                  <a:gd name="T6" fmla="*/ 14 w 38"/>
                  <a:gd name="T7" fmla="*/ 4 h 36"/>
                  <a:gd name="T8" fmla="*/ 9 w 38"/>
                  <a:gd name="T9" fmla="*/ 6 h 36"/>
                  <a:gd name="T10" fmla="*/ 10 w 38"/>
                  <a:gd name="T11" fmla="*/ 10 h 36"/>
                  <a:gd name="T12" fmla="*/ 5 w 38"/>
                  <a:gd name="T13" fmla="*/ 8 h 36"/>
                  <a:gd name="T14" fmla="*/ 1 w 38"/>
                  <a:gd name="T15" fmla="*/ 13 h 36"/>
                  <a:gd name="T16" fmla="*/ 1 w 38"/>
                  <a:gd name="T17" fmla="*/ 23 h 36"/>
                  <a:gd name="T18" fmla="*/ 4 w 38"/>
                  <a:gd name="T19" fmla="*/ 30 h 36"/>
                  <a:gd name="T20" fmla="*/ 5 w 38"/>
                  <a:gd name="T21" fmla="*/ 33 h 36"/>
                  <a:gd name="T22" fmla="*/ 13 w 38"/>
                  <a:gd name="T23" fmla="*/ 34 h 36"/>
                  <a:gd name="T24" fmla="*/ 16 w 38"/>
                  <a:gd name="T25" fmla="*/ 34 h 36"/>
                  <a:gd name="T26" fmla="*/ 12 w 38"/>
                  <a:gd name="T27" fmla="*/ 30 h 36"/>
                  <a:gd name="T28" fmla="*/ 17 w 38"/>
                  <a:gd name="T29" fmla="*/ 30 h 36"/>
                  <a:gd name="T30" fmla="*/ 22 w 38"/>
                  <a:gd name="T31" fmla="*/ 30 h 36"/>
                  <a:gd name="T32" fmla="*/ 19 w 38"/>
                  <a:gd name="T33" fmla="*/ 25 h 36"/>
                  <a:gd name="T34" fmla="*/ 16 w 38"/>
                  <a:gd name="T35" fmla="*/ 25 h 36"/>
                  <a:gd name="T36" fmla="*/ 18 w 38"/>
                  <a:gd name="T37" fmla="*/ 20 h 36"/>
                  <a:gd name="T38" fmla="*/ 23 w 38"/>
                  <a:gd name="T39" fmla="*/ 17 h 36"/>
                  <a:gd name="T40" fmla="*/ 19 w 38"/>
                  <a:gd name="T41" fmla="*/ 13 h 36"/>
                  <a:gd name="T42" fmla="*/ 37 w 38"/>
                  <a:gd name="T43" fmla="*/ 20 h 36"/>
                  <a:gd name="T44" fmla="*/ 35 w 38"/>
                  <a:gd name="T45" fmla="*/ 22 h 36"/>
                  <a:gd name="T46" fmla="*/ 32 w 38"/>
                  <a:gd name="T47" fmla="*/ 20 h 36"/>
                  <a:gd name="T48" fmla="*/ 27 w 38"/>
                  <a:gd name="T49" fmla="*/ 23 h 36"/>
                  <a:gd name="T50" fmla="*/ 30 w 38"/>
                  <a:gd name="T51" fmla="*/ 30 h 36"/>
                  <a:gd name="T52" fmla="*/ 27 w 38"/>
                  <a:gd name="T53" fmla="*/ 32 h 36"/>
                  <a:gd name="T54" fmla="*/ 30 w 38"/>
                  <a:gd name="T55" fmla="*/ 36 h 36"/>
                  <a:gd name="T56" fmla="*/ 35 w 38"/>
                  <a:gd name="T57" fmla="*/ 29 h 36"/>
                  <a:gd name="T58" fmla="*/ 37 w 38"/>
                  <a:gd name="T59" fmla="*/ 2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8" h="36">
                    <a:moveTo>
                      <a:pt x="19" y="13"/>
                    </a:moveTo>
                    <a:cubicBezTo>
                      <a:pt x="18" y="13"/>
                      <a:pt x="18" y="9"/>
                      <a:pt x="19" y="8"/>
                    </a:cubicBezTo>
                    <a:cubicBezTo>
                      <a:pt x="20" y="6"/>
                      <a:pt x="21" y="2"/>
                      <a:pt x="20" y="1"/>
                    </a:cubicBezTo>
                    <a:cubicBezTo>
                      <a:pt x="19" y="0"/>
                      <a:pt x="14" y="1"/>
                      <a:pt x="14" y="4"/>
                    </a:cubicBezTo>
                    <a:cubicBezTo>
                      <a:pt x="14" y="7"/>
                      <a:pt x="10" y="6"/>
                      <a:pt x="9" y="6"/>
                    </a:cubicBezTo>
                    <a:cubicBezTo>
                      <a:pt x="8" y="7"/>
                      <a:pt x="11" y="9"/>
                      <a:pt x="10" y="10"/>
                    </a:cubicBezTo>
                    <a:cubicBezTo>
                      <a:pt x="8" y="11"/>
                      <a:pt x="8" y="8"/>
                      <a:pt x="5" y="8"/>
                    </a:cubicBezTo>
                    <a:cubicBezTo>
                      <a:pt x="3" y="7"/>
                      <a:pt x="2" y="11"/>
                      <a:pt x="1" y="13"/>
                    </a:cubicBezTo>
                    <a:cubicBezTo>
                      <a:pt x="0" y="15"/>
                      <a:pt x="1" y="20"/>
                      <a:pt x="1" y="23"/>
                    </a:cubicBezTo>
                    <a:cubicBezTo>
                      <a:pt x="1" y="25"/>
                      <a:pt x="5" y="27"/>
                      <a:pt x="4" y="30"/>
                    </a:cubicBezTo>
                    <a:cubicBezTo>
                      <a:pt x="4" y="31"/>
                      <a:pt x="4" y="32"/>
                      <a:pt x="5" y="33"/>
                    </a:cubicBezTo>
                    <a:cubicBezTo>
                      <a:pt x="8" y="33"/>
                      <a:pt x="11" y="33"/>
                      <a:pt x="13" y="34"/>
                    </a:cubicBezTo>
                    <a:cubicBezTo>
                      <a:pt x="13" y="34"/>
                      <a:pt x="14" y="34"/>
                      <a:pt x="16" y="34"/>
                    </a:cubicBezTo>
                    <a:cubicBezTo>
                      <a:pt x="15" y="32"/>
                      <a:pt x="12" y="31"/>
                      <a:pt x="12" y="30"/>
                    </a:cubicBezTo>
                    <a:cubicBezTo>
                      <a:pt x="13" y="28"/>
                      <a:pt x="15" y="29"/>
                      <a:pt x="17" y="30"/>
                    </a:cubicBezTo>
                    <a:cubicBezTo>
                      <a:pt x="18" y="32"/>
                      <a:pt x="22" y="32"/>
                      <a:pt x="22" y="30"/>
                    </a:cubicBezTo>
                    <a:cubicBezTo>
                      <a:pt x="22" y="29"/>
                      <a:pt x="22" y="24"/>
                      <a:pt x="19" y="25"/>
                    </a:cubicBezTo>
                    <a:cubicBezTo>
                      <a:pt x="17" y="26"/>
                      <a:pt x="17" y="26"/>
                      <a:pt x="16" y="25"/>
                    </a:cubicBezTo>
                    <a:cubicBezTo>
                      <a:pt x="15" y="24"/>
                      <a:pt x="17" y="22"/>
                      <a:pt x="18" y="20"/>
                    </a:cubicBezTo>
                    <a:cubicBezTo>
                      <a:pt x="19" y="18"/>
                      <a:pt x="23" y="19"/>
                      <a:pt x="23" y="17"/>
                    </a:cubicBezTo>
                    <a:cubicBezTo>
                      <a:pt x="24" y="15"/>
                      <a:pt x="20" y="14"/>
                      <a:pt x="19" y="13"/>
                    </a:cubicBezTo>
                    <a:close/>
                    <a:moveTo>
                      <a:pt x="37" y="20"/>
                    </a:moveTo>
                    <a:cubicBezTo>
                      <a:pt x="36" y="20"/>
                      <a:pt x="36" y="22"/>
                      <a:pt x="35" y="22"/>
                    </a:cubicBezTo>
                    <a:cubicBezTo>
                      <a:pt x="33" y="23"/>
                      <a:pt x="32" y="18"/>
                      <a:pt x="32" y="20"/>
                    </a:cubicBezTo>
                    <a:cubicBezTo>
                      <a:pt x="31" y="23"/>
                      <a:pt x="29" y="19"/>
                      <a:pt x="27" y="23"/>
                    </a:cubicBezTo>
                    <a:cubicBezTo>
                      <a:pt x="24" y="26"/>
                      <a:pt x="28" y="29"/>
                      <a:pt x="30" y="30"/>
                    </a:cubicBezTo>
                    <a:cubicBezTo>
                      <a:pt x="31" y="31"/>
                      <a:pt x="30" y="33"/>
                      <a:pt x="27" y="32"/>
                    </a:cubicBezTo>
                    <a:cubicBezTo>
                      <a:pt x="25" y="32"/>
                      <a:pt x="27" y="35"/>
                      <a:pt x="30" y="36"/>
                    </a:cubicBezTo>
                    <a:cubicBezTo>
                      <a:pt x="32" y="36"/>
                      <a:pt x="36" y="31"/>
                      <a:pt x="35" y="29"/>
                    </a:cubicBezTo>
                    <a:cubicBezTo>
                      <a:pt x="35" y="28"/>
                      <a:pt x="38" y="21"/>
                      <a:pt x="37" y="2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4" name="Freeform 142">
                <a:extLst>
                  <a:ext uri="{FF2B5EF4-FFF2-40B4-BE49-F238E27FC236}">
                    <a16:creationId xmlns:a16="http://schemas.microsoft.com/office/drawing/2014/main" id="{56555BD9-B286-4A68-A729-9E0215BB80D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33018" y="2525155"/>
                <a:ext cx="229615" cy="406531"/>
              </a:xfrm>
              <a:custGeom>
                <a:avLst/>
                <a:gdLst>
                  <a:gd name="T0" fmla="*/ 98 w 100"/>
                  <a:gd name="T1" fmla="*/ 38 h 176"/>
                  <a:gd name="T2" fmla="*/ 96 w 100"/>
                  <a:gd name="T3" fmla="*/ 24 h 176"/>
                  <a:gd name="T4" fmla="*/ 84 w 100"/>
                  <a:gd name="T5" fmla="*/ 9 h 176"/>
                  <a:gd name="T6" fmla="*/ 70 w 100"/>
                  <a:gd name="T7" fmla="*/ 8 h 176"/>
                  <a:gd name="T8" fmla="*/ 56 w 100"/>
                  <a:gd name="T9" fmla="*/ 8 h 176"/>
                  <a:gd name="T10" fmla="*/ 48 w 100"/>
                  <a:gd name="T11" fmla="*/ 16 h 176"/>
                  <a:gd name="T12" fmla="*/ 40 w 100"/>
                  <a:gd name="T13" fmla="*/ 27 h 176"/>
                  <a:gd name="T14" fmla="*/ 34 w 100"/>
                  <a:gd name="T15" fmla="*/ 37 h 176"/>
                  <a:gd name="T16" fmla="*/ 26 w 100"/>
                  <a:gd name="T17" fmla="*/ 43 h 176"/>
                  <a:gd name="T18" fmla="*/ 21 w 100"/>
                  <a:gd name="T19" fmla="*/ 61 h 176"/>
                  <a:gd name="T20" fmla="*/ 22 w 100"/>
                  <a:gd name="T21" fmla="*/ 70 h 176"/>
                  <a:gd name="T22" fmla="*/ 9 w 100"/>
                  <a:gd name="T23" fmla="*/ 75 h 176"/>
                  <a:gd name="T24" fmla="*/ 8 w 100"/>
                  <a:gd name="T25" fmla="*/ 91 h 176"/>
                  <a:gd name="T26" fmla="*/ 13 w 100"/>
                  <a:gd name="T27" fmla="*/ 105 h 176"/>
                  <a:gd name="T28" fmla="*/ 11 w 100"/>
                  <a:gd name="T29" fmla="*/ 113 h 176"/>
                  <a:gd name="T30" fmla="*/ 6 w 100"/>
                  <a:gd name="T31" fmla="*/ 122 h 176"/>
                  <a:gd name="T32" fmla="*/ 3 w 100"/>
                  <a:gd name="T33" fmla="*/ 134 h 176"/>
                  <a:gd name="T34" fmla="*/ 0 w 100"/>
                  <a:gd name="T35" fmla="*/ 134 h 176"/>
                  <a:gd name="T36" fmla="*/ 6 w 100"/>
                  <a:gd name="T37" fmla="*/ 151 h 176"/>
                  <a:gd name="T38" fmla="*/ 12 w 100"/>
                  <a:gd name="T39" fmla="*/ 164 h 176"/>
                  <a:gd name="T40" fmla="*/ 15 w 100"/>
                  <a:gd name="T41" fmla="*/ 175 h 176"/>
                  <a:gd name="T42" fmla="*/ 24 w 100"/>
                  <a:gd name="T43" fmla="*/ 170 h 176"/>
                  <a:gd name="T44" fmla="*/ 33 w 100"/>
                  <a:gd name="T45" fmla="*/ 167 h 176"/>
                  <a:gd name="T46" fmla="*/ 41 w 100"/>
                  <a:gd name="T47" fmla="*/ 164 h 176"/>
                  <a:gd name="T48" fmla="*/ 42 w 100"/>
                  <a:gd name="T49" fmla="*/ 157 h 176"/>
                  <a:gd name="T50" fmla="*/ 43 w 100"/>
                  <a:gd name="T51" fmla="*/ 140 h 176"/>
                  <a:gd name="T52" fmla="*/ 55 w 100"/>
                  <a:gd name="T53" fmla="*/ 128 h 176"/>
                  <a:gd name="T54" fmla="*/ 52 w 100"/>
                  <a:gd name="T55" fmla="*/ 113 h 176"/>
                  <a:gd name="T56" fmla="*/ 46 w 100"/>
                  <a:gd name="T57" fmla="*/ 103 h 176"/>
                  <a:gd name="T58" fmla="*/ 51 w 100"/>
                  <a:gd name="T59" fmla="*/ 89 h 176"/>
                  <a:gd name="T60" fmla="*/ 60 w 100"/>
                  <a:gd name="T61" fmla="*/ 79 h 176"/>
                  <a:gd name="T62" fmla="*/ 80 w 100"/>
                  <a:gd name="T63" fmla="*/ 65 h 176"/>
                  <a:gd name="T64" fmla="*/ 82 w 100"/>
                  <a:gd name="T65" fmla="*/ 51 h 176"/>
                  <a:gd name="T66" fmla="*/ 96 w 100"/>
                  <a:gd name="T67" fmla="*/ 46 h 176"/>
                  <a:gd name="T68" fmla="*/ 99 w 100"/>
                  <a:gd name="T69" fmla="*/ 42 h 176"/>
                  <a:gd name="T70" fmla="*/ 54 w 100"/>
                  <a:gd name="T71" fmla="*/ 157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00" h="176">
                    <a:moveTo>
                      <a:pt x="99" y="42"/>
                    </a:moveTo>
                    <a:cubicBezTo>
                      <a:pt x="98" y="41"/>
                      <a:pt x="96" y="38"/>
                      <a:pt x="98" y="38"/>
                    </a:cubicBezTo>
                    <a:cubicBezTo>
                      <a:pt x="100" y="38"/>
                      <a:pt x="100" y="32"/>
                      <a:pt x="98" y="31"/>
                    </a:cubicBezTo>
                    <a:cubicBezTo>
                      <a:pt x="96" y="30"/>
                      <a:pt x="98" y="25"/>
                      <a:pt x="96" y="24"/>
                    </a:cubicBezTo>
                    <a:cubicBezTo>
                      <a:pt x="94" y="23"/>
                      <a:pt x="95" y="19"/>
                      <a:pt x="96" y="16"/>
                    </a:cubicBezTo>
                    <a:cubicBezTo>
                      <a:pt x="96" y="13"/>
                      <a:pt x="89" y="11"/>
                      <a:pt x="84" y="9"/>
                    </a:cubicBezTo>
                    <a:cubicBezTo>
                      <a:pt x="80" y="7"/>
                      <a:pt x="78" y="4"/>
                      <a:pt x="75" y="2"/>
                    </a:cubicBezTo>
                    <a:cubicBezTo>
                      <a:pt x="71" y="0"/>
                      <a:pt x="70" y="5"/>
                      <a:pt x="70" y="8"/>
                    </a:cubicBezTo>
                    <a:cubicBezTo>
                      <a:pt x="70" y="11"/>
                      <a:pt x="67" y="12"/>
                      <a:pt x="65" y="10"/>
                    </a:cubicBezTo>
                    <a:cubicBezTo>
                      <a:pt x="63" y="8"/>
                      <a:pt x="60" y="10"/>
                      <a:pt x="56" y="8"/>
                    </a:cubicBezTo>
                    <a:cubicBezTo>
                      <a:pt x="53" y="7"/>
                      <a:pt x="55" y="12"/>
                      <a:pt x="55" y="14"/>
                    </a:cubicBezTo>
                    <a:cubicBezTo>
                      <a:pt x="55" y="16"/>
                      <a:pt x="51" y="16"/>
                      <a:pt x="48" y="16"/>
                    </a:cubicBezTo>
                    <a:cubicBezTo>
                      <a:pt x="46" y="16"/>
                      <a:pt x="42" y="18"/>
                      <a:pt x="42" y="21"/>
                    </a:cubicBezTo>
                    <a:cubicBezTo>
                      <a:pt x="42" y="24"/>
                      <a:pt x="39" y="25"/>
                      <a:pt x="40" y="27"/>
                    </a:cubicBezTo>
                    <a:cubicBezTo>
                      <a:pt x="41" y="28"/>
                      <a:pt x="40" y="30"/>
                      <a:pt x="38" y="31"/>
                    </a:cubicBezTo>
                    <a:cubicBezTo>
                      <a:pt x="37" y="32"/>
                      <a:pt x="35" y="36"/>
                      <a:pt x="34" y="37"/>
                    </a:cubicBezTo>
                    <a:cubicBezTo>
                      <a:pt x="33" y="38"/>
                      <a:pt x="35" y="40"/>
                      <a:pt x="32" y="42"/>
                    </a:cubicBezTo>
                    <a:cubicBezTo>
                      <a:pt x="30" y="43"/>
                      <a:pt x="27" y="42"/>
                      <a:pt x="26" y="43"/>
                    </a:cubicBezTo>
                    <a:cubicBezTo>
                      <a:pt x="25" y="44"/>
                      <a:pt x="26" y="47"/>
                      <a:pt x="26" y="50"/>
                    </a:cubicBezTo>
                    <a:cubicBezTo>
                      <a:pt x="26" y="54"/>
                      <a:pt x="23" y="58"/>
                      <a:pt x="21" y="61"/>
                    </a:cubicBezTo>
                    <a:cubicBezTo>
                      <a:pt x="18" y="64"/>
                      <a:pt x="21" y="65"/>
                      <a:pt x="22" y="65"/>
                    </a:cubicBezTo>
                    <a:cubicBezTo>
                      <a:pt x="24" y="65"/>
                      <a:pt x="24" y="67"/>
                      <a:pt x="22" y="70"/>
                    </a:cubicBezTo>
                    <a:cubicBezTo>
                      <a:pt x="21" y="72"/>
                      <a:pt x="19" y="70"/>
                      <a:pt x="17" y="70"/>
                    </a:cubicBezTo>
                    <a:cubicBezTo>
                      <a:pt x="16" y="70"/>
                      <a:pt x="11" y="71"/>
                      <a:pt x="9" y="75"/>
                    </a:cubicBezTo>
                    <a:cubicBezTo>
                      <a:pt x="7" y="79"/>
                      <a:pt x="8" y="81"/>
                      <a:pt x="8" y="83"/>
                    </a:cubicBezTo>
                    <a:cubicBezTo>
                      <a:pt x="9" y="85"/>
                      <a:pt x="6" y="87"/>
                      <a:pt x="8" y="91"/>
                    </a:cubicBezTo>
                    <a:cubicBezTo>
                      <a:pt x="10" y="95"/>
                      <a:pt x="8" y="96"/>
                      <a:pt x="8" y="99"/>
                    </a:cubicBezTo>
                    <a:cubicBezTo>
                      <a:pt x="8" y="102"/>
                      <a:pt x="13" y="102"/>
                      <a:pt x="13" y="105"/>
                    </a:cubicBezTo>
                    <a:cubicBezTo>
                      <a:pt x="14" y="108"/>
                      <a:pt x="12" y="109"/>
                      <a:pt x="10" y="109"/>
                    </a:cubicBezTo>
                    <a:cubicBezTo>
                      <a:pt x="9" y="109"/>
                      <a:pt x="9" y="112"/>
                      <a:pt x="11" y="113"/>
                    </a:cubicBezTo>
                    <a:cubicBezTo>
                      <a:pt x="12" y="113"/>
                      <a:pt x="12" y="119"/>
                      <a:pt x="11" y="120"/>
                    </a:cubicBezTo>
                    <a:cubicBezTo>
                      <a:pt x="10" y="122"/>
                      <a:pt x="5" y="120"/>
                      <a:pt x="6" y="122"/>
                    </a:cubicBezTo>
                    <a:cubicBezTo>
                      <a:pt x="6" y="124"/>
                      <a:pt x="5" y="127"/>
                      <a:pt x="5" y="129"/>
                    </a:cubicBezTo>
                    <a:cubicBezTo>
                      <a:pt x="5" y="130"/>
                      <a:pt x="4" y="135"/>
                      <a:pt x="3" y="134"/>
                    </a:cubicBezTo>
                    <a:cubicBezTo>
                      <a:pt x="2" y="134"/>
                      <a:pt x="1" y="134"/>
                      <a:pt x="0" y="134"/>
                    </a:cubicBezTo>
                    <a:cubicBezTo>
                      <a:pt x="0" y="134"/>
                      <a:pt x="0" y="134"/>
                      <a:pt x="0" y="134"/>
                    </a:cubicBezTo>
                    <a:cubicBezTo>
                      <a:pt x="0" y="137"/>
                      <a:pt x="1" y="140"/>
                      <a:pt x="4" y="143"/>
                    </a:cubicBezTo>
                    <a:cubicBezTo>
                      <a:pt x="6" y="145"/>
                      <a:pt x="4" y="148"/>
                      <a:pt x="6" y="151"/>
                    </a:cubicBezTo>
                    <a:cubicBezTo>
                      <a:pt x="9" y="154"/>
                      <a:pt x="8" y="156"/>
                      <a:pt x="11" y="158"/>
                    </a:cubicBezTo>
                    <a:cubicBezTo>
                      <a:pt x="13" y="160"/>
                      <a:pt x="13" y="161"/>
                      <a:pt x="12" y="164"/>
                    </a:cubicBezTo>
                    <a:cubicBezTo>
                      <a:pt x="11" y="167"/>
                      <a:pt x="14" y="166"/>
                      <a:pt x="14" y="168"/>
                    </a:cubicBezTo>
                    <a:cubicBezTo>
                      <a:pt x="15" y="170"/>
                      <a:pt x="14" y="173"/>
                      <a:pt x="15" y="175"/>
                    </a:cubicBezTo>
                    <a:cubicBezTo>
                      <a:pt x="15" y="176"/>
                      <a:pt x="17" y="175"/>
                      <a:pt x="21" y="175"/>
                    </a:cubicBezTo>
                    <a:cubicBezTo>
                      <a:pt x="25" y="174"/>
                      <a:pt x="24" y="172"/>
                      <a:pt x="24" y="170"/>
                    </a:cubicBezTo>
                    <a:cubicBezTo>
                      <a:pt x="24" y="168"/>
                      <a:pt x="26" y="169"/>
                      <a:pt x="26" y="167"/>
                    </a:cubicBezTo>
                    <a:cubicBezTo>
                      <a:pt x="27" y="166"/>
                      <a:pt x="30" y="165"/>
                      <a:pt x="33" y="167"/>
                    </a:cubicBezTo>
                    <a:cubicBezTo>
                      <a:pt x="36" y="168"/>
                      <a:pt x="37" y="166"/>
                      <a:pt x="38" y="163"/>
                    </a:cubicBezTo>
                    <a:cubicBezTo>
                      <a:pt x="38" y="160"/>
                      <a:pt x="40" y="163"/>
                      <a:pt x="41" y="164"/>
                    </a:cubicBezTo>
                    <a:cubicBezTo>
                      <a:pt x="41" y="165"/>
                      <a:pt x="44" y="160"/>
                      <a:pt x="45" y="156"/>
                    </a:cubicBezTo>
                    <a:cubicBezTo>
                      <a:pt x="46" y="153"/>
                      <a:pt x="45" y="154"/>
                      <a:pt x="42" y="157"/>
                    </a:cubicBezTo>
                    <a:cubicBezTo>
                      <a:pt x="39" y="160"/>
                      <a:pt x="41" y="154"/>
                      <a:pt x="42" y="151"/>
                    </a:cubicBezTo>
                    <a:cubicBezTo>
                      <a:pt x="43" y="149"/>
                      <a:pt x="43" y="142"/>
                      <a:pt x="43" y="140"/>
                    </a:cubicBezTo>
                    <a:cubicBezTo>
                      <a:pt x="44" y="138"/>
                      <a:pt x="44" y="136"/>
                      <a:pt x="48" y="135"/>
                    </a:cubicBezTo>
                    <a:cubicBezTo>
                      <a:pt x="51" y="134"/>
                      <a:pt x="56" y="130"/>
                      <a:pt x="55" y="128"/>
                    </a:cubicBezTo>
                    <a:cubicBezTo>
                      <a:pt x="54" y="127"/>
                      <a:pt x="60" y="124"/>
                      <a:pt x="60" y="122"/>
                    </a:cubicBezTo>
                    <a:cubicBezTo>
                      <a:pt x="60" y="120"/>
                      <a:pt x="54" y="114"/>
                      <a:pt x="52" y="113"/>
                    </a:cubicBezTo>
                    <a:cubicBezTo>
                      <a:pt x="50" y="112"/>
                      <a:pt x="46" y="113"/>
                      <a:pt x="47" y="112"/>
                    </a:cubicBezTo>
                    <a:cubicBezTo>
                      <a:pt x="47" y="110"/>
                      <a:pt x="46" y="105"/>
                      <a:pt x="46" y="103"/>
                    </a:cubicBezTo>
                    <a:cubicBezTo>
                      <a:pt x="45" y="100"/>
                      <a:pt x="49" y="97"/>
                      <a:pt x="49" y="95"/>
                    </a:cubicBezTo>
                    <a:cubicBezTo>
                      <a:pt x="49" y="92"/>
                      <a:pt x="48" y="90"/>
                      <a:pt x="51" y="89"/>
                    </a:cubicBezTo>
                    <a:cubicBezTo>
                      <a:pt x="53" y="88"/>
                      <a:pt x="52" y="86"/>
                      <a:pt x="55" y="85"/>
                    </a:cubicBezTo>
                    <a:cubicBezTo>
                      <a:pt x="58" y="84"/>
                      <a:pt x="57" y="80"/>
                      <a:pt x="60" y="79"/>
                    </a:cubicBezTo>
                    <a:cubicBezTo>
                      <a:pt x="63" y="77"/>
                      <a:pt x="64" y="76"/>
                      <a:pt x="68" y="74"/>
                    </a:cubicBezTo>
                    <a:cubicBezTo>
                      <a:pt x="72" y="72"/>
                      <a:pt x="79" y="68"/>
                      <a:pt x="80" y="65"/>
                    </a:cubicBezTo>
                    <a:cubicBezTo>
                      <a:pt x="81" y="63"/>
                      <a:pt x="76" y="60"/>
                      <a:pt x="79" y="57"/>
                    </a:cubicBezTo>
                    <a:cubicBezTo>
                      <a:pt x="83" y="55"/>
                      <a:pt x="80" y="52"/>
                      <a:pt x="82" y="51"/>
                    </a:cubicBezTo>
                    <a:cubicBezTo>
                      <a:pt x="85" y="50"/>
                      <a:pt x="86" y="49"/>
                      <a:pt x="88" y="47"/>
                    </a:cubicBezTo>
                    <a:cubicBezTo>
                      <a:pt x="89" y="45"/>
                      <a:pt x="92" y="46"/>
                      <a:pt x="96" y="46"/>
                    </a:cubicBezTo>
                    <a:cubicBezTo>
                      <a:pt x="98" y="46"/>
                      <a:pt x="99" y="46"/>
                      <a:pt x="100" y="46"/>
                    </a:cubicBezTo>
                    <a:cubicBezTo>
                      <a:pt x="100" y="44"/>
                      <a:pt x="100" y="43"/>
                      <a:pt x="99" y="42"/>
                    </a:cubicBezTo>
                    <a:close/>
                    <a:moveTo>
                      <a:pt x="59" y="147"/>
                    </a:moveTo>
                    <a:cubicBezTo>
                      <a:pt x="55" y="147"/>
                      <a:pt x="52" y="156"/>
                      <a:pt x="54" y="157"/>
                    </a:cubicBezTo>
                    <a:cubicBezTo>
                      <a:pt x="55" y="158"/>
                      <a:pt x="64" y="146"/>
                      <a:pt x="59" y="14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5" name="Freeform 143">
                <a:extLst>
                  <a:ext uri="{FF2B5EF4-FFF2-40B4-BE49-F238E27FC236}">
                    <a16:creationId xmlns:a16="http://schemas.microsoft.com/office/drawing/2014/main" id="{CFBA9559-8011-4DCA-A98E-C7843FFF533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23736" y="2813742"/>
                <a:ext cx="115435" cy="55208"/>
              </a:xfrm>
              <a:custGeom>
                <a:avLst/>
                <a:gdLst>
                  <a:gd name="T0" fmla="*/ 47 w 50"/>
                  <a:gd name="T1" fmla="*/ 6 h 24"/>
                  <a:gd name="T2" fmla="*/ 48 w 50"/>
                  <a:gd name="T3" fmla="*/ 1 h 24"/>
                  <a:gd name="T4" fmla="*/ 46 w 50"/>
                  <a:gd name="T5" fmla="*/ 2 h 24"/>
                  <a:gd name="T6" fmla="*/ 31 w 50"/>
                  <a:gd name="T7" fmla="*/ 0 h 24"/>
                  <a:gd name="T8" fmla="*/ 16 w 50"/>
                  <a:gd name="T9" fmla="*/ 3 h 24"/>
                  <a:gd name="T10" fmla="*/ 11 w 50"/>
                  <a:gd name="T11" fmla="*/ 8 h 24"/>
                  <a:gd name="T12" fmla="*/ 13 w 50"/>
                  <a:gd name="T13" fmla="*/ 13 h 24"/>
                  <a:gd name="T14" fmla="*/ 18 w 50"/>
                  <a:gd name="T15" fmla="*/ 16 h 24"/>
                  <a:gd name="T16" fmla="*/ 19 w 50"/>
                  <a:gd name="T17" fmla="*/ 19 h 24"/>
                  <a:gd name="T18" fmla="*/ 19 w 50"/>
                  <a:gd name="T19" fmla="*/ 19 h 24"/>
                  <a:gd name="T20" fmla="*/ 28 w 50"/>
                  <a:gd name="T21" fmla="*/ 19 h 24"/>
                  <a:gd name="T22" fmla="*/ 36 w 50"/>
                  <a:gd name="T23" fmla="*/ 24 h 24"/>
                  <a:gd name="T24" fmla="*/ 44 w 50"/>
                  <a:gd name="T25" fmla="*/ 24 h 24"/>
                  <a:gd name="T26" fmla="*/ 44 w 50"/>
                  <a:gd name="T27" fmla="*/ 22 h 24"/>
                  <a:gd name="T28" fmla="*/ 46 w 50"/>
                  <a:gd name="T29" fmla="*/ 19 h 24"/>
                  <a:gd name="T30" fmla="*/ 44 w 50"/>
                  <a:gd name="T31" fmla="*/ 15 h 24"/>
                  <a:gd name="T32" fmla="*/ 44 w 50"/>
                  <a:gd name="T33" fmla="*/ 11 h 24"/>
                  <a:gd name="T34" fmla="*/ 47 w 50"/>
                  <a:gd name="T35" fmla="*/ 6 h 24"/>
                  <a:gd name="T36" fmla="*/ 4 w 50"/>
                  <a:gd name="T37" fmla="*/ 12 h 24"/>
                  <a:gd name="T38" fmla="*/ 1 w 50"/>
                  <a:gd name="T39" fmla="*/ 19 h 24"/>
                  <a:gd name="T40" fmla="*/ 10 w 50"/>
                  <a:gd name="T41" fmla="*/ 14 h 24"/>
                  <a:gd name="T42" fmla="*/ 4 w 50"/>
                  <a:gd name="T43" fmla="*/ 12 h 24"/>
                  <a:gd name="T44" fmla="*/ 8 w 50"/>
                  <a:gd name="T45" fmla="*/ 9 h 24"/>
                  <a:gd name="T46" fmla="*/ 3 w 50"/>
                  <a:gd name="T47" fmla="*/ 9 h 24"/>
                  <a:gd name="T48" fmla="*/ 8 w 50"/>
                  <a:gd name="T49" fmla="*/ 9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0" h="24">
                    <a:moveTo>
                      <a:pt x="47" y="6"/>
                    </a:moveTo>
                    <a:cubicBezTo>
                      <a:pt x="48" y="4"/>
                      <a:pt x="50" y="4"/>
                      <a:pt x="48" y="1"/>
                    </a:cubicBezTo>
                    <a:cubicBezTo>
                      <a:pt x="48" y="1"/>
                      <a:pt x="47" y="2"/>
                      <a:pt x="46" y="2"/>
                    </a:cubicBezTo>
                    <a:cubicBezTo>
                      <a:pt x="43" y="3"/>
                      <a:pt x="35" y="0"/>
                      <a:pt x="31" y="0"/>
                    </a:cubicBezTo>
                    <a:cubicBezTo>
                      <a:pt x="27" y="1"/>
                      <a:pt x="18" y="1"/>
                      <a:pt x="16" y="3"/>
                    </a:cubicBezTo>
                    <a:cubicBezTo>
                      <a:pt x="14" y="6"/>
                      <a:pt x="9" y="6"/>
                      <a:pt x="11" y="8"/>
                    </a:cubicBezTo>
                    <a:cubicBezTo>
                      <a:pt x="14" y="10"/>
                      <a:pt x="11" y="11"/>
                      <a:pt x="13" y="13"/>
                    </a:cubicBezTo>
                    <a:cubicBezTo>
                      <a:pt x="15" y="15"/>
                      <a:pt x="16" y="16"/>
                      <a:pt x="18" y="16"/>
                    </a:cubicBezTo>
                    <a:cubicBezTo>
                      <a:pt x="20" y="15"/>
                      <a:pt x="22" y="17"/>
                      <a:pt x="19" y="19"/>
                    </a:cubicBezTo>
                    <a:cubicBezTo>
                      <a:pt x="19" y="19"/>
                      <a:pt x="19" y="19"/>
                      <a:pt x="19" y="19"/>
                    </a:cubicBezTo>
                    <a:cubicBezTo>
                      <a:pt x="23" y="19"/>
                      <a:pt x="27" y="19"/>
                      <a:pt x="28" y="19"/>
                    </a:cubicBezTo>
                    <a:cubicBezTo>
                      <a:pt x="29" y="20"/>
                      <a:pt x="35" y="24"/>
                      <a:pt x="36" y="24"/>
                    </a:cubicBezTo>
                    <a:cubicBezTo>
                      <a:pt x="37" y="24"/>
                      <a:pt x="41" y="24"/>
                      <a:pt x="44" y="24"/>
                    </a:cubicBezTo>
                    <a:cubicBezTo>
                      <a:pt x="43" y="23"/>
                      <a:pt x="43" y="23"/>
                      <a:pt x="44" y="22"/>
                    </a:cubicBezTo>
                    <a:cubicBezTo>
                      <a:pt x="45" y="21"/>
                      <a:pt x="47" y="21"/>
                      <a:pt x="46" y="19"/>
                    </a:cubicBezTo>
                    <a:cubicBezTo>
                      <a:pt x="45" y="18"/>
                      <a:pt x="45" y="17"/>
                      <a:pt x="44" y="15"/>
                    </a:cubicBezTo>
                    <a:cubicBezTo>
                      <a:pt x="44" y="13"/>
                      <a:pt x="44" y="12"/>
                      <a:pt x="44" y="11"/>
                    </a:cubicBezTo>
                    <a:cubicBezTo>
                      <a:pt x="44" y="9"/>
                      <a:pt x="45" y="9"/>
                      <a:pt x="47" y="6"/>
                    </a:cubicBezTo>
                    <a:close/>
                    <a:moveTo>
                      <a:pt x="4" y="12"/>
                    </a:moveTo>
                    <a:cubicBezTo>
                      <a:pt x="0" y="13"/>
                      <a:pt x="0" y="19"/>
                      <a:pt x="1" y="19"/>
                    </a:cubicBezTo>
                    <a:cubicBezTo>
                      <a:pt x="3" y="19"/>
                      <a:pt x="8" y="15"/>
                      <a:pt x="10" y="14"/>
                    </a:cubicBezTo>
                    <a:cubicBezTo>
                      <a:pt x="11" y="12"/>
                      <a:pt x="9" y="11"/>
                      <a:pt x="4" y="12"/>
                    </a:cubicBezTo>
                    <a:close/>
                    <a:moveTo>
                      <a:pt x="8" y="9"/>
                    </a:moveTo>
                    <a:cubicBezTo>
                      <a:pt x="9" y="7"/>
                      <a:pt x="1" y="8"/>
                      <a:pt x="3" y="9"/>
                    </a:cubicBezTo>
                    <a:cubicBezTo>
                      <a:pt x="4" y="11"/>
                      <a:pt x="7" y="11"/>
                      <a:pt x="8" y="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6" name="Freeform 144">
                <a:extLst>
                  <a:ext uri="{FF2B5EF4-FFF2-40B4-BE49-F238E27FC236}">
                    <a16:creationId xmlns:a16="http://schemas.microsoft.com/office/drawing/2014/main" id="{FC2E7771-172F-47EC-81B7-E1345898E0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38294" y="3994439"/>
                <a:ext cx="148058" cy="181935"/>
              </a:xfrm>
              <a:custGeom>
                <a:avLst/>
                <a:gdLst>
                  <a:gd name="T0" fmla="*/ 57 w 64"/>
                  <a:gd name="T1" fmla="*/ 18 h 79"/>
                  <a:gd name="T2" fmla="*/ 61 w 64"/>
                  <a:gd name="T3" fmla="*/ 12 h 79"/>
                  <a:gd name="T4" fmla="*/ 64 w 64"/>
                  <a:gd name="T5" fmla="*/ 7 h 79"/>
                  <a:gd name="T6" fmla="*/ 60 w 64"/>
                  <a:gd name="T7" fmla="*/ 8 h 79"/>
                  <a:gd name="T8" fmla="*/ 56 w 64"/>
                  <a:gd name="T9" fmla="*/ 6 h 79"/>
                  <a:gd name="T10" fmla="*/ 50 w 64"/>
                  <a:gd name="T11" fmla="*/ 8 h 79"/>
                  <a:gd name="T12" fmla="*/ 44 w 64"/>
                  <a:gd name="T13" fmla="*/ 12 h 79"/>
                  <a:gd name="T14" fmla="*/ 35 w 64"/>
                  <a:gd name="T15" fmla="*/ 10 h 79"/>
                  <a:gd name="T16" fmla="*/ 26 w 64"/>
                  <a:gd name="T17" fmla="*/ 5 h 79"/>
                  <a:gd name="T18" fmla="*/ 17 w 64"/>
                  <a:gd name="T19" fmla="*/ 3 h 79"/>
                  <a:gd name="T20" fmla="*/ 13 w 64"/>
                  <a:gd name="T21" fmla="*/ 1 h 79"/>
                  <a:gd name="T22" fmla="*/ 8 w 64"/>
                  <a:gd name="T23" fmla="*/ 1 h 79"/>
                  <a:gd name="T24" fmla="*/ 2 w 64"/>
                  <a:gd name="T25" fmla="*/ 5 h 79"/>
                  <a:gd name="T26" fmla="*/ 1 w 64"/>
                  <a:gd name="T27" fmla="*/ 6 h 79"/>
                  <a:gd name="T28" fmla="*/ 4 w 64"/>
                  <a:gd name="T29" fmla="*/ 10 h 79"/>
                  <a:gd name="T30" fmla="*/ 5 w 64"/>
                  <a:gd name="T31" fmla="*/ 15 h 79"/>
                  <a:gd name="T32" fmla="*/ 8 w 64"/>
                  <a:gd name="T33" fmla="*/ 18 h 79"/>
                  <a:gd name="T34" fmla="*/ 8 w 64"/>
                  <a:gd name="T35" fmla="*/ 25 h 79"/>
                  <a:gd name="T36" fmla="*/ 3 w 64"/>
                  <a:gd name="T37" fmla="*/ 34 h 79"/>
                  <a:gd name="T38" fmla="*/ 0 w 64"/>
                  <a:gd name="T39" fmla="*/ 39 h 79"/>
                  <a:gd name="T40" fmla="*/ 5 w 64"/>
                  <a:gd name="T41" fmla="*/ 42 h 79"/>
                  <a:gd name="T42" fmla="*/ 0 w 64"/>
                  <a:gd name="T43" fmla="*/ 47 h 79"/>
                  <a:gd name="T44" fmla="*/ 0 w 64"/>
                  <a:gd name="T45" fmla="*/ 48 h 79"/>
                  <a:gd name="T46" fmla="*/ 30 w 64"/>
                  <a:gd name="T47" fmla="*/ 64 h 79"/>
                  <a:gd name="T48" fmla="*/ 30 w 64"/>
                  <a:gd name="T49" fmla="*/ 69 h 79"/>
                  <a:gd name="T50" fmla="*/ 43 w 64"/>
                  <a:gd name="T51" fmla="*/ 79 h 79"/>
                  <a:gd name="T52" fmla="*/ 51 w 64"/>
                  <a:gd name="T53" fmla="*/ 61 h 79"/>
                  <a:gd name="T54" fmla="*/ 56 w 64"/>
                  <a:gd name="T55" fmla="*/ 57 h 79"/>
                  <a:gd name="T56" fmla="*/ 61 w 64"/>
                  <a:gd name="T57" fmla="*/ 54 h 79"/>
                  <a:gd name="T58" fmla="*/ 61 w 64"/>
                  <a:gd name="T59" fmla="*/ 53 h 79"/>
                  <a:gd name="T60" fmla="*/ 57 w 64"/>
                  <a:gd name="T61" fmla="*/ 47 h 79"/>
                  <a:gd name="T62" fmla="*/ 57 w 64"/>
                  <a:gd name="T63" fmla="*/ 18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64" h="79">
                    <a:moveTo>
                      <a:pt x="57" y="18"/>
                    </a:moveTo>
                    <a:cubicBezTo>
                      <a:pt x="61" y="12"/>
                      <a:pt x="61" y="12"/>
                      <a:pt x="61" y="12"/>
                    </a:cubicBezTo>
                    <a:cubicBezTo>
                      <a:pt x="64" y="7"/>
                      <a:pt x="64" y="7"/>
                      <a:pt x="64" y="7"/>
                    </a:cubicBezTo>
                    <a:cubicBezTo>
                      <a:pt x="63" y="7"/>
                      <a:pt x="61" y="8"/>
                      <a:pt x="60" y="8"/>
                    </a:cubicBezTo>
                    <a:cubicBezTo>
                      <a:pt x="59" y="9"/>
                      <a:pt x="57" y="8"/>
                      <a:pt x="56" y="6"/>
                    </a:cubicBezTo>
                    <a:cubicBezTo>
                      <a:pt x="56" y="5"/>
                      <a:pt x="52" y="6"/>
                      <a:pt x="50" y="8"/>
                    </a:cubicBezTo>
                    <a:cubicBezTo>
                      <a:pt x="47" y="9"/>
                      <a:pt x="45" y="13"/>
                      <a:pt x="44" y="12"/>
                    </a:cubicBezTo>
                    <a:cubicBezTo>
                      <a:pt x="43" y="11"/>
                      <a:pt x="37" y="10"/>
                      <a:pt x="35" y="10"/>
                    </a:cubicBezTo>
                    <a:cubicBezTo>
                      <a:pt x="33" y="10"/>
                      <a:pt x="27" y="7"/>
                      <a:pt x="26" y="5"/>
                    </a:cubicBezTo>
                    <a:cubicBezTo>
                      <a:pt x="24" y="3"/>
                      <a:pt x="19" y="4"/>
                      <a:pt x="17" y="3"/>
                    </a:cubicBezTo>
                    <a:cubicBezTo>
                      <a:pt x="16" y="3"/>
                      <a:pt x="14" y="2"/>
                      <a:pt x="13" y="1"/>
                    </a:cubicBezTo>
                    <a:cubicBezTo>
                      <a:pt x="12" y="0"/>
                      <a:pt x="10" y="0"/>
                      <a:pt x="8" y="1"/>
                    </a:cubicBezTo>
                    <a:cubicBezTo>
                      <a:pt x="6" y="1"/>
                      <a:pt x="2" y="3"/>
                      <a:pt x="2" y="5"/>
                    </a:cubicBezTo>
                    <a:cubicBezTo>
                      <a:pt x="1" y="5"/>
                      <a:pt x="1" y="6"/>
                      <a:pt x="1" y="6"/>
                    </a:cubicBezTo>
                    <a:cubicBezTo>
                      <a:pt x="4" y="10"/>
                      <a:pt x="4" y="10"/>
                      <a:pt x="4" y="10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8" y="18"/>
                      <a:pt x="8" y="18"/>
                      <a:pt x="8" y="18"/>
                    </a:cubicBezTo>
                    <a:cubicBezTo>
                      <a:pt x="8" y="18"/>
                      <a:pt x="8" y="21"/>
                      <a:pt x="8" y="25"/>
                    </a:cubicBezTo>
                    <a:cubicBezTo>
                      <a:pt x="7" y="28"/>
                      <a:pt x="5" y="32"/>
                      <a:pt x="3" y="34"/>
                    </a:cubicBezTo>
                    <a:cubicBezTo>
                      <a:pt x="2" y="35"/>
                      <a:pt x="1" y="37"/>
                      <a:pt x="0" y="39"/>
                    </a:cubicBezTo>
                    <a:cubicBezTo>
                      <a:pt x="3" y="40"/>
                      <a:pt x="6" y="41"/>
                      <a:pt x="5" y="42"/>
                    </a:cubicBezTo>
                    <a:cubicBezTo>
                      <a:pt x="5" y="44"/>
                      <a:pt x="0" y="43"/>
                      <a:pt x="0" y="47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30" y="64"/>
                      <a:pt x="30" y="64"/>
                      <a:pt x="30" y="64"/>
                    </a:cubicBezTo>
                    <a:cubicBezTo>
                      <a:pt x="30" y="69"/>
                      <a:pt x="30" y="69"/>
                      <a:pt x="30" y="69"/>
                    </a:cubicBezTo>
                    <a:cubicBezTo>
                      <a:pt x="30" y="69"/>
                      <a:pt x="37" y="74"/>
                      <a:pt x="43" y="79"/>
                    </a:cubicBezTo>
                    <a:cubicBezTo>
                      <a:pt x="46" y="71"/>
                      <a:pt x="50" y="63"/>
                      <a:pt x="51" y="61"/>
                    </a:cubicBezTo>
                    <a:cubicBezTo>
                      <a:pt x="53" y="59"/>
                      <a:pt x="55" y="59"/>
                      <a:pt x="56" y="57"/>
                    </a:cubicBezTo>
                    <a:cubicBezTo>
                      <a:pt x="58" y="55"/>
                      <a:pt x="58" y="58"/>
                      <a:pt x="61" y="54"/>
                    </a:cubicBezTo>
                    <a:cubicBezTo>
                      <a:pt x="61" y="54"/>
                      <a:pt x="61" y="54"/>
                      <a:pt x="61" y="53"/>
                    </a:cubicBezTo>
                    <a:cubicBezTo>
                      <a:pt x="57" y="47"/>
                      <a:pt x="57" y="47"/>
                      <a:pt x="57" y="47"/>
                    </a:cubicBezTo>
                    <a:lnTo>
                      <a:pt x="57" y="18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7" name="Freeform 145">
                <a:extLst>
                  <a:ext uri="{FF2B5EF4-FFF2-40B4-BE49-F238E27FC236}">
                    <a16:creationId xmlns:a16="http://schemas.microsoft.com/office/drawing/2014/main" id="{1EEB1439-ED07-492A-9E07-93EF6145FE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5482" y="4008241"/>
                <a:ext cx="101633" cy="105397"/>
              </a:xfrm>
              <a:custGeom>
                <a:avLst/>
                <a:gdLst>
                  <a:gd name="T0" fmla="*/ 41 w 44"/>
                  <a:gd name="T1" fmla="*/ 9 h 46"/>
                  <a:gd name="T2" fmla="*/ 40 w 44"/>
                  <a:gd name="T3" fmla="*/ 4 h 46"/>
                  <a:gd name="T4" fmla="*/ 37 w 44"/>
                  <a:gd name="T5" fmla="*/ 0 h 46"/>
                  <a:gd name="T6" fmla="*/ 34 w 44"/>
                  <a:gd name="T7" fmla="*/ 3 h 46"/>
                  <a:gd name="T8" fmla="*/ 29 w 44"/>
                  <a:gd name="T9" fmla="*/ 3 h 46"/>
                  <a:gd name="T10" fmla="*/ 23 w 44"/>
                  <a:gd name="T11" fmla="*/ 5 h 46"/>
                  <a:gd name="T12" fmla="*/ 18 w 44"/>
                  <a:gd name="T13" fmla="*/ 3 h 46"/>
                  <a:gd name="T14" fmla="*/ 12 w 44"/>
                  <a:gd name="T15" fmla="*/ 5 h 46"/>
                  <a:gd name="T16" fmla="*/ 11 w 44"/>
                  <a:gd name="T17" fmla="*/ 12 h 46"/>
                  <a:gd name="T18" fmla="*/ 14 w 44"/>
                  <a:gd name="T19" fmla="*/ 16 h 46"/>
                  <a:gd name="T20" fmla="*/ 11 w 44"/>
                  <a:gd name="T21" fmla="*/ 20 h 46"/>
                  <a:gd name="T22" fmla="*/ 8 w 44"/>
                  <a:gd name="T23" fmla="*/ 22 h 46"/>
                  <a:gd name="T24" fmla="*/ 5 w 44"/>
                  <a:gd name="T25" fmla="*/ 27 h 46"/>
                  <a:gd name="T26" fmla="*/ 3 w 44"/>
                  <a:gd name="T27" fmla="*/ 33 h 46"/>
                  <a:gd name="T28" fmla="*/ 2 w 44"/>
                  <a:gd name="T29" fmla="*/ 40 h 46"/>
                  <a:gd name="T30" fmla="*/ 0 w 44"/>
                  <a:gd name="T31" fmla="*/ 45 h 46"/>
                  <a:gd name="T32" fmla="*/ 4 w 44"/>
                  <a:gd name="T33" fmla="*/ 45 h 46"/>
                  <a:gd name="T34" fmla="*/ 13 w 44"/>
                  <a:gd name="T35" fmla="*/ 42 h 46"/>
                  <a:gd name="T36" fmla="*/ 19 w 44"/>
                  <a:gd name="T37" fmla="*/ 42 h 46"/>
                  <a:gd name="T38" fmla="*/ 25 w 44"/>
                  <a:gd name="T39" fmla="*/ 33 h 46"/>
                  <a:gd name="T40" fmla="*/ 36 w 44"/>
                  <a:gd name="T41" fmla="*/ 33 h 46"/>
                  <a:gd name="T42" fmla="*/ 39 w 44"/>
                  <a:gd name="T43" fmla="*/ 28 h 46"/>
                  <a:gd name="T44" fmla="*/ 44 w 44"/>
                  <a:gd name="T45" fmla="*/ 19 h 46"/>
                  <a:gd name="T46" fmla="*/ 44 w 44"/>
                  <a:gd name="T47" fmla="*/ 12 h 46"/>
                  <a:gd name="T48" fmla="*/ 41 w 44"/>
                  <a:gd name="T49" fmla="*/ 9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4" h="46">
                    <a:moveTo>
                      <a:pt x="41" y="9"/>
                    </a:moveTo>
                    <a:cubicBezTo>
                      <a:pt x="40" y="4"/>
                      <a:pt x="40" y="4"/>
                      <a:pt x="40" y="4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35" y="1"/>
                      <a:pt x="34" y="2"/>
                      <a:pt x="34" y="3"/>
                    </a:cubicBezTo>
                    <a:cubicBezTo>
                      <a:pt x="34" y="4"/>
                      <a:pt x="30" y="4"/>
                      <a:pt x="29" y="3"/>
                    </a:cubicBezTo>
                    <a:cubicBezTo>
                      <a:pt x="27" y="2"/>
                      <a:pt x="24" y="4"/>
                      <a:pt x="23" y="5"/>
                    </a:cubicBezTo>
                    <a:cubicBezTo>
                      <a:pt x="22" y="6"/>
                      <a:pt x="20" y="3"/>
                      <a:pt x="18" y="3"/>
                    </a:cubicBezTo>
                    <a:cubicBezTo>
                      <a:pt x="16" y="3"/>
                      <a:pt x="12" y="5"/>
                      <a:pt x="12" y="5"/>
                    </a:cubicBezTo>
                    <a:cubicBezTo>
                      <a:pt x="12" y="5"/>
                      <a:pt x="11" y="10"/>
                      <a:pt x="11" y="12"/>
                    </a:cubicBezTo>
                    <a:cubicBezTo>
                      <a:pt x="11" y="14"/>
                      <a:pt x="14" y="14"/>
                      <a:pt x="14" y="16"/>
                    </a:cubicBezTo>
                    <a:cubicBezTo>
                      <a:pt x="14" y="18"/>
                      <a:pt x="12" y="19"/>
                      <a:pt x="11" y="20"/>
                    </a:cubicBezTo>
                    <a:cubicBezTo>
                      <a:pt x="11" y="21"/>
                      <a:pt x="10" y="22"/>
                      <a:pt x="8" y="22"/>
                    </a:cubicBezTo>
                    <a:cubicBezTo>
                      <a:pt x="6" y="23"/>
                      <a:pt x="6" y="26"/>
                      <a:pt x="5" y="27"/>
                    </a:cubicBezTo>
                    <a:cubicBezTo>
                      <a:pt x="4" y="28"/>
                      <a:pt x="4" y="31"/>
                      <a:pt x="3" y="33"/>
                    </a:cubicBezTo>
                    <a:cubicBezTo>
                      <a:pt x="2" y="35"/>
                      <a:pt x="2" y="37"/>
                      <a:pt x="2" y="40"/>
                    </a:cubicBezTo>
                    <a:cubicBezTo>
                      <a:pt x="2" y="41"/>
                      <a:pt x="1" y="44"/>
                      <a:pt x="0" y="45"/>
                    </a:cubicBezTo>
                    <a:cubicBezTo>
                      <a:pt x="3" y="46"/>
                      <a:pt x="3" y="45"/>
                      <a:pt x="4" y="45"/>
                    </a:cubicBezTo>
                    <a:cubicBezTo>
                      <a:pt x="6" y="44"/>
                      <a:pt x="13" y="42"/>
                      <a:pt x="13" y="42"/>
                    </a:cubicBezTo>
                    <a:cubicBezTo>
                      <a:pt x="19" y="42"/>
                      <a:pt x="19" y="42"/>
                      <a:pt x="19" y="42"/>
                    </a:cubicBezTo>
                    <a:cubicBezTo>
                      <a:pt x="21" y="37"/>
                      <a:pt x="23" y="34"/>
                      <a:pt x="25" y="33"/>
                    </a:cubicBezTo>
                    <a:cubicBezTo>
                      <a:pt x="29" y="32"/>
                      <a:pt x="33" y="32"/>
                      <a:pt x="36" y="33"/>
                    </a:cubicBezTo>
                    <a:cubicBezTo>
                      <a:pt x="37" y="31"/>
                      <a:pt x="38" y="29"/>
                      <a:pt x="39" y="28"/>
                    </a:cubicBezTo>
                    <a:cubicBezTo>
                      <a:pt x="41" y="26"/>
                      <a:pt x="43" y="22"/>
                      <a:pt x="44" y="19"/>
                    </a:cubicBezTo>
                    <a:cubicBezTo>
                      <a:pt x="44" y="15"/>
                      <a:pt x="44" y="12"/>
                      <a:pt x="44" y="12"/>
                    </a:cubicBezTo>
                    <a:lnTo>
                      <a:pt x="41" y="9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8" name="Freeform 146">
                <a:extLst>
                  <a:ext uri="{FF2B5EF4-FFF2-40B4-BE49-F238E27FC236}">
                    <a16:creationId xmlns:a16="http://schemas.microsoft.com/office/drawing/2014/main" id="{193023EF-5A34-4EE1-98D9-8C3B61A0CE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56118" y="3173848"/>
                <a:ext cx="326229" cy="190718"/>
              </a:xfrm>
              <a:custGeom>
                <a:avLst/>
                <a:gdLst>
                  <a:gd name="T0" fmla="*/ 138 w 142"/>
                  <a:gd name="T1" fmla="*/ 46 h 83"/>
                  <a:gd name="T2" fmla="*/ 127 w 142"/>
                  <a:gd name="T3" fmla="*/ 41 h 83"/>
                  <a:gd name="T4" fmla="*/ 121 w 142"/>
                  <a:gd name="T5" fmla="*/ 41 h 83"/>
                  <a:gd name="T6" fmla="*/ 113 w 142"/>
                  <a:gd name="T7" fmla="*/ 39 h 83"/>
                  <a:gd name="T8" fmla="*/ 105 w 142"/>
                  <a:gd name="T9" fmla="*/ 46 h 83"/>
                  <a:gd name="T10" fmla="*/ 101 w 142"/>
                  <a:gd name="T11" fmla="*/ 47 h 83"/>
                  <a:gd name="T12" fmla="*/ 95 w 142"/>
                  <a:gd name="T13" fmla="*/ 43 h 83"/>
                  <a:gd name="T14" fmla="*/ 88 w 142"/>
                  <a:gd name="T15" fmla="*/ 41 h 83"/>
                  <a:gd name="T16" fmla="*/ 83 w 142"/>
                  <a:gd name="T17" fmla="*/ 33 h 83"/>
                  <a:gd name="T18" fmla="*/ 81 w 142"/>
                  <a:gd name="T19" fmla="*/ 25 h 83"/>
                  <a:gd name="T20" fmla="*/ 75 w 142"/>
                  <a:gd name="T21" fmla="*/ 20 h 83"/>
                  <a:gd name="T22" fmla="*/ 59 w 142"/>
                  <a:gd name="T23" fmla="*/ 20 h 83"/>
                  <a:gd name="T24" fmla="*/ 48 w 142"/>
                  <a:gd name="T25" fmla="*/ 20 h 83"/>
                  <a:gd name="T26" fmla="*/ 39 w 142"/>
                  <a:gd name="T27" fmla="*/ 10 h 83"/>
                  <a:gd name="T28" fmla="*/ 37 w 142"/>
                  <a:gd name="T29" fmla="*/ 13 h 83"/>
                  <a:gd name="T30" fmla="*/ 27 w 142"/>
                  <a:gd name="T31" fmla="*/ 12 h 83"/>
                  <a:gd name="T32" fmla="*/ 26 w 142"/>
                  <a:gd name="T33" fmla="*/ 0 h 83"/>
                  <a:gd name="T34" fmla="*/ 22 w 142"/>
                  <a:gd name="T35" fmla="*/ 12 h 83"/>
                  <a:gd name="T36" fmla="*/ 21 w 142"/>
                  <a:gd name="T37" fmla="*/ 0 h 83"/>
                  <a:gd name="T38" fmla="*/ 1 w 142"/>
                  <a:gd name="T39" fmla="*/ 5 h 83"/>
                  <a:gd name="T40" fmla="*/ 0 w 142"/>
                  <a:gd name="T41" fmla="*/ 41 h 83"/>
                  <a:gd name="T42" fmla="*/ 0 w 142"/>
                  <a:gd name="T43" fmla="*/ 41 h 83"/>
                  <a:gd name="T44" fmla="*/ 6 w 142"/>
                  <a:gd name="T45" fmla="*/ 42 h 83"/>
                  <a:gd name="T46" fmla="*/ 8 w 142"/>
                  <a:gd name="T47" fmla="*/ 38 h 83"/>
                  <a:gd name="T48" fmla="*/ 14 w 142"/>
                  <a:gd name="T49" fmla="*/ 34 h 83"/>
                  <a:gd name="T50" fmla="*/ 17 w 142"/>
                  <a:gd name="T51" fmla="*/ 31 h 83"/>
                  <a:gd name="T52" fmla="*/ 20 w 142"/>
                  <a:gd name="T53" fmla="*/ 29 h 83"/>
                  <a:gd name="T54" fmla="*/ 26 w 142"/>
                  <a:gd name="T55" fmla="*/ 31 h 83"/>
                  <a:gd name="T56" fmla="*/ 32 w 142"/>
                  <a:gd name="T57" fmla="*/ 33 h 83"/>
                  <a:gd name="T58" fmla="*/ 35 w 142"/>
                  <a:gd name="T59" fmla="*/ 41 h 83"/>
                  <a:gd name="T60" fmla="*/ 47 w 142"/>
                  <a:gd name="T61" fmla="*/ 43 h 83"/>
                  <a:gd name="T62" fmla="*/ 50 w 142"/>
                  <a:gd name="T63" fmla="*/ 48 h 83"/>
                  <a:gd name="T64" fmla="*/ 54 w 142"/>
                  <a:gd name="T65" fmla="*/ 55 h 83"/>
                  <a:gd name="T66" fmla="*/ 62 w 142"/>
                  <a:gd name="T67" fmla="*/ 60 h 83"/>
                  <a:gd name="T68" fmla="*/ 71 w 142"/>
                  <a:gd name="T69" fmla="*/ 66 h 83"/>
                  <a:gd name="T70" fmla="*/ 80 w 142"/>
                  <a:gd name="T71" fmla="*/ 71 h 83"/>
                  <a:gd name="T72" fmla="*/ 87 w 142"/>
                  <a:gd name="T73" fmla="*/ 74 h 83"/>
                  <a:gd name="T74" fmla="*/ 87 w 142"/>
                  <a:gd name="T75" fmla="*/ 79 h 83"/>
                  <a:gd name="T76" fmla="*/ 88 w 142"/>
                  <a:gd name="T77" fmla="*/ 79 h 83"/>
                  <a:gd name="T78" fmla="*/ 95 w 142"/>
                  <a:gd name="T79" fmla="*/ 81 h 83"/>
                  <a:gd name="T80" fmla="*/ 98 w 142"/>
                  <a:gd name="T81" fmla="*/ 83 h 83"/>
                  <a:gd name="T82" fmla="*/ 101 w 142"/>
                  <a:gd name="T83" fmla="*/ 74 h 83"/>
                  <a:gd name="T84" fmla="*/ 100 w 142"/>
                  <a:gd name="T85" fmla="*/ 67 h 83"/>
                  <a:gd name="T86" fmla="*/ 95 w 142"/>
                  <a:gd name="T87" fmla="*/ 61 h 83"/>
                  <a:gd name="T88" fmla="*/ 103 w 142"/>
                  <a:gd name="T89" fmla="*/ 58 h 83"/>
                  <a:gd name="T90" fmla="*/ 105 w 142"/>
                  <a:gd name="T91" fmla="*/ 54 h 83"/>
                  <a:gd name="T92" fmla="*/ 109 w 142"/>
                  <a:gd name="T93" fmla="*/ 49 h 83"/>
                  <a:gd name="T94" fmla="*/ 115 w 142"/>
                  <a:gd name="T95" fmla="*/ 48 h 83"/>
                  <a:gd name="T96" fmla="*/ 121 w 142"/>
                  <a:gd name="T97" fmla="*/ 47 h 83"/>
                  <a:gd name="T98" fmla="*/ 118 w 142"/>
                  <a:gd name="T99" fmla="*/ 53 h 83"/>
                  <a:gd name="T100" fmla="*/ 127 w 142"/>
                  <a:gd name="T101" fmla="*/ 52 h 83"/>
                  <a:gd name="T102" fmla="*/ 135 w 142"/>
                  <a:gd name="T103" fmla="*/ 50 h 83"/>
                  <a:gd name="T104" fmla="*/ 138 w 142"/>
                  <a:gd name="T105" fmla="*/ 46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42" h="83">
                    <a:moveTo>
                      <a:pt x="138" y="46"/>
                    </a:moveTo>
                    <a:cubicBezTo>
                      <a:pt x="135" y="43"/>
                      <a:pt x="128" y="39"/>
                      <a:pt x="127" y="41"/>
                    </a:cubicBezTo>
                    <a:cubicBezTo>
                      <a:pt x="127" y="43"/>
                      <a:pt x="123" y="43"/>
                      <a:pt x="121" y="41"/>
                    </a:cubicBezTo>
                    <a:cubicBezTo>
                      <a:pt x="119" y="40"/>
                      <a:pt x="118" y="37"/>
                      <a:pt x="113" y="39"/>
                    </a:cubicBezTo>
                    <a:cubicBezTo>
                      <a:pt x="109" y="41"/>
                      <a:pt x="105" y="44"/>
                      <a:pt x="105" y="46"/>
                    </a:cubicBezTo>
                    <a:cubicBezTo>
                      <a:pt x="105" y="47"/>
                      <a:pt x="102" y="49"/>
                      <a:pt x="101" y="47"/>
                    </a:cubicBezTo>
                    <a:cubicBezTo>
                      <a:pt x="101" y="44"/>
                      <a:pt x="97" y="43"/>
                      <a:pt x="95" y="43"/>
                    </a:cubicBezTo>
                    <a:cubicBezTo>
                      <a:pt x="92" y="42"/>
                      <a:pt x="88" y="43"/>
                      <a:pt x="88" y="41"/>
                    </a:cubicBezTo>
                    <a:cubicBezTo>
                      <a:pt x="87" y="38"/>
                      <a:pt x="84" y="35"/>
                      <a:pt x="83" y="33"/>
                    </a:cubicBezTo>
                    <a:cubicBezTo>
                      <a:pt x="83" y="30"/>
                      <a:pt x="84" y="26"/>
                      <a:pt x="81" y="25"/>
                    </a:cubicBezTo>
                    <a:cubicBezTo>
                      <a:pt x="79" y="24"/>
                      <a:pt x="77" y="20"/>
                      <a:pt x="75" y="20"/>
                    </a:cubicBezTo>
                    <a:cubicBezTo>
                      <a:pt x="73" y="20"/>
                      <a:pt x="60" y="20"/>
                      <a:pt x="59" y="20"/>
                    </a:cubicBezTo>
                    <a:cubicBezTo>
                      <a:pt x="57" y="19"/>
                      <a:pt x="49" y="22"/>
                      <a:pt x="48" y="20"/>
                    </a:cubicBezTo>
                    <a:cubicBezTo>
                      <a:pt x="48" y="19"/>
                      <a:pt x="42" y="13"/>
                      <a:pt x="39" y="10"/>
                    </a:cubicBezTo>
                    <a:cubicBezTo>
                      <a:pt x="39" y="11"/>
                      <a:pt x="38" y="12"/>
                      <a:pt x="37" y="13"/>
                    </a:cubicBezTo>
                    <a:cubicBezTo>
                      <a:pt x="31" y="18"/>
                      <a:pt x="25" y="17"/>
                      <a:pt x="27" y="12"/>
                    </a:cubicBezTo>
                    <a:cubicBezTo>
                      <a:pt x="29" y="6"/>
                      <a:pt x="29" y="0"/>
                      <a:pt x="26" y="0"/>
                    </a:cubicBezTo>
                    <a:cubicBezTo>
                      <a:pt x="23" y="0"/>
                      <a:pt x="25" y="11"/>
                      <a:pt x="22" y="12"/>
                    </a:cubicBezTo>
                    <a:cubicBezTo>
                      <a:pt x="20" y="13"/>
                      <a:pt x="20" y="4"/>
                      <a:pt x="21" y="0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2" y="42"/>
                      <a:pt x="4" y="42"/>
                      <a:pt x="6" y="42"/>
                    </a:cubicBezTo>
                    <a:cubicBezTo>
                      <a:pt x="9" y="42"/>
                      <a:pt x="8" y="40"/>
                      <a:pt x="8" y="38"/>
                    </a:cubicBezTo>
                    <a:cubicBezTo>
                      <a:pt x="8" y="36"/>
                      <a:pt x="12" y="34"/>
                      <a:pt x="14" y="34"/>
                    </a:cubicBezTo>
                    <a:cubicBezTo>
                      <a:pt x="17" y="34"/>
                      <a:pt x="16" y="31"/>
                      <a:pt x="17" y="31"/>
                    </a:cubicBezTo>
                    <a:cubicBezTo>
                      <a:pt x="18" y="31"/>
                      <a:pt x="20" y="30"/>
                      <a:pt x="20" y="29"/>
                    </a:cubicBezTo>
                    <a:cubicBezTo>
                      <a:pt x="21" y="28"/>
                      <a:pt x="25" y="29"/>
                      <a:pt x="26" y="31"/>
                    </a:cubicBezTo>
                    <a:cubicBezTo>
                      <a:pt x="27" y="32"/>
                      <a:pt x="30" y="32"/>
                      <a:pt x="32" y="33"/>
                    </a:cubicBezTo>
                    <a:cubicBezTo>
                      <a:pt x="34" y="33"/>
                      <a:pt x="35" y="40"/>
                      <a:pt x="35" y="41"/>
                    </a:cubicBezTo>
                    <a:cubicBezTo>
                      <a:pt x="35" y="43"/>
                      <a:pt x="45" y="42"/>
                      <a:pt x="47" y="43"/>
                    </a:cubicBezTo>
                    <a:cubicBezTo>
                      <a:pt x="49" y="43"/>
                      <a:pt x="49" y="46"/>
                      <a:pt x="50" y="48"/>
                    </a:cubicBezTo>
                    <a:cubicBezTo>
                      <a:pt x="52" y="50"/>
                      <a:pt x="53" y="53"/>
                      <a:pt x="54" y="55"/>
                    </a:cubicBezTo>
                    <a:cubicBezTo>
                      <a:pt x="55" y="56"/>
                      <a:pt x="61" y="58"/>
                      <a:pt x="62" y="60"/>
                    </a:cubicBezTo>
                    <a:cubicBezTo>
                      <a:pt x="63" y="63"/>
                      <a:pt x="68" y="65"/>
                      <a:pt x="71" y="66"/>
                    </a:cubicBezTo>
                    <a:cubicBezTo>
                      <a:pt x="75" y="67"/>
                      <a:pt x="78" y="72"/>
                      <a:pt x="80" y="71"/>
                    </a:cubicBezTo>
                    <a:cubicBezTo>
                      <a:pt x="81" y="71"/>
                      <a:pt x="87" y="74"/>
                      <a:pt x="87" y="74"/>
                    </a:cubicBezTo>
                    <a:cubicBezTo>
                      <a:pt x="87" y="79"/>
                      <a:pt x="87" y="79"/>
                      <a:pt x="87" y="79"/>
                    </a:cubicBezTo>
                    <a:cubicBezTo>
                      <a:pt x="88" y="79"/>
                      <a:pt x="88" y="79"/>
                      <a:pt x="88" y="79"/>
                    </a:cubicBezTo>
                    <a:cubicBezTo>
                      <a:pt x="91" y="78"/>
                      <a:pt x="92" y="81"/>
                      <a:pt x="95" y="81"/>
                    </a:cubicBezTo>
                    <a:cubicBezTo>
                      <a:pt x="96" y="81"/>
                      <a:pt x="97" y="82"/>
                      <a:pt x="98" y="83"/>
                    </a:cubicBezTo>
                    <a:cubicBezTo>
                      <a:pt x="98" y="78"/>
                      <a:pt x="99" y="76"/>
                      <a:pt x="101" y="74"/>
                    </a:cubicBezTo>
                    <a:cubicBezTo>
                      <a:pt x="103" y="73"/>
                      <a:pt x="100" y="70"/>
                      <a:pt x="100" y="67"/>
                    </a:cubicBezTo>
                    <a:cubicBezTo>
                      <a:pt x="101" y="65"/>
                      <a:pt x="95" y="63"/>
                      <a:pt x="95" y="61"/>
                    </a:cubicBezTo>
                    <a:cubicBezTo>
                      <a:pt x="96" y="59"/>
                      <a:pt x="101" y="59"/>
                      <a:pt x="103" y="58"/>
                    </a:cubicBezTo>
                    <a:cubicBezTo>
                      <a:pt x="105" y="57"/>
                      <a:pt x="103" y="54"/>
                      <a:pt x="105" y="54"/>
                    </a:cubicBezTo>
                    <a:cubicBezTo>
                      <a:pt x="108" y="54"/>
                      <a:pt x="109" y="51"/>
                      <a:pt x="109" y="49"/>
                    </a:cubicBezTo>
                    <a:cubicBezTo>
                      <a:pt x="110" y="47"/>
                      <a:pt x="114" y="49"/>
                      <a:pt x="115" y="48"/>
                    </a:cubicBezTo>
                    <a:cubicBezTo>
                      <a:pt x="117" y="46"/>
                      <a:pt x="120" y="45"/>
                      <a:pt x="121" y="47"/>
                    </a:cubicBezTo>
                    <a:cubicBezTo>
                      <a:pt x="121" y="48"/>
                      <a:pt x="119" y="52"/>
                      <a:pt x="118" y="53"/>
                    </a:cubicBezTo>
                    <a:cubicBezTo>
                      <a:pt x="121" y="53"/>
                      <a:pt x="126" y="53"/>
                      <a:pt x="127" y="52"/>
                    </a:cubicBezTo>
                    <a:cubicBezTo>
                      <a:pt x="129" y="50"/>
                      <a:pt x="133" y="54"/>
                      <a:pt x="135" y="50"/>
                    </a:cubicBezTo>
                    <a:cubicBezTo>
                      <a:pt x="137" y="47"/>
                      <a:pt x="142" y="49"/>
                      <a:pt x="138" y="46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9" name="Freeform 147">
                <a:extLst>
                  <a:ext uri="{FF2B5EF4-FFF2-40B4-BE49-F238E27FC236}">
                    <a16:creationId xmlns:a16="http://schemas.microsoft.com/office/drawing/2014/main" id="{5C0B1A09-60E2-4736-B7C7-8BDE0C97268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15074" y="2098549"/>
                <a:ext cx="479305" cy="759109"/>
              </a:xfrm>
              <a:custGeom>
                <a:avLst/>
                <a:gdLst>
                  <a:gd name="T0" fmla="*/ 197 w 208"/>
                  <a:gd name="T1" fmla="*/ 172 h 329"/>
                  <a:gd name="T2" fmla="*/ 197 w 208"/>
                  <a:gd name="T3" fmla="*/ 162 h 329"/>
                  <a:gd name="T4" fmla="*/ 186 w 208"/>
                  <a:gd name="T5" fmla="*/ 161 h 329"/>
                  <a:gd name="T6" fmla="*/ 173 w 208"/>
                  <a:gd name="T7" fmla="*/ 160 h 329"/>
                  <a:gd name="T8" fmla="*/ 167 w 208"/>
                  <a:gd name="T9" fmla="*/ 159 h 329"/>
                  <a:gd name="T10" fmla="*/ 154 w 208"/>
                  <a:gd name="T11" fmla="*/ 162 h 329"/>
                  <a:gd name="T12" fmla="*/ 144 w 208"/>
                  <a:gd name="T13" fmla="*/ 173 h 329"/>
                  <a:gd name="T14" fmla="*/ 144 w 208"/>
                  <a:gd name="T15" fmla="*/ 161 h 329"/>
                  <a:gd name="T16" fmla="*/ 130 w 208"/>
                  <a:gd name="T17" fmla="*/ 170 h 329"/>
                  <a:gd name="T18" fmla="*/ 124 w 208"/>
                  <a:gd name="T19" fmla="*/ 172 h 329"/>
                  <a:gd name="T20" fmla="*/ 118 w 208"/>
                  <a:gd name="T21" fmla="*/ 171 h 329"/>
                  <a:gd name="T22" fmla="*/ 106 w 208"/>
                  <a:gd name="T23" fmla="*/ 179 h 329"/>
                  <a:gd name="T24" fmla="*/ 99 w 208"/>
                  <a:gd name="T25" fmla="*/ 185 h 329"/>
                  <a:gd name="T26" fmla="*/ 92 w 208"/>
                  <a:gd name="T27" fmla="*/ 189 h 329"/>
                  <a:gd name="T28" fmla="*/ 79 w 208"/>
                  <a:gd name="T29" fmla="*/ 192 h 329"/>
                  <a:gd name="T30" fmla="*/ 75 w 208"/>
                  <a:gd name="T31" fmla="*/ 199 h 329"/>
                  <a:gd name="T32" fmla="*/ 92 w 208"/>
                  <a:gd name="T33" fmla="*/ 199 h 329"/>
                  <a:gd name="T34" fmla="*/ 79 w 208"/>
                  <a:gd name="T35" fmla="*/ 208 h 329"/>
                  <a:gd name="T36" fmla="*/ 61 w 208"/>
                  <a:gd name="T37" fmla="*/ 228 h 329"/>
                  <a:gd name="T38" fmla="*/ 50 w 208"/>
                  <a:gd name="T39" fmla="*/ 243 h 329"/>
                  <a:gd name="T40" fmla="*/ 39 w 208"/>
                  <a:gd name="T41" fmla="*/ 257 h 329"/>
                  <a:gd name="T42" fmla="*/ 26 w 208"/>
                  <a:gd name="T43" fmla="*/ 267 h 329"/>
                  <a:gd name="T44" fmla="*/ 11 w 208"/>
                  <a:gd name="T45" fmla="*/ 276 h 329"/>
                  <a:gd name="T46" fmla="*/ 4 w 208"/>
                  <a:gd name="T47" fmla="*/ 288 h 329"/>
                  <a:gd name="T48" fmla="*/ 1 w 208"/>
                  <a:gd name="T49" fmla="*/ 303 h 329"/>
                  <a:gd name="T50" fmla="*/ 9 w 208"/>
                  <a:gd name="T51" fmla="*/ 308 h 329"/>
                  <a:gd name="T52" fmla="*/ 7 w 208"/>
                  <a:gd name="T53" fmla="*/ 313 h 329"/>
                  <a:gd name="T54" fmla="*/ 14 w 208"/>
                  <a:gd name="T55" fmla="*/ 326 h 329"/>
                  <a:gd name="T56" fmla="*/ 46 w 208"/>
                  <a:gd name="T57" fmla="*/ 311 h 329"/>
                  <a:gd name="T58" fmla="*/ 56 w 208"/>
                  <a:gd name="T59" fmla="*/ 314 h 329"/>
                  <a:gd name="T60" fmla="*/ 61 w 208"/>
                  <a:gd name="T61" fmla="*/ 294 h 329"/>
                  <a:gd name="T62" fmla="*/ 59 w 208"/>
                  <a:gd name="T63" fmla="*/ 268 h 329"/>
                  <a:gd name="T64" fmla="*/ 73 w 208"/>
                  <a:gd name="T65" fmla="*/ 250 h 329"/>
                  <a:gd name="T66" fmla="*/ 83 w 208"/>
                  <a:gd name="T67" fmla="*/ 227 h 329"/>
                  <a:gd name="T68" fmla="*/ 93 w 208"/>
                  <a:gd name="T69" fmla="*/ 206 h 329"/>
                  <a:gd name="T70" fmla="*/ 116 w 208"/>
                  <a:gd name="T71" fmla="*/ 195 h 329"/>
                  <a:gd name="T72" fmla="*/ 132 w 208"/>
                  <a:gd name="T73" fmla="*/ 184 h 329"/>
                  <a:gd name="T74" fmla="*/ 160 w 208"/>
                  <a:gd name="T75" fmla="*/ 192 h 329"/>
                  <a:gd name="T76" fmla="*/ 178 w 208"/>
                  <a:gd name="T77" fmla="*/ 174 h 329"/>
                  <a:gd name="T78" fmla="*/ 197 w 208"/>
                  <a:gd name="T79" fmla="*/ 182 h 329"/>
                  <a:gd name="T80" fmla="*/ 58 w 208"/>
                  <a:gd name="T81" fmla="*/ 24 h 329"/>
                  <a:gd name="T82" fmla="*/ 77 w 208"/>
                  <a:gd name="T83" fmla="*/ 35 h 329"/>
                  <a:gd name="T84" fmla="*/ 92 w 208"/>
                  <a:gd name="T85" fmla="*/ 38 h 329"/>
                  <a:gd name="T86" fmla="*/ 93 w 208"/>
                  <a:gd name="T87" fmla="*/ 49 h 329"/>
                  <a:gd name="T88" fmla="*/ 79 w 208"/>
                  <a:gd name="T89" fmla="*/ 62 h 329"/>
                  <a:gd name="T90" fmla="*/ 95 w 208"/>
                  <a:gd name="T91" fmla="*/ 68 h 329"/>
                  <a:gd name="T92" fmla="*/ 114 w 208"/>
                  <a:gd name="T93" fmla="*/ 37 h 329"/>
                  <a:gd name="T94" fmla="*/ 129 w 208"/>
                  <a:gd name="T95" fmla="*/ 45 h 329"/>
                  <a:gd name="T96" fmla="*/ 150 w 208"/>
                  <a:gd name="T97" fmla="*/ 54 h 329"/>
                  <a:gd name="T98" fmla="*/ 143 w 208"/>
                  <a:gd name="T99" fmla="*/ 43 h 329"/>
                  <a:gd name="T100" fmla="*/ 125 w 208"/>
                  <a:gd name="T101" fmla="*/ 28 h 329"/>
                  <a:gd name="T102" fmla="*/ 107 w 208"/>
                  <a:gd name="T103" fmla="*/ 18 h 329"/>
                  <a:gd name="T104" fmla="*/ 90 w 208"/>
                  <a:gd name="T105" fmla="*/ 9 h 329"/>
                  <a:gd name="T106" fmla="*/ 83 w 208"/>
                  <a:gd name="T107" fmla="*/ 18 h 329"/>
                  <a:gd name="T108" fmla="*/ 66 w 208"/>
                  <a:gd name="T109" fmla="*/ 17 h 329"/>
                  <a:gd name="T110" fmla="*/ 56 w 208"/>
                  <a:gd name="T111" fmla="*/ 14 h 329"/>
                  <a:gd name="T112" fmla="*/ 50 w 208"/>
                  <a:gd name="T113" fmla="*/ 38 h 329"/>
                  <a:gd name="T114" fmla="*/ 50 w 208"/>
                  <a:gd name="T115" fmla="*/ 38 h 329"/>
                  <a:gd name="T116" fmla="*/ 119 w 208"/>
                  <a:gd name="T117" fmla="*/ 19 h 329"/>
                  <a:gd name="T118" fmla="*/ 167 w 208"/>
                  <a:gd name="T119" fmla="*/ 18 h 329"/>
                  <a:gd name="T120" fmla="*/ 145 w 208"/>
                  <a:gd name="T121" fmla="*/ 7 h 329"/>
                  <a:gd name="T122" fmla="*/ 126 w 208"/>
                  <a:gd name="T123" fmla="*/ 6 h 329"/>
                  <a:gd name="T124" fmla="*/ 112 w 208"/>
                  <a:gd name="T125" fmla="*/ 7 h 3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08" h="329">
                    <a:moveTo>
                      <a:pt x="201" y="176"/>
                    </a:moveTo>
                    <a:cubicBezTo>
                      <a:pt x="201" y="178"/>
                      <a:pt x="198" y="178"/>
                      <a:pt x="198" y="176"/>
                    </a:cubicBezTo>
                    <a:cubicBezTo>
                      <a:pt x="198" y="174"/>
                      <a:pt x="193" y="173"/>
                      <a:pt x="193" y="172"/>
                    </a:cubicBezTo>
                    <a:cubicBezTo>
                      <a:pt x="192" y="171"/>
                      <a:pt x="195" y="171"/>
                      <a:pt x="197" y="172"/>
                    </a:cubicBezTo>
                    <a:cubicBezTo>
                      <a:pt x="199" y="173"/>
                      <a:pt x="200" y="173"/>
                      <a:pt x="202" y="170"/>
                    </a:cubicBezTo>
                    <a:cubicBezTo>
                      <a:pt x="204" y="168"/>
                      <a:pt x="207" y="170"/>
                      <a:pt x="208" y="168"/>
                    </a:cubicBezTo>
                    <a:cubicBezTo>
                      <a:pt x="208" y="167"/>
                      <a:pt x="204" y="165"/>
                      <a:pt x="203" y="164"/>
                    </a:cubicBezTo>
                    <a:cubicBezTo>
                      <a:pt x="203" y="163"/>
                      <a:pt x="200" y="162"/>
                      <a:pt x="197" y="162"/>
                    </a:cubicBezTo>
                    <a:cubicBezTo>
                      <a:pt x="195" y="163"/>
                      <a:pt x="195" y="162"/>
                      <a:pt x="193" y="160"/>
                    </a:cubicBezTo>
                    <a:cubicBezTo>
                      <a:pt x="191" y="159"/>
                      <a:pt x="187" y="161"/>
                      <a:pt x="187" y="165"/>
                    </a:cubicBezTo>
                    <a:cubicBezTo>
                      <a:pt x="187" y="168"/>
                      <a:pt x="184" y="167"/>
                      <a:pt x="185" y="165"/>
                    </a:cubicBezTo>
                    <a:cubicBezTo>
                      <a:pt x="186" y="163"/>
                      <a:pt x="183" y="161"/>
                      <a:pt x="186" y="161"/>
                    </a:cubicBezTo>
                    <a:cubicBezTo>
                      <a:pt x="188" y="160"/>
                      <a:pt x="187" y="157"/>
                      <a:pt x="182" y="156"/>
                    </a:cubicBezTo>
                    <a:cubicBezTo>
                      <a:pt x="178" y="156"/>
                      <a:pt x="176" y="160"/>
                      <a:pt x="177" y="161"/>
                    </a:cubicBezTo>
                    <a:cubicBezTo>
                      <a:pt x="179" y="162"/>
                      <a:pt x="174" y="167"/>
                      <a:pt x="173" y="167"/>
                    </a:cubicBezTo>
                    <a:cubicBezTo>
                      <a:pt x="171" y="167"/>
                      <a:pt x="173" y="163"/>
                      <a:pt x="173" y="160"/>
                    </a:cubicBezTo>
                    <a:cubicBezTo>
                      <a:pt x="173" y="158"/>
                      <a:pt x="171" y="159"/>
                      <a:pt x="168" y="163"/>
                    </a:cubicBezTo>
                    <a:cubicBezTo>
                      <a:pt x="164" y="167"/>
                      <a:pt x="162" y="170"/>
                      <a:pt x="160" y="171"/>
                    </a:cubicBezTo>
                    <a:cubicBezTo>
                      <a:pt x="158" y="171"/>
                      <a:pt x="158" y="167"/>
                      <a:pt x="161" y="166"/>
                    </a:cubicBezTo>
                    <a:cubicBezTo>
                      <a:pt x="165" y="164"/>
                      <a:pt x="165" y="159"/>
                      <a:pt x="167" y="159"/>
                    </a:cubicBezTo>
                    <a:cubicBezTo>
                      <a:pt x="169" y="159"/>
                      <a:pt x="169" y="157"/>
                      <a:pt x="166" y="156"/>
                    </a:cubicBezTo>
                    <a:cubicBezTo>
                      <a:pt x="163" y="156"/>
                      <a:pt x="162" y="159"/>
                      <a:pt x="161" y="160"/>
                    </a:cubicBezTo>
                    <a:cubicBezTo>
                      <a:pt x="160" y="161"/>
                      <a:pt x="155" y="158"/>
                      <a:pt x="156" y="159"/>
                    </a:cubicBezTo>
                    <a:cubicBezTo>
                      <a:pt x="156" y="160"/>
                      <a:pt x="153" y="160"/>
                      <a:pt x="154" y="162"/>
                    </a:cubicBezTo>
                    <a:cubicBezTo>
                      <a:pt x="155" y="164"/>
                      <a:pt x="154" y="166"/>
                      <a:pt x="152" y="163"/>
                    </a:cubicBezTo>
                    <a:cubicBezTo>
                      <a:pt x="151" y="161"/>
                      <a:pt x="148" y="163"/>
                      <a:pt x="147" y="165"/>
                    </a:cubicBezTo>
                    <a:cubicBezTo>
                      <a:pt x="145" y="168"/>
                      <a:pt x="143" y="168"/>
                      <a:pt x="145" y="168"/>
                    </a:cubicBezTo>
                    <a:cubicBezTo>
                      <a:pt x="146" y="169"/>
                      <a:pt x="146" y="172"/>
                      <a:pt x="144" y="173"/>
                    </a:cubicBezTo>
                    <a:cubicBezTo>
                      <a:pt x="142" y="174"/>
                      <a:pt x="143" y="167"/>
                      <a:pt x="141" y="168"/>
                    </a:cubicBezTo>
                    <a:cubicBezTo>
                      <a:pt x="139" y="168"/>
                      <a:pt x="140" y="165"/>
                      <a:pt x="143" y="165"/>
                    </a:cubicBezTo>
                    <a:cubicBezTo>
                      <a:pt x="145" y="165"/>
                      <a:pt x="147" y="161"/>
                      <a:pt x="147" y="161"/>
                    </a:cubicBezTo>
                    <a:cubicBezTo>
                      <a:pt x="147" y="159"/>
                      <a:pt x="144" y="159"/>
                      <a:pt x="144" y="161"/>
                    </a:cubicBezTo>
                    <a:cubicBezTo>
                      <a:pt x="144" y="163"/>
                      <a:pt x="141" y="163"/>
                      <a:pt x="138" y="163"/>
                    </a:cubicBezTo>
                    <a:cubicBezTo>
                      <a:pt x="135" y="162"/>
                      <a:pt x="135" y="166"/>
                      <a:pt x="138" y="168"/>
                    </a:cubicBezTo>
                    <a:cubicBezTo>
                      <a:pt x="141" y="170"/>
                      <a:pt x="138" y="171"/>
                      <a:pt x="136" y="170"/>
                    </a:cubicBezTo>
                    <a:cubicBezTo>
                      <a:pt x="134" y="168"/>
                      <a:pt x="132" y="169"/>
                      <a:pt x="130" y="170"/>
                    </a:cubicBezTo>
                    <a:cubicBezTo>
                      <a:pt x="128" y="170"/>
                      <a:pt x="134" y="173"/>
                      <a:pt x="134" y="174"/>
                    </a:cubicBezTo>
                    <a:cubicBezTo>
                      <a:pt x="135" y="175"/>
                      <a:pt x="131" y="172"/>
                      <a:pt x="130" y="173"/>
                    </a:cubicBezTo>
                    <a:cubicBezTo>
                      <a:pt x="130" y="174"/>
                      <a:pt x="126" y="173"/>
                      <a:pt x="126" y="171"/>
                    </a:cubicBezTo>
                    <a:cubicBezTo>
                      <a:pt x="126" y="169"/>
                      <a:pt x="121" y="171"/>
                      <a:pt x="124" y="172"/>
                    </a:cubicBezTo>
                    <a:cubicBezTo>
                      <a:pt x="127" y="173"/>
                      <a:pt x="126" y="175"/>
                      <a:pt x="126" y="177"/>
                    </a:cubicBezTo>
                    <a:cubicBezTo>
                      <a:pt x="126" y="180"/>
                      <a:pt x="122" y="178"/>
                      <a:pt x="123" y="176"/>
                    </a:cubicBezTo>
                    <a:cubicBezTo>
                      <a:pt x="123" y="173"/>
                      <a:pt x="121" y="174"/>
                      <a:pt x="118" y="175"/>
                    </a:cubicBezTo>
                    <a:cubicBezTo>
                      <a:pt x="116" y="177"/>
                      <a:pt x="119" y="173"/>
                      <a:pt x="118" y="171"/>
                    </a:cubicBezTo>
                    <a:cubicBezTo>
                      <a:pt x="117" y="169"/>
                      <a:pt x="115" y="171"/>
                      <a:pt x="112" y="171"/>
                    </a:cubicBezTo>
                    <a:cubicBezTo>
                      <a:pt x="110" y="172"/>
                      <a:pt x="108" y="172"/>
                      <a:pt x="110" y="173"/>
                    </a:cubicBezTo>
                    <a:cubicBezTo>
                      <a:pt x="111" y="175"/>
                      <a:pt x="111" y="178"/>
                      <a:pt x="109" y="177"/>
                    </a:cubicBezTo>
                    <a:cubicBezTo>
                      <a:pt x="107" y="177"/>
                      <a:pt x="106" y="177"/>
                      <a:pt x="106" y="179"/>
                    </a:cubicBezTo>
                    <a:cubicBezTo>
                      <a:pt x="107" y="181"/>
                      <a:pt x="104" y="181"/>
                      <a:pt x="104" y="179"/>
                    </a:cubicBezTo>
                    <a:cubicBezTo>
                      <a:pt x="103" y="178"/>
                      <a:pt x="99" y="178"/>
                      <a:pt x="98" y="180"/>
                    </a:cubicBezTo>
                    <a:cubicBezTo>
                      <a:pt x="97" y="182"/>
                      <a:pt x="94" y="183"/>
                      <a:pt x="94" y="186"/>
                    </a:cubicBezTo>
                    <a:cubicBezTo>
                      <a:pt x="94" y="188"/>
                      <a:pt x="97" y="185"/>
                      <a:pt x="99" y="185"/>
                    </a:cubicBezTo>
                    <a:cubicBezTo>
                      <a:pt x="101" y="186"/>
                      <a:pt x="99" y="187"/>
                      <a:pt x="100" y="188"/>
                    </a:cubicBezTo>
                    <a:cubicBezTo>
                      <a:pt x="101" y="189"/>
                      <a:pt x="101" y="192"/>
                      <a:pt x="99" y="190"/>
                    </a:cubicBezTo>
                    <a:cubicBezTo>
                      <a:pt x="98" y="189"/>
                      <a:pt x="96" y="188"/>
                      <a:pt x="95" y="191"/>
                    </a:cubicBezTo>
                    <a:cubicBezTo>
                      <a:pt x="95" y="193"/>
                      <a:pt x="93" y="190"/>
                      <a:pt x="92" y="189"/>
                    </a:cubicBezTo>
                    <a:cubicBezTo>
                      <a:pt x="90" y="187"/>
                      <a:pt x="89" y="192"/>
                      <a:pt x="87" y="191"/>
                    </a:cubicBezTo>
                    <a:cubicBezTo>
                      <a:pt x="86" y="190"/>
                      <a:pt x="90" y="186"/>
                      <a:pt x="89" y="184"/>
                    </a:cubicBezTo>
                    <a:cubicBezTo>
                      <a:pt x="88" y="182"/>
                      <a:pt x="87" y="185"/>
                      <a:pt x="84" y="188"/>
                    </a:cubicBezTo>
                    <a:cubicBezTo>
                      <a:pt x="82" y="191"/>
                      <a:pt x="78" y="190"/>
                      <a:pt x="79" y="192"/>
                    </a:cubicBezTo>
                    <a:cubicBezTo>
                      <a:pt x="81" y="193"/>
                      <a:pt x="77" y="194"/>
                      <a:pt x="76" y="196"/>
                    </a:cubicBezTo>
                    <a:cubicBezTo>
                      <a:pt x="75" y="198"/>
                      <a:pt x="70" y="199"/>
                      <a:pt x="66" y="202"/>
                    </a:cubicBezTo>
                    <a:cubicBezTo>
                      <a:pt x="62" y="204"/>
                      <a:pt x="67" y="204"/>
                      <a:pt x="69" y="202"/>
                    </a:cubicBezTo>
                    <a:cubicBezTo>
                      <a:pt x="71" y="200"/>
                      <a:pt x="72" y="201"/>
                      <a:pt x="75" y="199"/>
                    </a:cubicBezTo>
                    <a:cubicBezTo>
                      <a:pt x="78" y="197"/>
                      <a:pt x="81" y="195"/>
                      <a:pt x="83" y="196"/>
                    </a:cubicBezTo>
                    <a:cubicBezTo>
                      <a:pt x="84" y="197"/>
                      <a:pt x="86" y="197"/>
                      <a:pt x="87" y="195"/>
                    </a:cubicBezTo>
                    <a:cubicBezTo>
                      <a:pt x="89" y="193"/>
                      <a:pt x="91" y="194"/>
                      <a:pt x="92" y="195"/>
                    </a:cubicBezTo>
                    <a:cubicBezTo>
                      <a:pt x="94" y="196"/>
                      <a:pt x="90" y="197"/>
                      <a:pt x="92" y="199"/>
                    </a:cubicBezTo>
                    <a:cubicBezTo>
                      <a:pt x="94" y="201"/>
                      <a:pt x="89" y="202"/>
                      <a:pt x="89" y="200"/>
                    </a:cubicBezTo>
                    <a:cubicBezTo>
                      <a:pt x="89" y="199"/>
                      <a:pt x="87" y="197"/>
                      <a:pt x="86" y="199"/>
                    </a:cubicBezTo>
                    <a:cubicBezTo>
                      <a:pt x="85" y="200"/>
                      <a:pt x="84" y="202"/>
                      <a:pt x="82" y="202"/>
                    </a:cubicBezTo>
                    <a:cubicBezTo>
                      <a:pt x="81" y="202"/>
                      <a:pt x="79" y="205"/>
                      <a:pt x="79" y="208"/>
                    </a:cubicBezTo>
                    <a:cubicBezTo>
                      <a:pt x="79" y="211"/>
                      <a:pt x="76" y="208"/>
                      <a:pt x="76" y="211"/>
                    </a:cubicBezTo>
                    <a:cubicBezTo>
                      <a:pt x="76" y="213"/>
                      <a:pt x="72" y="217"/>
                      <a:pt x="69" y="221"/>
                    </a:cubicBezTo>
                    <a:cubicBezTo>
                      <a:pt x="65" y="224"/>
                      <a:pt x="69" y="225"/>
                      <a:pt x="67" y="227"/>
                    </a:cubicBezTo>
                    <a:cubicBezTo>
                      <a:pt x="66" y="229"/>
                      <a:pt x="62" y="227"/>
                      <a:pt x="61" y="228"/>
                    </a:cubicBezTo>
                    <a:cubicBezTo>
                      <a:pt x="60" y="229"/>
                      <a:pt x="62" y="234"/>
                      <a:pt x="60" y="235"/>
                    </a:cubicBezTo>
                    <a:cubicBezTo>
                      <a:pt x="58" y="237"/>
                      <a:pt x="60" y="239"/>
                      <a:pt x="60" y="241"/>
                    </a:cubicBezTo>
                    <a:cubicBezTo>
                      <a:pt x="60" y="242"/>
                      <a:pt x="55" y="239"/>
                      <a:pt x="55" y="241"/>
                    </a:cubicBezTo>
                    <a:cubicBezTo>
                      <a:pt x="55" y="243"/>
                      <a:pt x="51" y="243"/>
                      <a:pt x="50" y="243"/>
                    </a:cubicBezTo>
                    <a:cubicBezTo>
                      <a:pt x="48" y="243"/>
                      <a:pt x="52" y="246"/>
                      <a:pt x="54" y="248"/>
                    </a:cubicBezTo>
                    <a:cubicBezTo>
                      <a:pt x="56" y="250"/>
                      <a:pt x="52" y="251"/>
                      <a:pt x="52" y="249"/>
                    </a:cubicBezTo>
                    <a:cubicBezTo>
                      <a:pt x="51" y="247"/>
                      <a:pt x="48" y="250"/>
                      <a:pt x="44" y="252"/>
                    </a:cubicBezTo>
                    <a:cubicBezTo>
                      <a:pt x="41" y="254"/>
                      <a:pt x="42" y="257"/>
                      <a:pt x="39" y="257"/>
                    </a:cubicBezTo>
                    <a:cubicBezTo>
                      <a:pt x="37" y="257"/>
                      <a:pt x="37" y="262"/>
                      <a:pt x="36" y="263"/>
                    </a:cubicBezTo>
                    <a:cubicBezTo>
                      <a:pt x="34" y="265"/>
                      <a:pt x="34" y="260"/>
                      <a:pt x="31" y="260"/>
                    </a:cubicBezTo>
                    <a:cubicBezTo>
                      <a:pt x="28" y="260"/>
                      <a:pt x="28" y="262"/>
                      <a:pt x="30" y="264"/>
                    </a:cubicBezTo>
                    <a:cubicBezTo>
                      <a:pt x="32" y="267"/>
                      <a:pt x="27" y="265"/>
                      <a:pt x="26" y="267"/>
                    </a:cubicBezTo>
                    <a:cubicBezTo>
                      <a:pt x="24" y="269"/>
                      <a:pt x="19" y="268"/>
                      <a:pt x="18" y="270"/>
                    </a:cubicBezTo>
                    <a:cubicBezTo>
                      <a:pt x="17" y="272"/>
                      <a:pt x="22" y="272"/>
                      <a:pt x="22" y="273"/>
                    </a:cubicBezTo>
                    <a:cubicBezTo>
                      <a:pt x="23" y="274"/>
                      <a:pt x="18" y="274"/>
                      <a:pt x="15" y="273"/>
                    </a:cubicBezTo>
                    <a:cubicBezTo>
                      <a:pt x="13" y="273"/>
                      <a:pt x="14" y="276"/>
                      <a:pt x="11" y="276"/>
                    </a:cubicBezTo>
                    <a:cubicBezTo>
                      <a:pt x="9" y="275"/>
                      <a:pt x="6" y="278"/>
                      <a:pt x="7" y="280"/>
                    </a:cubicBezTo>
                    <a:cubicBezTo>
                      <a:pt x="9" y="281"/>
                      <a:pt x="6" y="282"/>
                      <a:pt x="4" y="280"/>
                    </a:cubicBezTo>
                    <a:cubicBezTo>
                      <a:pt x="3" y="279"/>
                      <a:pt x="1" y="282"/>
                      <a:pt x="1" y="284"/>
                    </a:cubicBezTo>
                    <a:cubicBezTo>
                      <a:pt x="0" y="286"/>
                      <a:pt x="4" y="287"/>
                      <a:pt x="4" y="288"/>
                    </a:cubicBezTo>
                    <a:cubicBezTo>
                      <a:pt x="4" y="289"/>
                      <a:pt x="1" y="291"/>
                      <a:pt x="3" y="291"/>
                    </a:cubicBezTo>
                    <a:cubicBezTo>
                      <a:pt x="5" y="292"/>
                      <a:pt x="4" y="293"/>
                      <a:pt x="2" y="294"/>
                    </a:cubicBezTo>
                    <a:cubicBezTo>
                      <a:pt x="1" y="295"/>
                      <a:pt x="1" y="296"/>
                      <a:pt x="2" y="298"/>
                    </a:cubicBezTo>
                    <a:cubicBezTo>
                      <a:pt x="4" y="300"/>
                      <a:pt x="0" y="300"/>
                      <a:pt x="1" y="303"/>
                    </a:cubicBezTo>
                    <a:cubicBezTo>
                      <a:pt x="3" y="305"/>
                      <a:pt x="5" y="302"/>
                      <a:pt x="6" y="304"/>
                    </a:cubicBezTo>
                    <a:cubicBezTo>
                      <a:pt x="6" y="306"/>
                      <a:pt x="9" y="304"/>
                      <a:pt x="11" y="302"/>
                    </a:cubicBezTo>
                    <a:cubicBezTo>
                      <a:pt x="14" y="300"/>
                      <a:pt x="15" y="304"/>
                      <a:pt x="13" y="304"/>
                    </a:cubicBezTo>
                    <a:cubicBezTo>
                      <a:pt x="11" y="304"/>
                      <a:pt x="8" y="306"/>
                      <a:pt x="9" y="308"/>
                    </a:cubicBezTo>
                    <a:cubicBezTo>
                      <a:pt x="9" y="310"/>
                      <a:pt x="5" y="309"/>
                      <a:pt x="5" y="307"/>
                    </a:cubicBezTo>
                    <a:cubicBezTo>
                      <a:pt x="6" y="304"/>
                      <a:pt x="1" y="307"/>
                      <a:pt x="3" y="309"/>
                    </a:cubicBezTo>
                    <a:cubicBezTo>
                      <a:pt x="4" y="311"/>
                      <a:pt x="2" y="312"/>
                      <a:pt x="2" y="314"/>
                    </a:cubicBezTo>
                    <a:cubicBezTo>
                      <a:pt x="2" y="316"/>
                      <a:pt x="5" y="315"/>
                      <a:pt x="7" y="313"/>
                    </a:cubicBezTo>
                    <a:cubicBezTo>
                      <a:pt x="8" y="311"/>
                      <a:pt x="10" y="312"/>
                      <a:pt x="11" y="314"/>
                    </a:cubicBezTo>
                    <a:cubicBezTo>
                      <a:pt x="12" y="316"/>
                      <a:pt x="9" y="314"/>
                      <a:pt x="9" y="317"/>
                    </a:cubicBezTo>
                    <a:cubicBezTo>
                      <a:pt x="9" y="320"/>
                      <a:pt x="7" y="317"/>
                      <a:pt x="6" y="320"/>
                    </a:cubicBezTo>
                    <a:cubicBezTo>
                      <a:pt x="4" y="322"/>
                      <a:pt x="12" y="326"/>
                      <a:pt x="14" y="326"/>
                    </a:cubicBezTo>
                    <a:cubicBezTo>
                      <a:pt x="16" y="327"/>
                      <a:pt x="19" y="329"/>
                      <a:pt x="23" y="329"/>
                    </a:cubicBezTo>
                    <a:cubicBezTo>
                      <a:pt x="28" y="328"/>
                      <a:pt x="37" y="319"/>
                      <a:pt x="38" y="318"/>
                    </a:cubicBezTo>
                    <a:cubicBezTo>
                      <a:pt x="40" y="316"/>
                      <a:pt x="42" y="318"/>
                      <a:pt x="44" y="316"/>
                    </a:cubicBezTo>
                    <a:cubicBezTo>
                      <a:pt x="46" y="315"/>
                      <a:pt x="45" y="311"/>
                      <a:pt x="46" y="311"/>
                    </a:cubicBezTo>
                    <a:cubicBezTo>
                      <a:pt x="47" y="310"/>
                      <a:pt x="48" y="315"/>
                      <a:pt x="49" y="315"/>
                    </a:cubicBezTo>
                    <a:cubicBezTo>
                      <a:pt x="50" y="315"/>
                      <a:pt x="51" y="316"/>
                      <a:pt x="51" y="319"/>
                    </a:cubicBezTo>
                    <a:cubicBezTo>
                      <a:pt x="52" y="319"/>
                      <a:pt x="53" y="319"/>
                      <a:pt x="54" y="319"/>
                    </a:cubicBezTo>
                    <a:cubicBezTo>
                      <a:pt x="55" y="320"/>
                      <a:pt x="56" y="315"/>
                      <a:pt x="56" y="314"/>
                    </a:cubicBezTo>
                    <a:cubicBezTo>
                      <a:pt x="56" y="312"/>
                      <a:pt x="57" y="309"/>
                      <a:pt x="57" y="307"/>
                    </a:cubicBezTo>
                    <a:cubicBezTo>
                      <a:pt x="56" y="305"/>
                      <a:pt x="61" y="307"/>
                      <a:pt x="62" y="305"/>
                    </a:cubicBezTo>
                    <a:cubicBezTo>
                      <a:pt x="63" y="304"/>
                      <a:pt x="63" y="298"/>
                      <a:pt x="62" y="298"/>
                    </a:cubicBezTo>
                    <a:cubicBezTo>
                      <a:pt x="60" y="297"/>
                      <a:pt x="60" y="294"/>
                      <a:pt x="61" y="294"/>
                    </a:cubicBezTo>
                    <a:cubicBezTo>
                      <a:pt x="63" y="294"/>
                      <a:pt x="65" y="293"/>
                      <a:pt x="64" y="290"/>
                    </a:cubicBezTo>
                    <a:cubicBezTo>
                      <a:pt x="64" y="287"/>
                      <a:pt x="59" y="287"/>
                      <a:pt x="59" y="284"/>
                    </a:cubicBezTo>
                    <a:cubicBezTo>
                      <a:pt x="59" y="281"/>
                      <a:pt x="61" y="280"/>
                      <a:pt x="59" y="276"/>
                    </a:cubicBezTo>
                    <a:cubicBezTo>
                      <a:pt x="57" y="272"/>
                      <a:pt x="60" y="270"/>
                      <a:pt x="59" y="268"/>
                    </a:cubicBezTo>
                    <a:cubicBezTo>
                      <a:pt x="59" y="266"/>
                      <a:pt x="58" y="264"/>
                      <a:pt x="60" y="260"/>
                    </a:cubicBezTo>
                    <a:cubicBezTo>
                      <a:pt x="62" y="256"/>
                      <a:pt x="67" y="255"/>
                      <a:pt x="68" y="255"/>
                    </a:cubicBezTo>
                    <a:cubicBezTo>
                      <a:pt x="70" y="255"/>
                      <a:pt x="72" y="257"/>
                      <a:pt x="73" y="255"/>
                    </a:cubicBezTo>
                    <a:cubicBezTo>
                      <a:pt x="75" y="252"/>
                      <a:pt x="75" y="250"/>
                      <a:pt x="73" y="250"/>
                    </a:cubicBezTo>
                    <a:cubicBezTo>
                      <a:pt x="72" y="250"/>
                      <a:pt x="69" y="249"/>
                      <a:pt x="72" y="246"/>
                    </a:cubicBezTo>
                    <a:cubicBezTo>
                      <a:pt x="74" y="243"/>
                      <a:pt x="77" y="239"/>
                      <a:pt x="77" y="235"/>
                    </a:cubicBezTo>
                    <a:cubicBezTo>
                      <a:pt x="77" y="232"/>
                      <a:pt x="76" y="229"/>
                      <a:pt x="77" y="228"/>
                    </a:cubicBezTo>
                    <a:cubicBezTo>
                      <a:pt x="78" y="227"/>
                      <a:pt x="81" y="228"/>
                      <a:pt x="83" y="227"/>
                    </a:cubicBezTo>
                    <a:cubicBezTo>
                      <a:pt x="86" y="225"/>
                      <a:pt x="84" y="223"/>
                      <a:pt x="85" y="222"/>
                    </a:cubicBezTo>
                    <a:cubicBezTo>
                      <a:pt x="86" y="221"/>
                      <a:pt x="88" y="217"/>
                      <a:pt x="89" y="216"/>
                    </a:cubicBezTo>
                    <a:cubicBezTo>
                      <a:pt x="91" y="215"/>
                      <a:pt x="92" y="213"/>
                      <a:pt x="91" y="212"/>
                    </a:cubicBezTo>
                    <a:cubicBezTo>
                      <a:pt x="90" y="210"/>
                      <a:pt x="93" y="209"/>
                      <a:pt x="93" y="206"/>
                    </a:cubicBezTo>
                    <a:cubicBezTo>
                      <a:pt x="93" y="203"/>
                      <a:pt x="97" y="201"/>
                      <a:pt x="99" y="201"/>
                    </a:cubicBezTo>
                    <a:cubicBezTo>
                      <a:pt x="102" y="201"/>
                      <a:pt x="106" y="201"/>
                      <a:pt x="106" y="199"/>
                    </a:cubicBezTo>
                    <a:cubicBezTo>
                      <a:pt x="106" y="197"/>
                      <a:pt x="104" y="192"/>
                      <a:pt x="107" y="193"/>
                    </a:cubicBezTo>
                    <a:cubicBezTo>
                      <a:pt x="111" y="195"/>
                      <a:pt x="114" y="193"/>
                      <a:pt x="116" y="195"/>
                    </a:cubicBezTo>
                    <a:cubicBezTo>
                      <a:pt x="118" y="197"/>
                      <a:pt x="121" y="196"/>
                      <a:pt x="121" y="193"/>
                    </a:cubicBezTo>
                    <a:cubicBezTo>
                      <a:pt x="121" y="190"/>
                      <a:pt x="122" y="185"/>
                      <a:pt x="126" y="187"/>
                    </a:cubicBezTo>
                    <a:cubicBezTo>
                      <a:pt x="126" y="187"/>
                      <a:pt x="126" y="188"/>
                      <a:pt x="127" y="188"/>
                    </a:cubicBezTo>
                    <a:cubicBezTo>
                      <a:pt x="128" y="185"/>
                      <a:pt x="130" y="184"/>
                      <a:pt x="132" y="184"/>
                    </a:cubicBezTo>
                    <a:cubicBezTo>
                      <a:pt x="135" y="184"/>
                      <a:pt x="137" y="190"/>
                      <a:pt x="141" y="190"/>
                    </a:cubicBezTo>
                    <a:cubicBezTo>
                      <a:pt x="145" y="191"/>
                      <a:pt x="148" y="193"/>
                      <a:pt x="149" y="191"/>
                    </a:cubicBezTo>
                    <a:cubicBezTo>
                      <a:pt x="151" y="189"/>
                      <a:pt x="153" y="192"/>
                      <a:pt x="156" y="191"/>
                    </a:cubicBezTo>
                    <a:cubicBezTo>
                      <a:pt x="158" y="190"/>
                      <a:pt x="158" y="195"/>
                      <a:pt x="160" y="192"/>
                    </a:cubicBezTo>
                    <a:cubicBezTo>
                      <a:pt x="162" y="189"/>
                      <a:pt x="160" y="187"/>
                      <a:pt x="164" y="188"/>
                    </a:cubicBezTo>
                    <a:cubicBezTo>
                      <a:pt x="167" y="188"/>
                      <a:pt x="165" y="183"/>
                      <a:pt x="165" y="181"/>
                    </a:cubicBezTo>
                    <a:cubicBezTo>
                      <a:pt x="165" y="178"/>
                      <a:pt x="170" y="178"/>
                      <a:pt x="170" y="175"/>
                    </a:cubicBezTo>
                    <a:cubicBezTo>
                      <a:pt x="170" y="173"/>
                      <a:pt x="177" y="175"/>
                      <a:pt x="178" y="174"/>
                    </a:cubicBezTo>
                    <a:cubicBezTo>
                      <a:pt x="179" y="172"/>
                      <a:pt x="183" y="171"/>
                      <a:pt x="185" y="174"/>
                    </a:cubicBezTo>
                    <a:cubicBezTo>
                      <a:pt x="186" y="176"/>
                      <a:pt x="193" y="177"/>
                      <a:pt x="193" y="179"/>
                    </a:cubicBezTo>
                    <a:cubicBezTo>
                      <a:pt x="193" y="180"/>
                      <a:pt x="193" y="182"/>
                      <a:pt x="193" y="184"/>
                    </a:cubicBezTo>
                    <a:cubicBezTo>
                      <a:pt x="194" y="183"/>
                      <a:pt x="195" y="182"/>
                      <a:pt x="197" y="182"/>
                    </a:cubicBezTo>
                    <a:cubicBezTo>
                      <a:pt x="199" y="182"/>
                      <a:pt x="201" y="178"/>
                      <a:pt x="203" y="179"/>
                    </a:cubicBezTo>
                    <a:cubicBezTo>
                      <a:pt x="205" y="179"/>
                      <a:pt x="207" y="179"/>
                      <a:pt x="207" y="176"/>
                    </a:cubicBezTo>
                    <a:cubicBezTo>
                      <a:pt x="206" y="175"/>
                      <a:pt x="202" y="175"/>
                      <a:pt x="201" y="176"/>
                    </a:cubicBezTo>
                    <a:close/>
                    <a:moveTo>
                      <a:pt x="58" y="24"/>
                    </a:moveTo>
                    <a:cubicBezTo>
                      <a:pt x="61" y="24"/>
                      <a:pt x="54" y="28"/>
                      <a:pt x="53" y="32"/>
                    </a:cubicBezTo>
                    <a:cubicBezTo>
                      <a:pt x="52" y="35"/>
                      <a:pt x="58" y="38"/>
                      <a:pt x="61" y="41"/>
                    </a:cubicBezTo>
                    <a:cubicBezTo>
                      <a:pt x="64" y="43"/>
                      <a:pt x="70" y="43"/>
                      <a:pt x="72" y="41"/>
                    </a:cubicBezTo>
                    <a:cubicBezTo>
                      <a:pt x="75" y="40"/>
                      <a:pt x="74" y="35"/>
                      <a:pt x="77" y="35"/>
                    </a:cubicBezTo>
                    <a:cubicBezTo>
                      <a:pt x="80" y="35"/>
                      <a:pt x="79" y="32"/>
                      <a:pt x="81" y="31"/>
                    </a:cubicBezTo>
                    <a:cubicBezTo>
                      <a:pt x="84" y="31"/>
                      <a:pt x="84" y="34"/>
                      <a:pt x="82" y="36"/>
                    </a:cubicBezTo>
                    <a:cubicBezTo>
                      <a:pt x="80" y="39"/>
                      <a:pt x="85" y="39"/>
                      <a:pt x="89" y="36"/>
                    </a:cubicBezTo>
                    <a:cubicBezTo>
                      <a:pt x="92" y="33"/>
                      <a:pt x="93" y="35"/>
                      <a:pt x="92" y="38"/>
                    </a:cubicBezTo>
                    <a:cubicBezTo>
                      <a:pt x="91" y="41"/>
                      <a:pt x="85" y="39"/>
                      <a:pt x="82" y="43"/>
                    </a:cubicBezTo>
                    <a:cubicBezTo>
                      <a:pt x="80" y="46"/>
                      <a:pt x="73" y="43"/>
                      <a:pt x="70" y="47"/>
                    </a:cubicBezTo>
                    <a:cubicBezTo>
                      <a:pt x="66" y="51"/>
                      <a:pt x="72" y="51"/>
                      <a:pt x="77" y="50"/>
                    </a:cubicBezTo>
                    <a:cubicBezTo>
                      <a:pt x="81" y="49"/>
                      <a:pt x="90" y="48"/>
                      <a:pt x="93" y="49"/>
                    </a:cubicBezTo>
                    <a:cubicBezTo>
                      <a:pt x="96" y="50"/>
                      <a:pt x="91" y="51"/>
                      <a:pt x="86" y="51"/>
                    </a:cubicBezTo>
                    <a:cubicBezTo>
                      <a:pt x="80" y="51"/>
                      <a:pt x="79" y="52"/>
                      <a:pt x="79" y="54"/>
                    </a:cubicBezTo>
                    <a:cubicBezTo>
                      <a:pt x="79" y="55"/>
                      <a:pt x="71" y="52"/>
                      <a:pt x="71" y="56"/>
                    </a:cubicBezTo>
                    <a:cubicBezTo>
                      <a:pt x="71" y="59"/>
                      <a:pt x="78" y="60"/>
                      <a:pt x="79" y="62"/>
                    </a:cubicBezTo>
                    <a:cubicBezTo>
                      <a:pt x="80" y="64"/>
                      <a:pt x="85" y="62"/>
                      <a:pt x="87" y="63"/>
                    </a:cubicBezTo>
                    <a:cubicBezTo>
                      <a:pt x="89" y="64"/>
                      <a:pt x="84" y="65"/>
                      <a:pt x="83" y="66"/>
                    </a:cubicBezTo>
                    <a:cubicBezTo>
                      <a:pt x="82" y="67"/>
                      <a:pt x="88" y="68"/>
                      <a:pt x="89" y="70"/>
                    </a:cubicBezTo>
                    <a:cubicBezTo>
                      <a:pt x="90" y="72"/>
                      <a:pt x="95" y="71"/>
                      <a:pt x="95" y="68"/>
                    </a:cubicBezTo>
                    <a:cubicBezTo>
                      <a:pt x="95" y="65"/>
                      <a:pt x="99" y="56"/>
                      <a:pt x="104" y="54"/>
                    </a:cubicBezTo>
                    <a:cubicBezTo>
                      <a:pt x="109" y="52"/>
                      <a:pt x="106" y="50"/>
                      <a:pt x="107" y="47"/>
                    </a:cubicBezTo>
                    <a:cubicBezTo>
                      <a:pt x="108" y="44"/>
                      <a:pt x="112" y="46"/>
                      <a:pt x="111" y="44"/>
                    </a:cubicBezTo>
                    <a:cubicBezTo>
                      <a:pt x="110" y="41"/>
                      <a:pt x="110" y="40"/>
                      <a:pt x="114" y="37"/>
                    </a:cubicBezTo>
                    <a:cubicBezTo>
                      <a:pt x="117" y="34"/>
                      <a:pt x="119" y="36"/>
                      <a:pt x="123" y="34"/>
                    </a:cubicBezTo>
                    <a:cubicBezTo>
                      <a:pt x="127" y="32"/>
                      <a:pt x="129" y="36"/>
                      <a:pt x="125" y="36"/>
                    </a:cubicBezTo>
                    <a:cubicBezTo>
                      <a:pt x="121" y="36"/>
                      <a:pt x="123" y="41"/>
                      <a:pt x="126" y="42"/>
                    </a:cubicBezTo>
                    <a:cubicBezTo>
                      <a:pt x="129" y="43"/>
                      <a:pt x="127" y="44"/>
                      <a:pt x="129" y="45"/>
                    </a:cubicBezTo>
                    <a:cubicBezTo>
                      <a:pt x="132" y="46"/>
                      <a:pt x="131" y="49"/>
                      <a:pt x="128" y="53"/>
                    </a:cubicBezTo>
                    <a:cubicBezTo>
                      <a:pt x="124" y="56"/>
                      <a:pt x="128" y="57"/>
                      <a:pt x="135" y="54"/>
                    </a:cubicBezTo>
                    <a:cubicBezTo>
                      <a:pt x="142" y="52"/>
                      <a:pt x="138" y="56"/>
                      <a:pt x="140" y="58"/>
                    </a:cubicBezTo>
                    <a:cubicBezTo>
                      <a:pt x="142" y="60"/>
                      <a:pt x="147" y="57"/>
                      <a:pt x="150" y="54"/>
                    </a:cubicBezTo>
                    <a:cubicBezTo>
                      <a:pt x="153" y="50"/>
                      <a:pt x="157" y="51"/>
                      <a:pt x="157" y="49"/>
                    </a:cubicBezTo>
                    <a:cubicBezTo>
                      <a:pt x="157" y="47"/>
                      <a:pt x="154" y="46"/>
                      <a:pt x="151" y="47"/>
                    </a:cubicBezTo>
                    <a:cubicBezTo>
                      <a:pt x="149" y="49"/>
                      <a:pt x="142" y="48"/>
                      <a:pt x="145" y="46"/>
                    </a:cubicBezTo>
                    <a:cubicBezTo>
                      <a:pt x="147" y="44"/>
                      <a:pt x="146" y="42"/>
                      <a:pt x="143" y="43"/>
                    </a:cubicBezTo>
                    <a:cubicBezTo>
                      <a:pt x="140" y="43"/>
                      <a:pt x="134" y="41"/>
                      <a:pt x="137" y="40"/>
                    </a:cubicBezTo>
                    <a:cubicBezTo>
                      <a:pt x="140" y="39"/>
                      <a:pt x="135" y="36"/>
                      <a:pt x="132" y="36"/>
                    </a:cubicBezTo>
                    <a:cubicBezTo>
                      <a:pt x="130" y="36"/>
                      <a:pt x="131" y="33"/>
                      <a:pt x="131" y="31"/>
                    </a:cubicBezTo>
                    <a:cubicBezTo>
                      <a:pt x="131" y="29"/>
                      <a:pt x="124" y="28"/>
                      <a:pt x="125" y="28"/>
                    </a:cubicBezTo>
                    <a:cubicBezTo>
                      <a:pt x="127" y="27"/>
                      <a:pt x="122" y="25"/>
                      <a:pt x="121" y="27"/>
                    </a:cubicBezTo>
                    <a:cubicBezTo>
                      <a:pt x="120" y="28"/>
                      <a:pt x="118" y="28"/>
                      <a:pt x="118" y="26"/>
                    </a:cubicBezTo>
                    <a:cubicBezTo>
                      <a:pt x="118" y="24"/>
                      <a:pt x="112" y="24"/>
                      <a:pt x="110" y="24"/>
                    </a:cubicBezTo>
                    <a:cubicBezTo>
                      <a:pt x="108" y="24"/>
                      <a:pt x="109" y="20"/>
                      <a:pt x="107" y="18"/>
                    </a:cubicBezTo>
                    <a:cubicBezTo>
                      <a:pt x="105" y="16"/>
                      <a:pt x="102" y="21"/>
                      <a:pt x="100" y="21"/>
                    </a:cubicBezTo>
                    <a:cubicBezTo>
                      <a:pt x="99" y="21"/>
                      <a:pt x="102" y="17"/>
                      <a:pt x="103" y="15"/>
                    </a:cubicBezTo>
                    <a:cubicBezTo>
                      <a:pt x="104" y="13"/>
                      <a:pt x="95" y="10"/>
                      <a:pt x="94" y="12"/>
                    </a:cubicBezTo>
                    <a:cubicBezTo>
                      <a:pt x="93" y="14"/>
                      <a:pt x="92" y="9"/>
                      <a:pt x="90" y="9"/>
                    </a:cubicBezTo>
                    <a:cubicBezTo>
                      <a:pt x="88" y="8"/>
                      <a:pt x="90" y="12"/>
                      <a:pt x="88" y="13"/>
                    </a:cubicBezTo>
                    <a:cubicBezTo>
                      <a:pt x="86" y="13"/>
                      <a:pt x="84" y="14"/>
                      <a:pt x="87" y="16"/>
                    </a:cubicBezTo>
                    <a:cubicBezTo>
                      <a:pt x="90" y="18"/>
                      <a:pt x="92" y="27"/>
                      <a:pt x="92" y="28"/>
                    </a:cubicBezTo>
                    <a:cubicBezTo>
                      <a:pt x="92" y="30"/>
                      <a:pt x="83" y="22"/>
                      <a:pt x="83" y="18"/>
                    </a:cubicBezTo>
                    <a:cubicBezTo>
                      <a:pt x="83" y="14"/>
                      <a:pt x="79" y="11"/>
                      <a:pt x="77" y="14"/>
                    </a:cubicBezTo>
                    <a:cubicBezTo>
                      <a:pt x="76" y="17"/>
                      <a:pt x="73" y="18"/>
                      <a:pt x="74" y="21"/>
                    </a:cubicBezTo>
                    <a:cubicBezTo>
                      <a:pt x="75" y="23"/>
                      <a:pt x="72" y="24"/>
                      <a:pt x="72" y="22"/>
                    </a:cubicBezTo>
                    <a:cubicBezTo>
                      <a:pt x="72" y="20"/>
                      <a:pt x="68" y="17"/>
                      <a:pt x="66" y="17"/>
                    </a:cubicBezTo>
                    <a:cubicBezTo>
                      <a:pt x="64" y="17"/>
                      <a:pt x="70" y="16"/>
                      <a:pt x="73" y="15"/>
                    </a:cubicBezTo>
                    <a:cubicBezTo>
                      <a:pt x="76" y="13"/>
                      <a:pt x="71" y="12"/>
                      <a:pt x="68" y="13"/>
                    </a:cubicBezTo>
                    <a:cubicBezTo>
                      <a:pt x="66" y="14"/>
                      <a:pt x="63" y="12"/>
                      <a:pt x="61" y="14"/>
                    </a:cubicBezTo>
                    <a:cubicBezTo>
                      <a:pt x="60" y="16"/>
                      <a:pt x="58" y="14"/>
                      <a:pt x="56" y="14"/>
                    </a:cubicBezTo>
                    <a:cubicBezTo>
                      <a:pt x="53" y="13"/>
                      <a:pt x="51" y="17"/>
                      <a:pt x="49" y="16"/>
                    </a:cubicBezTo>
                    <a:cubicBezTo>
                      <a:pt x="48" y="16"/>
                      <a:pt x="46" y="20"/>
                      <a:pt x="49" y="24"/>
                    </a:cubicBezTo>
                    <a:cubicBezTo>
                      <a:pt x="52" y="29"/>
                      <a:pt x="54" y="23"/>
                      <a:pt x="58" y="24"/>
                    </a:cubicBezTo>
                    <a:close/>
                    <a:moveTo>
                      <a:pt x="50" y="38"/>
                    </a:moveTo>
                    <a:cubicBezTo>
                      <a:pt x="53" y="39"/>
                      <a:pt x="54" y="42"/>
                      <a:pt x="56" y="42"/>
                    </a:cubicBezTo>
                    <a:cubicBezTo>
                      <a:pt x="57" y="42"/>
                      <a:pt x="53" y="38"/>
                      <a:pt x="51" y="35"/>
                    </a:cubicBezTo>
                    <a:cubicBezTo>
                      <a:pt x="48" y="33"/>
                      <a:pt x="49" y="30"/>
                      <a:pt x="45" y="31"/>
                    </a:cubicBezTo>
                    <a:cubicBezTo>
                      <a:pt x="42" y="32"/>
                      <a:pt x="48" y="38"/>
                      <a:pt x="50" y="38"/>
                    </a:cubicBezTo>
                    <a:close/>
                    <a:moveTo>
                      <a:pt x="107" y="9"/>
                    </a:moveTo>
                    <a:cubicBezTo>
                      <a:pt x="109" y="11"/>
                      <a:pt x="104" y="11"/>
                      <a:pt x="106" y="12"/>
                    </a:cubicBezTo>
                    <a:cubicBezTo>
                      <a:pt x="112" y="18"/>
                      <a:pt x="133" y="12"/>
                      <a:pt x="135" y="13"/>
                    </a:cubicBezTo>
                    <a:cubicBezTo>
                      <a:pt x="138" y="15"/>
                      <a:pt x="118" y="17"/>
                      <a:pt x="119" y="19"/>
                    </a:cubicBezTo>
                    <a:cubicBezTo>
                      <a:pt x="120" y="21"/>
                      <a:pt x="136" y="23"/>
                      <a:pt x="138" y="21"/>
                    </a:cubicBezTo>
                    <a:cubicBezTo>
                      <a:pt x="139" y="20"/>
                      <a:pt x="142" y="24"/>
                      <a:pt x="147" y="25"/>
                    </a:cubicBezTo>
                    <a:cubicBezTo>
                      <a:pt x="153" y="25"/>
                      <a:pt x="152" y="23"/>
                      <a:pt x="156" y="22"/>
                    </a:cubicBezTo>
                    <a:cubicBezTo>
                      <a:pt x="160" y="22"/>
                      <a:pt x="166" y="20"/>
                      <a:pt x="167" y="18"/>
                    </a:cubicBezTo>
                    <a:cubicBezTo>
                      <a:pt x="167" y="16"/>
                      <a:pt x="179" y="13"/>
                      <a:pt x="178" y="9"/>
                    </a:cubicBezTo>
                    <a:cubicBezTo>
                      <a:pt x="177" y="5"/>
                      <a:pt x="165" y="8"/>
                      <a:pt x="162" y="6"/>
                    </a:cubicBezTo>
                    <a:cubicBezTo>
                      <a:pt x="159" y="4"/>
                      <a:pt x="151" y="2"/>
                      <a:pt x="150" y="5"/>
                    </a:cubicBezTo>
                    <a:cubicBezTo>
                      <a:pt x="149" y="7"/>
                      <a:pt x="146" y="8"/>
                      <a:pt x="145" y="7"/>
                    </a:cubicBezTo>
                    <a:cubicBezTo>
                      <a:pt x="144" y="6"/>
                      <a:pt x="146" y="0"/>
                      <a:pt x="141" y="2"/>
                    </a:cubicBezTo>
                    <a:cubicBezTo>
                      <a:pt x="136" y="3"/>
                      <a:pt x="140" y="9"/>
                      <a:pt x="139" y="10"/>
                    </a:cubicBezTo>
                    <a:cubicBezTo>
                      <a:pt x="138" y="10"/>
                      <a:pt x="133" y="8"/>
                      <a:pt x="133" y="6"/>
                    </a:cubicBezTo>
                    <a:cubicBezTo>
                      <a:pt x="133" y="3"/>
                      <a:pt x="127" y="9"/>
                      <a:pt x="126" y="6"/>
                    </a:cubicBezTo>
                    <a:cubicBezTo>
                      <a:pt x="126" y="3"/>
                      <a:pt x="119" y="0"/>
                      <a:pt x="118" y="1"/>
                    </a:cubicBezTo>
                    <a:cubicBezTo>
                      <a:pt x="116" y="1"/>
                      <a:pt x="119" y="3"/>
                      <a:pt x="118" y="4"/>
                    </a:cubicBezTo>
                    <a:cubicBezTo>
                      <a:pt x="117" y="6"/>
                      <a:pt x="114" y="3"/>
                      <a:pt x="112" y="3"/>
                    </a:cubicBezTo>
                    <a:cubicBezTo>
                      <a:pt x="111" y="2"/>
                      <a:pt x="113" y="6"/>
                      <a:pt x="112" y="7"/>
                    </a:cubicBezTo>
                    <a:cubicBezTo>
                      <a:pt x="112" y="8"/>
                      <a:pt x="109" y="3"/>
                      <a:pt x="106" y="3"/>
                    </a:cubicBezTo>
                    <a:cubicBezTo>
                      <a:pt x="104" y="3"/>
                      <a:pt x="105" y="6"/>
                      <a:pt x="103" y="6"/>
                    </a:cubicBezTo>
                    <a:cubicBezTo>
                      <a:pt x="101" y="6"/>
                      <a:pt x="105" y="8"/>
                      <a:pt x="107" y="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0" name="Freeform 148">
                <a:extLst>
                  <a:ext uri="{FF2B5EF4-FFF2-40B4-BE49-F238E27FC236}">
                    <a16:creationId xmlns:a16="http://schemas.microsoft.com/office/drawing/2014/main" id="{A475EFC6-2937-4F25-AF25-C93D6F803A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04088" y="2705836"/>
                <a:ext cx="61482" cy="22585"/>
              </a:xfrm>
              <a:custGeom>
                <a:avLst/>
                <a:gdLst>
                  <a:gd name="T0" fmla="*/ 12 w 27"/>
                  <a:gd name="T1" fmla="*/ 1 h 10"/>
                  <a:gd name="T2" fmla="*/ 2 w 27"/>
                  <a:gd name="T3" fmla="*/ 4 h 10"/>
                  <a:gd name="T4" fmla="*/ 17 w 27"/>
                  <a:gd name="T5" fmla="*/ 8 h 10"/>
                  <a:gd name="T6" fmla="*/ 27 w 27"/>
                  <a:gd name="T7" fmla="*/ 6 h 10"/>
                  <a:gd name="T8" fmla="*/ 12 w 27"/>
                  <a:gd name="T9" fmla="*/ 1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" h="10">
                    <a:moveTo>
                      <a:pt x="12" y="1"/>
                    </a:moveTo>
                    <a:cubicBezTo>
                      <a:pt x="11" y="2"/>
                      <a:pt x="0" y="2"/>
                      <a:pt x="2" y="4"/>
                    </a:cubicBezTo>
                    <a:cubicBezTo>
                      <a:pt x="4" y="6"/>
                      <a:pt x="13" y="5"/>
                      <a:pt x="17" y="8"/>
                    </a:cubicBezTo>
                    <a:cubicBezTo>
                      <a:pt x="21" y="10"/>
                      <a:pt x="27" y="8"/>
                      <a:pt x="27" y="6"/>
                    </a:cubicBezTo>
                    <a:cubicBezTo>
                      <a:pt x="27" y="4"/>
                      <a:pt x="14" y="0"/>
                      <a:pt x="12" y="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1" name="Freeform 149">
                <a:extLst>
                  <a:ext uri="{FF2B5EF4-FFF2-40B4-BE49-F238E27FC236}">
                    <a16:creationId xmlns:a16="http://schemas.microsoft.com/office/drawing/2014/main" id="{33E0C865-0400-43F6-AE48-1CC7499D15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306203" y="3173848"/>
                <a:ext cx="316191" cy="317446"/>
              </a:xfrm>
              <a:custGeom>
                <a:avLst/>
                <a:gdLst>
                  <a:gd name="T0" fmla="*/ 122 w 137"/>
                  <a:gd name="T1" fmla="*/ 17 h 138"/>
                  <a:gd name="T2" fmla="*/ 99 w 137"/>
                  <a:gd name="T3" fmla="*/ 7 h 138"/>
                  <a:gd name="T4" fmla="*/ 96 w 137"/>
                  <a:gd name="T5" fmla="*/ 22 h 138"/>
                  <a:gd name="T6" fmla="*/ 86 w 137"/>
                  <a:gd name="T7" fmla="*/ 30 h 138"/>
                  <a:gd name="T8" fmla="*/ 85 w 137"/>
                  <a:gd name="T9" fmla="*/ 41 h 138"/>
                  <a:gd name="T10" fmla="*/ 93 w 137"/>
                  <a:gd name="T11" fmla="*/ 38 h 138"/>
                  <a:gd name="T12" fmla="*/ 95 w 137"/>
                  <a:gd name="T13" fmla="*/ 31 h 138"/>
                  <a:gd name="T14" fmla="*/ 112 w 137"/>
                  <a:gd name="T15" fmla="*/ 32 h 138"/>
                  <a:gd name="T16" fmla="*/ 128 w 137"/>
                  <a:gd name="T17" fmla="*/ 23 h 138"/>
                  <a:gd name="T18" fmla="*/ 130 w 137"/>
                  <a:gd name="T19" fmla="*/ 15 h 138"/>
                  <a:gd name="T20" fmla="*/ 84 w 137"/>
                  <a:gd name="T21" fmla="*/ 59 h 138"/>
                  <a:gd name="T22" fmla="*/ 75 w 137"/>
                  <a:gd name="T23" fmla="*/ 77 h 138"/>
                  <a:gd name="T24" fmla="*/ 63 w 137"/>
                  <a:gd name="T25" fmla="*/ 80 h 138"/>
                  <a:gd name="T26" fmla="*/ 52 w 137"/>
                  <a:gd name="T27" fmla="*/ 95 h 138"/>
                  <a:gd name="T28" fmla="*/ 37 w 137"/>
                  <a:gd name="T29" fmla="*/ 98 h 138"/>
                  <a:gd name="T30" fmla="*/ 13 w 137"/>
                  <a:gd name="T31" fmla="*/ 108 h 138"/>
                  <a:gd name="T32" fmla="*/ 22 w 137"/>
                  <a:gd name="T33" fmla="*/ 110 h 138"/>
                  <a:gd name="T34" fmla="*/ 45 w 137"/>
                  <a:gd name="T35" fmla="*/ 112 h 138"/>
                  <a:gd name="T36" fmla="*/ 58 w 137"/>
                  <a:gd name="T37" fmla="*/ 106 h 138"/>
                  <a:gd name="T38" fmla="*/ 70 w 137"/>
                  <a:gd name="T39" fmla="*/ 104 h 138"/>
                  <a:gd name="T40" fmla="*/ 81 w 137"/>
                  <a:gd name="T41" fmla="*/ 100 h 138"/>
                  <a:gd name="T42" fmla="*/ 91 w 137"/>
                  <a:gd name="T43" fmla="*/ 88 h 138"/>
                  <a:gd name="T44" fmla="*/ 100 w 137"/>
                  <a:gd name="T45" fmla="*/ 66 h 138"/>
                  <a:gd name="T46" fmla="*/ 86 w 137"/>
                  <a:gd name="T47" fmla="*/ 48 h 138"/>
                  <a:gd name="T48" fmla="*/ 26 w 137"/>
                  <a:gd name="T49" fmla="*/ 112 h 138"/>
                  <a:gd name="T50" fmla="*/ 29 w 137"/>
                  <a:gd name="T51" fmla="*/ 120 h 138"/>
                  <a:gd name="T52" fmla="*/ 42 w 137"/>
                  <a:gd name="T53" fmla="*/ 111 h 138"/>
                  <a:gd name="T54" fmla="*/ 17 w 137"/>
                  <a:gd name="T55" fmla="*/ 119 h 138"/>
                  <a:gd name="T56" fmla="*/ 4 w 137"/>
                  <a:gd name="T57" fmla="*/ 117 h 138"/>
                  <a:gd name="T58" fmla="*/ 6 w 137"/>
                  <a:gd name="T59" fmla="*/ 120 h 138"/>
                  <a:gd name="T60" fmla="*/ 10 w 137"/>
                  <a:gd name="T61" fmla="*/ 138 h 138"/>
                  <a:gd name="T62" fmla="*/ 17 w 137"/>
                  <a:gd name="T63" fmla="*/ 119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37" h="138">
                    <a:moveTo>
                      <a:pt x="130" y="15"/>
                    </a:moveTo>
                    <a:cubicBezTo>
                      <a:pt x="128" y="13"/>
                      <a:pt x="125" y="16"/>
                      <a:pt x="122" y="17"/>
                    </a:cubicBezTo>
                    <a:cubicBezTo>
                      <a:pt x="118" y="18"/>
                      <a:pt x="107" y="9"/>
                      <a:pt x="104" y="4"/>
                    </a:cubicBezTo>
                    <a:cubicBezTo>
                      <a:pt x="101" y="0"/>
                      <a:pt x="96" y="4"/>
                      <a:pt x="99" y="7"/>
                    </a:cubicBezTo>
                    <a:cubicBezTo>
                      <a:pt x="101" y="10"/>
                      <a:pt x="98" y="11"/>
                      <a:pt x="98" y="15"/>
                    </a:cubicBezTo>
                    <a:cubicBezTo>
                      <a:pt x="98" y="19"/>
                      <a:pt x="95" y="19"/>
                      <a:pt x="96" y="22"/>
                    </a:cubicBezTo>
                    <a:cubicBezTo>
                      <a:pt x="96" y="25"/>
                      <a:pt x="92" y="25"/>
                      <a:pt x="89" y="25"/>
                    </a:cubicBezTo>
                    <a:cubicBezTo>
                      <a:pt x="86" y="26"/>
                      <a:pt x="89" y="28"/>
                      <a:pt x="86" y="30"/>
                    </a:cubicBezTo>
                    <a:cubicBezTo>
                      <a:pt x="83" y="31"/>
                      <a:pt x="83" y="34"/>
                      <a:pt x="85" y="35"/>
                    </a:cubicBezTo>
                    <a:cubicBezTo>
                      <a:pt x="86" y="36"/>
                      <a:pt x="85" y="39"/>
                      <a:pt x="85" y="41"/>
                    </a:cubicBezTo>
                    <a:cubicBezTo>
                      <a:pt x="84" y="43"/>
                      <a:pt x="87" y="41"/>
                      <a:pt x="89" y="39"/>
                    </a:cubicBezTo>
                    <a:cubicBezTo>
                      <a:pt x="91" y="37"/>
                      <a:pt x="93" y="40"/>
                      <a:pt x="93" y="38"/>
                    </a:cubicBezTo>
                    <a:cubicBezTo>
                      <a:pt x="94" y="36"/>
                      <a:pt x="88" y="35"/>
                      <a:pt x="88" y="32"/>
                    </a:cubicBezTo>
                    <a:cubicBezTo>
                      <a:pt x="89" y="30"/>
                      <a:pt x="92" y="33"/>
                      <a:pt x="95" y="31"/>
                    </a:cubicBezTo>
                    <a:cubicBezTo>
                      <a:pt x="98" y="30"/>
                      <a:pt x="103" y="31"/>
                      <a:pt x="107" y="34"/>
                    </a:cubicBezTo>
                    <a:cubicBezTo>
                      <a:pt x="111" y="37"/>
                      <a:pt x="112" y="36"/>
                      <a:pt x="112" y="32"/>
                    </a:cubicBezTo>
                    <a:cubicBezTo>
                      <a:pt x="113" y="29"/>
                      <a:pt x="118" y="27"/>
                      <a:pt x="124" y="27"/>
                    </a:cubicBezTo>
                    <a:cubicBezTo>
                      <a:pt x="129" y="27"/>
                      <a:pt x="130" y="24"/>
                      <a:pt x="128" y="23"/>
                    </a:cubicBezTo>
                    <a:cubicBezTo>
                      <a:pt x="127" y="22"/>
                      <a:pt x="137" y="15"/>
                      <a:pt x="137" y="13"/>
                    </a:cubicBezTo>
                    <a:cubicBezTo>
                      <a:pt x="137" y="11"/>
                      <a:pt x="131" y="17"/>
                      <a:pt x="130" y="15"/>
                    </a:cubicBezTo>
                    <a:close/>
                    <a:moveTo>
                      <a:pt x="86" y="48"/>
                    </a:moveTo>
                    <a:cubicBezTo>
                      <a:pt x="84" y="49"/>
                      <a:pt x="82" y="56"/>
                      <a:pt x="84" y="59"/>
                    </a:cubicBezTo>
                    <a:cubicBezTo>
                      <a:pt x="87" y="61"/>
                      <a:pt x="80" y="65"/>
                      <a:pt x="80" y="69"/>
                    </a:cubicBezTo>
                    <a:cubicBezTo>
                      <a:pt x="81" y="74"/>
                      <a:pt x="76" y="74"/>
                      <a:pt x="75" y="77"/>
                    </a:cubicBezTo>
                    <a:cubicBezTo>
                      <a:pt x="75" y="80"/>
                      <a:pt x="72" y="80"/>
                      <a:pt x="68" y="83"/>
                    </a:cubicBezTo>
                    <a:cubicBezTo>
                      <a:pt x="64" y="86"/>
                      <a:pt x="62" y="82"/>
                      <a:pt x="63" y="80"/>
                    </a:cubicBezTo>
                    <a:cubicBezTo>
                      <a:pt x="64" y="78"/>
                      <a:pt x="57" y="81"/>
                      <a:pt x="57" y="87"/>
                    </a:cubicBezTo>
                    <a:cubicBezTo>
                      <a:pt x="57" y="92"/>
                      <a:pt x="50" y="92"/>
                      <a:pt x="52" y="95"/>
                    </a:cubicBezTo>
                    <a:cubicBezTo>
                      <a:pt x="54" y="97"/>
                      <a:pt x="47" y="99"/>
                      <a:pt x="47" y="96"/>
                    </a:cubicBezTo>
                    <a:cubicBezTo>
                      <a:pt x="47" y="94"/>
                      <a:pt x="43" y="95"/>
                      <a:pt x="37" y="98"/>
                    </a:cubicBezTo>
                    <a:cubicBezTo>
                      <a:pt x="32" y="100"/>
                      <a:pt x="28" y="95"/>
                      <a:pt x="25" y="98"/>
                    </a:cubicBezTo>
                    <a:cubicBezTo>
                      <a:pt x="22" y="101"/>
                      <a:pt x="17" y="107"/>
                      <a:pt x="13" y="108"/>
                    </a:cubicBezTo>
                    <a:cubicBezTo>
                      <a:pt x="9" y="108"/>
                      <a:pt x="11" y="113"/>
                      <a:pt x="13" y="112"/>
                    </a:cubicBezTo>
                    <a:cubicBezTo>
                      <a:pt x="16" y="111"/>
                      <a:pt x="20" y="112"/>
                      <a:pt x="22" y="110"/>
                    </a:cubicBezTo>
                    <a:cubicBezTo>
                      <a:pt x="23" y="108"/>
                      <a:pt x="35" y="105"/>
                      <a:pt x="42" y="105"/>
                    </a:cubicBezTo>
                    <a:cubicBezTo>
                      <a:pt x="49" y="105"/>
                      <a:pt x="45" y="109"/>
                      <a:pt x="45" y="112"/>
                    </a:cubicBezTo>
                    <a:cubicBezTo>
                      <a:pt x="46" y="116"/>
                      <a:pt x="52" y="115"/>
                      <a:pt x="55" y="112"/>
                    </a:cubicBezTo>
                    <a:cubicBezTo>
                      <a:pt x="58" y="108"/>
                      <a:pt x="60" y="109"/>
                      <a:pt x="58" y="106"/>
                    </a:cubicBezTo>
                    <a:cubicBezTo>
                      <a:pt x="55" y="104"/>
                      <a:pt x="58" y="102"/>
                      <a:pt x="60" y="105"/>
                    </a:cubicBezTo>
                    <a:cubicBezTo>
                      <a:pt x="62" y="108"/>
                      <a:pt x="68" y="108"/>
                      <a:pt x="70" y="104"/>
                    </a:cubicBezTo>
                    <a:cubicBezTo>
                      <a:pt x="73" y="101"/>
                      <a:pt x="73" y="105"/>
                      <a:pt x="76" y="105"/>
                    </a:cubicBezTo>
                    <a:cubicBezTo>
                      <a:pt x="79" y="105"/>
                      <a:pt x="81" y="98"/>
                      <a:pt x="81" y="100"/>
                    </a:cubicBezTo>
                    <a:cubicBezTo>
                      <a:pt x="81" y="103"/>
                      <a:pt x="86" y="102"/>
                      <a:pt x="89" y="99"/>
                    </a:cubicBezTo>
                    <a:cubicBezTo>
                      <a:pt x="91" y="96"/>
                      <a:pt x="89" y="90"/>
                      <a:pt x="91" y="88"/>
                    </a:cubicBezTo>
                    <a:cubicBezTo>
                      <a:pt x="93" y="85"/>
                      <a:pt x="94" y="79"/>
                      <a:pt x="93" y="75"/>
                    </a:cubicBezTo>
                    <a:cubicBezTo>
                      <a:pt x="91" y="72"/>
                      <a:pt x="97" y="69"/>
                      <a:pt x="100" y="66"/>
                    </a:cubicBezTo>
                    <a:cubicBezTo>
                      <a:pt x="103" y="64"/>
                      <a:pt x="96" y="49"/>
                      <a:pt x="96" y="45"/>
                    </a:cubicBezTo>
                    <a:cubicBezTo>
                      <a:pt x="96" y="41"/>
                      <a:pt x="88" y="47"/>
                      <a:pt x="86" y="48"/>
                    </a:cubicBezTo>
                    <a:close/>
                    <a:moveTo>
                      <a:pt x="34" y="110"/>
                    </a:moveTo>
                    <a:cubicBezTo>
                      <a:pt x="33" y="112"/>
                      <a:pt x="30" y="111"/>
                      <a:pt x="26" y="112"/>
                    </a:cubicBezTo>
                    <a:cubicBezTo>
                      <a:pt x="22" y="113"/>
                      <a:pt x="22" y="122"/>
                      <a:pt x="25" y="123"/>
                    </a:cubicBezTo>
                    <a:cubicBezTo>
                      <a:pt x="27" y="123"/>
                      <a:pt x="29" y="123"/>
                      <a:pt x="29" y="120"/>
                    </a:cubicBezTo>
                    <a:cubicBezTo>
                      <a:pt x="30" y="118"/>
                      <a:pt x="34" y="117"/>
                      <a:pt x="36" y="118"/>
                    </a:cubicBezTo>
                    <a:cubicBezTo>
                      <a:pt x="39" y="119"/>
                      <a:pt x="42" y="114"/>
                      <a:pt x="42" y="111"/>
                    </a:cubicBezTo>
                    <a:cubicBezTo>
                      <a:pt x="42" y="107"/>
                      <a:pt x="35" y="107"/>
                      <a:pt x="34" y="110"/>
                    </a:cubicBezTo>
                    <a:close/>
                    <a:moveTo>
                      <a:pt x="17" y="119"/>
                    </a:moveTo>
                    <a:cubicBezTo>
                      <a:pt x="17" y="117"/>
                      <a:pt x="12" y="117"/>
                      <a:pt x="12" y="115"/>
                    </a:cubicBezTo>
                    <a:cubicBezTo>
                      <a:pt x="11" y="113"/>
                      <a:pt x="8" y="114"/>
                      <a:pt x="4" y="117"/>
                    </a:cubicBezTo>
                    <a:cubicBezTo>
                      <a:pt x="1" y="119"/>
                      <a:pt x="0" y="120"/>
                      <a:pt x="1" y="122"/>
                    </a:cubicBezTo>
                    <a:cubicBezTo>
                      <a:pt x="2" y="125"/>
                      <a:pt x="5" y="123"/>
                      <a:pt x="6" y="120"/>
                    </a:cubicBezTo>
                    <a:cubicBezTo>
                      <a:pt x="6" y="117"/>
                      <a:pt x="9" y="124"/>
                      <a:pt x="7" y="128"/>
                    </a:cubicBezTo>
                    <a:cubicBezTo>
                      <a:pt x="5" y="132"/>
                      <a:pt x="7" y="138"/>
                      <a:pt x="10" y="138"/>
                    </a:cubicBezTo>
                    <a:cubicBezTo>
                      <a:pt x="12" y="137"/>
                      <a:pt x="15" y="129"/>
                      <a:pt x="19" y="124"/>
                    </a:cubicBezTo>
                    <a:cubicBezTo>
                      <a:pt x="22" y="120"/>
                      <a:pt x="17" y="121"/>
                      <a:pt x="17" y="11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2" name="Freeform 150">
                <a:extLst>
                  <a:ext uri="{FF2B5EF4-FFF2-40B4-BE49-F238E27FC236}">
                    <a16:creationId xmlns:a16="http://schemas.microsoft.com/office/drawing/2014/main" id="{1B049606-2312-44F1-8B6D-E66C144DCFE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92385" y="2981876"/>
                <a:ext cx="1112942" cy="770401"/>
              </a:xfrm>
              <a:custGeom>
                <a:avLst/>
                <a:gdLst>
                  <a:gd name="T0" fmla="*/ 459 w 483"/>
                  <a:gd name="T1" fmla="*/ 62 h 334"/>
                  <a:gd name="T2" fmla="*/ 436 w 483"/>
                  <a:gd name="T3" fmla="*/ 45 h 334"/>
                  <a:gd name="T4" fmla="*/ 416 w 483"/>
                  <a:gd name="T5" fmla="*/ 18 h 334"/>
                  <a:gd name="T6" fmla="*/ 388 w 483"/>
                  <a:gd name="T7" fmla="*/ 1 h 334"/>
                  <a:gd name="T8" fmla="*/ 369 w 483"/>
                  <a:gd name="T9" fmla="*/ 15 h 334"/>
                  <a:gd name="T10" fmla="*/ 353 w 483"/>
                  <a:gd name="T11" fmla="*/ 38 h 334"/>
                  <a:gd name="T12" fmla="*/ 329 w 483"/>
                  <a:gd name="T13" fmla="*/ 52 h 334"/>
                  <a:gd name="T14" fmla="*/ 344 w 483"/>
                  <a:gd name="T15" fmla="*/ 62 h 334"/>
                  <a:gd name="T16" fmla="*/ 343 w 483"/>
                  <a:gd name="T17" fmla="*/ 75 h 334"/>
                  <a:gd name="T18" fmla="*/ 301 w 483"/>
                  <a:gd name="T19" fmla="*/ 90 h 334"/>
                  <a:gd name="T20" fmla="*/ 271 w 483"/>
                  <a:gd name="T21" fmla="*/ 116 h 334"/>
                  <a:gd name="T22" fmla="*/ 225 w 483"/>
                  <a:gd name="T23" fmla="*/ 118 h 334"/>
                  <a:gd name="T24" fmla="*/ 172 w 483"/>
                  <a:gd name="T25" fmla="*/ 111 h 334"/>
                  <a:gd name="T26" fmla="*/ 150 w 483"/>
                  <a:gd name="T27" fmla="*/ 89 h 334"/>
                  <a:gd name="T28" fmla="*/ 130 w 483"/>
                  <a:gd name="T29" fmla="*/ 64 h 334"/>
                  <a:gd name="T30" fmla="*/ 109 w 483"/>
                  <a:gd name="T31" fmla="*/ 46 h 334"/>
                  <a:gd name="T32" fmla="*/ 98 w 483"/>
                  <a:gd name="T33" fmla="*/ 54 h 334"/>
                  <a:gd name="T34" fmla="*/ 79 w 483"/>
                  <a:gd name="T35" fmla="*/ 69 h 334"/>
                  <a:gd name="T36" fmla="*/ 63 w 483"/>
                  <a:gd name="T37" fmla="*/ 86 h 334"/>
                  <a:gd name="T38" fmla="*/ 56 w 483"/>
                  <a:gd name="T39" fmla="*/ 107 h 334"/>
                  <a:gd name="T40" fmla="*/ 37 w 483"/>
                  <a:gd name="T41" fmla="*/ 125 h 334"/>
                  <a:gd name="T42" fmla="*/ 14 w 483"/>
                  <a:gd name="T43" fmla="*/ 132 h 334"/>
                  <a:gd name="T44" fmla="*/ 0 w 483"/>
                  <a:gd name="T45" fmla="*/ 143 h 334"/>
                  <a:gd name="T46" fmla="*/ 11 w 483"/>
                  <a:gd name="T47" fmla="*/ 166 h 334"/>
                  <a:gd name="T48" fmla="*/ 28 w 483"/>
                  <a:gd name="T49" fmla="*/ 181 h 334"/>
                  <a:gd name="T50" fmla="*/ 42 w 483"/>
                  <a:gd name="T51" fmla="*/ 176 h 334"/>
                  <a:gd name="T52" fmla="*/ 40 w 483"/>
                  <a:gd name="T53" fmla="*/ 197 h 334"/>
                  <a:gd name="T54" fmla="*/ 40 w 483"/>
                  <a:gd name="T55" fmla="*/ 217 h 334"/>
                  <a:gd name="T56" fmla="*/ 55 w 483"/>
                  <a:gd name="T57" fmla="*/ 229 h 334"/>
                  <a:gd name="T58" fmla="*/ 98 w 483"/>
                  <a:gd name="T59" fmla="*/ 247 h 334"/>
                  <a:gd name="T60" fmla="*/ 116 w 483"/>
                  <a:gd name="T61" fmla="*/ 251 h 334"/>
                  <a:gd name="T62" fmla="*/ 131 w 483"/>
                  <a:gd name="T63" fmla="*/ 248 h 334"/>
                  <a:gd name="T64" fmla="*/ 150 w 483"/>
                  <a:gd name="T65" fmla="*/ 243 h 334"/>
                  <a:gd name="T66" fmla="*/ 173 w 483"/>
                  <a:gd name="T67" fmla="*/ 243 h 334"/>
                  <a:gd name="T68" fmla="*/ 187 w 483"/>
                  <a:gd name="T69" fmla="*/ 251 h 334"/>
                  <a:gd name="T70" fmla="*/ 183 w 483"/>
                  <a:gd name="T71" fmla="*/ 282 h 334"/>
                  <a:gd name="T72" fmla="*/ 195 w 483"/>
                  <a:gd name="T73" fmla="*/ 299 h 334"/>
                  <a:gd name="T74" fmla="*/ 213 w 483"/>
                  <a:gd name="T75" fmla="*/ 307 h 334"/>
                  <a:gd name="T76" fmla="*/ 226 w 483"/>
                  <a:gd name="T77" fmla="*/ 294 h 334"/>
                  <a:gd name="T78" fmla="*/ 251 w 483"/>
                  <a:gd name="T79" fmla="*/ 292 h 334"/>
                  <a:gd name="T80" fmla="*/ 268 w 483"/>
                  <a:gd name="T81" fmla="*/ 303 h 334"/>
                  <a:gd name="T82" fmla="*/ 281 w 483"/>
                  <a:gd name="T83" fmla="*/ 313 h 334"/>
                  <a:gd name="T84" fmla="*/ 318 w 483"/>
                  <a:gd name="T85" fmla="*/ 294 h 334"/>
                  <a:gd name="T86" fmla="*/ 346 w 483"/>
                  <a:gd name="T87" fmla="*/ 279 h 334"/>
                  <a:gd name="T88" fmla="*/ 360 w 483"/>
                  <a:gd name="T89" fmla="*/ 263 h 334"/>
                  <a:gd name="T90" fmla="*/ 373 w 483"/>
                  <a:gd name="T91" fmla="*/ 246 h 334"/>
                  <a:gd name="T92" fmla="*/ 376 w 483"/>
                  <a:gd name="T93" fmla="*/ 230 h 334"/>
                  <a:gd name="T94" fmla="*/ 372 w 483"/>
                  <a:gd name="T95" fmla="*/ 218 h 334"/>
                  <a:gd name="T96" fmla="*/ 370 w 483"/>
                  <a:gd name="T97" fmla="*/ 207 h 334"/>
                  <a:gd name="T98" fmla="*/ 360 w 483"/>
                  <a:gd name="T99" fmla="*/ 180 h 334"/>
                  <a:gd name="T100" fmla="*/ 382 w 483"/>
                  <a:gd name="T101" fmla="*/ 167 h 334"/>
                  <a:gd name="T102" fmla="*/ 354 w 483"/>
                  <a:gd name="T103" fmla="*/ 159 h 334"/>
                  <a:gd name="T104" fmla="*/ 365 w 483"/>
                  <a:gd name="T105" fmla="*/ 137 h 334"/>
                  <a:gd name="T106" fmla="*/ 378 w 483"/>
                  <a:gd name="T107" fmla="*/ 149 h 334"/>
                  <a:gd name="T108" fmla="*/ 414 w 483"/>
                  <a:gd name="T109" fmla="*/ 128 h 334"/>
                  <a:gd name="T110" fmla="*/ 432 w 483"/>
                  <a:gd name="T111" fmla="*/ 120 h 334"/>
                  <a:gd name="T112" fmla="*/ 452 w 483"/>
                  <a:gd name="T113" fmla="*/ 112 h 334"/>
                  <a:gd name="T114" fmla="*/ 454 w 483"/>
                  <a:gd name="T115" fmla="*/ 91 h 334"/>
                  <a:gd name="T116" fmla="*/ 476 w 483"/>
                  <a:gd name="T117" fmla="*/ 76 h 334"/>
                  <a:gd name="T118" fmla="*/ 368 w 483"/>
                  <a:gd name="T119" fmla="*/ 298 h 334"/>
                  <a:gd name="T120" fmla="*/ 271 w 483"/>
                  <a:gd name="T121" fmla="*/ 328 h 3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83" h="334">
                    <a:moveTo>
                      <a:pt x="480" y="59"/>
                    </a:moveTo>
                    <a:cubicBezTo>
                      <a:pt x="480" y="55"/>
                      <a:pt x="475" y="56"/>
                      <a:pt x="474" y="58"/>
                    </a:cubicBezTo>
                    <a:cubicBezTo>
                      <a:pt x="472" y="59"/>
                      <a:pt x="467" y="58"/>
                      <a:pt x="466" y="60"/>
                    </a:cubicBezTo>
                    <a:cubicBezTo>
                      <a:pt x="465" y="63"/>
                      <a:pt x="462" y="62"/>
                      <a:pt x="459" y="62"/>
                    </a:cubicBezTo>
                    <a:cubicBezTo>
                      <a:pt x="456" y="63"/>
                      <a:pt x="451" y="61"/>
                      <a:pt x="451" y="59"/>
                    </a:cubicBezTo>
                    <a:cubicBezTo>
                      <a:pt x="451" y="57"/>
                      <a:pt x="449" y="55"/>
                      <a:pt x="449" y="52"/>
                    </a:cubicBezTo>
                    <a:cubicBezTo>
                      <a:pt x="450" y="50"/>
                      <a:pt x="446" y="51"/>
                      <a:pt x="444" y="48"/>
                    </a:cubicBezTo>
                    <a:cubicBezTo>
                      <a:pt x="441" y="46"/>
                      <a:pt x="436" y="44"/>
                      <a:pt x="436" y="45"/>
                    </a:cubicBezTo>
                    <a:cubicBezTo>
                      <a:pt x="435" y="45"/>
                      <a:pt x="432" y="42"/>
                      <a:pt x="428" y="42"/>
                    </a:cubicBezTo>
                    <a:cubicBezTo>
                      <a:pt x="424" y="42"/>
                      <a:pt x="424" y="39"/>
                      <a:pt x="425" y="37"/>
                    </a:cubicBezTo>
                    <a:cubicBezTo>
                      <a:pt x="425" y="36"/>
                      <a:pt x="421" y="31"/>
                      <a:pt x="421" y="28"/>
                    </a:cubicBezTo>
                    <a:cubicBezTo>
                      <a:pt x="420" y="25"/>
                      <a:pt x="417" y="24"/>
                      <a:pt x="416" y="18"/>
                    </a:cubicBezTo>
                    <a:cubicBezTo>
                      <a:pt x="415" y="12"/>
                      <a:pt x="411" y="14"/>
                      <a:pt x="412" y="11"/>
                    </a:cubicBezTo>
                    <a:cubicBezTo>
                      <a:pt x="413" y="8"/>
                      <a:pt x="408" y="7"/>
                      <a:pt x="407" y="5"/>
                    </a:cubicBezTo>
                    <a:cubicBezTo>
                      <a:pt x="406" y="3"/>
                      <a:pt x="401" y="4"/>
                      <a:pt x="397" y="2"/>
                    </a:cubicBezTo>
                    <a:cubicBezTo>
                      <a:pt x="393" y="0"/>
                      <a:pt x="391" y="2"/>
                      <a:pt x="388" y="1"/>
                    </a:cubicBezTo>
                    <a:cubicBezTo>
                      <a:pt x="385" y="0"/>
                      <a:pt x="377" y="2"/>
                      <a:pt x="376" y="2"/>
                    </a:cubicBezTo>
                    <a:cubicBezTo>
                      <a:pt x="375" y="2"/>
                      <a:pt x="369" y="0"/>
                      <a:pt x="366" y="5"/>
                    </a:cubicBezTo>
                    <a:cubicBezTo>
                      <a:pt x="363" y="9"/>
                      <a:pt x="365" y="9"/>
                      <a:pt x="367" y="9"/>
                    </a:cubicBezTo>
                    <a:cubicBezTo>
                      <a:pt x="368" y="9"/>
                      <a:pt x="369" y="13"/>
                      <a:pt x="369" y="15"/>
                    </a:cubicBezTo>
                    <a:cubicBezTo>
                      <a:pt x="369" y="16"/>
                      <a:pt x="367" y="18"/>
                      <a:pt x="365" y="19"/>
                    </a:cubicBezTo>
                    <a:cubicBezTo>
                      <a:pt x="364" y="19"/>
                      <a:pt x="361" y="25"/>
                      <a:pt x="360" y="26"/>
                    </a:cubicBezTo>
                    <a:cubicBezTo>
                      <a:pt x="360" y="28"/>
                      <a:pt x="356" y="33"/>
                      <a:pt x="357" y="35"/>
                    </a:cubicBezTo>
                    <a:cubicBezTo>
                      <a:pt x="357" y="36"/>
                      <a:pt x="355" y="38"/>
                      <a:pt x="353" y="38"/>
                    </a:cubicBezTo>
                    <a:cubicBezTo>
                      <a:pt x="351" y="39"/>
                      <a:pt x="347" y="42"/>
                      <a:pt x="345" y="42"/>
                    </a:cubicBezTo>
                    <a:cubicBezTo>
                      <a:pt x="344" y="43"/>
                      <a:pt x="338" y="42"/>
                      <a:pt x="338" y="40"/>
                    </a:cubicBezTo>
                    <a:cubicBezTo>
                      <a:pt x="337" y="40"/>
                      <a:pt x="337" y="39"/>
                      <a:pt x="336" y="39"/>
                    </a:cubicBezTo>
                    <a:cubicBezTo>
                      <a:pt x="329" y="52"/>
                      <a:pt x="329" y="52"/>
                      <a:pt x="329" y="52"/>
                    </a:cubicBezTo>
                    <a:cubicBezTo>
                      <a:pt x="329" y="56"/>
                      <a:pt x="329" y="56"/>
                      <a:pt x="329" y="56"/>
                    </a:cubicBezTo>
                    <a:cubicBezTo>
                      <a:pt x="329" y="56"/>
                      <a:pt x="325" y="57"/>
                      <a:pt x="328" y="60"/>
                    </a:cubicBezTo>
                    <a:cubicBezTo>
                      <a:pt x="331" y="63"/>
                      <a:pt x="331" y="61"/>
                      <a:pt x="336" y="61"/>
                    </a:cubicBezTo>
                    <a:cubicBezTo>
                      <a:pt x="341" y="61"/>
                      <a:pt x="343" y="64"/>
                      <a:pt x="344" y="62"/>
                    </a:cubicBezTo>
                    <a:cubicBezTo>
                      <a:pt x="345" y="59"/>
                      <a:pt x="349" y="57"/>
                      <a:pt x="352" y="61"/>
                    </a:cubicBezTo>
                    <a:cubicBezTo>
                      <a:pt x="354" y="64"/>
                      <a:pt x="362" y="69"/>
                      <a:pt x="362" y="71"/>
                    </a:cubicBezTo>
                    <a:cubicBezTo>
                      <a:pt x="361" y="74"/>
                      <a:pt x="357" y="74"/>
                      <a:pt x="354" y="73"/>
                    </a:cubicBezTo>
                    <a:cubicBezTo>
                      <a:pt x="351" y="71"/>
                      <a:pt x="346" y="75"/>
                      <a:pt x="343" y="75"/>
                    </a:cubicBezTo>
                    <a:cubicBezTo>
                      <a:pt x="340" y="75"/>
                      <a:pt x="337" y="76"/>
                      <a:pt x="333" y="79"/>
                    </a:cubicBezTo>
                    <a:cubicBezTo>
                      <a:pt x="330" y="82"/>
                      <a:pt x="331" y="85"/>
                      <a:pt x="326" y="85"/>
                    </a:cubicBezTo>
                    <a:cubicBezTo>
                      <a:pt x="322" y="86"/>
                      <a:pt x="319" y="85"/>
                      <a:pt x="314" y="89"/>
                    </a:cubicBezTo>
                    <a:cubicBezTo>
                      <a:pt x="309" y="93"/>
                      <a:pt x="303" y="91"/>
                      <a:pt x="301" y="90"/>
                    </a:cubicBezTo>
                    <a:cubicBezTo>
                      <a:pt x="299" y="89"/>
                      <a:pt x="296" y="89"/>
                      <a:pt x="294" y="92"/>
                    </a:cubicBezTo>
                    <a:cubicBezTo>
                      <a:pt x="292" y="96"/>
                      <a:pt x="296" y="97"/>
                      <a:pt x="296" y="102"/>
                    </a:cubicBezTo>
                    <a:cubicBezTo>
                      <a:pt x="295" y="106"/>
                      <a:pt x="290" y="105"/>
                      <a:pt x="286" y="109"/>
                    </a:cubicBezTo>
                    <a:cubicBezTo>
                      <a:pt x="282" y="114"/>
                      <a:pt x="275" y="116"/>
                      <a:pt x="271" y="116"/>
                    </a:cubicBezTo>
                    <a:cubicBezTo>
                      <a:pt x="268" y="115"/>
                      <a:pt x="260" y="113"/>
                      <a:pt x="253" y="116"/>
                    </a:cubicBezTo>
                    <a:cubicBezTo>
                      <a:pt x="246" y="119"/>
                      <a:pt x="242" y="124"/>
                      <a:pt x="239" y="123"/>
                    </a:cubicBezTo>
                    <a:cubicBezTo>
                      <a:pt x="237" y="123"/>
                      <a:pt x="237" y="120"/>
                      <a:pt x="233" y="120"/>
                    </a:cubicBezTo>
                    <a:cubicBezTo>
                      <a:pt x="229" y="121"/>
                      <a:pt x="227" y="120"/>
                      <a:pt x="225" y="118"/>
                    </a:cubicBezTo>
                    <a:cubicBezTo>
                      <a:pt x="222" y="117"/>
                      <a:pt x="220" y="119"/>
                      <a:pt x="216" y="116"/>
                    </a:cubicBezTo>
                    <a:cubicBezTo>
                      <a:pt x="212" y="113"/>
                      <a:pt x="204" y="113"/>
                      <a:pt x="201" y="113"/>
                    </a:cubicBezTo>
                    <a:cubicBezTo>
                      <a:pt x="198" y="112"/>
                      <a:pt x="186" y="113"/>
                      <a:pt x="182" y="112"/>
                    </a:cubicBezTo>
                    <a:cubicBezTo>
                      <a:pt x="178" y="112"/>
                      <a:pt x="172" y="113"/>
                      <a:pt x="172" y="111"/>
                    </a:cubicBezTo>
                    <a:cubicBezTo>
                      <a:pt x="171" y="109"/>
                      <a:pt x="168" y="108"/>
                      <a:pt x="167" y="103"/>
                    </a:cubicBezTo>
                    <a:cubicBezTo>
                      <a:pt x="166" y="98"/>
                      <a:pt x="164" y="97"/>
                      <a:pt x="161" y="96"/>
                    </a:cubicBezTo>
                    <a:cubicBezTo>
                      <a:pt x="158" y="96"/>
                      <a:pt x="158" y="93"/>
                      <a:pt x="156" y="93"/>
                    </a:cubicBezTo>
                    <a:cubicBezTo>
                      <a:pt x="155" y="93"/>
                      <a:pt x="153" y="89"/>
                      <a:pt x="150" y="89"/>
                    </a:cubicBezTo>
                    <a:cubicBezTo>
                      <a:pt x="146" y="89"/>
                      <a:pt x="133" y="88"/>
                      <a:pt x="132" y="85"/>
                    </a:cubicBezTo>
                    <a:cubicBezTo>
                      <a:pt x="130" y="82"/>
                      <a:pt x="133" y="81"/>
                      <a:pt x="133" y="78"/>
                    </a:cubicBezTo>
                    <a:cubicBezTo>
                      <a:pt x="133" y="75"/>
                      <a:pt x="135" y="71"/>
                      <a:pt x="134" y="70"/>
                    </a:cubicBezTo>
                    <a:cubicBezTo>
                      <a:pt x="132" y="69"/>
                      <a:pt x="130" y="66"/>
                      <a:pt x="130" y="64"/>
                    </a:cubicBezTo>
                    <a:cubicBezTo>
                      <a:pt x="129" y="62"/>
                      <a:pt x="125" y="58"/>
                      <a:pt x="123" y="58"/>
                    </a:cubicBezTo>
                    <a:cubicBezTo>
                      <a:pt x="120" y="58"/>
                      <a:pt x="118" y="56"/>
                      <a:pt x="116" y="54"/>
                    </a:cubicBezTo>
                    <a:cubicBezTo>
                      <a:pt x="113" y="52"/>
                      <a:pt x="111" y="52"/>
                      <a:pt x="110" y="47"/>
                    </a:cubicBezTo>
                    <a:cubicBezTo>
                      <a:pt x="110" y="47"/>
                      <a:pt x="110" y="46"/>
                      <a:pt x="109" y="46"/>
                    </a:cubicBezTo>
                    <a:cubicBezTo>
                      <a:pt x="109" y="46"/>
                      <a:pt x="107" y="45"/>
                      <a:pt x="106" y="45"/>
                    </a:cubicBezTo>
                    <a:cubicBezTo>
                      <a:pt x="106" y="45"/>
                      <a:pt x="105" y="45"/>
                      <a:pt x="104" y="44"/>
                    </a:cubicBezTo>
                    <a:cubicBezTo>
                      <a:pt x="104" y="47"/>
                      <a:pt x="102" y="48"/>
                      <a:pt x="102" y="49"/>
                    </a:cubicBezTo>
                    <a:cubicBezTo>
                      <a:pt x="102" y="51"/>
                      <a:pt x="101" y="54"/>
                      <a:pt x="98" y="54"/>
                    </a:cubicBezTo>
                    <a:cubicBezTo>
                      <a:pt x="95" y="54"/>
                      <a:pt x="93" y="56"/>
                      <a:pt x="93" y="60"/>
                    </a:cubicBezTo>
                    <a:cubicBezTo>
                      <a:pt x="93" y="64"/>
                      <a:pt x="95" y="65"/>
                      <a:pt x="94" y="66"/>
                    </a:cubicBezTo>
                    <a:cubicBezTo>
                      <a:pt x="93" y="68"/>
                      <a:pt x="88" y="70"/>
                      <a:pt x="86" y="69"/>
                    </a:cubicBezTo>
                    <a:cubicBezTo>
                      <a:pt x="85" y="68"/>
                      <a:pt x="82" y="69"/>
                      <a:pt x="79" y="69"/>
                    </a:cubicBezTo>
                    <a:cubicBezTo>
                      <a:pt x="76" y="68"/>
                      <a:pt x="74" y="65"/>
                      <a:pt x="74" y="69"/>
                    </a:cubicBezTo>
                    <a:cubicBezTo>
                      <a:pt x="73" y="72"/>
                      <a:pt x="67" y="83"/>
                      <a:pt x="69" y="84"/>
                    </a:cubicBezTo>
                    <a:cubicBezTo>
                      <a:pt x="70" y="85"/>
                      <a:pt x="71" y="88"/>
                      <a:pt x="69" y="88"/>
                    </a:cubicBezTo>
                    <a:cubicBezTo>
                      <a:pt x="66" y="88"/>
                      <a:pt x="64" y="87"/>
                      <a:pt x="63" y="86"/>
                    </a:cubicBezTo>
                    <a:cubicBezTo>
                      <a:pt x="62" y="85"/>
                      <a:pt x="58" y="88"/>
                      <a:pt x="55" y="88"/>
                    </a:cubicBezTo>
                    <a:cubicBezTo>
                      <a:pt x="54" y="88"/>
                      <a:pt x="49" y="90"/>
                      <a:pt x="51" y="91"/>
                    </a:cubicBezTo>
                    <a:cubicBezTo>
                      <a:pt x="52" y="92"/>
                      <a:pt x="52" y="96"/>
                      <a:pt x="52" y="98"/>
                    </a:cubicBezTo>
                    <a:cubicBezTo>
                      <a:pt x="52" y="100"/>
                      <a:pt x="56" y="105"/>
                      <a:pt x="56" y="107"/>
                    </a:cubicBezTo>
                    <a:cubicBezTo>
                      <a:pt x="55" y="109"/>
                      <a:pt x="51" y="111"/>
                      <a:pt x="51" y="113"/>
                    </a:cubicBezTo>
                    <a:cubicBezTo>
                      <a:pt x="51" y="115"/>
                      <a:pt x="52" y="117"/>
                      <a:pt x="51" y="118"/>
                    </a:cubicBezTo>
                    <a:cubicBezTo>
                      <a:pt x="50" y="118"/>
                      <a:pt x="46" y="120"/>
                      <a:pt x="44" y="121"/>
                    </a:cubicBezTo>
                    <a:cubicBezTo>
                      <a:pt x="42" y="123"/>
                      <a:pt x="39" y="123"/>
                      <a:pt x="37" y="125"/>
                    </a:cubicBezTo>
                    <a:cubicBezTo>
                      <a:pt x="36" y="127"/>
                      <a:pt x="35" y="129"/>
                      <a:pt x="31" y="129"/>
                    </a:cubicBezTo>
                    <a:cubicBezTo>
                      <a:pt x="28" y="128"/>
                      <a:pt x="26" y="128"/>
                      <a:pt x="24" y="131"/>
                    </a:cubicBezTo>
                    <a:cubicBezTo>
                      <a:pt x="21" y="134"/>
                      <a:pt x="21" y="132"/>
                      <a:pt x="19" y="134"/>
                    </a:cubicBezTo>
                    <a:cubicBezTo>
                      <a:pt x="17" y="135"/>
                      <a:pt x="15" y="133"/>
                      <a:pt x="14" y="132"/>
                    </a:cubicBezTo>
                    <a:cubicBezTo>
                      <a:pt x="12" y="132"/>
                      <a:pt x="11" y="134"/>
                      <a:pt x="9" y="134"/>
                    </a:cubicBezTo>
                    <a:cubicBezTo>
                      <a:pt x="8" y="134"/>
                      <a:pt x="6" y="136"/>
                      <a:pt x="5" y="137"/>
                    </a:cubicBezTo>
                    <a:cubicBezTo>
                      <a:pt x="3" y="137"/>
                      <a:pt x="1" y="137"/>
                      <a:pt x="1" y="139"/>
                    </a:cubicBezTo>
                    <a:cubicBezTo>
                      <a:pt x="1" y="140"/>
                      <a:pt x="1" y="142"/>
                      <a:pt x="0" y="143"/>
                    </a:cubicBezTo>
                    <a:cubicBezTo>
                      <a:pt x="0" y="143"/>
                      <a:pt x="0" y="143"/>
                      <a:pt x="0" y="143"/>
                    </a:cubicBezTo>
                    <a:cubicBezTo>
                      <a:pt x="1" y="150"/>
                      <a:pt x="1" y="150"/>
                      <a:pt x="1" y="150"/>
                    </a:cubicBezTo>
                    <a:cubicBezTo>
                      <a:pt x="1" y="150"/>
                      <a:pt x="9" y="152"/>
                      <a:pt x="9" y="155"/>
                    </a:cubicBezTo>
                    <a:cubicBezTo>
                      <a:pt x="9" y="157"/>
                      <a:pt x="11" y="166"/>
                      <a:pt x="11" y="166"/>
                    </a:cubicBezTo>
                    <a:cubicBezTo>
                      <a:pt x="11" y="166"/>
                      <a:pt x="10" y="166"/>
                      <a:pt x="10" y="166"/>
                    </a:cubicBezTo>
                    <a:cubicBezTo>
                      <a:pt x="13" y="168"/>
                      <a:pt x="18" y="171"/>
                      <a:pt x="18" y="172"/>
                    </a:cubicBezTo>
                    <a:cubicBezTo>
                      <a:pt x="18" y="173"/>
                      <a:pt x="18" y="176"/>
                      <a:pt x="22" y="178"/>
                    </a:cubicBezTo>
                    <a:cubicBezTo>
                      <a:pt x="24" y="179"/>
                      <a:pt x="27" y="180"/>
                      <a:pt x="28" y="181"/>
                    </a:cubicBezTo>
                    <a:cubicBezTo>
                      <a:pt x="28" y="181"/>
                      <a:pt x="28" y="180"/>
                      <a:pt x="28" y="180"/>
                    </a:cubicBezTo>
                    <a:cubicBezTo>
                      <a:pt x="32" y="180"/>
                      <a:pt x="32" y="180"/>
                      <a:pt x="32" y="180"/>
                    </a:cubicBezTo>
                    <a:cubicBezTo>
                      <a:pt x="32" y="180"/>
                      <a:pt x="32" y="181"/>
                      <a:pt x="33" y="182"/>
                    </a:cubicBezTo>
                    <a:cubicBezTo>
                      <a:pt x="34" y="179"/>
                      <a:pt x="40" y="176"/>
                      <a:pt x="42" y="176"/>
                    </a:cubicBezTo>
                    <a:cubicBezTo>
                      <a:pt x="45" y="177"/>
                      <a:pt x="52" y="182"/>
                      <a:pt x="52" y="184"/>
                    </a:cubicBezTo>
                    <a:cubicBezTo>
                      <a:pt x="51" y="186"/>
                      <a:pt x="46" y="193"/>
                      <a:pt x="44" y="194"/>
                    </a:cubicBezTo>
                    <a:cubicBezTo>
                      <a:pt x="43" y="194"/>
                      <a:pt x="42" y="194"/>
                      <a:pt x="40" y="194"/>
                    </a:cubicBezTo>
                    <a:cubicBezTo>
                      <a:pt x="40" y="195"/>
                      <a:pt x="40" y="196"/>
                      <a:pt x="40" y="197"/>
                    </a:cubicBezTo>
                    <a:cubicBezTo>
                      <a:pt x="40" y="198"/>
                      <a:pt x="43" y="201"/>
                      <a:pt x="44" y="204"/>
                    </a:cubicBezTo>
                    <a:cubicBezTo>
                      <a:pt x="46" y="207"/>
                      <a:pt x="42" y="209"/>
                      <a:pt x="39" y="207"/>
                    </a:cubicBezTo>
                    <a:cubicBezTo>
                      <a:pt x="37" y="205"/>
                      <a:pt x="36" y="209"/>
                      <a:pt x="38" y="210"/>
                    </a:cubicBezTo>
                    <a:cubicBezTo>
                      <a:pt x="39" y="212"/>
                      <a:pt x="38" y="216"/>
                      <a:pt x="40" y="217"/>
                    </a:cubicBezTo>
                    <a:cubicBezTo>
                      <a:pt x="43" y="217"/>
                      <a:pt x="45" y="221"/>
                      <a:pt x="47" y="221"/>
                    </a:cubicBezTo>
                    <a:cubicBezTo>
                      <a:pt x="50" y="221"/>
                      <a:pt x="52" y="225"/>
                      <a:pt x="52" y="225"/>
                    </a:cubicBezTo>
                    <a:cubicBezTo>
                      <a:pt x="52" y="225"/>
                      <a:pt x="55" y="228"/>
                      <a:pt x="55" y="229"/>
                    </a:cubicBezTo>
                    <a:cubicBezTo>
                      <a:pt x="55" y="229"/>
                      <a:pt x="55" y="229"/>
                      <a:pt x="55" y="229"/>
                    </a:cubicBezTo>
                    <a:cubicBezTo>
                      <a:pt x="58" y="229"/>
                      <a:pt x="60" y="229"/>
                      <a:pt x="60" y="228"/>
                    </a:cubicBezTo>
                    <a:cubicBezTo>
                      <a:pt x="60" y="227"/>
                      <a:pt x="64" y="227"/>
                      <a:pt x="67" y="229"/>
                    </a:cubicBezTo>
                    <a:cubicBezTo>
                      <a:pt x="69" y="232"/>
                      <a:pt x="79" y="238"/>
                      <a:pt x="83" y="241"/>
                    </a:cubicBezTo>
                    <a:cubicBezTo>
                      <a:pt x="87" y="244"/>
                      <a:pt x="95" y="248"/>
                      <a:pt x="98" y="247"/>
                    </a:cubicBezTo>
                    <a:cubicBezTo>
                      <a:pt x="101" y="247"/>
                      <a:pt x="104" y="249"/>
                      <a:pt x="109" y="249"/>
                    </a:cubicBezTo>
                    <a:cubicBezTo>
                      <a:pt x="110" y="249"/>
                      <a:pt x="110" y="249"/>
                      <a:pt x="111" y="249"/>
                    </a:cubicBezTo>
                    <a:cubicBezTo>
                      <a:pt x="111" y="249"/>
                      <a:pt x="113" y="249"/>
                      <a:pt x="113" y="247"/>
                    </a:cubicBezTo>
                    <a:cubicBezTo>
                      <a:pt x="115" y="245"/>
                      <a:pt x="117" y="249"/>
                      <a:pt x="116" y="251"/>
                    </a:cubicBezTo>
                    <a:cubicBezTo>
                      <a:pt x="116" y="253"/>
                      <a:pt x="116" y="254"/>
                      <a:pt x="116" y="255"/>
                    </a:cubicBezTo>
                    <a:cubicBezTo>
                      <a:pt x="117" y="254"/>
                      <a:pt x="118" y="253"/>
                      <a:pt x="118" y="252"/>
                    </a:cubicBezTo>
                    <a:cubicBezTo>
                      <a:pt x="120" y="248"/>
                      <a:pt x="122" y="248"/>
                      <a:pt x="124" y="247"/>
                    </a:cubicBezTo>
                    <a:cubicBezTo>
                      <a:pt x="126" y="245"/>
                      <a:pt x="127" y="246"/>
                      <a:pt x="131" y="248"/>
                    </a:cubicBezTo>
                    <a:cubicBezTo>
                      <a:pt x="134" y="249"/>
                      <a:pt x="135" y="246"/>
                      <a:pt x="140" y="250"/>
                    </a:cubicBezTo>
                    <a:cubicBezTo>
                      <a:pt x="141" y="250"/>
                      <a:pt x="142" y="249"/>
                      <a:pt x="143" y="249"/>
                    </a:cubicBezTo>
                    <a:cubicBezTo>
                      <a:pt x="144" y="249"/>
                      <a:pt x="145" y="247"/>
                      <a:pt x="146" y="246"/>
                    </a:cubicBezTo>
                    <a:cubicBezTo>
                      <a:pt x="148" y="244"/>
                      <a:pt x="148" y="242"/>
                      <a:pt x="150" y="243"/>
                    </a:cubicBezTo>
                    <a:cubicBezTo>
                      <a:pt x="152" y="243"/>
                      <a:pt x="153" y="240"/>
                      <a:pt x="157" y="238"/>
                    </a:cubicBezTo>
                    <a:cubicBezTo>
                      <a:pt x="161" y="236"/>
                      <a:pt x="164" y="239"/>
                      <a:pt x="166" y="238"/>
                    </a:cubicBezTo>
                    <a:cubicBezTo>
                      <a:pt x="168" y="236"/>
                      <a:pt x="170" y="236"/>
                      <a:pt x="170" y="237"/>
                    </a:cubicBezTo>
                    <a:cubicBezTo>
                      <a:pt x="170" y="239"/>
                      <a:pt x="173" y="241"/>
                      <a:pt x="173" y="243"/>
                    </a:cubicBezTo>
                    <a:cubicBezTo>
                      <a:pt x="174" y="244"/>
                      <a:pt x="177" y="245"/>
                      <a:pt x="178" y="245"/>
                    </a:cubicBezTo>
                    <a:cubicBezTo>
                      <a:pt x="179" y="245"/>
                      <a:pt x="179" y="244"/>
                      <a:pt x="179" y="244"/>
                    </a:cubicBezTo>
                    <a:cubicBezTo>
                      <a:pt x="181" y="243"/>
                      <a:pt x="185" y="244"/>
                      <a:pt x="185" y="247"/>
                    </a:cubicBezTo>
                    <a:cubicBezTo>
                      <a:pt x="185" y="249"/>
                      <a:pt x="185" y="251"/>
                      <a:pt x="187" y="251"/>
                    </a:cubicBezTo>
                    <a:cubicBezTo>
                      <a:pt x="188" y="251"/>
                      <a:pt x="190" y="251"/>
                      <a:pt x="190" y="255"/>
                    </a:cubicBezTo>
                    <a:cubicBezTo>
                      <a:pt x="190" y="259"/>
                      <a:pt x="191" y="263"/>
                      <a:pt x="188" y="267"/>
                    </a:cubicBezTo>
                    <a:cubicBezTo>
                      <a:pt x="184" y="270"/>
                      <a:pt x="180" y="276"/>
                      <a:pt x="181" y="278"/>
                    </a:cubicBezTo>
                    <a:cubicBezTo>
                      <a:pt x="182" y="280"/>
                      <a:pt x="180" y="283"/>
                      <a:pt x="183" y="282"/>
                    </a:cubicBezTo>
                    <a:cubicBezTo>
                      <a:pt x="185" y="281"/>
                      <a:pt x="191" y="282"/>
                      <a:pt x="190" y="283"/>
                    </a:cubicBezTo>
                    <a:cubicBezTo>
                      <a:pt x="189" y="285"/>
                      <a:pt x="190" y="290"/>
                      <a:pt x="192" y="290"/>
                    </a:cubicBezTo>
                    <a:cubicBezTo>
                      <a:pt x="195" y="290"/>
                      <a:pt x="196" y="291"/>
                      <a:pt x="195" y="294"/>
                    </a:cubicBezTo>
                    <a:cubicBezTo>
                      <a:pt x="195" y="296"/>
                      <a:pt x="194" y="299"/>
                      <a:pt x="195" y="299"/>
                    </a:cubicBezTo>
                    <a:cubicBezTo>
                      <a:pt x="197" y="299"/>
                      <a:pt x="200" y="299"/>
                      <a:pt x="200" y="301"/>
                    </a:cubicBezTo>
                    <a:cubicBezTo>
                      <a:pt x="200" y="303"/>
                      <a:pt x="201" y="305"/>
                      <a:pt x="205" y="304"/>
                    </a:cubicBezTo>
                    <a:cubicBezTo>
                      <a:pt x="207" y="303"/>
                      <a:pt x="208" y="302"/>
                      <a:pt x="209" y="303"/>
                    </a:cubicBezTo>
                    <a:cubicBezTo>
                      <a:pt x="210" y="303"/>
                      <a:pt x="210" y="306"/>
                      <a:pt x="213" y="307"/>
                    </a:cubicBezTo>
                    <a:cubicBezTo>
                      <a:pt x="215" y="307"/>
                      <a:pt x="214" y="301"/>
                      <a:pt x="213" y="300"/>
                    </a:cubicBezTo>
                    <a:cubicBezTo>
                      <a:pt x="212" y="299"/>
                      <a:pt x="213" y="295"/>
                      <a:pt x="214" y="296"/>
                    </a:cubicBezTo>
                    <a:cubicBezTo>
                      <a:pt x="215" y="297"/>
                      <a:pt x="218" y="296"/>
                      <a:pt x="219" y="294"/>
                    </a:cubicBezTo>
                    <a:cubicBezTo>
                      <a:pt x="221" y="292"/>
                      <a:pt x="224" y="296"/>
                      <a:pt x="226" y="294"/>
                    </a:cubicBezTo>
                    <a:cubicBezTo>
                      <a:pt x="227" y="291"/>
                      <a:pt x="230" y="295"/>
                      <a:pt x="233" y="294"/>
                    </a:cubicBezTo>
                    <a:cubicBezTo>
                      <a:pt x="235" y="292"/>
                      <a:pt x="237" y="295"/>
                      <a:pt x="238" y="293"/>
                    </a:cubicBezTo>
                    <a:cubicBezTo>
                      <a:pt x="239" y="291"/>
                      <a:pt x="243" y="288"/>
                      <a:pt x="244" y="289"/>
                    </a:cubicBezTo>
                    <a:cubicBezTo>
                      <a:pt x="245" y="290"/>
                      <a:pt x="246" y="291"/>
                      <a:pt x="251" y="292"/>
                    </a:cubicBezTo>
                    <a:cubicBezTo>
                      <a:pt x="256" y="293"/>
                      <a:pt x="253" y="295"/>
                      <a:pt x="253" y="297"/>
                    </a:cubicBezTo>
                    <a:cubicBezTo>
                      <a:pt x="253" y="298"/>
                      <a:pt x="259" y="303"/>
                      <a:pt x="261" y="303"/>
                    </a:cubicBezTo>
                    <a:cubicBezTo>
                      <a:pt x="262" y="303"/>
                      <a:pt x="262" y="303"/>
                      <a:pt x="263" y="304"/>
                    </a:cubicBezTo>
                    <a:cubicBezTo>
                      <a:pt x="264" y="303"/>
                      <a:pt x="267" y="305"/>
                      <a:pt x="268" y="303"/>
                    </a:cubicBezTo>
                    <a:cubicBezTo>
                      <a:pt x="268" y="301"/>
                      <a:pt x="271" y="301"/>
                      <a:pt x="272" y="303"/>
                    </a:cubicBezTo>
                    <a:cubicBezTo>
                      <a:pt x="273" y="305"/>
                      <a:pt x="274" y="305"/>
                      <a:pt x="277" y="303"/>
                    </a:cubicBezTo>
                    <a:cubicBezTo>
                      <a:pt x="279" y="301"/>
                      <a:pt x="280" y="305"/>
                      <a:pt x="279" y="306"/>
                    </a:cubicBezTo>
                    <a:cubicBezTo>
                      <a:pt x="277" y="308"/>
                      <a:pt x="278" y="311"/>
                      <a:pt x="281" y="313"/>
                    </a:cubicBezTo>
                    <a:cubicBezTo>
                      <a:pt x="283" y="316"/>
                      <a:pt x="283" y="312"/>
                      <a:pt x="283" y="310"/>
                    </a:cubicBezTo>
                    <a:cubicBezTo>
                      <a:pt x="282" y="308"/>
                      <a:pt x="287" y="306"/>
                      <a:pt x="294" y="303"/>
                    </a:cubicBezTo>
                    <a:cubicBezTo>
                      <a:pt x="302" y="301"/>
                      <a:pt x="310" y="295"/>
                      <a:pt x="310" y="294"/>
                    </a:cubicBezTo>
                    <a:cubicBezTo>
                      <a:pt x="310" y="293"/>
                      <a:pt x="315" y="296"/>
                      <a:pt x="318" y="294"/>
                    </a:cubicBezTo>
                    <a:cubicBezTo>
                      <a:pt x="320" y="292"/>
                      <a:pt x="329" y="292"/>
                      <a:pt x="331" y="292"/>
                    </a:cubicBezTo>
                    <a:cubicBezTo>
                      <a:pt x="334" y="292"/>
                      <a:pt x="334" y="290"/>
                      <a:pt x="336" y="288"/>
                    </a:cubicBezTo>
                    <a:cubicBezTo>
                      <a:pt x="339" y="286"/>
                      <a:pt x="338" y="285"/>
                      <a:pt x="341" y="284"/>
                    </a:cubicBezTo>
                    <a:cubicBezTo>
                      <a:pt x="344" y="283"/>
                      <a:pt x="346" y="281"/>
                      <a:pt x="346" y="279"/>
                    </a:cubicBezTo>
                    <a:cubicBezTo>
                      <a:pt x="346" y="278"/>
                      <a:pt x="351" y="277"/>
                      <a:pt x="351" y="276"/>
                    </a:cubicBezTo>
                    <a:cubicBezTo>
                      <a:pt x="351" y="274"/>
                      <a:pt x="355" y="274"/>
                      <a:pt x="355" y="272"/>
                    </a:cubicBezTo>
                    <a:cubicBezTo>
                      <a:pt x="355" y="270"/>
                      <a:pt x="358" y="270"/>
                      <a:pt x="359" y="269"/>
                    </a:cubicBezTo>
                    <a:cubicBezTo>
                      <a:pt x="360" y="267"/>
                      <a:pt x="358" y="263"/>
                      <a:pt x="360" y="263"/>
                    </a:cubicBezTo>
                    <a:cubicBezTo>
                      <a:pt x="362" y="262"/>
                      <a:pt x="359" y="260"/>
                      <a:pt x="359" y="259"/>
                    </a:cubicBezTo>
                    <a:cubicBezTo>
                      <a:pt x="358" y="258"/>
                      <a:pt x="362" y="257"/>
                      <a:pt x="364" y="256"/>
                    </a:cubicBezTo>
                    <a:cubicBezTo>
                      <a:pt x="366" y="255"/>
                      <a:pt x="368" y="253"/>
                      <a:pt x="368" y="251"/>
                    </a:cubicBezTo>
                    <a:cubicBezTo>
                      <a:pt x="368" y="248"/>
                      <a:pt x="372" y="246"/>
                      <a:pt x="373" y="246"/>
                    </a:cubicBezTo>
                    <a:cubicBezTo>
                      <a:pt x="375" y="245"/>
                      <a:pt x="375" y="242"/>
                      <a:pt x="375" y="239"/>
                    </a:cubicBezTo>
                    <a:cubicBezTo>
                      <a:pt x="374" y="236"/>
                      <a:pt x="378" y="237"/>
                      <a:pt x="376" y="236"/>
                    </a:cubicBezTo>
                    <a:cubicBezTo>
                      <a:pt x="375" y="235"/>
                      <a:pt x="377" y="232"/>
                      <a:pt x="380" y="231"/>
                    </a:cubicBezTo>
                    <a:cubicBezTo>
                      <a:pt x="382" y="230"/>
                      <a:pt x="378" y="229"/>
                      <a:pt x="376" y="230"/>
                    </a:cubicBezTo>
                    <a:cubicBezTo>
                      <a:pt x="375" y="231"/>
                      <a:pt x="373" y="227"/>
                      <a:pt x="372" y="229"/>
                    </a:cubicBezTo>
                    <a:cubicBezTo>
                      <a:pt x="370" y="230"/>
                      <a:pt x="366" y="228"/>
                      <a:pt x="369" y="227"/>
                    </a:cubicBezTo>
                    <a:cubicBezTo>
                      <a:pt x="371" y="226"/>
                      <a:pt x="375" y="223"/>
                      <a:pt x="377" y="223"/>
                    </a:cubicBezTo>
                    <a:cubicBezTo>
                      <a:pt x="379" y="222"/>
                      <a:pt x="375" y="218"/>
                      <a:pt x="372" y="218"/>
                    </a:cubicBezTo>
                    <a:cubicBezTo>
                      <a:pt x="370" y="218"/>
                      <a:pt x="368" y="213"/>
                      <a:pt x="365" y="213"/>
                    </a:cubicBezTo>
                    <a:cubicBezTo>
                      <a:pt x="363" y="213"/>
                      <a:pt x="367" y="211"/>
                      <a:pt x="370" y="213"/>
                    </a:cubicBezTo>
                    <a:cubicBezTo>
                      <a:pt x="372" y="214"/>
                      <a:pt x="376" y="216"/>
                      <a:pt x="377" y="214"/>
                    </a:cubicBezTo>
                    <a:cubicBezTo>
                      <a:pt x="378" y="213"/>
                      <a:pt x="372" y="208"/>
                      <a:pt x="370" y="207"/>
                    </a:cubicBezTo>
                    <a:cubicBezTo>
                      <a:pt x="368" y="205"/>
                      <a:pt x="370" y="203"/>
                      <a:pt x="369" y="202"/>
                    </a:cubicBezTo>
                    <a:cubicBezTo>
                      <a:pt x="367" y="201"/>
                      <a:pt x="364" y="195"/>
                      <a:pt x="363" y="192"/>
                    </a:cubicBezTo>
                    <a:cubicBezTo>
                      <a:pt x="363" y="189"/>
                      <a:pt x="358" y="189"/>
                      <a:pt x="356" y="187"/>
                    </a:cubicBezTo>
                    <a:cubicBezTo>
                      <a:pt x="355" y="185"/>
                      <a:pt x="356" y="181"/>
                      <a:pt x="360" y="180"/>
                    </a:cubicBezTo>
                    <a:cubicBezTo>
                      <a:pt x="364" y="178"/>
                      <a:pt x="362" y="175"/>
                      <a:pt x="364" y="175"/>
                    </a:cubicBezTo>
                    <a:cubicBezTo>
                      <a:pt x="366" y="176"/>
                      <a:pt x="367" y="175"/>
                      <a:pt x="368" y="172"/>
                    </a:cubicBezTo>
                    <a:cubicBezTo>
                      <a:pt x="370" y="170"/>
                      <a:pt x="372" y="171"/>
                      <a:pt x="373" y="170"/>
                    </a:cubicBezTo>
                    <a:cubicBezTo>
                      <a:pt x="375" y="168"/>
                      <a:pt x="380" y="168"/>
                      <a:pt x="382" y="167"/>
                    </a:cubicBezTo>
                    <a:cubicBezTo>
                      <a:pt x="384" y="166"/>
                      <a:pt x="380" y="161"/>
                      <a:pt x="378" y="162"/>
                    </a:cubicBezTo>
                    <a:cubicBezTo>
                      <a:pt x="375" y="163"/>
                      <a:pt x="372" y="162"/>
                      <a:pt x="370" y="159"/>
                    </a:cubicBezTo>
                    <a:cubicBezTo>
                      <a:pt x="368" y="156"/>
                      <a:pt x="363" y="164"/>
                      <a:pt x="359" y="166"/>
                    </a:cubicBezTo>
                    <a:cubicBezTo>
                      <a:pt x="355" y="167"/>
                      <a:pt x="353" y="162"/>
                      <a:pt x="354" y="159"/>
                    </a:cubicBezTo>
                    <a:cubicBezTo>
                      <a:pt x="356" y="156"/>
                      <a:pt x="351" y="156"/>
                      <a:pt x="346" y="156"/>
                    </a:cubicBezTo>
                    <a:cubicBezTo>
                      <a:pt x="341" y="157"/>
                      <a:pt x="343" y="147"/>
                      <a:pt x="346" y="146"/>
                    </a:cubicBezTo>
                    <a:cubicBezTo>
                      <a:pt x="349" y="146"/>
                      <a:pt x="354" y="149"/>
                      <a:pt x="356" y="143"/>
                    </a:cubicBezTo>
                    <a:cubicBezTo>
                      <a:pt x="358" y="138"/>
                      <a:pt x="361" y="142"/>
                      <a:pt x="365" y="137"/>
                    </a:cubicBezTo>
                    <a:cubicBezTo>
                      <a:pt x="370" y="132"/>
                      <a:pt x="375" y="128"/>
                      <a:pt x="379" y="132"/>
                    </a:cubicBezTo>
                    <a:cubicBezTo>
                      <a:pt x="383" y="135"/>
                      <a:pt x="375" y="140"/>
                      <a:pt x="373" y="143"/>
                    </a:cubicBezTo>
                    <a:cubicBezTo>
                      <a:pt x="372" y="145"/>
                      <a:pt x="375" y="146"/>
                      <a:pt x="372" y="149"/>
                    </a:cubicBezTo>
                    <a:cubicBezTo>
                      <a:pt x="370" y="151"/>
                      <a:pt x="373" y="152"/>
                      <a:pt x="378" y="149"/>
                    </a:cubicBezTo>
                    <a:cubicBezTo>
                      <a:pt x="382" y="146"/>
                      <a:pt x="388" y="142"/>
                      <a:pt x="393" y="140"/>
                    </a:cubicBezTo>
                    <a:cubicBezTo>
                      <a:pt x="394" y="140"/>
                      <a:pt x="395" y="140"/>
                      <a:pt x="396" y="140"/>
                    </a:cubicBezTo>
                    <a:cubicBezTo>
                      <a:pt x="397" y="138"/>
                      <a:pt x="398" y="137"/>
                      <a:pt x="399" y="136"/>
                    </a:cubicBezTo>
                    <a:cubicBezTo>
                      <a:pt x="402" y="135"/>
                      <a:pt x="412" y="130"/>
                      <a:pt x="414" y="128"/>
                    </a:cubicBezTo>
                    <a:cubicBezTo>
                      <a:pt x="415" y="126"/>
                      <a:pt x="417" y="122"/>
                      <a:pt x="419" y="122"/>
                    </a:cubicBezTo>
                    <a:cubicBezTo>
                      <a:pt x="421" y="122"/>
                      <a:pt x="421" y="124"/>
                      <a:pt x="424" y="124"/>
                    </a:cubicBezTo>
                    <a:cubicBezTo>
                      <a:pt x="427" y="124"/>
                      <a:pt x="431" y="125"/>
                      <a:pt x="429" y="123"/>
                    </a:cubicBezTo>
                    <a:cubicBezTo>
                      <a:pt x="428" y="120"/>
                      <a:pt x="429" y="120"/>
                      <a:pt x="432" y="120"/>
                    </a:cubicBezTo>
                    <a:cubicBezTo>
                      <a:pt x="436" y="119"/>
                      <a:pt x="436" y="116"/>
                      <a:pt x="438" y="116"/>
                    </a:cubicBezTo>
                    <a:cubicBezTo>
                      <a:pt x="441" y="116"/>
                      <a:pt x="440" y="109"/>
                      <a:pt x="443" y="109"/>
                    </a:cubicBezTo>
                    <a:cubicBezTo>
                      <a:pt x="445" y="109"/>
                      <a:pt x="446" y="113"/>
                      <a:pt x="450" y="112"/>
                    </a:cubicBezTo>
                    <a:cubicBezTo>
                      <a:pt x="450" y="112"/>
                      <a:pt x="451" y="112"/>
                      <a:pt x="452" y="112"/>
                    </a:cubicBezTo>
                    <a:cubicBezTo>
                      <a:pt x="452" y="112"/>
                      <a:pt x="453" y="111"/>
                      <a:pt x="454" y="111"/>
                    </a:cubicBezTo>
                    <a:cubicBezTo>
                      <a:pt x="453" y="107"/>
                      <a:pt x="454" y="105"/>
                      <a:pt x="453" y="103"/>
                    </a:cubicBezTo>
                    <a:cubicBezTo>
                      <a:pt x="452" y="100"/>
                      <a:pt x="453" y="98"/>
                      <a:pt x="453" y="96"/>
                    </a:cubicBezTo>
                    <a:cubicBezTo>
                      <a:pt x="452" y="95"/>
                      <a:pt x="452" y="91"/>
                      <a:pt x="454" y="91"/>
                    </a:cubicBezTo>
                    <a:cubicBezTo>
                      <a:pt x="456" y="91"/>
                      <a:pt x="458" y="86"/>
                      <a:pt x="460" y="88"/>
                    </a:cubicBezTo>
                    <a:cubicBezTo>
                      <a:pt x="463" y="89"/>
                      <a:pt x="468" y="90"/>
                      <a:pt x="468" y="88"/>
                    </a:cubicBezTo>
                    <a:cubicBezTo>
                      <a:pt x="468" y="85"/>
                      <a:pt x="471" y="85"/>
                      <a:pt x="471" y="82"/>
                    </a:cubicBezTo>
                    <a:cubicBezTo>
                      <a:pt x="472" y="80"/>
                      <a:pt x="475" y="79"/>
                      <a:pt x="476" y="76"/>
                    </a:cubicBezTo>
                    <a:cubicBezTo>
                      <a:pt x="477" y="74"/>
                      <a:pt x="478" y="67"/>
                      <a:pt x="480" y="66"/>
                    </a:cubicBezTo>
                    <a:cubicBezTo>
                      <a:pt x="483" y="65"/>
                      <a:pt x="480" y="64"/>
                      <a:pt x="480" y="59"/>
                    </a:cubicBezTo>
                    <a:close/>
                    <a:moveTo>
                      <a:pt x="364" y="284"/>
                    </a:moveTo>
                    <a:cubicBezTo>
                      <a:pt x="361" y="294"/>
                      <a:pt x="367" y="299"/>
                      <a:pt x="368" y="298"/>
                    </a:cubicBezTo>
                    <a:cubicBezTo>
                      <a:pt x="370" y="297"/>
                      <a:pt x="380" y="276"/>
                      <a:pt x="378" y="273"/>
                    </a:cubicBezTo>
                    <a:cubicBezTo>
                      <a:pt x="376" y="270"/>
                      <a:pt x="366" y="275"/>
                      <a:pt x="364" y="284"/>
                    </a:cubicBezTo>
                    <a:close/>
                    <a:moveTo>
                      <a:pt x="279" y="317"/>
                    </a:moveTo>
                    <a:cubicBezTo>
                      <a:pt x="276" y="317"/>
                      <a:pt x="268" y="321"/>
                      <a:pt x="271" y="328"/>
                    </a:cubicBezTo>
                    <a:cubicBezTo>
                      <a:pt x="274" y="334"/>
                      <a:pt x="284" y="330"/>
                      <a:pt x="285" y="327"/>
                    </a:cubicBezTo>
                    <a:cubicBezTo>
                      <a:pt x="285" y="324"/>
                      <a:pt x="289" y="320"/>
                      <a:pt x="289" y="318"/>
                    </a:cubicBezTo>
                    <a:cubicBezTo>
                      <a:pt x="288" y="316"/>
                      <a:pt x="282" y="317"/>
                      <a:pt x="279" y="31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3" name="Freeform 151">
                <a:extLst>
                  <a:ext uri="{FF2B5EF4-FFF2-40B4-BE49-F238E27FC236}">
                    <a16:creationId xmlns:a16="http://schemas.microsoft.com/office/drawing/2014/main" id="{EABF83F1-A835-4E17-837E-E9BE598C81F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74079" y="3738475"/>
                <a:ext cx="179426" cy="250945"/>
              </a:xfrm>
              <a:custGeom>
                <a:avLst/>
                <a:gdLst>
                  <a:gd name="T0" fmla="*/ 41 w 78"/>
                  <a:gd name="T1" fmla="*/ 42 h 109"/>
                  <a:gd name="T2" fmla="*/ 51 w 78"/>
                  <a:gd name="T3" fmla="*/ 49 h 109"/>
                  <a:gd name="T4" fmla="*/ 53 w 78"/>
                  <a:gd name="T5" fmla="*/ 56 h 109"/>
                  <a:gd name="T6" fmla="*/ 57 w 78"/>
                  <a:gd name="T7" fmla="*/ 60 h 109"/>
                  <a:gd name="T8" fmla="*/ 61 w 78"/>
                  <a:gd name="T9" fmla="*/ 70 h 109"/>
                  <a:gd name="T10" fmla="*/ 63 w 78"/>
                  <a:gd name="T11" fmla="*/ 68 h 109"/>
                  <a:gd name="T12" fmla="*/ 67 w 78"/>
                  <a:gd name="T13" fmla="*/ 63 h 109"/>
                  <a:gd name="T14" fmla="*/ 65 w 78"/>
                  <a:gd name="T15" fmla="*/ 53 h 109"/>
                  <a:gd name="T16" fmla="*/ 56 w 78"/>
                  <a:gd name="T17" fmla="*/ 47 h 109"/>
                  <a:gd name="T18" fmla="*/ 50 w 78"/>
                  <a:gd name="T19" fmla="*/ 40 h 109"/>
                  <a:gd name="T20" fmla="*/ 39 w 78"/>
                  <a:gd name="T21" fmla="*/ 38 h 109"/>
                  <a:gd name="T22" fmla="*/ 35 w 78"/>
                  <a:gd name="T23" fmla="*/ 30 h 109"/>
                  <a:gd name="T24" fmla="*/ 41 w 78"/>
                  <a:gd name="T25" fmla="*/ 19 h 109"/>
                  <a:gd name="T26" fmla="*/ 40 w 78"/>
                  <a:gd name="T27" fmla="*/ 6 h 109"/>
                  <a:gd name="T28" fmla="*/ 39 w 78"/>
                  <a:gd name="T29" fmla="*/ 3 h 109"/>
                  <a:gd name="T30" fmla="*/ 27 w 78"/>
                  <a:gd name="T31" fmla="*/ 2 h 109"/>
                  <a:gd name="T32" fmla="*/ 25 w 78"/>
                  <a:gd name="T33" fmla="*/ 21 h 109"/>
                  <a:gd name="T34" fmla="*/ 22 w 78"/>
                  <a:gd name="T35" fmla="*/ 20 h 109"/>
                  <a:gd name="T36" fmla="*/ 24 w 78"/>
                  <a:gd name="T37" fmla="*/ 31 h 109"/>
                  <a:gd name="T38" fmla="*/ 26 w 78"/>
                  <a:gd name="T39" fmla="*/ 37 h 109"/>
                  <a:gd name="T40" fmla="*/ 34 w 78"/>
                  <a:gd name="T41" fmla="*/ 40 h 109"/>
                  <a:gd name="T42" fmla="*/ 41 w 78"/>
                  <a:gd name="T43" fmla="*/ 42 h 109"/>
                  <a:gd name="T44" fmla="*/ 26 w 78"/>
                  <a:gd name="T45" fmla="*/ 44 h 109"/>
                  <a:gd name="T46" fmla="*/ 34 w 78"/>
                  <a:gd name="T47" fmla="*/ 53 h 109"/>
                  <a:gd name="T48" fmla="*/ 26 w 78"/>
                  <a:gd name="T49" fmla="*/ 44 h 109"/>
                  <a:gd name="T50" fmla="*/ 39 w 78"/>
                  <a:gd name="T51" fmla="*/ 67 h 109"/>
                  <a:gd name="T52" fmla="*/ 44 w 78"/>
                  <a:gd name="T53" fmla="*/ 65 h 109"/>
                  <a:gd name="T54" fmla="*/ 44 w 78"/>
                  <a:gd name="T55" fmla="*/ 71 h 109"/>
                  <a:gd name="T56" fmla="*/ 46 w 78"/>
                  <a:gd name="T57" fmla="*/ 80 h 109"/>
                  <a:gd name="T58" fmla="*/ 54 w 78"/>
                  <a:gd name="T59" fmla="*/ 67 h 109"/>
                  <a:gd name="T60" fmla="*/ 51 w 78"/>
                  <a:gd name="T61" fmla="*/ 66 h 109"/>
                  <a:gd name="T62" fmla="*/ 39 w 78"/>
                  <a:gd name="T63" fmla="*/ 56 h 109"/>
                  <a:gd name="T64" fmla="*/ 39 w 78"/>
                  <a:gd name="T65" fmla="*/ 67 h 109"/>
                  <a:gd name="T66" fmla="*/ 11 w 78"/>
                  <a:gd name="T67" fmla="*/ 72 h 109"/>
                  <a:gd name="T68" fmla="*/ 1 w 78"/>
                  <a:gd name="T69" fmla="*/ 85 h 109"/>
                  <a:gd name="T70" fmla="*/ 16 w 78"/>
                  <a:gd name="T71" fmla="*/ 72 h 109"/>
                  <a:gd name="T72" fmla="*/ 18 w 78"/>
                  <a:gd name="T73" fmla="*/ 63 h 109"/>
                  <a:gd name="T74" fmla="*/ 11 w 78"/>
                  <a:gd name="T75" fmla="*/ 72 h 109"/>
                  <a:gd name="T76" fmla="*/ 54 w 78"/>
                  <a:gd name="T77" fmla="*/ 77 h 109"/>
                  <a:gd name="T78" fmla="*/ 60 w 78"/>
                  <a:gd name="T79" fmla="*/ 73 h 109"/>
                  <a:gd name="T80" fmla="*/ 54 w 78"/>
                  <a:gd name="T81" fmla="*/ 77 h 109"/>
                  <a:gd name="T82" fmla="*/ 75 w 78"/>
                  <a:gd name="T83" fmla="*/ 95 h 109"/>
                  <a:gd name="T84" fmla="*/ 73 w 78"/>
                  <a:gd name="T85" fmla="*/ 77 h 109"/>
                  <a:gd name="T86" fmla="*/ 68 w 78"/>
                  <a:gd name="T87" fmla="*/ 77 h 109"/>
                  <a:gd name="T88" fmla="*/ 63 w 78"/>
                  <a:gd name="T89" fmla="*/ 81 h 109"/>
                  <a:gd name="T90" fmla="*/ 58 w 78"/>
                  <a:gd name="T91" fmla="*/ 85 h 109"/>
                  <a:gd name="T92" fmla="*/ 51 w 78"/>
                  <a:gd name="T93" fmla="*/ 83 h 109"/>
                  <a:gd name="T94" fmla="*/ 42 w 78"/>
                  <a:gd name="T95" fmla="*/ 88 h 109"/>
                  <a:gd name="T96" fmla="*/ 39 w 78"/>
                  <a:gd name="T97" fmla="*/ 97 h 109"/>
                  <a:gd name="T98" fmla="*/ 46 w 78"/>
                  <a:gd name="T99" fmla="*/ 93 h 109"/>
                  <a:gd name="T100" fmla="*/ 52 w 78"/>
                  <a:gd name="T101" fmla="*/ 91 h 109"/>
                  <a:gd name="T102" fmla="*/ 58 w 78"/>
                  <a:gd name="T103" fmla="*/ 105 h 109"/>
                  <a:gd name="T104" fmla="*/ 67 w 78"/>
                  <a:gd name="T105" fmla="*/ 109 h 109"/>
                  <a:gd name="T106" fmla="*/ 67 w 78"/>
                  <a:gd name="T107" fmla="*/ 99 h 109"/>
                  <a:gd name="T108" fmla="*/ 75 w 78"/>
                  <a:gd name="T109" fmla="*/ 95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78" h="109">
                    <a:moveTo>
                      <a:pt x="41" y="42"/>
                    </a:moveTo>
                    <a:cubicBezTo>
                      <a:pt x="46" y="41"/>
                      <a:pt x="52" y="47"/>
                      <a:pt x="51" y="49"/>
                    </a:cubicBezTo>
                    <a:cubicBezTo>
                      <a:pt x="50" y="51"/>
                      <a:pt x="51" y="58"/>
                      <a:pt x="53" y="56"/>
                    </a:cubicBezTo>
                    <a:cubicBezTo>
                      <a:pt x="56" y="54"/>
                      <a:pt x="59" y="57"/>
                      <a:pt x="57" y="60"/>
                    </a:cubicBezTo>
                    <a:cubicBezTo>
                      <a:pt x="55" y="63"/>
                      <a:pt x="60" y="66"/>
                      <a:pt x="61" y="70"/>
                    </a:cubicBezTo>
                    <a:cubicBezTo>
                      <a:pt x="62" y="74"/>
                      <a:pt x="64" y="71"/>
                      <a:pt x="63" y="68"/>
                    </a:cubicBezTo>
                    <a:cubicBezTo>
                      <a:pt x="63" y="65"/>
                      <a:pt x="64" y="65"/>
                      <a:pt x="67" y="63"/>
                    </a:cubicBezTo>
                    <a:cubicBezTo>
                      <a:pt x="70" y="61"/>
                      <a:pt x="67" y="57"/>
                      <a:pt x="65" y="53"/>
                    </a:cubicBezTo>
                    <a:cubicBezTo>
                      <a:pt x="63" y="49"/>
                      <a:pt x="56" y="51"/>
                      <a:pt x="56" y="47"/>
                    </a:cubicBezTo>
                    <a:cubicBezTo>
                      <a:pt x="56" y="43"/>
                      <a:pt x="51" y="42"/>
                      <a:pt x="50" y="40"/>
                    </a:cubicBezTo>
                    <a:cubicBezTo>
                      <a:pt x="50" y="38"/>
                      <a:pt x="43" y="35"/>
                      <a:pt x="39" y="38"/>
                    </a:cubicBezTo>
                    <a:cubicBezTo>
                      <a:pt x="35" y="40"/>
                      <a:pt x="38" y="34"/>
                      <a:pt x="35" y="30"/>
                    </a:cubicBezTo>
                    <a:cubicBezTo>
                      <a:pt x="32" y="27"/>
                      <a:pt x="37" y="23"/>
                      <a:pt x="41" y="19"/>
                    </a:cubicBezTo>
                    <a:cubicBezTo>
                      <a:pt x="44" y="15"/>
                      <a:pt x="40" y="9"/>
                      <a:pt x="40" y="6"/>
                    </a:cubicBezTo>
                    <a:cubicBezTo>
                      <a:pt x="41" y="3"/>
                      <a:pt x="40" y="2"/>
                      <a:pt x="39" y="3"/>
                    </a:cubicBezTo>
                    <a:cubicBezTo>
                      <a:pt x="37" y="4"/>
                      <a:pt x="30" y="0"/>
                      <a:pt x="27" y="2"/>
                    </a:cubicBezTo>
                    <a:cubicBezTo>
                      <a:pt x="24" y="4"/>
                      <a:pt x="27" y="20"/>
                      <a:pt x="25" y="21"/>
                    </a:cubicBezTo>
                    <a:cubicBezTo>
                      <a:pt x="24" y="22"/>
                      <a:pt x="22" y="18"/>
                      <a:pt x="22" y="20"/>
                    </a:cubicBezTo>
                    <a:cubicBezTo>
                      <a:pt x="21" y="22"/>
                      <a:pt x="22" y="31"/>
                      <a:pt x="24" y="31"/>
                    </a:cubicBezTo>
                    <a:cubicBezTo>
                      <a:pt x="26" y="31"/>
                      <a:pt x="27" y="33"/>
                      <a:pt x="26" y="37"/>
                    </a:cubicBezTo>
                    <a:cubicBezTo>
                      <a:pt x="25" y="41"/>
                      <a:pt x="29" y="41"/>
                      <a:pt x="34" y="40"/>
                    </a:cubicBezTo>
                    <a:cubicBezTo>
                      <a:pt x="39" y="38"/>
                      <a:pt x="37" y="43"/>
                      <a:pt x="41" y="42"/>
                    </a:cubicBezTo>
                    <a:close/>
                    <a:moveTo>
                      <a:pt x="26" y="44"/>
                    </a:moveTo>
                    <a:cubicBezTo>
                      <a:pt x="27" y="48"/>
                      <a:pt x="29" y="54"/>
                      <a:pt x="34" y="53"/>
                    </a:cubicBezTo>
                    <a:cubicBezTo>
                      <a:pt x="39" y="51"/>
                      <a:pt x="26" y="42"/>
                      <a:pt x="26" y="44"/>
                    </a:cubicBezTo>
                    <a:close/>
                    <a:moveTo>
                      <a:pt x="39" y="67"/>
                    </a:moveTo>
                    <a:cubicBezTo>
                      <a:pt x="41" y="67"/>
                      <a:pt x="44" y="67"/>
                      <a:pt x="44" y="65"/>
                    </a:cubicBezTo>
                    <a:cubicBezTo>
                      <a:pt x="44" y="63"/>
                      <a:pt x="47" y="69"/>
                      <a:pt x="44" y="71"/>
                    </a:cubicBezTo>
                    <a:cubicBezTo>
                      <a:pt x="42" y="73"/>
                      <a:pt x="42" y="79"/>
                      <a:pt x="46" y="80"/>
                    </a:cubicBezTo>
                    <a:cubicBezTo>
                      <a:pt x="49" y="81"/>
                      <a:pt x="55" y="69"/>
                      <a:pt x="54" y="67"/>
                    </a:cubicBezTo>
                    <a:cubicBezTo>
                      <a:pt x="53" y="65"/>
                      <a:pt x="50" y="69"/>
                      <a:pt x="51" y="66"/>
                    </a:cubicBezTo>
                    <a:cubicBezTo>
                      <a:pt x="52" y="63"/>
                      <a:pt x="43" y="56"/>
                      <a:pt x="39" y="56"/>
                    </a:cubicBezTo>
                    <a:cubicBezTo>
                      <a:pt x="35" y="57"/>
                      <a:pt x="37" y="68"/>
                      <a:pt x="39" y="67"/>
                    </a:cubicBezTo>
                    <a:close/>
                    <a:moveTo>
                      <a:pt x="11" y="72"/>
                    </a:moveTo>
                    <a:cubicBezTo>
                      <a:pt x="8" y="76"/>
                      <a:pt x="0" y="83"/>
                      <a:pt x="1" y="85"/>
                    </a:cubicBezTo>
                    <a:cubicBezTo>
                      <a:pt x="3" y="88"/>
                      <a:pt x="11" y="75"/>
                      <a:pt x="16" y="72"/>
                    </a:cubicBezTo>
                    <a:cubicBezTo>
                      <a:pt x="20" y="68"/>
                      <a:pt x="19" y="66"/>
                      <a:pt x="18" y="63"/>
                    </a:cubicBezTo>
                    <a:cubicBezTo>
                      <a:pt x="16" y="60"/>
                      <a:pt x="15" y="68"/>
                      <a:pt x="11" y="72"/>
                    </a:cubicBezTo>
                    <a:close/>
                    <a:moveTo>
                      <a:pt x="54" y="77"/>
                    </a:moveTo>
                    <a:cubicBezTo>
                      <a:pt x="55" y="79"/>
                      <a:pt x="62" y="75"/>
                      <a:pt x="60" y="73"/>
                    </a:cubicBezTo>
                    <a:cubicBezTo>
                      <a:pt x="58" y="70"/>
                      <a:pt x="53" y="75"/>
                      <a:pt x="54" y="77"/>
                    </a:cubicBezTo>
                    <a:close/>
                    <a:moveTo>
                      <a:pt x="75" y="95"/>
                    </a:moveTo>
                    <a:cubicBezTo>
                      <a:pt x="78" y="92"/>
                      <a:pt x="73" y="83"/>
                      <a:pt x="73" y="77"/>
                    </a:cubicBezTo>
                    <a:cubicBezTo>
                      <a:pt x="73" y="72"/>
                      <a:pt x="65" y="73"/>
                      <a:pt x="68" y="77"/>
                    </a:cubicBezTo>
                    <a:cubicBezTo>
                      <a:pt x="70" y="80"/>
                      <a:pt x="63" y="78"/>
                      <a:pt x="63" y="81"/>
                    </a:cubicBezTo>
                    <a:cubicBezTo>
                      <a:pt x="63" y="85"/>
                      <a:pt x="58" y="82"/>
                      <a:pt x="58" y="85"/>
                    </a:cubicBezTo>
                    <a:cubicBezTo>
                      <a:pt x="58" y="88"/>
                      <a:pt x="53" y="85"/>
                      <a:pt x="51" y="83"/>
                    </a:cubicBezTo>
                    <a:cubicBezTo>
                      <a:pt x="49" y="81"/>
                      <a:pt x="45" y="88"/>
                      <a:pt x="42" y="88"/>
                    </a:cubicBezTo>
                    <a:cubicBezTo>
                      <a:pt x="38" y="89"/>
                      <a:pt x="36" y="97"/>
                      <a:pt x="39" y="97"/>
                    </a:cubicBezTo>
                    <a:cubicBezTo>
                      <a:pt x="42" y="97"/>
                      <a:pt x="43" y="93"/>
                      <a:pt x="46" y="93"/>
                    </a:cubicBezTo>
                    <a:cubicBezTo>
                      <a:pt x="49" y="93"/>
                      <a:pt x="48" y="90"/>
                      <a:pt x="52" y="91"/>
                    </a:cubicBezTo>
                    <a:cubicBezTo>
                      <a:pt x="56" y="92"/>
                      <a:pt x="53" y="104"/>
                      <a:pt x="58" y="105"/>
                    </a:cubicBezTo>
                    <a:cubicBezTo>
                      <a:pt x="64" y="106"/>
                      <a:pt x="64" y="109"/>
                      <a:pt x="67" y="109"/>
                    </a:cubicBezTo>
                    <a:cubicBezTo>
                      <a:pt x="69" y="109"/>
                      <a:pt x="66" y="101"/>
                      <a:pt x="67" y="99"/>
                    </a:cubicBezTo>
                    <a:cubicBezTo>
                      <a:pt x="67" y="96"/>
                      <a:pt x="72" y="98"/>
                      <a:pt x="75" y="9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4" name="Freeform 152">
                <a:extLst>
                  <a:ext uri="{FF2B5EF4-FFF2-40B4-BE49-F238E27FC236}">
                    <a16:creationId xmlns:a16="http://schemas.microsoft.com/office/drawing/2014/main" id="{7A05884A-2FA8-49F5-A48B-87C5D187535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515742" y="4143751"/>
                <a:ext cx="235888" cy="150567"/>
              </a:xfrm>
              <a:custGeom>
                <a:avLst/>
                <a:gdLst>
                  <a:gd name="T0" fmla="*/ 74 w 102"/>
                  <a:gd name="T1" fmla="*/ 59 h 65"/>
                  <a:gd name="T2" fmla="*/ 68 w 102"/>
                  <a:gd name="T3" fmla="*/ 54 h 65"/>
                  <a:gd name="T4" fmla="*/ 60 w 102"/>
                  <a:gd name="T5" fmla="*/ 50 h 65"/>
                  <a:gd name="T6" fmla="*/ 54 w 102"/>
                  <a:gd name="T7" fmla="*/ 39 h 65"/>
                  <a:gd name="T8" fmla="*/ 52 w 102"/>
                  <a:gd name="T9" fmla="*/ 33 h 65"/>
                  <a:gd name="T10" fmla="*/ 54 w 102"/>
                  <a:gd name="T11" fmla="*/ 28 h 65"/>
                  <a:gd name="T12" fmla="*/ 38 w 102"/>
                  <a:gd name="T13" fmla="*/ 19 h 65"/>
                  <a:gd name="T14" fmla="*/ 6 w 102"/>
                  <a:gd name="T15" fmla="*/ 1 h 65"/>
                  <a:gd name="T16" fmla="*/ 0 w 102"/>
                  <a:gd name="T17" fmla="*/ 0 h 65"/>
                  <a:gd name="T18" fmla="*/ 0 w 102"/>
                  <a:gd name="T19" fmla="*/ 50 h 65"/>
                  <a:gd name="T20" fmla="*/ 9 w 102"/>
                  <a:gd name="T21" fmla="*/ 53 h 65"/>
                  <a:gd name="T22" fmla="*/ 19 w 102"/>
                  <a:gd name="T23" fmla="*/ 48 h 65"/>
                  <a:gd name="T24" fmla="*/ 23 w 102"/>
                  <a:gd name="T25" fmla="*/ 42 h 65"/>
                  <a:gd name="T26" fmla="*/ 40 w 102"/>
                  <a:gd name="T27" fmla="*/ 46 h 65"/>
                  <a:gd name="T28" fmla="*/ 58 w 102"/>
                  <a:gd name="T29" fmla="*/ 61 h 65"/>
                  <a:gd name="T30" fmla="*/ 75 w 102"/>
                  <a:gd name="T31" fmla="*/ 64 h 65"/>
                  <a:gd name="T32" fmla="*/ 74 w 102"/>
                  <a:gd name="T33" fmla="*/ 59 h 65"/>
                  <a:gd name="T34" fmla="*/ 87 w 102"/>
                  <a:gd name="T35" fmla="*/ 17 h 65"/>
                  <a:gd name="T36" fmla="*/ 77 w 102"/>
                  <a:gd name="T37" fmla="*/ 23 h 65"/>
                  <a:gd name="T38" fmla="*/ 60 w 102"/>
                  <a:gd name="T39" fmla="*/ 24 h 65"/>
                  <a:gd name="T40" fmla="*/ 73 w 102"/>
                  <a:gd name="T41" fmla="*/ 29 h 65"/>
                  <a:gd name="T42" fmla="*/ 90 w 102"/>
                  <a:gd name="T43" fmla="*/ 21 h 65"/>
                  <a:gd name="T44" fmla="*/ 92 w 102"/>
                  <a:gd name="T45" fmla="*/ 14 h 65"/>
                  <a:gd name="T46" fmla="*/ 87 w 102"/>
                  <a:gd name="T47" fmla="*/ 17 h 65"/>
                  <a:gd name="T48" fmla="*/ 95 w 102"/>
                  <a:gd name="T49" fmla="*/ 8 h 65"/>
                  <a:gd name="T50" fmla="*/ 93 w 102"/>
                  <a:gd name="T51" fmla="*/ 9 h 65"/>
                  <a:gd name="T52" fmla="*/ 98 w 102"/>
                  <a:gd name="T53" fmla="*/ 16 h 65"/>
                  <a:gd name="T54" fmla="*/ 95 w 102"/>
                  <a:gd name="T55" fmla="*/ 8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02" h="65">
                    <a:moveTo>
                      <a:pt x="74" y="59"/>
                    </a:moveTo>
                    <a:cubicBezTo>
                      <a:pt x="72" y="59"/>
                      <a:pt x="68" y="56"/>
                      <a:pt x="68" y="54"/>
                    </a:cubicBezTo>
                    <a:cubicBezTo>
                      <a:pt x="68" y="52"/>
                      <a:pt x="63" y="52"/>
                      <a:pt x="60" y="50"/>
                    </a:cubicBezTo>
                    <a:cubicBezTo>
                      <a:pt x="56" y="48"/>
                      <a:pt x="58" y="41"/>
                      <a:pt x="54" y="39"/>
                    </a:cubicBezTo>
                    <a:cubicBezTo>
                      <a:pt x="51" y="38"/>
                      <a:pt x="48" y="33"/>
                      <a:pt x="52" y="33"/>
                    </a:cubicBezTo>
                    <a:cubicBezTo>
                      <a:pt x="56" y="33"/>
                      <a:pt x="57" y="31"/>
                      <a:pt x="54" y="28"/>
                    </a:cubicBezTo>
                    <a:cubicBezTo>
                      <a:pt x="51" y="24"/>
                      <a:pt x="38" y="23"/>
                      <a:pt x="38" y="19"/>
                    </a:cubicBezTo>
                    <a:cubicBezTo>
                      <a:pt x="37" y="14"/>
                      <a:pt x="16" y="4"/>
                      <a:pt x="6" y="1"/>
                    </a:cubicBezTo>
                    <a:cubicBezTo>
                      <a:pt x="5" y="1"/>
                      <a:pt x="3" y="0"/>
                      <a:pt x="0" y="0"/>
                    </a:cubicBezTo>
                    <a:cubicBezTo>
                      <a:pt x="0" y="50"/>
                      <a:pt x="0" y="50"/>
                      <a:pt x="0" y="50"/>
                    </a:cubicBezTo>
                    <a:cubicBezTo>
                      <a:pt x="3" y="52"/>
                      <a:pt x="5" y="53"/>
                      <a:pt x="9" y="53"/>
                    </a:cubicBezTo>
                    <a:cubicBezTo>
                      <a:pt x="19" y="54"/>
                      <a:pt x="17" y="48"/>
                      <a:pt x="19" y="48"/>
                    </a:cubicBezTo>
                    <a:cubicBezTo>
                      <a:pt x="21" y="48"/>
                      <a:pt x="21" y="44"/>
                      <a:pt x="23" y="42"/>
                    </a:cubicBezTo>
                    <a:cubicBezTo>
                      <a:pt x="26" y="39"/>
                      <a:pt x="35" y="41"/>
                      <a:pt x="40" y="46"/>
                    </a:cubicBezTo>
                    <a:cubicBezTo>
                      <a:pt x="46" y="50"/>
                      <a:pt x="52" y="63"/>
                      <a:pt x="58" y="61"/>
                    </a:cubicBezTo>
                    <a:cubicBezTo>
                      <a:pt x="64" y="60"/>
                      <a:pt x="70" y="65"/>
                      <a:pt x="75" y="64"/>
                    </a:cubicBezTo>
                    <a:cubicBezTo>
                      <a:pt x="80" y="64"/>
                      <a:pt x="75" y="60"/>
                      <a:pt x="74" y="59"/>
                    </a:cubicBezTo>
                    <a:close/>
                    <a:moveTo>
                      <a:pt x="87" y="17"/>
                    </a:moveTo>
                    <a:cubicBezTo>
                      <a:pt x="87" y="19"/>
                      <a:pt x="83" y="20"/>
                      <a:pt x="77" y="23"/>
                    </a:cubicBezTo>
                    <a:cubicBezTo>
                      <a:pt x="71" y="25"/>
                      <a:pt x="61" y="20"/>
                      <a:pt x="60" y="24"/>
                    </a:cubicBezTo>
                    <a:cubicBezTo>
                      <a:pt x="60" y="26"/>
                      <a:pt x="67" y="29"/>
                      <a:pt x="73" y="29"/>
                    </a:cubicBezTo>
                    <a:cubicBezTo>
                      <a:pt x="80" y="29"/>
                      <a:pt x="90" y="23"/>
                      <a:pt x="90" y="21"/>
                    </a:cubicBezTo>
                    <a:cubicBezTo>
                      <a:pt x="90" y="19"/>
                      <a:pt x="94" y="16"/>
                      <a:pt x="92" y="14"/>
                    </a:cubicBezTo>
                    <a:cubicBezTo>
                      <a:pt x="91" y="12"/>
                      <a:pt x="87" y="15"/>
                      <a:pt x="87" y="17"/>
                    </a:cubicBezTo>
                    <a:close/>
                    <a:moveTo>
                      <a:pt x="95" y="8"/>
                    </a:moveTo>
                    <a:cubicBezTo>
                      <a:pt x="91" y="6"/>
                      <a:pt x="88" y="4"/>
                      <a:pt x="93" y="9"/>
                    </a:cubicBezTo>
                    <a:cubicBezTo>
                      <a:pt x="98" y="13"/>
                      <a:pt x="95" y="17"/>
                      <a:pt x="98" y="16"/>
                    </a:cubicBezTo>
                    <a:cubicBezTo>
                      <a:pt x="102" y="15"/>
                      <a:pt x="99" y="10"/>
                      <a:pt x="95" y="8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5" name="Freeform 153">
                <a:extLst>
                  <a:ext uri="{FF2B5EF4-FFF2-40B4-BE49-F238E27FC236}">
                    <a16:creationId xmlns:a16="http://schemas.microsoft.com/office/drawing/2014/main" id="{F1C7C850-333E-4137-9F52-DF5797ED5B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97782" y="3909118"/>
                <a:ext cx="40151" cy="77793"/>
              </a:xfrm>
              <a:custGeom>
                <a:avLst/>
                <a:gdLst>
                  <a:gd name="T0" fmla="*/ 4 w 17"/>
                  <a:gd name="T1" fmla="*/ 0 h 34"/>
                  <a:gd name="T2" fmla="*/ 1 w 17"/>
                  <a:gd name="T3" fmla="*/ 8 h 34"/>
                  <a:gd name="T4" fmla="*/ 0 w 17"/>
                  <a:gd name="T5" fmla="*/ 19 h 34"/>
                  <a:gd name="T6" fmla="*/ 4 w 17"/>
                  <a:gd name="T7" fmla="*/ 31 h 34"/>
                  <a:gd name="T8" fmla="*/ 17 w 17"/>
                  <a:gd name="T9" fmla="*/ 19 h 34"/>
                  <a:gd name="T10" fmla="*/ 4 w 17"/>
                  <a:gd name="T11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7" h="34">
                    <a:moveTo>
                      <a:pt x="4" y="0"/>
                    </a:moveTo>
                    <a:cubicBezTo>
                      <a:pt x="1" y="1"/>
                      <a:pt x="2" y="5"/>
                      <a:pt x="1" y="8"/>
                    </a:cubicBezTo>
                    <a:cubicBezTo>
                      <a:pt x="0" y="11"/>
                      <a:pt x="0" y="14"/>
                      <a:pt x="0" y="19"/>
                    </a:cubicBezTo>
                    <a:cubicBezTo>
                      <a:pt x="1" y="23"/>
                      <a:pt x="0" y="28"/>
                      <a:pt x="4" y="31"/>
                    </a:cubicBezTo>
                    <a:cubicBezTo>
                      <a:pt x="9" y="34"/>
                      <a:pt x="16" y="26"/>
                      <a:pt x="17" y="19"/>
                    </a:cubicBezTo>
                    <a:cubicBezTo>
                      <a:pt x="17" y="13"/>
                      <a:pt x="5" y="0"/>
                      <a:pt x="4" y="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6" name="Freeform 154">
                <a:extLst>
                  <a:ext uri="{FF2B5EF4-FFF2-40B4-BE49-F238E27FC236}">
                    <a16:creationId xmlns:a16="http://schemas.microsoft.com/office/drawing/2014/main" id="{04F24D10-53FB-4EB7-B9F4-F4B8D47F7E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06428" y="4305611"/>
                <a:ext cx="138020" cy="272275"/>
              </a:xfrm>
              <a:custGeom>
                <a:avLst/>
                <a:gdLst>
                  <a:gd name="T0" fmla="*/ 51 w 60"/>
                  <a:gd name="T1" fmla="*/ 4 h 118"/>
                  <a:gd name="T2" fmla="*/ 48 w 60"/>
                  <a:gd name="T3" fmla="*/ 6 h 118"/>
                  <a:gd name="T4" fmla="*/ 47 w 60"/>
                  <a:gd name="T5" fmla="*/ 12 h 118"/>
                  <a:gd name="T6" fmla="*/ 42 w 60"/>
                  <a:gd name="T7" fmla="*/ 16 h 118"/>
                  <a:gd name="T8" fmla="*/ 38 w 60"/>
                  <a:gd name="T9" fmla="*/ 19 h 118"/>
                  <a:gd name="T10" fmla="*/ 38 w 60"/>
                  <a:gd name="T11" fmla="*/ 23 h 118"/>
                  <a:gd name="T12" fmla="*/ 32 w 60"/>
                  <a:gd name="T13" fmla="*/ 28 h 118"/>
                  <a:gd name="T14" fmla="*/ 21 w 60"/>
                  <a:gd name="T15" fmla="*/ 34 h 118"/>
                  <a:gd name="T16" fmla="*/ 10 w 60"/>
                  <a:gd name="T17" fmla="*/ 36 h 118"/>
                  <a:gd name="T18" fmla="*/ 7 w 60"/>
                  <a:gd name="T19" fmla="*/ 47 h 118"/>
                  <a:gd name="T20" fmla="*/ 8 w 60"/>
                  <a:gd name="T21" fmla="*/ 61 h 118"/>
                  <a:gd name="T22" fmla="*/ 6 w 60"/>
                  <a:gd name="T23" fmla="*/ 78 h 118"/>
                  <a:gd name="T24" fmla="*/ 3 w 60"/>
                  <a:gd name="T25" fmla="*/ 97 h 118"/>
                  <a:gd name="T26" fmla="*/ 8 w 60"/>
                  <a:gd name="T27" fmla="*/ 112 h 118"/>
                  <a:gd name="T28" fmla="*/ 23 w 60"/>
                  <a:gd name="T29" fmla="*/ 116 h 118"/>
                  <a:gd name="T30" fmla="*/ 31 w 60"/>
                  <a:gd name="T31" fmla="*/ 113 h 118"/>
                  <a:gd name="T32" fmla="*/ 42 w 60"/>
                  <a:gd name="T33" fmla="*/ 79 h 118"/>
                  <a:gd name="T34" fmla="*/ 51 w 60"/>
                  <a:gd name="T35" fmla="*/ 47 h 118"/>
                  <a:gd name="T36" fmla="*/ 53 w 60"/>
                  <a:gd name="T37" fmla="*/ 38 h 118"/>
                  <a:gd name="T38" fmla="*/ 55 w 60"/>
                  <a:gd name="T39" fmla="*/ 33 h 118"/>
                  <a:gd name="T40" fmla="*/ 60 w 60"/>
                  <a:gd name="T41" fmla="*/ 32 h 118"/>
                  <a:gd name="T42" fmla="*/ 57 w 60"/>
                  <a:gd name="T43" fmla="*/ 17 h 118"/>
                  <a:gd name="T44" fmla="*/ 51 w 60"/>
                  <a:gd name="T45" fmla="*/ 4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60" h="118">
                    <a:moveTo>
                      <a:pt x="51" y="4"/>
                    </a:moveTo>
                    <a:cubicBezTo>
                      <a:pt x="50" y="0"/>
                      <a:pt x="49" y="5"/>
                      <a:pt x="48" y="6"/>
                    </a:cubicBezTo>
                    <a:cubicBezTo>
                      <a:pt x="47" y="7"/>
                      <a:pt x="47" y="10"/>
                      <a:pt x="47" y="12"/>
                    </a:cubicBezTo>
                    <a:cubicBezTo>
                      <a:pt x="47" y="14"/>
                      <a:pt x="44" y="16"/>
                      <a:pt x="42" y="16"/>
                    </a:cubicBezTo>
                    <a:cubicBezTo>
                      <a:pt x="40" y="15"/>
                      <a:pt x="37" y="17"/>
                      <a:pt x="38" y="19"/>
                    </a:cubicBezTo>
                    <a:cubicBezTo>
                      <a:pt x="39" y="22"/>
                      <a:pt x="37" y="21"/>
                      <a:pt x="38" y="23"/>
                    </a:cubicBezTo>
                    <a:cubicBezTo>
                      <a:pt x="39" y="26"/>
                      <a:pt x="35" y="28"/>
                      <a:pt x="32" y="28"/>
                    </a:cubicBezTo>
                    <a:cubicBezTo>
                      <a:pt x="28" y="29"/>
                      <a:pt x="24" y="35"/>
                      <a:pt x="21" y="34"/>
                    </a:cubicBezTo>
                    <a:cubicBezTo>
                      <a:pt x="17" y="34"/>
                      <a:pt x="13" y="36"/>
                      <a:pt x="10" y="36"/>
                    </a:cubicBezTo>
                    <a:cubicBezTo>
                      <a:pt x="7" y="36"/>
                      <a:pt x="9" y="42"/>
                      <a:pt x="7" y="47"/>
                    </a:cubicBezTo>
                    <a:cubicBezTo>
                      <a:pt x="5" y="51"/>
                      <a:pt x="6" y="56"/>
                      <a:pt x="8" y="61"/>
                    </a:cubicBezTo>
                    <a:cubicBezTo>
                      <a:pt x="10" y="66"/>
                      <a:pt x="12" y="71"/>
                      <a:pt x="6" y="78"/>
                    </a:cubicBezTo>
                    <a:cubicBezTo>
                      <a:pt x="0" y="85"/>
                      <a:pt x="1" y="92"/>
                      <a:pt x="3" y="97"/>
                    </a:cubicBezTo>
                    <a:cubicBezTo>
                      <a:pt x="5" y="102"/>
                      <a:pt x="5" y="109"/>
                      <a:pt x="8" y="112"/>
                    </a:cubicBezTo>
                    <a:cubicBezTo>
                      <a:pt x="11" y="115"/>
                      <a:pt x="20" y="118"/>
                      <a:pt x="23" y="116"/>
                    </a:cubicBezTo>
                    <a:cubicBezTo>
                      <a:pt x="25" y="113"/>
                      <a:pt x="28" y="116"/>
                      <a:pt x="31" y="113"/>
                    </a:cubicBezTo>
                    <a:cubicBezTo>
                      <a:pt x="34" y="109"/>
                      <a:pt x="38" y="91"/>
                      <a:pt x="42" y="79"/>
                    </a:cubicBezTo>
                    <a:cubicBezTo>
                      <a:pt x="47" y="67"/>
                      <a:pt x="52" y="51"/>
                      <a:pt x="51" y="47"/>
                    </a:cubicBezTo>
                    <a:cubicBezTo>
                      <a:pt x="51" y="44"/>
                      <a:pt x="54" y="42"/>
                      <a:pt x="53" y="38"/>
                    </a:cubicBezTo>
                    <a:cubicBezTo>
                      <a:pt x="51" y="35"/>
                      <a:pt x="53" y="31"/>
                      <a:pt x="55" y="33"/>
                    </a:cubicBezTo>
                    <a:cubicBezTo>
                      <a:pt x="57" y="36"/>
                      <a:pt x="59" y="36"/>
                      <a:pt x="60" y="32"/>
                    </a:cubicBezTo>
                    <a:cubicBezTo>
                      <a:pt x="60" y="29"/>
                      <a:pt x="57" y="23"/>
                      <a:pt x="57" y="17"/>
                    </a:cubicBezTo>
                    <a:cubicBezTo>
                      <a:pt x="56" y="12"/>
                      <a:pt x="52" y="7"/>
                      <a:pt x="51" y="4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7" name="Freeform 155">
                <a:extLst>
                  <a:ext uri="{FF2B5EF4-FFF2-40B4-BE49-F238E27FC236}">
                    <a16:creationId xmlns:a16="http://schemas.microsoft.com/office/drawing/2014/main" id="{E42BE77C-1DDB-4885-9070-908231D6B54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01409" y="3729692"/>
                <a:ext cx="222086" cy="133001"/>
              </a:xfrm>
              <a:custGeom>
                <a:avLst/>
                <a:gdLst>
                  <a:gd name="T0" fmla="*/ 68 w 96"/>
                  <a:gd name="T1" fmla="*/ 2 h 58"/>
                  <a:gd name="T2" fmla="*/ 52 w 96"/>
                  <a:gd name="T3" fmla="*/ 3 h 58"/>
                  <a:gd name="T4" fmla="*/ 40 w 96"/>
                  <a:gd name="T5" fmla="*/ 14 h 58"/>
                  <a:gd name="T6" fmla="*/ 34 w 96"/>
                  <a:gd name="T7" fmla="*/ 16 h 58"/>
                  <a:gd name="T8" fmla="*/ 23 w 96"/>
                  <a:gd name="T9" fmla="*/ 14 h 58"/>
                  <a:gd name="T10" fmla="*/ 13 w 96"/>
                  <a:gd name="T11" fmla="*/ 13 h 58"/>
                  <a:gd name="T12" fmla="*/ 7 w 96"/>
                  <a:gd name="T13" fmla="*/ 12 h 58"/>
                  <a:gd name="T14" fmla="*/ 4 w 96"/>
                  <a:gd name="T15" fmla="*/ 15 h 58"/>
                  <a:gd name="T16" fmla="*/ 4 w 96"/>
                  <a:gd name="T17" fmla="*/ 19 h 58"/>
                  <a:gd name="T18" fmla="*/ 0 w 96"/>
                  <a:gd name="T19" fmla="*/ 22 h 58"/>
                  <a:gd name="T20" fmla="*/ 1 w 96"/>
                  <a:gd name="T21" fmla="*/ 26 h 58"/>
                  <a:gd name="T22" fmla="*/ 3 w 96"/>
                  <a:gd name="T23" fmla="*/ 39 h 58"/>
                  <a:gd name="T24" fmla="*/ 6 w 96"/>
                  <a:gd name="T25" fmla="*/ 51 h 58"/>
                  <a:gd name="T26" fmla="*/ 21 w 96"/>
                  <a:gd name="T27" fmla="*/ 49 h 58"/>
                  <a:gd name="T28" fmla="*/ 31 w 96"/>
                  <a:gd name="T29" fmla="*/ 46 h 58"/>
                  <a:gd name="T30" fmla="*/ 40 w 96"/>
                  <a:gd name="T31" fmla="*/ 42 h 58"/>
                  <a:gd name="T32" fmla="*/ 48 w 96"/>
                  <a:gd name="T33" fmla="*/ 41 h 58"/>
                  <a:gd name="T34" fmla="*/ 54 w 96"/>
                  <a:gd name="T35" fmla="*/ 36 h 58"/>
                  <a:gd name="T36" fmla="*/ 71 w 96"/>
                  <a:gd name="T37" fmla="*/ 31 h 58"/>
                  <a:gd name="T38" fmla="*/ 79 w 96"/>
                  <a:gd name="T39" fmla="*/ 23 h 58"/>
                  <a:gd name="T40" fmla="*/ 86 w 96"/>
                  <a:gd name="T41" fmla="*/ 20 h 58"/>
                  <a:gd name="T42" fmla="*/ 76 w 96"/>
                  <a:gd name="T43" fmla="*/ 0 h 58"/>
                  <a:gd name="T44" fmla="*/ 68 w 96"/>
                  <a:gd name="T45" fmla="*/ 2 h 58"/>
                  <a:gd name="T46" fmla="*/ 88 w 96"/>
                  <a:gd name="T47" fmla="*/ 55 h 58"/>
                  <a:gd name="T48" fmla="*/ 96 w 96"/>
                  <a:gd name="T49" fmla="*/ 54 h 58"/>
                  <a:gd name="T50" fmla="*/ 88 w 96"/>
                  <a:gd name="T51" fmla="*/ 55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96" h="58">
                    <a:moveTo>
                      <a:pt x="68" y="2"/>
                    </a:moveTo>
                    <a:cubicBezTo>
                      <a:pt x="64" y="3"/>
                      <a:pt x="54" y="2"/>
                      <a:pt x="52" y="3"/>
                    </a:cubicBezTo>
                    <a:cubicBezTo>
                      <a:pt x="51" y="4"/>
                      <a:pt x="41" y="11"/>
                      <a:pt x="40" y="14"/>
                    </a:cubicBezTo>
                    <a:cubicBezTo>
                      <a:pt x="38" y="17"/>
                      <a:pt x="36" y="17"/>
                      <a:pt x="34" y="16"/>
                    </a:cubicBezTo>
                    <a:cubicBezTo>
                      <a:pt x="32" y="14"/>
                      <a:pt x="24" y="15"/>
                      <a:pt x="23" y="14"/>
                    </a:cubicBezTo>
                    <a:cubicBezTo>
                      <a:pt x="22" y="13"/>
                      <a:pt x="16" y="13"/>
                      <a:pt x="13" y="13"/>
                    </a:cubicBezTo>
                    <a:cubicBezTo>
                      <a:pt x="10" y="14"/>
                      <a:pt x="9" y="12"/>
                      <a:pt x="7" y="12"/>
                    </a:cubicBezTo>
                    <a:cubicBezTo>
                      <a:pt x="6" y="13"/>
                      <a:pt x="4" y="14"/>
                      <a:pt x="4" y="15"/>
                    </a:cubicBezTo>
                    <a:cubicBezTo>
                      <a:pt x="3" y="16"/>
                      <a:pt x="4" y="19"/>
                      <a:pt x="4" y="19"/>
                    </a:cubicBezTo>
                    <a:cubicBezTo>
                      <a:pt x="4" y="20"/>
                      <a:pt x="2" y="20"/>
                      <a:pt x="0" y="22"/>
                    </a:cubicBezTo>
                    <a:cubicBezTo>
                      <a:pt x="1" y="23"/>
                      <a:pt x="1" y="25"/>
                      <a:pt x="1" y="26"/>
                    </a:cubicBezTo>
                    <a:cubicBezTo>
                      <a:pt x="0" y="29"/>
                      <a:pt x="1" y="36"/>
                      <a:pt x="3" y="39"/>
                    </a:cubicBezTo>
                    <a:cubicBezTo>
                      <a:pt x="6" y="43"/>
                      <a:pt x="5" y="50"/>
                      <a:pt x="6" y="51"/>
                    </a:cubicBezTo>
                    <a:cubicBezTo>
                      <a:pt x="7" y="52"/>
                      <a:pt x="17" y="52"/>
                      <a:pt x="21" y="49"/>
                    </a:cubicBezTo>
                    <a:cubicBezTo>
                      <a:pt x="25" y="47"/>
                      <a:pt x="28" y="46"/>
                      <a:pt x="31" y="46"/>
                    </a:cubicBezTo>
                    <a:cubicBezTo>
                      <a:pt x="34" y="46"/>
                      <a:pt x="39" y="43"/>
                      <a:pt x="40" y="42"/>
                    </a:cubicBezTo>
                    <a:cubicBezTo>
                      <a:pt x="41" y="40"/>
                      <a:pt x="46" y="40"/>
                      <a:pt x="48" y="41"/>
                    </a:cubicBezTo>
                    <a:cubicBezTo>
                      <a:pt x="50" y="41"/>
                      <a:pt x="52" y="39"/>
                      <a:pt x="54" y="36"/>
                    </a:cubicBezTo>
                    <a:cubicBezTo>
                      <a:pt x="56" y="34"/>
                      <a:pt x="64" y="33"/>
                      <a:pt x="71" y="31"/>
                    </a:cubicBezTo>
                    <a:cubicBezTo>
                      <a:pt x="79" y="28"/>
                      <a:pt x="77" y="25"/>
                      <a:pt x="79" y="23"/>
                    </a:cubicBezTo>
                    <a:cubicBezTo>
                      <a:pt x="80" y="21"/>
                      <a:pt x="82" y="21"/>
                      <a:pt x="86" y="20"/>
                    </a:cubicBezTo>
                    <a:cubicBezTo>
                      <a:pt x="82" y="13"/>
                      <a:pt x="78" y="4"/>
                      <a:pt x="76" y="0"/>
                    </a:cubicBezTo>
                    <a:cubicBezTo>
                      <a:pt x="72" y="1"/>
                      <a:pt x="69" y="2"/>
                      <a:pt x="68" y="2"/>
                    </a:cubicBezTo>
                    <a:close/>
                    <a:moveTo>
                      <a:pt x="88" y="55"/>
                    </a:moveTo>
                    <a:cubicBezTo>
                      <a:pt x="90" y="58"/>
                      <a:pt x="96" y="55"/>
                      <a:pt x="96" y="54"/>
                    </a:cubicBezTo>
                    <a:cubicBezTo>
                      <a:pt x="96" y="53"/>
                      <a:pt x="85" y="52"/>
                      <a:pt x="88" y="5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8" name="Freeform 156">
                <a:extLst>
                  <a:ext uri="{FF2B5EF4-FFF2-40B4-BE49-F238E27FC236}">
                    <a16:creationId xmlns:a16="http://schemas.microsoft.com/office/drawing/2014/main" id="{F2481323-97D8-4411-9DE7-007C29CB22D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771707" y="4192686"/>
                <a:ext cx="151822" cy="107906"/>
              </a:xfrm>
              <a:custGeom>
                <a:avLst/>
                <a:gdLst>
                  <a:gd name="T0" fmla="*/ 1 w 66"/>
                  <a:gd name="T1" fmla="*/ 2 h 47"/>
                  <a:gd name="T2" fmla="*/ 11 w 66"/>
                  <a:gd name="T3" fmla="*/ 13 h 47"/>
                  <a:gd name="T4" fmla="*/ 1 w 66"/>
                  <a:gd name="T5" fmla="*/ 2 h 47"/>
                  <a:gd name="T6" fmla="*/ 16 w 66"/>
                  <a:gd name="T7" fmla="*/ 12 h 47"/>
                  <a:gd name="T8" fmla="*/ 23 w 66"/>
                  <a:gd name="T9" fmla="*/ 17 h 47"/>
                  <a:gd name="T10" fmla="*/ 16 w 66"/>
                  <a:gd name="T11" fmla="*/ 12 h 47"/>
                  <a:gd name="T12" fmla="*/ 43 w 66"/>
                  <a:gd name="T13" fmla="*/ 26 h 47"/>
                  <a:gd name="T14" fmla="*/ 32 w 66"/>
                  <a:gd name="T15" fmla="*/ 20 h 47"/>
                  <a:gd name="T16" fmla="*/ 43 w 66"/>
                  <a:gd name="T17" fmla="*/ 26 h 47"/>
                  <a:gd name="T18" fmla="*/ 41 w 66"/>
                  <a:gd name="T19" fmla="*/ 34 h 47"/>
                  <a:gd name="T20" fmla="*/ 50 w 66"/>
                  <a:gd name="T21" fmla="*/ 38 h 47"/>
                  <a:gd name="T22" fmla="*/ 41 w 66"/>
                  <a:gd name="T23" fmla="*/ 34 h 47"/>
                  <a:gd name="T24" fmla="*/ 56 w 66"/>
                  <a:gd name="T25" fmla="*/ 42 h 47"/>
                  <a:gd name="T26" fmla="*/ 63 w 66"/>
                  <a:gd name="T27" fmla="*/ 45 h 47"/>
                  <a:gd name="T28" fmla="*/ 56 w 66"/>
                  <a:gd name="T29" fmla="*/ 42 h 47"/>
                  <a:gd name="T30" fmla="*/ 50 w 66"/>
                  <a:gd name="T31" fmla="*/ 26 h 47"/>
                  <a:gd name="T32" fmla="*/ 56 w 66"/>
                  <a:gd name="T33" fmla="*/ 37 h 47"/>
                  <a:gd name="T34" fmla="*/ 50 w 66"/>
                  <a:gd name="T35" fmla="*/ 26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6" h="47">
                    <a:moveTo>
                      <a:pt x="1" y="2"/>
                    </a:moveTo>
                    <a:cubicBezTo>
                      <a:pt x="0" y="4"/>
                      <a:pt x="8" y="15"/>
                      <a:pt x="11" y="13"/>
                    </a:cubicBezTo>
                    <a:cubicBezTo>
                      <a:pt x="16" y="10"/>
                      <a:pt x="1" y="0"/>
                      <a:pt x="1" y="2"/>
                    </a:cubicBezTo>
                    <a:close/>
                    <a:moveTo>
                      <a:pt x="16" y="12"/>
                    </a:moveTo>
                    <a:cubicBezTo>
                      <a:pt x="16" y="13"/>
                      <a:pt x="22" y="18"/>
                      <a:pt x="23" y="17"/>
                    </a:cubicBezTo>
                    <a:cubicBezTo>
                      <a:pt x="24" y="16"/>
                      <a:pt x="16" y="10"/>
                      <a:pt x="16" y="12"/>
                    </a:cubicBezTo>
                    <a:close/>
                    <a:moveTo>
                      <a:pt x="43" y="26"/>
                    </a:moveTo>
                    <a:cubicBezTo>
                      <a:pt x="45" y="25"/>
                      <a:pt x="32" y="18"/>
                      <a:pt x="32" y="20"/>
                    </a:cubicBezTo>
                    <a:cubicBezTo>
                      <a:pt x="31" y="22"/>
                      <a:pt x="41" y="27"/>
                      <a:pt x="43" y="26"/>
                    </a:cubicBezTo>
                    <a:close/>
                    <a:moveTo>
                      <a:pt x="41" y="34"/>
                    </a:moveTo>
                    <a:cubicBezTo>
                      <a:pt x="42" y="37"/>
                      <a:pt x="47" y="39"/>
                      <a:pt x="50" y="38"/>
                    </a:cubicBezTo>
                    <a:cubicBezTo>
                      <a:pt x="52" y="37"/>
                      <a:pt x="41" y="30"/>
                      <a:pt x="41" y="34"/>
                    </a:cubicBezTo>
                    <a:close/>
                    <a:moveTo>
                      <a:pt x="56" y="42"/>
                    </a:moveTo>
                    <a:cubicBezTo>
                      <a:pt x="56" y="42"/>
                      <a:pt x="61" y="47"/>
                      <a:pt x="63" y="45"/>
                    </a:cubicBezTo>
                    <a:cubicBezTo>
                      <a:pt x="66" y="44"/>
                      <a:pt x="55" y="40"/>
                      <a:pt x="56" y="42"/>
                    </a:cubicBezTo>
                    <a:close/>
                    <a:moveTo>
                      <a:pt x="50" y="26"/>
                    </a:moveTo>
                    <a:cubicBezTo>
                      <a:pt x="48" y="30"/>
                      <a:pt x="55" y="36"/>
                      <a:pt x="56" y="37"/>
                    </a:cubicBezTo>
                    <a:cubicBezTo>
                      <a:pt x="57" y="37"/>
                      <a:pt x="51" y="23"/>
                      <a:pt x="50" y="26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9" name="Freeform 157">
                <a:extLst>
                  <a:ext uri="{FF2B5EF4-FFF2-40B4-BE49-F238E27FC236}">
                    <a16:creationId xmlns:a16="http://schemas.microsoft.com/office/drawing/2014/main" id="{EDDB3AE5-B541-4FE0-BC29-FB5475E5724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771707" y="4192686"/>
                <a:ext cx="151822" cy="107906"/>
              </a:xfrm>
              <a:custGeom>
                <a:avLst/>
                <a:gdLst>
                  <a:gd name="T0" fmla="*/ 1 w 66"/>
                  <a:gd name="T1" fmla="*/ 2 h 47"/>
                  <a:gd name="T2" fmla="*/ 11 w 66"/>
                  <a:gd name="T3" fmla="*/ 13 h 47"/>
                  <a:gd name="T4" fmla="*/ 1 w 66"/>
                  <a:gd name="T5" fmla="*/ 2 h 47"/>
                  <a:gd name="T6" fmla="*/ 16 w 66"/>
                  <a:gd name="T7" fmla="*/ 12 h 47"/>
                  <a:gd name="T8" fmla="*/ 23 w 66"/>
                  <a:gd name="T9" fmla="*/ 17 h 47"/>
                  <a:gd name="T10" fmla="*/ 16 w 66"/>
                  <a:gd name="T11" fmla="*/ 12 h 47"/>
                  <a:gd name="T12" fmla="*/ 43 w 66"/>
                  <a:gd name="T13" fmla="*/ 26 h 47"/>
                  <a:gd name="T14" fmla="*/ 32 w 66"/>
                  <a:gd name="T15" fmla="*/ 20 h 47"/>
                  <a:gd name="T16" fmla="*/ 43 w 66"/>
                  <a:gd name="T17" fmla="*/ 26 h 47"/>
                  <a:gd name="T18" fmla="*/ 41 w 66"/>
                  <a:gd name="T19" fmla="*/ 34 h 47"/>
                  <a:gd name="T20" fmla="*/ 50 w 66"/>
                  <a:gd name="T21" fmla="*/ 38 h 47"/>
                  <a:gd name="T22" fmla="*/ 41 w 66"/>
                  <a:gd name="T23" fmla="*/ 34 h 47"/>
                  <a:gd name="T24" fmla="*/ 56 w 66"/>
                  <a:gd name="T25" fmla="*/ 42 h 47"/>
                  <a:gd name="T26" fmla="*/ 63 w 66"/>
                  <a:gd name="T27" fmla="*/ 45 h 47"/>
                  <a:gd name="T28" fmla="*/ 56 w 66"/>
                  <a:gd name="T29" fmla="*/ 42 h 47"/>
                  <a:gd name="T30" fmla="*/ 50 w 66"/>
                  <a:gd name="T31" fmla="*/ 26 h 47"/>
                  <a:gd name="T32" fmla="*/ 56 w 66"/>
                  <a:gd name="T33" fmla="*/ 37 h 47"/>
                  <a:gd name="T34" fmla="*/ 50 w 66"/>
                  <a:gd name="T35" fmla="*/ 26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6" h="47">
                    <a:moveTo>
                      <a:pt x="1" y="2"/>
                    </a:moveTo>
                    <a:cubicBezTo>
                      <a:pt x="0" y="4"/>
                      <a:pt x="8" y="15"/>
                      <a:pt x="11" y="13"/>
                    </a:cubicBezTo>
                    <a:cubicBezTo>
                      <a:pt x="16" y="10"/>
                      <a:pt x="1" y="0"/>
                      <a:pt x="1" y="2"/>
                    </a:cubicBezTo>
                    <a:close/>
                    <a:moveTo>
                      <a:pt x="16" y="12"/>
                    </a:moveTo>
                    <a:cubicBezTo>
                      <a:pt x="16" y="13"/>
                      <a:pt x="22" y="18"/>
                      <a:pt x="23" y="17"/>
                    </a:cubicBezTo>
                    <a:cubicBezTo>
                      <a:pt x="24" y="16"/>
                      <a:pt x="16" y="10"/>
                      <a:pt x="16" y="12"/>
                    </a:cubicBezTo>
                    <a:close/>
                    <a:moveTo>
                      <a:pt x="43" y="26"/>
                    </a:moveTo>
                    <a:cubicBezTo>
                      <a:pt x="45" y="25"/>
                      <a:pt x="32" y="18"/>
                      <a:pt x="32" y="20"/>
                    </a:cubicBezTo>
                    <a:cubicBezTo>
                      <a:pt x="31" y="22"/>
                      <a:pt x="41" y="27"/>
                      <a:pt x="43" y="26"/>
                    </a:cubicBezTo>
                    <a:close/>
                    <a:moveTo>
                      <a:pt x="41" y="34"/>
                    </a:moveTo>
                    <a:cubicBezTo>
                      <a:pt x="42" y="37"/>
                      <a:pt x="47" y="39"/>
                      <a:pt x="50" y="38"/>
                    </a:cubicBezTo>
                    <a:cubicBezTo>
                      <a:pt x="52" y="37"/>
                      <a:pt x="41" y="30"/>
                      <a:pt x="41" y="34"/>
                    </a:cubicBezTo>
                    <a:close/>
                    <a:moveTo>
                      <a:pt x="56" y="42"/>
                    </a:moveTo>
                    <a:cubicBezTo>
                      <a:pt x="56" y="42"/>
                      <a:pt x="61" y="47"/>
                      <a:pt x="63" y="45"/>
                    </a:cubicBezTo>
                    <a:cubicBezTo>
                      <a:pt x="66" y="44"/>
                      <a:pt x="55" y="40"/>
                      <a:pt x="56" y="42"/>
                    </a:cubicBezTo>
                    <a:close/>
                    <a:moveTo>
                      <a:pt x="50" y="26"/>
                    </a:moveTo>
                    <a:cubicBezTo>
                      <a:pt x="48" y="30"/>
                      <a:pt x="55" y="36"/>
                      <a:pt x="56" y="37"/>
                    </a:cubicBezTo>
                    <a:cubicBezTo>
                      <a:pt x="57" y="37"/>
                      <a:pt x="51" y="23"/>
                      <a:pt x="50" y="26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0" name="Freeform 159">
                <a:extLst>
                  <a:ext uri="{FF2B5EF4-FFF2-40B4-BE49-F238E27FC236}">
                    <a16:creationId xmlns:a16="http://schemas.microsoft.com/office/drawing/2014/main" id="{5773DC10-43AA-4B18-8A1A-8CCFF8DE3F8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988774" y="4773623"/>
                <a:ext cx="232124" cy="276040"/>
              </a:xfrm>
              <a:custGeom>
                <a:avLst/>
                <a:gdLst>
                  <a:gd name="T0" fmla="*/ 62 w 101"/>
                  <a:gd name="T1" fmla="*/ 58 h 120"/>
                  <a:gd name="T2" fmla="*/ 56 w 101"/>
                  <a:gd name="T3" fmla="*/ 60 h 120"/>
                  <a:gd name="T4" fmla="*/ 48 w 101"/>
                  <a:gd name="T5" fmla="*/ 56 h 120"/>
                  <a:gd name="T6" fmla="*/ 44 w 101"/>
                  <a:gd name="T7" fmla="*/ 63 h 120"/>
                  <a:gd name="T8" fmla="*/ 37 w 101"/>
                  <a:gd name="T9" fmla="*/ 75 h 120"/>
                  <a:gd name="T10" fmla="*/ 15 w 101"/>
                  <a:gd name="T11" fmla="*/ 89 h 120"/>
                  <a:gd name="T12" fmla="*/ 5 w 101"/>
                  <a:gd name="T13" fmla="*/ 99 h 120"/>
                  <a:gd name="T14" fmla="*/ 3 w 101"/>
                  <a:gd name="T15" fmla="*/ 108 h 120"/>
                  <a:gd name="T16" fmla="*/ 10 w 101"/>
                  <a:gd name="T17" fmla="*/ 111 h 120"/>
                  <a:gd name="T18" fmla="*/ 16 w 101"/>
                  <a:gd name="T19" fmla="*/ 113 h 120"/>
                  <a:gd name="T20" fmla="*/ 31 w 101"/>
                  <a:gd name="T21" fmla="*/ 110 h 120"/>
                  <a:gd name="T22" fmla="*/ 36 w 101"/>
                  <a:gd name="T23" fmla="*/ 100 h 120"/>
                  <a:gd name="T24" fmla="*/ 40 w 101"/>
                  <a:gd name="T25" fmla="*/ 92 h 120"/>
                  <a:gd name="T26" fmla="*/ 49 w 101"/>
                  <a:gd name="T27" fmla="*/ 87 h 120"/>
                  <a:gd name="T28" fmla="*/ 52 w 101"/>
                  <a:gd name="T29" fmla="*/ 82 h 120"/>
                  <a:gd name="T30" fmla="*/ 57 w 101"/>
                  <a:gd name="T31" fmla="*/ 75 h 120"/>
                  <a:gd name="T32" fmla="*/ 64 w 101"/>
                  <a:gd name="T33" fmla="*/ 64 h 120"/>
                  <a:gd name="T34" fmla="*/ 62 w 101"/>
                  <a:gd name="T35" fmla="*/ 58 h 120"/>
                  <a:gd name="T36" fmla="*/ 11 w 101"/>
                  <a:gd name="T37" fmla="*/ 119 h 120"/>
                  <a:gd name="T38" fmla="*/ 14 w 101"/>
                  <a:gd name="T39" fmla="*/ 116 h 120"/>
                  <a:gd name="T40" fmla="*/ 11 w 101"/>
                  <a:gd name="T41" fmla="*/ 119 h 120"/>
                  <a:gd name="T42" fmla="*/ 92 w 101"/>
                  <a:gd name="T43" fmla="*/ 29 h 120"/>
                  <a:gd name="T44" fmla="*/ 84 w 101"/>
                  <a:gd name="T45" fmla="*/ 28 h 120"/>
                  <a:gd name="T46" fmla="*/ 79 w 101"/>
                  <a:gd name="T47" fmla="*/ 23 h 120"/>
                  <a:gd name="T48" fmla="*/ 75 w 101"/>
                  <a:gd name="T49" fmla="*/ 17 h 120"/>
                  <a:gd name="T50" fmla="*/ 75 w 101"/>
                  <a:gd name="T51" fmla="*/ 21 h 120"/>
                  <a:gd name="T52" fmla="*/ 72 w 101"/>
                  <a:gd name="T53" fmla="*/ 20 h 120"/>
                  <a:gd name="T54" fmla="*/ 69 w 101"/>
                  <a:gd name="T55" fmla="*/ 14 h 120"/>
                  <a:gd name="T56" fmla="*/ 66 w 101"/>
                  <a:gd name="T57" fmla="*/ 7 h 120"/>
                  <a:gd name="T58" fmla="*/ 56 w 101"/>
                  <a:gd name="T59" fmla="*/ 0 h 120"/>
                  <a:gd name="T60" fmla="*/ 58 w 101"/>
                  <a:gd name="T61" fmla="*/ 8 h 120"/>
                  <a:gd name="T62" fmla="*/ 64 w 101"/>
                  <a:gd name="T63" fmla="*/ 14 h 120"/>
                  <a:gd name="T64" fmla="*/ 69 w 101"/>
                  <a:gd name="T65" fmla="*/ 20 h 120"/>
                  <a:gd name="T66" fmla="*/ 67 w 101"/>
                  <a:gd name="T67" fmla="*/ 32 h 120"/>
                  <a:gd name="T68" fmla="*/ 61 w 101"/>
                  <a:gd name="T69" fmla="*/ 40 h 120"/>
                  <a:gd name="T70" fmla="*/ 72 w 101"/>
                  <a:gd name="T71" fmla="*/ 49 h 120"/>
                  <a:gd name="T72" fmla="*/ 69 w 101"/>
                  <a:gd name="T73" fmla="*/ 62 h 120"/>
                  <a:gd name="T74" fmla="*/ 77 w 101"/>
                  <a:gd name="T75" fmla="*/ 63 h 120"/>
                  <a:gd name="T76" fmla="*/ 85 w 101"/>
                  <a:gd name="T77" fmla="*/ 51 h 120"/>
                  <a:gd name="T78" fmla="*/ 88 w 101"/>
                  <a:gd name="T79" fmla="*/ 42 h 120"/>
                  <a:gd name="T80" fmla="*/ 93 w 101"/>
                  <a:gd name="T81" fmla="*/ 40 h 120"/>
                  <a:gd name="T82" fmla="*/ 97 w 101"/>
                  <a:gd name="T83" fmla="*/ 36 h 120"/>
                  <a:gd name="T84" fmla="*/ 99 w 101"/>
                  <a:gd name="T85" fmla="*/ 29 h 120"/>
                  <a:gd name="T86" fmla="*/ 92 w 101"/>
                  <a:gd name="T87" fmla="*/ 29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01" h="120">
                    <a:moveTo>
                      <a:pt x="62" y="58"/>
                    </a:moveTo>
                    <a:cubicBezTo>
                      <a:pt x="60" y="56"/>
                      <a:pt x="59" y="58"/>
                      <a:pt x="56" y="60"/>
                    </a:cubicBezTo>
                    <a:cubicBezTo>
                      <a:pt x="53" y="61"/>
                      <a:pt x="52" y="54"/>
                      <a:pt x="48" y="56"/>
                    </a:cubicBezTo>
                    <a:cubicBezTo>
                      <a:pt x="45" y="59"/>
                      <a:pt x="48" y="60"/>
                      <a:pt x="44" y="63"/>
                    </a:cubicBezTo>
                    <a:cubicBezTo>
                      <a:pt x="40" y="67"/>
                      <a:pt x="42" y="68"/>
                      <a:pt x="37" y="75"/>
                    </a:cubicBezTo>
                    <a:cubicBezTo>
                      <a:pt x="33" y="82"/>
                      <a:pt x="18" y="85"/>
                      <a:pt x="15" y="89"/>
                    </a:cubicBezTo>
                    <a:cubicBezTo>
                      <a:pt x="13" y="93"/>
                      <a:pt x="5" y="96"/>
                      <a:pt x="5" y="99"/>
                    </a:cubicBezTo>
                    <a:cubicBezTo>
                      <a:pt x="5" y="102"/>
                      <a:pt x="0" y="104"/>
                      <a:pt x="3" y="108"/>
                    </a:cubicBezTo>
                    <a:cubicBezTo>
                      <a:pt x="5" y="111"/>
                      <a:pt x="8" y="108"/>
                      <a:pt x="10" y="111"/>
                    </a:cubicBezTo>
                    <a:cubicBezTo>
                      <a:pt x="13" y="113"/>
                      <a:pt x="15" y="111"/>
                      <a:pt x="16" y="113"/>
                    </a:cubicBezTo>
                    <a:cubicBezTo>
                      <a:pt x="17" y="115"/>
                      <a:pt x="25" y="115"/>
                      <a:pt x="31" y="110"/>
                    </a:cubicBezTo>
                    <a:cubicBezTo>
                      <a:pt x="37" y="104"/>
                      <a:pt x="34" y="102"/>
                      <a:pt x="36" y="100"/>
                    </a:cubicBezTo>
                    <a:cubicBezTo>
                      <a:pt x="39" y="99"/>
                      <a:pt x="39" y="95"/>
                      <a:pt x="40" y="92"/>
                    </a:cubicBezTo>
                    <a:cubicBezTo>
                      <a:pt x="42" y="89"/>
                      <a:pt x="43" y="87"/>
                      <a:pt x="49" y="87"/>
                    </a:cubicBezTo>
                    <a:cubicBezTo>
                      <a:pt x="56" y="87"/>
                      <a:pt x="52" y="85"/>
                      <a:pt x="52" y="82"/>
                    </a:cubicBezTo>
                    <a:cubicBezTo>
                      <a:pt x="52" y="79"/>
                      <a:pt x="57" y="79"/>
                      <a:pt x="57" y="75"/>
                    </a:cubicBezTo>
                    <a:cubicBezTo>
                      <a:pt x="57" y="71"/>
                      <a:pt x="65" y="67"/>
                      <a:pt x="64" y="64"/>
                    </a:cubicBezTo>
                    <a:cubicBezTo>
                      <a:pt x="62" y="61"/>
                      <a:pt x="65" y="59"/>
                      <a:pt x="62" y="58"/>
                    </a:cubicBezTo>
                    <a:close/>
                    <a:moveTo>
                      <a:pt x="11" y="119"/>
                    </a:moveTo>
                    <a:cubicBezTo>
                      <a:pt x="12" y="120"/>
                      <a:pt x="16" y="118"/>
                      <a:pt x="14" y="116"/>
                    </a:cubicBezTo>
                    <a:cubicBezTo>
                      <a:pt x="12" y="113"/>
                      <a:pt x="8" y="118"/>
                      <a:pt x="11" y="119"/>
                    </a:cubicBezTo>
                    <a:close/>
                    <a:moveTo>
                      <a:pt x="92" y="29"/>
                    </a:moveTo>
                    <a:cubicBezTo>
                      <a:pt x="90" y="32"/>
                      <a:pt x="87" y="28"/>
                      <a:pt x="84" y="28"/>
                    </a:cubicBezTo>
                    <a:cubicBezTo>
                      <a:pt x="81" y="28"/>
                      <a:pt x="79" y="26"/>
                      <a:pt x="79" y="23"/>
                    </a:cubicBezTo>
                    <a:cubicBezTo>
                      <a:pt x="79" y="21"/>
                      <a:pt x="78" y="17"/>
                      <a:pt x="75" y="17"/>
                    </a:cubicBezTo>
                    <a:cubicBezTo>
                      <a:pt x="72" y="17"/>
                      <a:pt x="76" y="20"/>
                      <a:pt x="75" y="21"/>
                    </a:cubicBezTo>
                    <a:cubicBezTo>
                      <a:pt x="74" y="23"/>
                      <a:pt x="73" y="20"/>
                      <a:pt x="72" y="20"/>
                    </a:cubicBezTo>
                    <a:cubicBezTo>
                      <a:pt x="70" y="20"/>
                      <a:pt x="69" y="18"/>
                      <a:pt x="69" y="14"/>
                    </a:cubicBezTo>
                    <a:cubicBezTo>
                      <a:pt x="69" y="11"/>
                      <a:pt x="66" y="11"/>
                      <a:pt x="66" y="7"/>
                    </a:cubicBezTo>
                    <a:cubicBezTo>
                      <a:pt x="66" y="3"/>
                      <a:pt x="59" y="0"/>
                      <a:pt x="56" y="0"/>
                    </a:cubicBezTo>
                    <a:cubicBezTo>
                      <a:pt x="52" y="0"/>
                      <a:pt x="57" y="6"/>
                      <a:pt x="58" y="8"/>
                    </a:cubicBezTo>
                    <a:cubicBezTo>
                      <a:pt x="60" y="10"/>
                      <a:pt x="64" y="12"/>
                      <a:pt x="64" y="14"/>
                    </a:cubicBezTo>
                    <a:cubicBezTo>
                      <a:pt x="64" y="16"/>
                      <a:pt x="67" y="20"/>
                      <a:pt x="69" y="20"/>
                    </a:cubicBezTo>
                    <a:cubicBezTo>
                      <a:pt x="71" y="21"/>
                      <a:pt x="67" y="27"/>
                      <a:pt x="67" y="32"/>
                    </a:cubicBezTo>
                    <a:cubicBezTo>
                      <a:pt x="67" y="37"/>
                      <a:pt x="64" y="36"/>
                      <a:pt x="61" y="40"/>
                    </a:cubicBezTo>
                    <a:cubicBezTo>
                      <a:pt x="58" y="43"/>
                      <a:pt x="68" y="46"/>
                      <a:pt x="72" y="49"/>
                    </a:cubicBezTo>
                    <a:cubicBezTo>
                      <a:pt x="75" y="52"/>
                      <a:pt x="68" y="60"/>
                      <a:pt x="69" y="62"/>
                    </a:cubicBezTo>
                    <a:cubicBezTo>
                      <a:pt x="70" y="63"/>
                      <a:pt x="72" y="64"/>
                      <a:pt x="77" y="63"/>
                    </a:cubicBezTo>
                    <a:cubicBezTo>
                      <a:pt x="81" y="62"/>
                      <a:pt x="83" y="53"/>
                      <a:pt x="85" y="51"/>
                    </a:cubicBezTo>
                    <a:cubicBezTo>
                      <a:pt x="88" y="48"/>
                      <a:pt x="87" y="44"/>
                      <a:pt x="88" y="42"/>
                    </a:cubicBezTo>
                    <a:cubicBezTo>
                      <a:pt x="89" y="40"/>
                      <a:pt x="91" y="40"/>
                      <a:pt x="93" y="40"/>
                    </a:cubicBezTo>
                    <a:cubicBezTo>
                      <a:pt x="95" y="40"/>
                      <a:pt x="94" y="36"/>
                      <a:pt x="97" y="36"/>
                    </a:cubicBezTo>
                    <a:cubicBezTo>
                      <a:pt x="99" y="36"/>
                      <a:pt x="98" y="32"/>
                      <a:pt x="99" y="29"/>
                    </a:cubicBezTo>
                    <a:cubicBezTo>
                      <a:pt x="101" y="25"/>
                      <a:pt x="93" y="26"/>
                      <a:pt x="92" y="2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1" name="Freeform 160">
                <a:extLst>
                  <a:ext uri="{FF2B5EF4-FFF2-40B4-BE49-F238E27FC236}">
                    <a16:creationId xmlns:a16="http://schemas.microsoft.com/office/drawing/2014/main" id="{191D217B-7D0B-4A62-B1E3-A464529EB3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90872" y="3237839"/>
                <a:ext cx="264747" cy="168133"/>
              </a:xfrm>
              <a:custGeom>
                <a:avLst/>
                <a:gdLst>
                  <a:gd name="T0" fmla="*/ 115 w 115"/>
                  <a:gd name="T1" fmla="*/ 46 h 73"/>
                  <a:gd name="T2" fmla="*/ 108 w 115"/>
                  <a:gd name="T3" fmla="*/ 43 h 73"/>
                  <a:gd name="T4" fmla="*/ 99 w 115"/>
                  <a:gd name="T5" fmla="*/ 38 h 73"/>
                  <a:gd name="T6" fmla="*/ 90 w 115"/>
                  <a:gd name="T7" fmla="*/ 32 h 73"/>
                  <a:gd name="T8" fmla="*/ 82 w 115"/>
                  <a:gd name="T9" fmla="*/ 27 h 73"/>
                  <a:gd name="T10" fmla="*/ 78 w 115"/>
                  <a:gd name="T11" fmla="*/ 20 h 73"/>
                  <a:gd name="T12" fmla="*/ 75 w 115"/>
                  <a:gd name="T13" fmla="*/ 15 h 73"/>
                  <a:gd name="T14" fmla="*/ 63 w 115"/>
                  <a:gd name="T15" fmla="*/ 13 h 73"/>
                  <a:gd name="T16" fmla="*/ 60 w 115"/>
                  <a:gd name="T17" fmla="*/ 5 h 73"/>
                  <a:gd name="T18" fmla="*/ 54 w 115"/>
                  <a:gd name="T19" fmla="*/ 3 h 73"/>
                  <a:gd name="T20" fmla="*/ 48 w 115"/>
                  <a:gd name="T21" fmla="*/ 1 h 73"/>
                  <a:gd name="T22" fmla="*/ 45 w 115"/>
                  <a:gd name="T23" fmla="*/ 3 h 73"/>
                  <a:gd name="T24" fmla="*/ 42 w 115"/>
                  <a:gd name="T25" fmla="*/ 6 h 73"/>
                  <a:gd name="T26" fmla="*/ 36 w 115"/>
                  <a:gd name="T27" fmla="*/ 10 h 73"/>
                  <a:gd name="T28" fmla="*/ 34 w 115"/>
                  <a:gd name="T29" fmla="*/ 14 h 73"/>
                  <a:gd name="T30" fmla="*/ 28 w 115"/>
                  <a:gd name="T31" fmla="*/ 13 h 73"/>
                  <a:gd name="T32" fmla="*/ 22 w 115"/>
                  <a:gd name="T33" fmla="*/ 11 h 73"/>
                  <a:gd name="T34" fmla="*/ 12 w 115"/>
                  <a:gd name="T35" fmla="*/ 4 h 73"/>
                  <a:gd name="T36" fmla="*/ 4 w 115"/>
                  <a:gd name="T37" fmla="*/ 8 h 73"/>
                  <a:gd name="T38" fmla="*/ 8 w 115"/>
                  <a:gd name="T39" fmla="*/ 7 h 73"/>
                  <a:gd name="T40" fmla="*/ 14 w 115"/>
                  <a:gd name="T41" fmla="*/ 14 h 73"/>
                  <a:gd name="T42" fmla="*/ 18 w 115"/>
                  <a:gd name="T43" fmla="*/ 19 h 73"/>
                  <a:gd name="T44" fmla="*/ 10 w 115"/>
                  <a:gd name="T45" fmla="*/ 20 h 73"/>
                  <a:gd name="T46" fmla="*/ 2 w 115"/>
                  <a:gd name="T47" fmla="*/ 20 h 73"/>
                  <a:gd name="T48" fmla="*/ 4 w 115"/>
                  <a:gd name="T49" fmla="*/ 27 h 73"/>
                  <a:gd name="T50" fmla="*/ 5 w 115"/>
                  <a:gd name="T51" fmla="*/ 32 h 73"/>
                  <a:gd name="T52" fmla="*/ 9 w 115"/>
                  <a:gd name="T53" fmla="*/ 34 h 73"/>
                  <a:gd name="T54" fmla="*/ 11 w 115"/>
                  <a:gd name="T55" fmla="*/ 40 h 73"/>
                  <a:gd name="T56" fmla="*/ 11 w 115"/>
                  <a:gd name="T57" fmla="*/ 51 h 73"/>
                  <a:gd name="T58" fmla="*/ 17 w 115"/>
                  <a:gd name="T59" fmla="*/ 50 h 73"/>
                  <a:gd name="T60" fmla="*/ 25 w 115"/>
                  <a:gd name="T61" fmla="*/ 45 h 73"/>
                  <a:gd name="T62" fmla="*/ 30 w 115"/>
                  <a:gd name="T63" fmla="*/ 44 h 73"/>
                  <a:gd name="T64" fmla="*/ 40 w 115"/>
                  <a:gd name="T65" fmla="*/ 44 h 73"/>
                  <a:gd name="T66" fmla="*/ 45 w 115"/>
                  <a:gd name="T67" fmla="*/ 47 h 73"/>
                  <a:gd name="T68" fmla="*/ 49 w 115"/>
                  <a:gd name="T69" fmla="*/ 49 h 73"/>
                  <a:gd name="T70" fmla="*/ 56 w 115"/>
                  <a:gd name="T71" fmla="*/ 51 h 73"/>
                  <a:gd name="T72" fmla="*/ 60 w 115"/>
                  <a:gd name="T73" fmla="*/ 54 h 73"/>
                  <a:gd name="T74" fmla="*/ 65 w 115"/>
                  <a:gd name="T75" fmla="*/ 58 h 73"/>
                  <a:gd name="T76" fmla="*/ 71 w 115"/>
                  <a:gd name="T77" fmla="*/ 59 h 73"/>
                  <a:gd name="T78" fmla="*/ 72 w 115"/>
                  <a:gd name="T79" fmla="*/ 69 h 73"/>
                  <a:gd name="T80" fmla="*/ 74 w 115"/>
                  <a:gd name="T81" fmla="*/ 69 h 73"/>
                  <a:gd name="T82" fmla="*/ 80 w 115"/>
                  <a:gd name="T83" fmla="*/ 71 h 73"/>
                  <a:gd name="T84" fmla="*/ 87 w 115"/>
                  <a:gd name="T85" fmla="*/ 68 h 73"/>
                  <a:gd name="T86" fmla="*/ 98 w 115"/>
                  <a:gd name="T87" fmla="*/ 61 h 73"/>
                  <a:gd name="T88" fmla="*/ 103 w 115"/>
                  <a:gd name="T89" fmla="*/ 53 h 73"/>
                  <a:gd name="T90" fmla="*/ 109 w 115"/>
                  <a:gd name="T91" fmla="*/ 50 h 73"/>
                  <a:gd name="T92" fmla="*/ 115 w 115"/>
                  <a:gd name="T93" fmla="*/ 51 h 73"/>
                  <a:gd name="T94" fmla="*/ 115 w 115"/>
                  <a:gd name="T95" fmla="*/ 46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15" h="73">
                    <a:moveTo>
                      <a:pt x="115" y="46"/>
                    </a:moveTo>
                    <a:cubicBezTo>
                      <a:pt x="115" y="46"/>
                      <a:pt x="109" y="43"/>
                      <a:pt x="108" y="43"/>
                    </a:cubicBezTo>
                    <a:cubicBezTo>
                      <a:pt x="106" y="44"/>
                      <a:pt x="103" y="39"/>
                      <a:pt x="99" y="38"/>
                    </a:cubicBezTo>
                    <a:cubicBezTo>
                      <a:pt x="96" y="37"/>
                      <a:pt x="91" y="35"/>
                      <a:pt x="90" y="32"/>
                    </a:cubicBezTo>
                    <a:cubicBezTo>
                      <a:pt x="89" y="30"/>
                      <a:pt x="83" y="28"/>
                      <a:pt x="82" y="27"/>
                    </a:cubicBezTo>
                    <a:cubicBezTo>
                      <a:pt x="81" y="25"/>
                      <a:pt x="80" y="22"/>
                      <a:pt x="78" y="20"/>
                    </a:cubicBezTo>
                    <a:cubicBezTo>
                      <a:pt x="77" y="18"/>
                      <a:pt x="77" y="15"/>
                      <a:pt x="75" y="15"/>
                    </a:cubicBezTo>
                    <a:cubicBezTo>
                      <a:pt x="73" y="14"/>
                      <a:pt x="63" y="15"/>
                      <a:pt x="63" y="13"/>
                    </a:cubicBezTo>
                    <a:cubicBezTo>
                      <a:pt x="63" y="12"/>
                      <a:pt x="62" y="5"/>
                      <a:pt x="60" y="5"/>
                    </a:cubicBezTo>
                    <a:cubicBezTo>
                      <a:pt x="58" y="4"/>
                      <a:pt x="55" y="4"/>
                      <a:pt x="54" y="3"/>
                    </a:cubicBezTo>
                    <a:cubicBezTo>
                      <a:pt x="53" y="1"/>
                      <a:pt x="49" y="0"/>
                      <a:pt x="48" y="1"/>
                    </a:cubicBezTo>
                    <a:cubicBezTo>
                      <a:pt x="48" y="2"/>
                      <a:pt x="46" y="3"/>
                      <a:pt x="45" y="3"/>
                    </a:cubicBezTo>
                    <a:cubicBezTo>
                      <a:pt x="44" y="3"/>
                      <a:pt x="45" y="6"/>
                      <a:pt x="42" y="6"/>
                    </a:cubicBezTo>
                    <a:cubicBezTo>
                      <a:pt x="40" y="6"/>
                      <a:pt x="36" y="8"/>
                      <a:pt x="36" y="10"/>
                    </a:cubicBezTo>
                    <a:cubicBezTo>
                      <a:pt x="36" y="12"/>
                      <a:pt x="37" y="14"/>
                      <a:pt x="34" y="14"/>
                    </a:cubicBezTo>
                    <a:cubicBezTo>
                      <a:pt x="32" y="14"/>
                      <a:pt x="30" y="14"/>
                      <a:pt x="28" y="13"/>
                    </a:cubicBezTo>
                    <a:cubicBezTo>
                      <a:pt x="27" y="13"/>
                      <a:pt x="25" y="15"/>
                      <a:pt x="22" y="11"/>
                    </a:cubicBezTo>
                    <a:cubicBezTo>
                      <a:pt x="19" y="7"/>
                      <a:pt x="15" y="4"/>
                      <a:pt x="12" y="4"/>
                    </a:cubicBezTo>
                    <a:cubicBezTo>
                      <a:pt x="10" y="4"/>
                      <a:pt x="2" y="4"/>
                      <a:pt x="4" y="8"/>
                    </a:cubicBezTo>
                    <a:cubicBezTo>
                      <a:pt x="5" y="7"/>
                      <a:pt x="6" y="6"/>
                      <a:pt x="8" y="7"/>
                    </a:cubicBezTo>
                    <a:cubicBezTo>
                      <a:pt x="14" y="7"/>
                      <a:pt x="11" y="14"/>
                      <a:pt x="14" y="14"/>
                    </a:cubicBezTo>
                    <a:cubicBezTo>
                      <a:pt x="17" y="14"/>
                      <a:pt x="21" y="19"/>
                      <a:pt x="18" y="19"/>
                    </a:cubicBezTo>
                    <a:cubicBezTo>
                      <a:pt x="15" y="18"/>
                      <a:pt x="13" y="21"/>
                      <a:pt x="10" y="20"/>
                    </a:cubicBezTo>
                    <a:cubicBezTo>
                      <a:pt x="7" y="19"/>
                      <a:pt x="3" y="17"/>
                      <a:pt x="2" y="20"/>
                    </a:cubicBezTo>
                    <a:cubicBezTo>
                      <a:pt x="1" y="24"/>
                      <a:pt x="0" y="27"/>
                      <a:pt x="4" y="27"/>
                    </a:cubicBezTo>
                    <a:cubicBezTo>
                      <a:pt x="8" y="27"/>
                      <a:pt x="7" y="29"/>
                      <a:pt x="5" y="32"/>
                    </a:cubicBezTo>
                    <a:cubicBezTo>
                      <a:pt x="2" y="35"/>
                      <a:pt x="9" y="32"/>
                      <a:pt x="9" y="34"/>
                    </a:cubicBezTo>
                    <a:cubicBezTo>
                      <a:pt x="10" y="36"/>
                      <a:pt x="12" y="37"/>
                      <a:pt x="11" y="40"/>
                    </a:cubicBezTo>
                    <a:cubicBezTo>
                      <a:pt x="10" y="43"/>
                      <a:pt x="11" y="48"/>
                      <a:pt x="11" y="51"/>
                    </a:cubicBezTo>
                    <a:cubicBezTo>
                      <a:pt x="13" y="51"/>
                      <a:pt x="17" y="51"/>
                      <a:pt x="17" y="50"/>
                    </a:cubicBezTo>
                    <a:cubicBezTo>
                      <a:pt x="19" y="48"/>
                      <a:pt x="22" y="45"/>
                      <a:pt x="25" y="45"/>
                    </a:cubicBezTo>
                    <a:cubicBezTo>
                      <a:pt x="27" y="45"/>
                      <a:pt x="29" y="46"/>
                      <a:pt x="30" y="44"/>
                    </a:cubicBezTo>
                    <a:cubicBezTo>
                      <a:pt x="31" y="42"/>
                      <a:pt x="38" y="43"/>
                      <a:pt x="40" y="44"/>
                    </a:cubicBezTo>
                    <a:cubicBezTo>
                      <a:pt x="41" y="46"/>
                      <a:pt x="45" y="47"/>
                      <a:pt x="45" y="47"/>
                    </a:cubicBezTo>
                    <a:cubicBezTo>
                      <a:pt x="46" y="47"/>
                      <a:pt x="47" y="49"/>
                      <a:pt x="49" y="49"/>
                    </a:cubicBezTo>
                    <a:cubicBezTo>
                      <a:pt x="52" y="49"/>
                      <a:pt x="56" y="50"/>
                      <a:pt x="56" y="51"/>
                    </a:cubicBezTo>
                    <a:cubicBezTo>
                      <a:pt x="56" y="52"/>
                      <a:pt x="58" y="54"/>
                      <a:pt x="60" y="54"/>
                    </a:cubicBezTo>
                    <a:cubicBezTo>
                      <a:pt x="62" y="54"/>
                      <a:pt x="63" y="59"/>
                      <a:pt x="65" y="58"/>
                    </a:cubicBezTo>
                    <a:cubicBezTo>
                      <a:pt x="67" y="58"/>
                      <a:pt x="71" y="58"/>
                      <a:pt x="71" y="59"/>
                    </a:cubicBezTo>
                    <a:cubicBezTo>
                      <a:pt x="71" y="60"/>
                      <a:pt x="71" y="66"/>
                      <a:pt x="72" y="69"/>
                    </a:cubicBezTo>
                    <a:cubicBezTo>
                      <a:pt x="73" y="69"/>
                      <a:pt x="74" y="69"/>
                      <a:pt x="74" y="69"/>
                    </a:cubicBezTo>
                    <a:cubicBezTo>
                      <a:pt x="75" y="70"/>
                      <a:pt x="79" y="68"/>
                      <a:pt x="80" y="71"/>
                    </a:cubicBezTo>
                    <a:cubicBezTo>
                      <a:pt x="80" y="73"/>
                      <a:pt x="87" y="72"/>
                      <a:pt x="87" y="68"/>
                    </a:cubicBezTo>
                    <a:cubicBezTo>
                      <a:pt x="86" y="65"/>
                      <a:pt x="97" y="65"/>
                      <a:pt x="98" y="61"/>
                    </a:cubicBezTo>
                    <a:cubicBezTo>
                      <a:pt x="99" y="58"/>
                      <a:pt x="100" y="53"/>
                      <a:pt x="103" y="53"/>
                    </a:cubicBezTo>
                    <a:cubicBezTo>
                      <a:pt x="106" y="54"/>
                      <a:pt x="107" y="49"/>
                      <a:pt x="109" y="50"/>
                    </a:cubicBezTo>
                    <a:cubicBezTo>
                      <a:pt x="111" y="50"/>
                      <a:pt x="113" y="52"/>
                      <a:pt x="115" y="51"/>
                    </a:cubicBezTo>
                    <a:lnTo>
                      <a:pt x="115" y="46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2" name="Freeform 161">
                <a:extLst>
                  <a:ext uri="{FF2B5EF4-FFF2-40B4-BE49-F238E27FC236}">
                    <a16:creationId xmlns:a16="http://schemas.microsoft.com/office/drawing/2014/main" id="{E2A4B97E-0099-4391-9A1E-8C27443624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30267" y="3298066"/>
                <a:ext cx="366380" cy="311172"/>
              </a:xfrm>
              <a:custGeom>
                <a:avLst/>
                <a:gdLst>
                  <a:gd name="T0" fmla="*/ 155 w 159"/>
                  <a:gd name="T1" fmla="*/ 116 h 135"/>
                  <a:gd name="T2" fmla="*/ 151 w 159"/>
                  <a:gd name="T3" fmla="*/ 107 h 135"/>
                  <a:gd name="T4" fmla="*/ 143 w 159"/>
                  <a:gd name="T5" fmla="*/ 101 h 135"/>
                  <a:gd name="T6" fmla="*/ 137 w 159"/>
                  <a:gd name="T7" fmla="*/ 94 h 135"/>
                  <a:gd name="T8" fmla="*/ 146 w 159"/>
                  <a:gd name="T9" fmla="*/ 82 h 135"/>
                  <a:gd name="T10" fmla="*/ 138 w 159"/>
                  <a:gd name="T11" fmla="*/ 78 h 135"/>
                  <a:gd name="T12" fmla="*/ 136 w 159"/>
                  <a:gd name="T13" fmla="*/ 69 h 135"/>
                  <a:gd name="T14" fmla="*/ 136 w 159"/>
                  <a:gd name="T15" fmla="*/ 60 h 135"/>
                  <a:gd name="T16" fmla="*/ 137 w 159"/>
                  <a:gd name="T17" fmla="*/ 53 h 135"/>
                  <a:gd name="T18" fmla="*/ 141 w 159"/>
                  <a:gd name="T19" fmla="*/ 47 h 135"/>
                  <a:gd name="T20" fmla="*/ 142 w 159"/>
                  <a:gd name="T21" fmla="*/ 43 h 135"/>
                  <a:gd name="T22" fmla="*/ 141 w 159"/>
                  <a:gd name="T23" fmla="*/ 33 h 135"/>
                  <a:gd name="T24" fmla="*/ 135 w 159"/>
                  <a:gd name="T25" fmla="*/ 32 h 135"/>
                  <a:gd name="T26" fmla="*/ 130 w 159"/>
                  <a:gd name="T27" fmla="*/ 28 h 135"/>
                  <a:gd name="T28" fmla="*/ 126 w 159"/>
                  <a:gd name="T29" fmla="*/ 25 h 135"/>
                  <a:gd name="T30" fmla="*/ 119 w 159"/>
                  <a:gd name="T31" fmla="*/ 23 h 135"/>
                  <a:gd name="T32" fmla="*/ 115 w 159"/>
                  <a:gd name="T33" fmla="*/ 21 h 135"/>
                  <a:gd name="T34" fmla="*/ 110 w 159"/>
                  <a:gd name="T35" fmla="*/ 18 h 135"/>
                  <a:gd name="T36" fmla="*/ 100 w 159"/>
                  <a:gd name="T37" fmla="*/ 18 h 135"/>
                  <a:gd name="T38" fmla="*/ 95 w 159"/>
                  <a:gd name="T39" fmla="*/ 19 h 135"/>
                  <a:gd name="T40" fmla="*/ 87 w 159"/>
                  <a:gd name="T41" fmla="*/ 24 h 135"/>
                  <a:gd name="T42" fmla="*/ 81 w 159"/>
                  <a:gd name="T43" fmla="*/ 25 h 135"/>
                  <a:gd name="T44" fmla="*/ 81 w 159"/>
                  <a:gd name="T45" fmla="*/ 29 h 135"/>
                  <a:gd name="T46" fmla="*/ 63 w 159"/>
                  <a:gd name="T47" fmla="*/ 33 h 135"/>
                  <a:gd name="T48" fmla="*/ 48 w 159"/>
                  <a:gd name="T49" fmla="*/ 24 h 135"/>
                  <a:gd name="T50" fmla="*/ 39 w 159"/>
                  <a:gd name="T51" fmla="*/ 15 h 135"/>
                  <a:gd name="T52" fmla="*/ 33 w 159"/>
                  <a:gd name="T53" fmla="*/ 11 h 135"/>
                  <a:gd name="T54" fmla="*/ 31 w 159"/>
                  <a:gd name="T55" fmla="*/ 3 h 135"/>
                  <a:gd name="T56" fmla="*/ 15 w 159"/>
                  <a:gd name="T57" fmla="*/ 10 h 135"/>
                  <a:gd name="T58" fmla="*/ 10 w 159"/>
                  <a:gd name="T59" fmla="*/ 7 h 135"/>
                  <a:gd name="T60" fmla="*/ 5 w 159"/>
                  <a:gd name="T61" fmla="*/ 1 h 135"/>
                  <a:gd name="T62" fmla="*/ 2 w 159"/>
                  <a:gd name="T63" fmla="*/ 5 h 135"/>
                  <a:gd name="T64" fmla="*/ 2 w 159"/>
                  <a:gd name="T65" fmla="*/ 12 h 135"/>
                  <a:gd name="T66" fmla="*/ 2 w 159"/>
                  <a:gd name="T67" fmla="*/ 20 h 135"/>
                  <a:gd name="T68" fmla="*/ 6 w 159"/>
                  <a:gd name="T69" fmla="*/ 27 h 135"/>
                  <a:gd name="T70" fmla="*/ 9 w 159"/>
                  <a:gd name="T71" fmla="*/ 33 h 135"/>
                  <a:gd name="T72" fmla="*/ 14 w 159"/>
                  <a:gd name="T73" fmla="*/ 38 h 135"/>
                  <a:gd name="T74" fmla="*/ 17 w 159"/>
                  <a:gd name="T75" fmla="*/ 41 h 135"/>
                  <a:gd name="T76" fmla="*/ 16 w 159"/>
                  <a:gd name="T77" fmla="*/ 46 h 135"/>
                  <a:gd name="T78" fmla="*/ 13 w 159"/>
                  <a:gd name="T79" fmla="*/ 52 h 135"/>
                  <a:gd name="T80" fmla="*/ 14 w 159"/>
                  <a:gd name="T81" fmla="*/ 59 h 135"/>
                  <a:gd name="T82" fmla="*/ 17 w 159"/>
                  <a:gd name="T83" fmla="*/ 64 h 135"/>
                  <a:gd name="T84" fmla="*/ 26 w 159"/>
                  <a:gd name="T85" fmla="*/ 70 h 135"/>
                  <a:gd name="T86" fmla="*/ 30 w 159"/>
                  <a:gd name="T87" fmla="*/ 74 h 135"/>
                  <a:gd name="T88" fmla="*/ 29 w 159"/>
                  <a:gd name="T89" fmla="*/ 80 h 135"/>
                  <a:gd name="T90" fmla="*/ 32 w 159"/>
                  <a:gd name="T91" fmla="*/ 85 h 135"/>
                  <a:gd name="T92" fmla="*/ 37 w 159"/>
                  <a:gd name="T93" fmla="*/ 92 h 135"/>
                  <a:gd name="T94" fmla="*/ 39 w 159"/>
                  <a:gd name="T95" fmla="*/ 91 h 135"/>
                  <a:gd name="T96" fmla="*/ 42 w 159"/>
                  <a:gd name="T97" fmla="*/ 90 h 135"/>
                  <a:gd name="T98" fmla="*/ 48 w 159"/>
                  <a:gd name="T99" fmla="*/ 90 h 135"/>
                  <a:gd name="T100" fmla="*/ 56 w 159"/>
                  <a:gd name="T101" fmla="*/ 103 h 135"/>
                  <a:gd name="T102" fmla="*/ 61 w 159"/>
                  <a:gd name="T103" fmla="*/ 110 h 135"/>
                  <a:gd name="T104" fmla="*/ 71 w 159"/>
                  <a:gd name="T105" fmla="*/ 115 h 135"/>
                  <a:gd name="T106" fmla="*/ 89 w 159"/>
                  <a:gd name="T107" fmla="*/ 122 h 135"/>
                  <a:gd name="T108" fmla="*/ 102 w 159"/>
                  <a:gd name="T109" fmla="*/ 118 h 135"/>
                  <a:gd name="T110" fmla="*/ 108 w 159"/>
                  <a:gd name="T111" fmla="*/ 129 h 135"/>
                  <a:gd name="T112" fmla="*/ 136 w 159"/>
                  <a:gd name="T113" fmla="*/ 134 h 135"/>
                  <a:gd name="T114" fmla="*/ 145 w 159"/>
                  <a:gd name="T115" fmla="*/ 135 h 135"/>
                  <a:gd name="T116" fmla="*/ 144 w 159"/>
                  <a:gd name="T117" fmla="*/ 133 h 135"/>
                  <a:gd name="T118" fmla="*/ 149 w 159"/>
                  <a:gd name="T119" fmla="*/ 125 h 135"/>
                  <a:gd name="T120" fmla="*/ 157 w 159"/>
                  <a:gd name="T121" fmla="*/ 122 h 135"/>
                  <a:gd name="T122" fmla="*/ 155 w 159"/>
                  <a:gd name="T123" fmla="*/ 116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59" h="135">
                    <a:moveTo>
                      <a:pt x="155" y="116"/>
                    </a:moveTo>
                    <a:cubicBezTo>
                      <a:pt x="153" y="116"/>
                      <a:pt x="155" y="109"/>
                      <a:pt x="151" y="107"/>
                    </a:cubicBezTo>
                    <a:cubicBezTo>
                      <a:pt x="147" y="106"/>
                      <a:pt x="144" y="103"/>
                      <a:pt x="143" y="101"/>
                    </a:cubicBezTo>
                    <a:cubicBezTo>
                      <a:pt x="142" y="98"/>
                      <a:pt x="137" y="95"/>
                      <a:pt x="137" y="94"/>
                    </a:cubicBezTo>
                    <a:cubicBezTo>
                      <a:pt x="138" y="92"/>
                      <a:pt x="147" y="86"/>
                      <a:pt x="146" y="82"/>
                    </a:cubicBezTo>
                    <a:cubicBezTo>
                      <a:pt x="144" y="79"/>
                      <a:pt x="138" y="79"/>
                      <a:pt x="138" y="78"/>
                    </a:cubicBezTo>
                    <a:cubicBezTo>
                      <a:pt x="137" y="77"/>
                      <a:pt x="138" y="72"/>
                      <a:pt x="136" y="69"/>
                    </a:cubicBezTo>
                    <a:cubicBezTo>
                      <a:pt x="135" y="65"/>
                      <a:pt x="138" y="62"/>
                      <a:pt x="136" y="60"/>
                    </a:cubicBezTo>
                    <a:cubicBezTo>
                      <a:pt x="135" y="58"/>
                      <a:pt x="137" y="54"/>
                      <a:pt x="137" y="53"/>
                    </a:cubicBezTo>
                    <a:cubicBezTo>
                      <a:pt x="138" y="52"/>
                      <a:pt x="141" y="50"/>
                      <a:pt x="141" y="47"/>
                    </a:cubicBezTo>
                    <a:cubicBezTo>
                      <a:pt x="140" y="45"/>
                      <a:pt x="141" y="44"/>
                      <a:pt x="142" y="43"/>
                    </a:cubicBezTo>
                    <a:cubicBezTo>
                      <a:pt x="141" y="40"/>
                      <a:pt x="141" y="34"/>
                      <a:pt x="141" y="33"/>
                    </a:cubicBezTo>
                    <a:cubicBezTo>
                      <a:pt x="141" y="32"/>
                      <a:pt x="137" y="32"/>
                      <a:pt x="135" y="32"/>
                    </a:cubicBezTo>
                    <a:cubicBezTo>
                      <a:pt x="133" y="33"/>
                      <a:pt x="132" y="28"/>
                      <a:pt x="130" y="28"/>
                    </a:cubicBezTo>
                    <a:cubicBezTo>
                      <a:pt x="128" y="28"/>
                      <a:pt x="126" y="26"/>
                      <a:pt x="126" y="25"/>
                    </a:cubicBezTo>
                    <a:cubicBezTo>
                      <a:pt x="126" y="24"/>
                      <a:pt x="122" y="23"/>
                      <a:pt x="119" y="23"/>
                    </a:cubicBezTo>
                    <a:cubicBezTo>
                      <a:pt x="117" y="23"/>
                      <a:pt x="116" y="21"/>
                      <a:pt x="115" y="21"/>
                    </a:cubicBezTo>
                    <a:cubicBezTo>
                      <a:pt x="115" y="21"/>
                      <a:pt x="111" y="20"/>
                      <a:pt x="110" y="18"/>
                    </a:cubicBezTo>
                    <a:cubicBezTo>
                      <a:pt x="108" y="17"/>
                      <a:pt x="101" y="16"/>
                      <a:pt x="100" y="18"/>
                    </a:cubicBezTo>
                    <a:cubicBezTo>
                      <a:pt x="99" y="20"/>
                      <a:pt x="97" y="19"/>
                      <a:pt x="95" y="19"/>
                    </a:cubicBezTo>
                    <a:cubicBezTo>
                      <a:pt x="92" y="19"/>
                      <a:pt x="89" y="22"/>
                      <a:pt x="87" y="24"/>
                    </a:cubicBezTo>
                    <a:cubicBezTo>
                      <a:pt x="87" y="25"/>
                      <a:pt x="83" y="25"/>
                      <a:pt x="81" y="25"/>
                    </a:cubicBezTo>
                    <a:cubicBezTo>
                      <a:pt x="81" y="27"/>
                      <a:pt x="81" y="29"/>
                      <a:pt x="81" y="29"/>
                    </a:cubicBezTo>
                    <a:cubicBezTo>
                      <a:pt x="79" y="31"/>
                      <a:pt x="70" y="33"/>
                      <a:pt x="63" y="33"/>
                    </a:cubicBezTo>
                    <a:cubicBezTo>
                      <a:pt x="56" y="33"/>
                      <a:pt x="56" y="24"/>
                      <a:pt x="48" y="24"/>
                    </a:cubicBezTo>
                    <a:cubicBezTo>
                      <a:pt x="43" y="24"/>
                      <a:pt x="39" y="19"/>
                      <a:pt x="39" y="15"/>
                    </a:cubicBezTo>
                    <a:cubicBezTo>
                      <a:pt x="36" y="14"/>
                      <a:pt x="32" y="12"/>
                      <a:pt x="33" y="11"/>
                    </a:cubicBezTo>
                    <a:cubicBezTo>
                      <a:pt x="34" y="9"/>
                      <a:pt x="35" y="1"/>
                      <a:pt x="31" y="3"/>
                    </a:cubicBezTo>
                    <a:cubicBezTo>
                      <a:pt x="28" y="5"/>
                      <a:pt x="22" y="11"/>
                      <a:pt x="15" y="10"/>
                    </a:cubicBezTo>
                    <a:cubicBezTo>
                      <a:pt x="8" y="9"/>
                      <a:pt x="13" y="9"/>
                      <a:pt x="10" y="7"/>
                    </a:cubicBezTo>
                    <a:cubicBezTo>
                      <a:pt x="6" y="6"/>
                      <a:pt x="8" y="2"/>
                      <a:pt x="5" y="1"/>
                    </a:cubicBezTo>
                    <a:cubicBezTo>
                      <a:pt x="2" y="0"/>
                      <a:pt x="4" y="5"/>
                      <a:pt x="2" y="5"/>
                    </a:cubicBezTo>
                    <a:cubicBezTo>
                      <a:pt x="0" y="5"/>
                      <a:pt x="2" y="11"/>
                      <a:pt x="2" y="12"/>
                    </a:cubicBezTo>
                    <a:cubicBezTo>
                      <a:pt x="3" y="13"/>
                      <a:pt x="1" y="20"/>
                      <a:pt x="2" y="20"/>
                    </a:cubicBezTo>
                    <a:cubicBezTo>
                      <a:pt x="4" y="21"/>
                      <a:pt x="7" y="26"/>
                      <a:pt x="6" y="27"/>
                    </a:cubicBezTo>
                    <a:cubicBezTo>
                      <a:pt x="6" y="28"/>
                      <a:pt x="9" y="31"/>
                      <a:pt x="9" y="33"/>
                    </a:cubicBezTo>
                    <a:cubicBezTo>
                      <a:pt x="9" y="35"/>
                      <a:pt x="12" y="38"/>
                      <a:pt x="14" y="38"/>
                    </a:cubicBezTo>
                    <a:cubicBezTo>
                      <a:pt x="15" y="38"/>
                      <a:pt x="17" y="39"/>
                      <a:pt x="17" y="41"/>
                    </a:cubicBezTo>
                    <a:cubicBezTo>
                      <a:pt x="16" y="43"/>
                      <a:pt x="18" y="46"/>
                      <a:pt x="16" y="46"/>
                    </a:cubicBezTo>
                    <a:cubicBezTo>
                      <a:pt x="14" y="46"/>
                      <a:pt x="14" y="51"/>
                      <a:pt x="13" y="52"/>
                    </a:cubicBezTo>
                    <a:cubicBezTo>
                      <a:pt x="11" y="53"/>
                      <a:pt x="12" y="59"/>
                      <a:pt x="14" y="59"/>
                    </a:cubicBezTo>
                    <a:cubicBezTo>
                      <a:pt x="15" y="60"/>
                      <a:pt x="18" y="61"/>
                      <a:pt x="17" y="64"/>
                    </a:cubicBezTo>
                    <a:cubicBezTo>
                      <a:pt x="17" y="66"/>
                      <a:pt x="24" y="69"/>
                      <a:pt x="26" y="70"/>
                    </a:cubicBezTo>
                    <a:cubicBezTo>
                      <a:pt x="28" y="70"/>
                      <a:pt x="29" y="73"/>
                      <a:pt x="30" y="74"/>
                    </a:cubicBezTo>
                    <a:cubicBezTo>
                      <a:pt x="31" y="76"/>
                      <a:pt x="29" y="78"/>
                      <a:pt x="29" y="80"/>
                    </a:cubicBezTo>
                    <a:cubicBezTo>
                      <a:pt x="30" y="81"/>
                      <a:pt x="33" y="83"/>
                      <a:pt x="32" y="85"/>
                    </a:cubicBezTo>
                    <a:cubicBezTo>
                      <a:pt x="32" y="87"/>
                      <a:pt x="35" y="89"/>
                      <a:pt x="37" y="92"/>
                    </a:cubicBezTo>
                    <a:cubicBezTo>
                      <a:pt x="38" y="91"/>
                      <a:pt x="38" y="91"/>
                      <a:pt x="39" y="91"/>
                    </a:cubicBezTo>
                    <a:cubicBezTo>
                      <a:pt x="41" y="91"/>
                      <a:pt x="41" y="89"/>
                      <a:pt x="42" y="90"/>
                    </a:cubicBezTo>
                    <a:cubicBezTo>
                      <a:pt x="44" y="92"/>
                      <a:pt x="46" y="90"/>
                      <a:pt x="48" y="90"/>
                    </a:cubicBezTo>
                    <a:cubicBezTo>
                      <a:pt x="50" y="90"/>
                      <a:pt x="54" y="98"/>
                      <a:pt x="56" y="103"/>
                    </a:cubicBezTo>
                    <a:cubicBezTo>
                      <a:pt x="58" y="107"/>
                      <a:pt x="58" y="108"/>
                      <a:pt x="61" y="110"/>
                    </a:cubicBezTo>
                    <a:cubicBezTo>
                      <a:pt x="64" y="112"/>
                      <a:pt x="67" y="111"/>
                      <a:pt x="71" y="115"/>
                    </a:cubicBezTo>
                    <a:cubicBezTo>
                      <a:pt x="75" y="119"/>
                      <a:pt x="85" y="122"/>
                      <a:pt x="89" y="122"/>
                    </a:cubicBezTo>
                    <a:cubicBezTo>
                      <a:pt x="93" y="122"/>
                      <a:pt x="96" y="117"/>
                      <a:pt x="102" y="118"/>
                    </a:cubicBezTo>
                    <a:cubicBezTo>
                      <a:pt x="107" y="119"/>
                      <a:pt x="106" y="126"/>
                      <a:pt x="108" y="129"/>
                    </a:cubicBezTo>
                    <a:cubicBezTo>
                      <a:pt x="110" y="131"/>
                      <a:pt x="132" y="133"/>
                      <a:pt x="136" y="134"/>
                    </a:cubicBezTo>
                    <a:cubicBezTo>
                      <a:pt x="138" y="135"/>
                      <a:pt x="141" y="135"/>
                      <a:pt x="145" y="135"/>
                    </a:cubicBezTo>
                    <a:cubicBezTo>
                      <a:pt x="145" y="134"/>
                      <a:pt x="144" y="133"/>
                      <a:pt x="144" y="133"/>
                    </a:cubicBezTo>
                    <a:cubicBezTo>
                      <a:pt x="144" y="129"/>
                      <a:pt x="147" y="126"/>
                      <a:pt x="149" y="125"/>
                    </a:cubicBezTo>
                    <a:cubicBezTo>
                      <a:pt x="152" y="123"/>
                      <a:pt x="154" y="123"/>
                      <a:pt x="157" y="122"/>
                    </a:cubicBezTo>
                    <a:cubicBezTo>
                      <a:pt x="159" y="122"/>
                      <a:pt x="157" y="117"/>
                      <a:pt x="155" y="116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3" name="Freeform 162">
                <a:extLst>
                  <a:ext uri="{FF2B5EF4-FFF2-40B4-BE49-F238E27FC236}">
                    <a16:creationId xmlns:a16="http://schemas.microsoft.com/office/drawing/2014/main" id="{A90A4A1E-F9AF-4608-B446-955B088CBDB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77947" y="2931686"/>
                <a:ext cx="754090" cy="355087"/>
              </a:xfrm>
              <a:custGeom>
                <a:avLst/>
                <a:gdLst>
                  <a:gd name="T0" fmla="*/ 316 w 327"/>
                  <a:gd name="T1" fmla="*/ 64 h 154"/>
                  <a:gd name="T2" fmla="*/ 306 w 327"/>
                  <a:gd name="T3" fmla="*/ 54 h 154"/>
                  <a:gd name="T4" fmla="*/ 285 w 327"/>
                  <a:gd name="T5" fmla="*/ 50 h 154"/>
                  <a:gd name="T6" fmla="*/ 265 w 327"/>
                  <a:gd name="T7" fmla="*/ 37 h 154"/>
                  <a:gd name="T8" fmla="*/ 243 w 327"/>
                  <a:gd name="T9" fmla="*/ 13 h 154"/>
                  <a:gd name="T10" fmla="*/ 221 w 327"/>
                  <a:gd name="T11" fmla="*/ 22 h 154"/>
                  <a:gd name="T12" fmla="*/ 216 w 327"/>
                  <a:gd name="T13" fmla="*/ 16 h 154"/>
                  <a:gd name="T14" fmla="*/ 203 w 327"/>
                  <a:gd name="T15" fmla="*/ 14 h 154"/>
                  <a:gd name="T16" fmla="*/ 197 w 327"/>
                  <a:gd name="T17" fmla="*/ 2 h 154"/>
                  <a:gd name="T18" fmla="*/ 169 w 327"/>
                  <a:gd name="T19" fmla="*/ 7 h 154"/>
                  <a:gd name="T20" fmla="*/ 137 w 327"/>
                  <a:gd name="T21" fmla="*/ 14 h 154"/>
                  <a:gd name="T22" fmla="*/ 121 w 327"/>
                  <a:gd name="T23" fmla="*/ 23 h 154"/>
                  <a:gd name="T24" fmla="*/ 118 w 327"/>
                  <a:gd name="T25" fmla="*/ 33 h 154"/>
                  <a:gd name="T26" fmla="*/ 121 w 327"/>
                  <a:gd name="T27" fmla="*/ 44 h 154"/>
                  <a:gd name="T28" fmla="*/ 112 w 327"/>
                  <a:gd name="T29" fmla="*/ 50 h 154"/>
                  <a:gd name="T30" fmla="*/ 100 w 327"/>
                  <a:gd name="T31" fmla="*/ 49 h 154"/>
                  <a:gd name="T32" fmla="*/ 80 w 327"/>
                  <a:gd name="T33" fmla="*/ 50 h 154"/>
                  <a:gd name="T34" fmla="*/ 66 w 327"/>
                  <a:gd name="T35" fmla="*/ 50 h 154"/>
                  <a:gd name="T36" fmla="*/ 44 w 327"/>
                  <a:gd name="T37" fmla="*/ 42 h 154"/>
                  <a:gd name="T38" fmla="*/ 25 w 327"/>
                  <a:gd name="T39" fmla="*/ 47 h 154"/>
                  <a:gd name="T40" fmla="*/ 18 w 327"/>
                  <a:gd name="T41" fmla="*/ 60 h 154"/>
                  <a:gd name="T42" fmla="*/ 3 w 327"/>
                  <a:gd name="T43" fmla="*/ 63 h 154"/>
                  <a:gd name="T44" fmla="*/ 0 w 327"/>
                  <a:gd name="T45" fmla="*/ 74 h 154"/>
                  <a:gd name="T46" fmla="*/ 12 w 327"/>
                  <a:gd name="T47" fmla="*/ 82 h 154"/>
                  <a:gd name="T48" fmla="*/ 20 w 327"/>
                  <a:gd name="T49" fmla="*/ 96 h 154"/>
                  <a:gd name="T50" fmla="*/ 41 w 327"/>
                  <a:gd name="T51" fmla="*/ 91 h 154"/>
                  <a:gd name="T52" fmla="*/ 46 w 327"/>
                  <a:gd name="T53" fmla="*/ 107 h 154"/>
                  <a:gd name="T54" fmla="*/ 31 w 327"/>
                  <a:gd name="T55" fmla="*/ 118 h 154"/>
                  <a:gd name="T56" fmla="*/ 46 w 327"/>
                  <a:gd name="T57" fmla="*/ 133 h 154"/>
                  <a:gd name="T58" fmla="*/ 53 w 327"/>
                  <a:gd name="T59" fmla="*/ 141 h 154"/>
                  <a:gd name="T60" fmla="*/ 77 w 327"/>
                  <a:gd name="T61" fmla="*/ 146 h 154"/>
                  <a:gd name="T62" fmla="*/ 99 w 327"/>
                  <a:gd name="T63" fmla="*/ 103 h 154"/>
                  <a:gd name="T64" fmla="*/ 112 w 327"/>
                  <a:gd name="T65" fmla="*/ 104 h 154"/>
                  <a:gd name="T66" fmla="*/ 136 w 327"/>
                  <a:gd name="T67" fmla="*/ 125 h 154"/>
                  <a:gd name="T68" fmla="*/ 160 w 327"/>
                  <a:gd name="T69" fmla="*/ 138 h 154"/>
                  <a:gd name="T70" fmla="*/ 178 w 327"/>
                  <a:gd name="T71" fmla="*/ 152 h 154"/>
                  <a:gd name="T72" fmla="*/ 195 w 327"/>
                  <a:gd name="T73" fmla="*/ 144 h 154"/>
                  <a:gd name="T74" fmla="*/ 213 w 327"/>
                  <a:gd name="T75" fmla="*/ 134 h 154"/>
                  <a:gd name="T76" fmla="*/ 240 w 327"/>
                  <a:gd name="T77" fmla="*/ 132 h 154"/>
                  <a:gd name="T78" fmla="*/ 275 w 327"/>
                  <a:gd name="T79" fmla="*/ 138 h 154"/>
                  <a:gd name="T80" fmla="*/ 275 w 327"/>
                  <a:gd name="T81" fmla="*/ 120 h 154"/>
                  <a:gd name="T82" fmla="*/ 286 w 327"/>
                  <a:gd name="T83" fmla="*/ 108 h 154"/>
                  <a:gd name="T84" fmla="*/ 297 w 327"/>
                  <a:gd name="T85" fmla="*/ 91 h 154"/>
                  <a:gd name="T86" fmla="*/ 317 w 327"/>
                  <a:gd name="T87" fmla="*/ 88 h 154"/>
                  <a:gd name="T88" fmla="*/ 325 w 327"/>
                  <a:gd name="T89" fmla="*/ 71 h 154"/>
                  <a:gd name="T90" fmla="*/ 122 w 327"/>
                  <a:gd name="T91" fmla="*/ 98 h 154"/>
                  <a:gd name="T92" fmla="*/ 257 w 327"/>
                  <a:gd name="T93" fmla="*/ 97 h 154"/>
                  <a:gd name="T94" fmla="*/ 225 w 327"/>
                  <a:gd name="T95" fmla="*/ 97 h 154"/>
                  <a:gd name="T96" fmla="*/ 257 w 327"/>
                  <a:gd name="T97" fmla="*/ 97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327" h="154">
                    <a:moveTo>
                      <a:pt x="326" y="63"/>
                    </a:moveTo>
                    <a:cubicBezTo>
                      <a:pt x="325" y="62"/>
                      <a:pt x="324" y="62"/>
                      <a:pt x="323" y="63"/>
                    </a:cubicBezTo>
                    <a:cubicBezTo>
                      <a:pt x="322" y="64"/>
                      <a:pt x="318" y="64"/>
                      <a:pt x="316" y="64"/>
                    </a:cubicBezTo>
                    <a:cubicBezTo>
                      <a:pt x="315" y="64"/>
                      <a:pt x="312" y="62"/>
                      <a:pt x="312" y="61"/>
                    </a:cubicBezTo>
                    <a:cubicBezTo>
                      <a:pt x="312" y="59"/>
                      <a:pt x="312" y="58"/>
                      <a:pt x="311" y="58"/>
                    </a:cubicBezTo>
                    <a:cubicBezTo>
                      <a:pt x="309" y="58"/>
                      <a:pt x="307" y="57"/>
                      <a:pt x="306" y="54"/>
                    </a:cubicBezTo>
                    <a:cubicBezTo>
                      <a:pt x="304" y="50"/>
                      <a:pt x="302" y="50"/>
                      <a:pt x="300" y="49"/>
                    </a:cubicBezTo>
                    <a:cubicBezTo>
                      <a:pt x="299" y="49"/>
                      <a:pt x="294" y="51"/>
                      <a:pt x="292" y="52"/>
                    </a:cubicBezTo>
                    <a:cubicBezTo>
                      <a:pt x="290" y="52"/>
                      <a:pt x="287" y="51"/>
                      <a:pt x="285" y="50"/>
                    </a:cubicBezTo>
                    <a:cubicBezTo>
                      <a:pt x="282" y="50"/>
                      <a:pt x="281" y="46"/>
                      <a:pt x="278" y="46"/>
                    </a:cubicBezTo>
                    <a:cubicBezTo>
                      <a:pt x="276" y="47"/>
                      <a:pt x="275" y="51"/>
                      <a:pt x="274" y="51"/>
                    </a:cubicBezTo>
                    <a:cubicBezTo>
                      <a:pt x="272" y="51"/>
                      <a:pt x="269" y="42"/>
                      <a:pt x="265" y="37"/>
                    </a:cubicBezTo>
                    <a:cubicBezTo>
                      <a:pt x="262" y="32"/>
                      <a:pt x="256" y="21"/>
                      <a:pt x="250" y="19"/>
                    </a:cubicBezTo>
                    <a:cubicBezTo>
                      <a:pt x="245" y="17"/>
                      <a:pt x="247" y="15"/>
                      <a:pt x="248" y="13"/>
                    </a:cubicBezTo>
                    <a:cubicBezTo>
                      <a:pt x="250" y="12"/>
                      <a:pt x="245" y="11"/>
                      <a:pt x="243" y="13"/>
                    </a:cubicBezTo>
                    <a:cubicBezTo>
                      <a:pt x="241" y="14"/>
                      <a:pt x="238" y="16"/>
                      <a:pt x="235" y="17"/>
                    </a:cubicBezTo>
                    <a:cubicBezTo>
                      <a:pt x="233" y="17"/>
                      <a:pt x="229" y="21"/>
                      <a:pt x="227" y="20"/>
                    </a:cubicBezTo>
                    <a:cubicBezTo>
                      <a:pt x="224" y="19"/>
                      <a:pt x="223" y="24"/>
                      <a:pt x="221" y="22"/>
                    </a:cubicBezTo>
                    <a:cubicBezTo>
                      <a:pt x="219" y="20"/>
                      <a:pt x="224" y="18"/>
                      <a:pt x="224" y="17"/>
                    </a:cubicBezTo>
                    <a:cubicBezTo>
                      <a:pt x="224" y="15"/>
                      <a:pt x="220" y="17"/>
                      <a:pt x="219" y="16"/>
                    </a:cubicBezTo>
                    <a:cubicBezTo>
                      <a:pt x="218" y="15"/>
                      <a:pt x="216" y="14"/>
                      <a:pt x="216" y="16"/>
                    </a:cubicBezTo>
                    <a:cubicBezTo>
                      <a:pt x="216" y="17"/>
                      <a:pt x="213" y="16"/>
                      <a:pt x="213" y="15"/>
                    </a:cubicBezTo>
                    <a:cubicBezTo>
                      <a:pt x="213" y="14"/>
                      <a:pt x="212" y="11"/>
                      <a:pt x="210" y="13"/>
                    </a:cubicBezTo>
                    <a:cubicBezTo>
                      <a:pt x="209" y="15"/>
                      <a:pt x="204" y="16"/>
                      <a:pt x="203" y="14"/>
                    </a:cubicBezTo>
                    <a:cubicBezTo>
                      <a:pt x="202" y="13"/>
                      <a:pt x="204" y="13"/>
                      <a:pt x="204" y="11"/>
                    </a:cubicBezTo>
                    <a:cubicBezTo>
                      <a:pt x="204" y="9"/>
                      <a:pt x="202" y="7"/>
                      <a:pt x="202" y="5"/>
                    </a:cubicBezTo>
                    <a:cubicBezTo>
                      <a:pt x="203" y="3"/>
                      <a:pt x="199" y="1"/>
                      <a:pt x="197" y="2"/>
                    </a:cubicBezTo>
                    <a:cubicBezTo>
                      <a:pt x="195" y="3"/>
                      <a:pt x="193" y="2"/>
                      <a:pt x="191" y="1"/>
                    </a:cubicBezTo>
                    <a:cubicBezTo>
                      <a:pt x="189" y="0"/>
                      <a:pt x="181" y="2"/>
                      <a:pt x="181" y="3"/>
                    </a:cubicBezTo>
                    <a:cubicBezTo>
                      <a:pt x="181" y="5"/>
                      <a:pt x="171" y="7"/>
                      <a:pt x="169" y="7"/>
                    </a:cubicBezTo>
                    <a:cubicBezTo>
                      <a:pt x="167" y="8"/>
                      <a:pt x="160" y="9"/>
                      <a:pt x="158" y="9"/>
                    </a:cubicBezTo>
                    <a:cubicBezTo>
                      <a:pt x="155" y="10"/>
                      <a:pt x="153" y="12"/>
                      <a:pt x="150" y="12"/>
                    </a:cubicBezTo>
                    <a:cubicBezTo>
                      <a:pt x="146" y="12"/>
                      <a:pt x="140" y="12"/>
                      <a:pt x="137" y="14"/>
                    </a:cubicBezTo>
                    <a:cubicBezTo>
                      <a:pt x="135" y="17"/>
                      <a:pt x="130" y="15"/>
                      <a:pt x="128" y="16"/>
                    </a:cubicBezTo>
                    <a:cubicBezTo>
                      <a:pt x="126" y="16"/>
                      <a:pt x="122" y="15"/>
                      <a:pt x="121" y="16"/>
                    </a:cubicBezTo>
                    <a:cubicBezTo>
                      <a:pt x="120" y="17"/>
                      <a:pt x="120" y="21"/>
                      <a:pt x="121" y="23"/>
                    </a:cubicBezTo>
                    <a:cubicBezTo>
                      <a:pt x="122" y="24"/>
                      <a:pt x="128" y="25"/>
                      <a:pt x="128" y="26"/>
                    </a:cubicBezTo>
                    <a:cubicBezTo>
                      <a:pt x="129" y="27"/>
                      <a:pt x="123" y="27"/>
                      <a:pt x="120" y="28"/>
                    </a:cubicBezTo>
                    <a:cubicBezTo>
                      <a:pt x="117" y="28"/>
                      <a:pt x="118" y="32"/>
                      <a:pt x="118" y="33"/>
                    </a:cubicBezTo>
                    <a:cubicBezTo>
                      <a:pt x="119" y="35"/>
                      <a:pt x="116" y="37"/>
                      <a:pt x="114" y="38"/>
                    </a:cubicBezTo>
                    <a:cubicBezTo>
                      <a:pt x="111" y="38"/>
                      <a:pt x="114" y="42"/>
                      <a:pt x="116" y="42"/>
                    </a:cubicBezTo>
                    <a:cubicBezTo>
                      <a:pt x="118" y="42"/>
                      <a:pt x="120" y="44"/>
                      <a:pt x="121" y="44"/>
                    </a:cubicBezTo>
                    <a:cubicBezTo>
                      <a:pt x="123" y="44"/>
                      <a:pt x="123" y="47"/>
                      <a:pt x="123" y="49"/>
                    </a:cubicBezTo>
                    <a:cubicBezTo>
                      <a:pt x="123" y="52"/>
                      <a:pt x="121" y="52"/>
                      <a:pt x="118" y="52"/>
                    </a:cubicBezTo>
                    <a:cubicBezTo>
                      <a:pt x="116" y="52"/>
                      <a:pt x="114" y="50"/>
                      <a:pt x="112" y="50"/>
                    </a:cubicBezTo>
                    <a:cubicBezTo>
                      <a:pt x="111" y="49"/>
                      <a:pt x="111" y="53"/>
                      <a:pt x="110" y="54"/>
                    </a:cubicBezTo>
                    <a:cubicBezTo>
                      <a:pt x="108" y="54"/>
                      <a:pt x="108" y="51"/>
                      <a:pt x="106" y="51"/>
                    </a:cubicBezTo>
                    <a:cubicBezTo>
                      <a:pt x="104" y="51"/>
                      <a:pt x="101" y="51"/>
                      <a:pt x="100" y="49"/>
                    </a:cubicBezTo>
                    <a:cubicBezTo>
                      <a:pt x="100" y="47"/>
                      <a:pt x="95" y="46"/>
                      <a:pt x="92" y="48"/>
                    </a:cubicBezTo>
                    <a:cubicBezTo>
                      <a:pt x="90" y="50"/>
                      <a:pt x="90" y="49"/>
                      <a:pt x="88" y="48"/>
                    </a:cubicBezTo>
                    <a:cubicBezTo>
                      <a:pt x="86" y="47"/>
                      <a:pt x="81" y="49"/>
                      <a:pt x="80" y="50"/>
                    </a:cubicBezTo>
                    <a:cubicBezTo>
                      <a:pt x="79" y="52"/>
                      <a:pt x="75" y="53"/>
                      <a:pt x="72" y="51"/>
                    </a:cubicBezTo>
                    <a:cubicBezTo>
                      <a:pt x="70" y="49"/>
                      <a:pt x="68" y="49"/>
                      <a:pt x="68" y="51"/>
                    </a:cubicBezTo>
                    <a:cubicBezTo>
                      <a:pt x="68" y="54"/>
                      <a:pt x="66" y="52"/>
                      <a:pt x="66" y="50"/>
                    </a:cubicBezTo>
                    <a:cubicBezTo>
                      <a:pt x="66" y="49"/>
                      <a:pt x="61" y="46"/>
                      <a:pt x="59" y="44"/>
                    </a:cubicBezTo>
                    <a:cubicBezTo>
                      <a:pt x="57" y="43"/>
                      <a:pt x="50" y="43"/>
                      <a:pt x="50" y="42"/>
                    </a:cubicBezTo>
                    <a:cubicBezTo>
                      <a:pt x="49" y="40"/>
                      <a:pt x="45" y="39"/>
                      <a:pt x="44" y="42"/>
                    </a:cubicBezTo>
                    <a:cubicBezTo>
                      <a:pt x="43" y="44"/>
                      <a:pt x="41" y="42"/>
                      <a:pt x="40" y="42"/>
                    </a:cubicBezTo>
                    <a:cubicBezTo>
                      <a:pt x="38" y="41"/>
                      <a:pt x="35" y="43"/>
                      <a:pt x="34" y="43"/>
                    </a:cubicBezTo>
                    <a:cubicBezTo>
                      <a:pt x="32" y="44"/>
                      <a:pt x="28" y="47"/>
                      <a:pt x="25" y="47"/>
                    </a:cubicBezTo>
                    <a:cubicBezTo>
                      <a:pt x="23" y="47"/>
                      <a:pt x="24" y="50"/>
                      <a:pt x="21" y="51"/>
                    </a:cubicBezTo>
                    <a:cubicBezTo>
                      <a:pt x="18" y="52"/>
                      <a:pt x="18" y="54"/>
                      <a:pt x="19" y="55"/>
                    </a:cubicBezTo>
                    <a:cubicBezTo>
                      <a:pt x="19" y="57"/>
                      <a:pt x="21" y="59"/>
                      <a:pt x="18" y="60"/>
                    </a:cubicBezTo>
                    <a:cubicBezTo>
                      <a:pt x="15" y="62"/>
                      <a:pt x="14" y="57"/>
                      <a:pt x="11" y="55"/>
                    </a:cubicBezTo>
                    <a:cubicBezTo>
                      <a:pt x="9" y="53"/>
                      <a:pt x="7" y="55"/>
                      <a:pt x="7" y="58"/>
                    </a:cubicBezTo>
                    <a:cubicBezTo>
                      <a:pt x="7" y="60"/>
                      <a:pt x="4" y="60"/>
                      <a:pt x="3" y="63"/>
                    </a:cubicBezTo>
                    <a:cubicBezTo>
                      <a:pt x="1" y="65"/>
                      <a:pt x="5" y="66"/>
                      <a:pt x="5" y="67"/>
                    </a:cubicBezTo>
                    <a:cubicBezTo>
                      <a:pt x="5" y="68"/>
                      <a:pt x="3" y="69"/>
                      <a:pt x="2" y="69"/>
                    </a:cubicBezTo>
                    <a:cubicBezTo>
                      <a:pt x="2" y="70"/>
                      <a:pt x="0" y="73"/>
                      <a:pt x="0" y="74"/>
                    </a:cubicBezTo>
                    <a:cubicBezTo>
                      <a:pt x="1" y="75"/>
                      <a:pt x="5" y="75"/>
                      <a:pt x="5" y="78"/>
                    </a:cubicBezTo>
                    <a:cubicBezTo>
                      <a:pt x="5" y="80"/>
                      <a:pt x="4" y="83"/>
                      <a:pt x="6" y="82"/>
                    </a:cubicBezTo>
                    <a:cubicBezTo>
                      <a:pt x="9" y="81"/>
                      <a:pt x="11" y="82"/>
                      <a:pt x="12" y="82"/>
                    </a:cubicBezTo>
                    <a:cubicBezTo>
                      <a:pt x="14" y="82"/>
                      <a:pt x="15" y="84"/>
                      <a:pt x="17" y="87"/>
                    </a:cubicBezTo>
                    <a:cubicBezTo>
                      <a:pt x="20" y="90"/>
                      <a:pt x="21" y="92"/>
                      <a:pt x="18" y="92"/>
                    </a:cubicBezTo>
                    <a:cubicBezTo>
                      <a:pt x="16" y="93"/>
                      <a:pt x="17" y="94"/>
                      <a:pt x="20" y="96"/>
                    </a:cubicBezTo>
                    <a:cubicBezTo>
                      <a:pt x="21" y="96"/>
                      <a:pt x="22" y="97"/>
                      <a:pt x="23" y="97"/>
                    </a:cubicBezTo>
                    <a:cubicBezTo>
                      <a:pt x="23" y="97"/>
                      <a:pt x="24" y="97"/>
                      <a:pt x="24" y="96"/>
                    </a:cubicBezTo>
                    <a:cubicBezTo>
                      <a:pt x="28" y="93"/>
                      <a:pt x="36" y="89"/>
                      <a:pt x="41" y="91"/>
                    </a:cubicBezTo>
                    <a:cubicBezTo>
                      <a:pt x="46" y="92"/>
                      <a:pt x="51" y="90"/>
                      <a:pt x="53" y="93"/>
                    </a:cubicBezTo>
                    <a:cubicBezTo>
                      <a:pt x="56" y="97"/>
                      <a:pt x="53" y="103"/>
                      <a:pt x="54" y="105"/>
                    </a:cubicBezTo>
                    <a:cubicBezTo>
                      <a:pt x="55" y="107"/>
                      <a:pt x="50" y="108"/>
                      <a:pt x="46" y="107"/>
                    </a:cubicBezTo>
                    <a:cubicBezTo>
                      <a:pt x="43" y="107"/>
                      <a:pt x="36" y="109"/>
                      <a:pt x="36" y="111"/>
                    </a:cubicBezTo>
                    <a:cubicBezTo>
                      <a:pt x="37" y="113"/>
                      <a:pt x="40" y="118"/>
                      <a:pt x="35" y="115"/>
                    </a:cubicBezTo>
                    <a:cubicBezTo>
                      <a:pt x="31" y="113"/>
                      <a:pt x="29" y="118"/>
                      <a:pt x="31" y="118"/>
                    </a:cubicBezTo>
                    <a:cubicBezTo>
                      <a:pt x="34" y="118"/>
                      <a:pt x="37" y="121"/>
                      <a:pt x="37" y="123"/>
                    </a:cubicBezTo>
                    <a:cubicBezTo>
                      <a:pt x="37" y="125"/>
                      <a:pt x="38" y="130"/>
                      <a:pt x="40" y="129"/>
                    </a:cubicBezTo>
                    <a:cubicBezTo>
                      <a:pt x="42" y="129"/>
                      <a:pt x="42" y="133"/>
                      <a:pt x="46" y="133"/>
                    </a:cubicBezTo>
                    <a:cubicBezTo>
                      <a:pt x="49" y="132"/>
                      <a:pt x="52" y="134"/>
                      <a:pt x="50" y="137"/>
                    </a:cubicBezTo>
                    <a:cubicBezTo>
                      <a:pt x="47" y="140"/>
                      <a:pt x="51" y="148"/>
                      <a:pt x="52" y="146"/>
                    </a:cubicBezTo>
                    <a:cubicBezTo>
                      <a:pt x="53" y="145"/>
                      <a:pt x="52" y="143"/>
                      <a:pt x="53" y="141"/>
                    </a:cubicBezTo>
                    <a:cubicBezTo>
                      <a:pt x="51" y="137"/>
                      <a:pt x="59" y="137"/>
                      <a:pt x="61" y="137"/>
                    </a:cubicBezTo>
                    <a:cubicBezTo>
                      <a:pt x="64" y="137"/>
                      <a:pt x="68" y="140"/>
                      <a:pt x="71" y="144"/>
                    </a:cubicBezTo>
                    <a:cubicBezTo>
                      <a:pt x="74" y="148"/>
                      <a:pt x="77" y="146"/>
                      <a:pt x="77" y="146"/>
                    </a:cubicBezTo>
                    <a:cubicBezTo>
                      <a:pt x="78" y="110"/>
                      <a:pt x="78" y="110"/>
                      <a:pt x="78" y="110"/>
                    </a:cubicBezTo>
                    <a:cubicBezTo>
                      <a:pt x="98" y="105"/>
                      <a:pt x="98" y="105"/>
                      <a:pt x="98" y="105"/>
                    </a:cubicBezTo>
                    <a:cubicBezTo>
                      <a:pt x="99" y="104"/>
                      <a:pt x="99" y="104"/>
                      <a:pt x="99" y="103"/>
                    </a:cubicBezTo>
                    <a:cubicBezTo>
                      <a:pt x="102" y="99"/>
                      <a:pt x="105" y="103"/>
                      <a:pt x="106" y="103"/>
                    </a:cubicBezTo>
                    <a:cubicBezTo>
                      <a:pt x="107" y="104"/>
                      <a:pt x="107" y="99"/>
                      <a:pt x="110" y="100"/>
                    </a:cubicBezTo>
                    <a:cubicBezTo>
                      <a:pt x="113" y="100"/>
                      <a:pt x="109" y="104"/>
                      <a:pt x="112" y="104"/>
                    </a:cubicBezTo>
                    <a:cubicBezTo>
                      <a:pt x="113" y="104"/>
                      <a:pt x="117" y="110"/>
                      <a:pt x="116" y="115"/>
                    </a:cubicBezTo>
                    <a:cubicBezTo>
                      <a:pt x="119" y="118"/>
                      <a:pt x="125" y="124"/>
                      <a:pt x="125" y="125"/>
                    </a:cubicBezTo>
                    <a:cubicBezTo>
                      <a:pt x="126" y="127"/>
                      <a:pt x="134" y="124"/>
                      <a:pt x="136" y="125"/>
                    </a:cubicBezTo>
                    <a:cubicBezTo>
                      <a:pt x="137" y="125"/>
                      <a:pt x="150" y="125"/>
                      <a:pt x="152" y="125"/>
                    </a:cubicBezTo>
                    <a:cubicBezTo>
                      <a:pt x="154" y="125"/>
                      <a:pt x="156" y="129"/>
                      <a:pt x="158" y="130"/>
                    </a:cubicBezTo>
                    <a:cubicBezTo>
                      <a:pt x="161" y="131"/>
                      <a:pt x="160" y="135"/>
                      <a:pt x="160" y="138"/>
                    </a:cubicBezTo>
                    <a:cubicBezTo>
                      <a:pt x="161" y="140"/>
                      <a:pt x="164" y="143"/>
                      <a:pt x="165" y="146"/>
                    </a:cubicBezTo>
                    <a:cubicBezTo>
                      <a:pt x="165" y="148"/>
                      <a:pt x="169" y="147"/>
                      <a:pt x="172" y="148"/>
                    </a:cubicBezTo>
                    <a:cubicBezTo>
                      <a:pt x="174" y="148"/>
                      <a:pt x="178" y="149"/>
                      <a:pt x="178" y="152"/>
                    </a:cubicBezTo>
                    <a:cubicBezTo>
                      <a:pt x="179" y="154"/>
                      <a:pt x="182" y="152"/>
                      <a:pt x="182" y="151"/>
                    </a:cubicBezTo>
                    <a:cubicBezTo>
                      <a:pt x="182" y="149"/>
                      <a:pt x="186" y="146"/>
                      <a:pt x="190" y="144"/>
                    </a:cubicBezTo>
                    <a:cubicBezTo>
                      <a:pt x="193" y="143"/>
                      <a:pt x="194" y="143"/>
                      <a:pt x="195" y="144"/>
                    </a:cubicBezTo>
                    <a:cubicBezTo>
                      <a:pt x="196" y="142"/>
                      <a:pt x="197" y="140"/>
                      <a:pt x="197" y="139"/>
                    </a:cubicBezTo>
                    <a:cubicBezTo>
                      <a:pt x="199" y="139"/>
                      <a:pt x="202" y="136"/>
                      <a:pt x="202" y="134"/>
                    </a:cubicBezTo>
                    <a:cubicBezTo>
                      <a:pt x="203" y="131"/>
                      <a:pt x="209" y="131"/>
                      <a:pt x="213" y="134"/>
                    </a:cubicBezTo>
                    <a:cubicBezTo>
                      <a:pt x="218" y="136"/>
                      <a:pt x="220" y="136"/>
                      <a:pt x="221" y="132"/>
                    </a:cubicBezTo>
                    <a:cubicBezTo>
                      <a:pt x="221" y="129"/>
                      <a:pt x="227" y="128"/>
                      <a:pt x="229" y="129"/>
                    </a:cubicBezTo>
                    <a:cubicBezTo>
                      <a:pt x="231" y="130"/>
                      <a:pt x="237" y="133"/>
                      <a:pt x="240" y="132"/>
                    </a:cubicBezTo>
                    <a:cubicBezTo>
                      <a:pt x="242" y="131"/>
                      <a:pt x="257" y="132"/>
                      <a:pt x="260" y="133"/>
                    </a:cubicBezTo>
                    <a:cubicBezTo>
                      <a:pt x="264" y="134"/>
                      <a:pt x="265" y="132"/>
                      <a:pt x="268" y="136"/>
                    </a:cubicBezTo>
                    <a:cubicBezTo>
                      <a:pt x="270" y="139"/>
                      <a:pt x="272" y="136"/>
                      <a:pt x="275" y="138"/>
                    </a:cubicBezTo>
                    <a:cubicBezTo>
                      <a:pt x="275" y="137"/>
                      <a:pt x="274" y="136"/>
                      <a:pt x="274" y="135"/>
                    </a:cubicBezTo>
                    <a:cubicBezTo>
                      <a:pt x="274" y="133"/>
                      <a:pt x="278" y="131"/>
                      <a:pt x="279" y="129"/>
                    </a:cubicBezTo>
                    <a:cubicBezTo>
                      <a:pt x="279" y="127"/>
                      <a:pt x="275" y="122"/>
                      <a:pt x="275" y="120"/>
                    </a:cubicBezTo>
                    <a:cubicBezTo>
                      <a:pt x="275" y="118"/>
                      <a:pt x="275" y="114"/>
                      <a:pt x="274" y="113"/>
                    </a:cubicBezTo>
                    <a:cubicBezTo>
                      <a:pt x="272" y="112"/>
                      <a:pt x="277" y="110"/>
                      <a:pt x="278" y="110"/>
                    </a:cubicBezTo>
                    <a:cubicBezTo>
                      <a:pt x="281" y="110"/>
                      <a:pt x="285" y="107"/>
                      <a:pt x="286" y="108"/>
                    </a:cubicBezTo>
                    <a:cubicBezTo>
                      <a:pt x="287" y="109"/>
                      <a:pt x="289" y="110"/>
                      <a:pt x="292" y="110"/>
                    </a:cubicBezTo>
                    <a:cubicBezTo>
                      <a:pt x="294" y="110"/>
                      <a:pt x="293" y="107"/>
                      <a:pt x="292" y="106"/>
                    </a:cubicBezTo>
                    <a:cubicBezTo>
                      <a:pt x="290" y="105"/>
                      <a:pt x="296" y="94"/>
                      <a:pt x="297" y="91"/>
                    </a:cubicBezTo>
                    <a:cubicBezTo>
                      <a:pt x="297" y="87"/>
                      <a:pt x="299" y="90"/>
                      <a:pt x="302" y="91"/>
                    </a:cubicBezTo>
                    <a:cubicBezTo>
                      <a:pt x="305" y="91"/>
                      <a:pt x="308" y="90"/>
                      <a:pt x="309" y="91"/>
                    </a:cubicBezTo>
                    <a:cubicBezTo>
                      <a:pt x="311" y="92"/>
                      <a:pt x="316" y="90"/>
                      <a:pt x="317" y="88"/>
                    </a:cubicBezTo>
                    <a:cubicBezTo>
                      <a:pt x="318" y="87"/>
                      <a:pt x="316" y="86"/>
                      <a:pt x="316" y="82"/>
                    </a:cubicBezTo>
                    <a:cubicBezTo>
                      <a:pt x="316" y="78"/>
                      <a:pt x="318" y="76"/>
                      <a:pt x="321" y="76"/>
                    </a:cubicBezTo>
                    <a:cubicBezTo>
                      <a:pt x="324" y="76"/>
                      <a:pt x="325" y="73"/>
                      <a:pt x="325" y="71"/>
                    </a:cubicBezTo>
                    <a:cubicBezTo>
                      <a:pt x="325" y="70"/>
                      <a:pt x="327" y="69"/>
                      <a:pt x="327" y="66"/>
                    </a:cubicBezTo>
                    <a:cubicBezTo>
                      <a:pt x="326" y="65"/>
                      <a:pt x="326" y="64"/>
                      <a:pt x="326" y="63"/>
                    </a:cubicBezTo>
                    <a:close/>
                    <a:moveTo>
                      <a:pt x="122" y="98"/>
                    </a:moveTo>
                    <a:cubicBezTo>
                      <a:pt x="121" y="99"/>
                      <a:pt x="112" y="97"/>
                      <a:pt x="111" y="95"/>
                    </a:cubicBezTo>
                    <a:cubicBezTo>
                      <a:pt x="110" y="93"/>
                      <a:pt x="124" y="95"/>
                      <a:pt x="122" y="98"/>
                    </a:cubicBezTo>
                    <a:close/>
                    <a:moveTo>
                      <a:pt x="257" y="97"/>
                    </a:moveTo>
                    <a:cubicBezTo>
                      <a:pt x="250" y="97"/>
                      <a:pt x="236" y="94"/>
                      <a:pt x="230" y="100"/>
                    </a:cubicBezTo>
                    <a:cubicBezTo>
                      <a:pt x="224" y="107"/>
                      <a:pt x="228" y="110"/>
                      <a:pt x="226" y="111"/>
                    </a:cubicBezTo>
                    <a:cubicBezTo>
                      <a:pt x="223" y="111"/>
                      <a:pt x="221" y="101"/>
                      <a:pt x="225" y="97"/>
                    </a:cubicBezTo>
                    <a:cubicBezTo>
                      <a:pt x="228" y="94"/>
                      <a:pt x="239" y="93"/>
                      <a:pt x="245" y="94"/>
                    </a:cubicBezTo>
                    <a:cubicBezTo>
                      <a:pt x="252" y="96"/>
                      <a:pt x="264" y="93"/>
                      <a:pt x="265" y="93"/>
                    </a:cubicBezTo>
                    <a:cubicBezTo>
                      <a:pt x="267" y="94"/>
                      <a:pt x="264" y="97"/>
                      <a:pt x="257" y="9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4" name="Freeform 165">
                <a:extLst>
                  <a:ext uri="{FF2B5EF4-FFF2-40B4-BE49-F238E27FC236}">
                    <a16:creationId xmlns:a16="http://schemas.microsoft.com/office/drawing/2014/main" id="{2BB45075-6164-4468-BB37-83B8EC1CA3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6820" y="3983146"/>
                <a:ext cx="341285" cy="356342"/>
              </a:xfrm>
              <a:custGeom>
                <a:avLst/>
                <a:gdLst>
                  <a:gd name="T0" fmla="*/ 132 w 148"/>
                  <a:gd name="T1" fmla="*/ 72 h 155"/>
                  <a:gd name="T2" fmla="*/ 132 w 148"/>
                  <a:gd name="T3" fmla="*/ 67 h 155"/>
                  <a:gd name="T4" fmla="*/ 130 w 148"/>
                  <a:gd name="T5" fmla="*/ 65 h 155"/>
                  <a:gd name="T6" fmla="*/ 133 w 148"/>
                  <a:gd name="T7" fmla="*/ 57 h 155"/>
                  <a:gd name="T8" fmla="*/ 136 w 148"/>
                  <a:gd name="T9" fmla="*/ 51 h 155"/>
                  <a:gd name="T10" fmla="*/ 139 w 148"/>
                  <a:gd name="T11" fmla="*/ 38 h 155"/>
                  <a:gd name="T12" fmla="*/ 145 w 148"/>
                  <a:gd name="T13" fmla="*/ 31 h 155"/>
                  <a:gd name="T14" fmla="*/ 145 w 148"/>
                  <a:gd name="T15" fmla="*/ 23 h 155"/>
                  <a:gd name="T16" fmla="*/ 146 w 148"/>
                  <a:gd name="T17" fmla="*/ 16 h 155"/>
                  <a:gd name="T18" fmla="*/ 133 w 148"/>
                  <a:gd name="T19" fmla="*/ 9 h 155"/>
                  <a:gd name="T20" fmla="*/ 123 w 148"/>
                  <a:gd name="T21" fmla="*/ 9 h 155"/>
                  <a:gd name="T22" fmla="*/ 118 w 148"/>
                  <a:gd name="T23" fmla="*/ 3 h 155"/>
                  <a:gd name="T24" fmla="*/ 112 w 148"/>
                  <a:gd name="T25" fmla="*/ 4 h 155"/>
                  <a:gd name="T26" fmla="*/ 96 w 148"/>
                  <a:gd name="T27" fmla="*/ 4 h 155"/>
                  <a:gd name="T28" fmla="*/ 82 w 148"/>
                  <a:gd name="T29" fmla="*/ 6 h 155"/>
                  <a:gd name="T30" fmla="*/ 64 w 148"/>
                  <a:gd name="T31" fmla="*/ 9 h 155"/>
                  <a:gd name="T32" fmla="*/ 49 w 148"/>
                  <a:gd name="T33" fmla="*/ 11 h 155"/>
                  <a:gd name="T34" fmla="*/ 48 w 148"/>
                  <a:gd name="T35" fmla="*/ 25 h 155"/>
                  <a:gd name="T36" fmla="*/ 39 w 148"/>
                  <a:gd name="T37" fmla="*/ 50 h 155"/>
                  <a:gd name="T38" fmla="*/ 31 w 148"/>
                  <a:gd name="T39" fmla="*/ 72 h 155"/>
                  <a:gd name="T40" fmla="*/ 23 w 148"/>
                  <a:gd name="T41" fmla="*/ 83 h 155"/>
                  <a:gd name="T42" fmla="*/ 13 w 148"/>
                  <a:gd name="T43" fmla="*/ 83 h 155"/>
                  <a:gd name="T44" fmla="*/ 0 w 148"/>
                  <a:gd name="T45" fmla="*/ 86 h 155"/>
                  <a:gd name="T46" fmla="*/ 3 w 148"/>
                  <a:gd name="T47" fmla="*/ 96 h 155"/>
                  <a:gd name="T48" fmla="*/ 34 w 148"/>
                  <a:gd name="T49" fmla="*/ 94 h 155"/>
                  <a:gd name="T50" fmla="*/ 39 w 148"/>
                  <a:gd name="T51" fmla="*/ 106 h 155"/>
                  <a:gd name="T52" fmla="*/ 55 w 148"/>
                  <a:gd name="T53" fmla="*/ 110 h 155"/>
                  <a:gd name="T54" fmla="*/ 64 w 148"/>
                  <a:gd name="T55" fmla="*/ 103 h 155"/>
                  <a:gd name="T56" fmla="*/ 74 w 148"/>
                  <a:gd name="T57" fmla="*/ 106 h 155"/>
                  <a:gd name="T58" fmla="*/ 74 w 148"/>
                  <a:gd name="T59" fmla="*/ 123 h 155"/>
                  <a:gd name="T60" fmla="*/ 78 w 148"/>
                  <a:gd name="T61" fmla="*/ 136 h 155"/>
                  <a:gd name="T62" fmla="*/ 89 w 148"/>
                  <a:gd name="T63" fmla="*/ 133 h 155"/>
                  <a:gd name="T64" fmla="*/ 94 w 148"/>
                  <a:gd name="T65" fmla="*/ 136 h 155"/>
                  <a:gd name="T66" fmla="*/ 101 w 148"/>
                  <a:gd name="T67" fmla="*/ 137 h 155"/>
                  <a:gd name="T68" fmla="*/ 110 w 148"/>
                  <a:gd name="T69" fmla="*/ 143 h 155"/>
                  <a:gd name="T70" fmla="*/ 116 w 148"/>
                  <a:gd name="T71" fmla="*/ 141 h 155"/>
                  <a:gd name="T72" fmla="*/ 127 w 148"/>
                  <a:gd name="T73" fmla="*/ 147 h 155"/>
                  <a:gd name="T74" fmla="*/ 136 w 148"/>
                  <a:gd name="T75" fmla="*/ 153 h 155"/>
                  <a:gd name="T76" fmla="*/ 136 w 148"/>
                  <a:gd name="T77" fmla="*/ 144 h 155"/>
                  <a:gd name="T78" fmla="*/ 125 w 148"/>
                  <a:gd name="T79" fmla="*/ 140 h 155"/>
                  <a:gd name="T80" fmla="*/ 127 w 148"/>
                  <a:gd name="T81" fmla="*/ 123 h 155"/>
                  <a:gd name="T82" fmla="*/ 131 w 148"/>
                  <a:gd name="T83" fmla="*/ 113 h 155"/>
                  <a:gd name="T84" fmla="*/ 141 w 148"/>
                  <a:gd name="T85" fmla="*/ 112 h 155"/>
                  <a:gd name="T86" fmla="*/ 135 w 148"/>
                  <a:gd name="T87" fmla="*/ 102 h 1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48" h="155">
                    <a:moveTo>
                      <a:pt x="135" y="102"/>
                    </a:moveTo>
                    <a:cubicBezTo>
                      <a:pt x="131" y="100"/>
                      <a:pt x="130" y="73"/>
                      <a:pt x="132" y="72"/>
                    </a:cubicBezTo>
                    <a:cubicBezTo>
                      <a:pt x="132" y="72"/>
                      <a:pt x="132" y="73"/>
                      <a:pt x="133" y="73"/>
                    </a:cubicBezTo>
                    <a:cubicBezTo>
                      <a:pt x="132" y="67"/>
                      <a:pt x="132" y="67"/>
                      <a:pt x="132" y="67"/>
                    </a:cubicBezTo>
                    <a:cubicBezTo>
                      <a:pt x="132" y="67"/>
                      <a:pt x="132" y="67"/>
                      <a:pt x="132" y="67"/>
                    </a:cubicBezTo>
                    <a:cubicBezTo>
                      <a:pt x="131" y="67"/>
                      <a:pt x="130" y="66"/>
                      <a:pt x="130" y="65"/>
                    </a:cubicBezTo>
                    <a:cubicBezTo>
                      <a:pt x="130" y="62"/>
                      <a:pt x="132" y="62"/>
                      <a:pt x="132" y="62"/>
                    </a:cubicBezTo>
                    <a:cubicBezTo>
                      <a:pt x="132" y="62"/>
                      <a:pt x="131" y="58"/>
                      <a:pt x="133" y="57"/>
                    </a:cubicBezTo>
                    <a:cubicBezTo>
                      <a:pt x="134" y="57"/>
                      <a:pt x="134" y="57"/>
                      <a:pt x="134" y="56"/>
                    </a:cubicBezTo>
                    <a:cubicBezTo>
                      <a:pt x="135" y="55"/>
                      <a:pt x="136" y="52"/>
                      <a:pt x="136" y="51"/>
                    </a:cubicBezTo>
                    <a:cubicBezTo>
                      <a:pt x="136" y="48"/>
                      <a:pt x="136" y="46"/>
                      <a:pt x="137" y="44"/>
                    </a:cubicBezTo>
                    <a:cubicBezTo>
                      <a:pt x="138" y="42"/>
                      <a:pt x="138" y="39"/>
                      <a:pt x="139" y="38"/>
                    </a:cubicBezTo>
                    <a:cubicBezTo>
                      <a:pt x="140" y="37"/>
                      <a:pt x="140" y="34"/>
                      <a:pt x="142" y="33"/>
                    </a:cubicBezTo>
                    <a:cubicBezTo>
                      <a:pt x="144" y="33"/>
                      <a:pt x="145" y="32"/>
                      <a:pt x="145" y="31"/>
                    </a:cubicBezTo>
                    <a:cubicBezTo>
                      <a:pt x="146" y="30"/>
                      <a:pt x="148" y="29"/>
                      <a:pt x="148" y="27"/>
                    </a:cubicBezTo>
                    <a:cubicBezTo>
                      <a:pt x="148" y="25"/>
                      <a:pt x="145" y="25"/>
                      <a:pt x="145" y="23"/>
                    </a:cubicBezTo>
                    <a:cubicBezTo>
                      <a:pt x="145" y="21"/>
                      <a:pt x="146" y="16"/>
                      <a:pt x="146" y="16"/>
                    </a:cubicBezTo>
                    <a:cubicBezTo>
                      <a:pt x="146" y="16"/>
                      <a:pt x="146" y="16"/>
                      <a:pt x="146" y="16"/>
                    </a:cubicBezTo>
                    <a:cubicBezTo>
                      <a:pt x="142" y="13"/>
                      <a:pt x="138" y="9"/>
                      <a:pt x="137" y="8"/>
                    </a:cubicBezTo>
                    <a:cubicBezTo>
                      <a:pt x="135" y="7"/>
                      <a:pt x="133" y="9"/>
                      <a:pt x="133" y="9"/>
                    </a:cubicBezTo>
                    <a:cubicBezTo>
                      <a:pt x="133" y="9"/>
                      <a:pt x="130" y="7"/>
                      <a:pt x="128" y="9"/>
                    </a:cubicBezTo>
                    <a:cubicBezTo>
                      <a:pt x="126" y="11"/>
                      <a:pt x="123" y="9"/>
                      <a:pt x="123" y="9"/>
                    </a:cubicBezTo>
                    <a:cubicBezTo>
                      <a:pt x="123" y="9"/>
                      <a:pt x="121" y="7"/>
                      <a:pt x="120" y="5"/>
                    </a:cubicBezTo>
                    <a:cubicBezTo>
                      <a:pt x="119" y="4"/>
                      <a:pt x="119" y="3"/>
                      <a:pt x="118" y="3"/>
                    </a:cubicBezTo>
                    <a:cubicBezTo>
                      <a:pt x="118" y="3"/>
                      <a:pt x="118" y="3"/>
                      <a:pt x="118" y="3"/>
                    </a:cubicBezTo>
                    <a:cubicBezTo>
                      <a:pt x="112" y="4"/>
                      <a:pt x="112" y="4"/>
                      <a:pt x="112" y="4"/>
                    </a:cubicBezTo>
                    <a:cubicBezTo>
                      <a:pt x="112" y="4"/>
                      <a:pt x="104" y="0"/>
                      <a:pt x="103" y="3"/>
                    </a:cubicBezTo>
                    <a:cubicBezTo>
                      <a:pt x="101" y="6"/>
                      <a:pt x="100" y="4"/>
                      <a:pt x="96" y="4"/>
                    </a:cubicBezTo>
                    <a:cubicBezTo>
                      <a:pt x="93" y="4"/>
                      <a:pt x="90" y="5"/>
                      <a:pt x="88" y="6"/>
                    </a:cubicBezTo>
                    <a:cubicBezTo>
                      <a:pt x="86" y="7"/>
                      <a:pt x="83" y="5"/>
                      <a:pt x="82" y="6"/>
                    </a:cubicBezTo>
                    <a:cubicBezTo>
                      <a:pt x="80" y="7"/>
                      <a:pt x="79" y="12"/>
                      <a:pt x="79" y="12"/>
                    </a:cubicBezTo>
                    <a:cubicBezTo>
                      <a:pt x="64" y="9"/>
                      <a:pt x="64" y="9"/>
                      <a:pt x="64" y="9"/>
                    </a:cubicBezTo>
                    <a:cubicBezTo>
                      <a:pt x="64" y="9"/>
                      <a:pt x="61" y="4"/>
                      <a:pt x="57" y="4"/>
                    </a:cubicBezTo>
                    <a:cubicBezTo>
                      <a:pt x="54" y="4"/>
                      <a:pt x="49" y="11"/>
                      <a:pt x="49" y="11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9" y="20"/>
                      <a:pt x="49" y="23"/>
                      <a:pt x="48" y="25"/>
                    </a:cubicBezTo>
                    <a:cubicBezTo>
                      <a:pt x="46" y="27"/>
                      <a:pt x="45" y="28"/>
                      <a:pt x="45" y="33"/>
                    </a:cubicBezTo>
                    <a:cubicBezTo>
                      <a:pt x="45" y="38"/>
                      <a:pt x="39" y="46"/>
                      <a:pt x="39" y="50"/>
                    </a:cubicBezTo>
                    <a:cubicBezTo>
                      <a:pt x="39" y="54"/>
                      <a:pt x="32" y="56"/>
                      <a:pt x="32" y="59"/>
                    </a:cubicBezTo>
                    <a:cubicBezTo>
                      <a:pt x="32" y="61"/>
                      <a:pt x="31" y="67"/>
                      <a:pt x="31" y="72"/>
                    </a:cubicBezTo>
                    <a:cubicBezTo>
                      <a:pt x="31" y="78"/>
                      <a:pt x="28" y="73"/>
                      <a:pt x="28" y="78"/>
                    </a:cubicBezTo>
                    <a:cubicBezTo>
                      <a:pt x="28" y="83"/>
                      <a:pt x="26" y="80"/>
                      <a:pt x="23" y="83"/>
                    </a:cubicBezTo>
                    <a:cubicBezTo>
                      <a:pt x="21" y="85"/>
                      <a:pt x="20" y="86"/>
                      <a:pt x="20" y="83"/>
                    </a:cubicBezTo>
                    <a:cubicBezTo>
                      <a:pt x="20" y="81"/>
                      <a:pt x="16" y="80"/>
                      <a:pt x="13" y="83"/>
                    </a:cubicBezTo>
                    <a:cubicBezTo>
                      <a:pt x="10" y="85"/>
                      <a:pt x="9" y="83"/>
                      <a:pt x="8" y="82"/>
                    </a:cubicBezTo>
                    <a:cubicBezTo>
                      <a:pt x="7" y="82"/>
                      <a:pt x="4" y="84"/>
                      <a:pt x="0" y="86"/>
                    </a:cubicBezTo>
                    <a:cubicBezTo>
                      <a:pt x="2" y="89"/>
                      <a:pt x="3" y="92"/>
                      <a:pt x="3" y="95"/>
                    </a:cubicBezTo>
                    <a:cubicBezTo>
                      <a:pt x="3" y="95"/>
                      <a:pt x="3" y="96"/>
                      <a:pt x="3" y="96"/>
                    </a:cubicBezTo>
                    <a:cubicBezTo>
                      <a:pt x="5" y="95"/>
                      <a:pt x="7" y="94"/>
                      <a:pt x="8" y="94"/>
                    </a:cubicBezTo>
                    <a:cubicBezTo>
                      <a:pt x="10" y="93"/>
                      <a:pt x="34" y="94"/>
                      <a:pt x="34" y="94"/>
                    </a:cubicBezTo>
                    <a:cubicBezTo>
                      <a:pt x="34" y="94"/>
                      <a:pt x="36" y="97"/>
                      <a:pt x="35" y="100"/>
                    </a:cubicBezTo>
                    <a:cubicBezTo>
                      <a:pt x="35" y="103"/>
                      <a:pt x="37" y="102"/>
                      <a:pt x="39" y="106"/>
                    </a:cubicBezTo>
                    <a:cubicBezTo>
                      <a:pt x="40" y="111"/>
                      <a:pt x="42" y="112"/>
                      <a:pt x="45" y="111"/>
                    </a:cubicBezTo>
                    <a:cubicBezTo>
                      <a:pt x="49" y="110"/>
                      <a:pt x="53" y="110"/>
                      <a:pt x="55" y="110"/>
                    </a:cubicBezTo>
                    <a:cubicBezTo>
                      <a:pt x="56" y="110"/>
                      <a:pt x="56" y="104"/>
                      <a:pt x="58" y="103"/>
                    </a:cubicBezTo>
                    <a:cubicBezTo>
                      <a:pt x="60" y="102"/>
                      <a:pt x="64" y="103"/>
                      <a:pt x="64" y="103"/>
                    </a:cubicBezTo>
                    <a:cubicBezTo>
                      <a:pt x="64" y="103"/>
                      <a:pt x="65" y="105"/>
                      <a:pt x="68" y="105"/>
                    </a:cubicBezTo>
                    <a:cubicBezTo>
                      <a:pt x="72" y="105"/>
                      <a:pt x="74" y="103"/>
                      <a:pt x="74" y="106"/>
                    </a:cubicBezTo>
                    <a:cubicBezTo>
                      <a:pt x="74" y="108"/>
                      <a:pt x="74" y="111"/>
                      <a:pt x="75" y="112"/>
                    </a:cubicBezTo>
                    <a:cubicBezTo>
                      <a:pt x="76" y="113"/>
                      <a:pt x="72" y="122"/>
                      <a:pt x="74" y="123"/>
                    </a:cubicBezTo>
                    <a:cubicBezTo>
                      <a:pt x="76" y="125"/>
                      <a:pt x="78" y="128"/>
                      <a:pt x="78" y="130"/>
                    </a:cubicBezTo>
                    <a:cubicBezTo>
                      <a:pt x="78" y="132"/>
                      <a:pt x="76" y="136"/>
                      <a:pt x="78" y="136"/>
                    </a:cubicBezTo>
                    <a:cubicBezTo>
                      <a:pt x="79" y="137"/>
                      <a:pt x="80" y="134"/>
                      <a:pt x="82" y="134"/>
                    </a:cubicBezTo>
                    <a:cubicBezTo>
                      <a:pt x="85" y="134"/>
                      <a:pt x="87" y="135"/>
                      <a:pt x="89" y="133"/>
                    </a:cubicBezTo>
                    <a:cubicBezTo>
                      <a:pt x="90" y="133"/>
                      <a:pt x="91" y="133"/>
                      <a:pt x="91" y="134"/>
                    </a:cubicBezTo>
                    <a:cubicBezTo>
                      <a:pt x="93" y="134"/>
                      <a:pt x="94" y="136"/>
                      <a:pt x="94" y="136"/>
                    </a:cubicBezTo>
                    <a:cubicBezTo>
                      <a:pt x="94" y="136"/>
                      <a:pt x="94" y="138"/>
                      <a:pt x="96" y="137"/>
                    </a:cubicBezTo>
                    <a:cubicBezTo>
                      <a:pt x="97" y="137"/>
                      <a:pt x="101" y="136"/>
                      <a:pt x="101" y="137"/>
                    </a:cubicBezTo>
                    <a:cubicBezTo>
                      <a:pt x="100" y="138"/>
                      <a:pt x="102" y="142"/>
                      <a:pt x="103" y="141"/>
                    </a:cubicBezTo>
                    <a:cubicBezTo>
                      <a:pt x="105" y="140"/>
                      <a:pt x="108" y="143"/>
                      <a:pt x="110" y="143"/>
                    </a:cubicBezTo>
                    <a:cubicBezTo>
                      <a:pt x="112" y="143"/>
                      <a:pt x="114" y="143"/>
                      <a:pt x="114" y="142"/>
                    </a:cubicBezTo>
                    <a:cubicBezTo>
                      <a:pt x="114" y="141"/>
                      <a:pt x="116" y="139"/>
                      <a:pt x="116" y="141"/>
                    </a:cubicBezTo>
                    <a:cubicBezTo>
                      <a:pt x="117" y="142"/>
                      <a:pt x="119" y="145"/>
                      <a:pt x="121" y="145"/>
                    </a:cubicBezTo>
                    <a:cubicBezTo>
                      <a:pt x="122" y="145"/>
                      <a:pt x="127" y="145"/>
                      <a:pt x="127" y="147"/>
                    </a:cubicBezTo>
                    <a:cubicBezTo>
                      <a:pt x="127" y="148"/>
                      <a:pt x="128" y="152"/>
                      <a:pt x="130" y="153"/>
                    </a:cubicBezTo>
                    <a:cubicBezTo>
                      <a:pt x="132" y="155"/>
                      <a:pt x="136" y="153"/>
                      <a:pt x="136" y="153"/>
                    </a:cubicBezTo>
                    <a:cubicBezTo>
                      <a:pt x="136" y="153"/>
                      <a:pt x="137" y="152"/>
                      <a:pt x="137" y="150"/>
                    </a:cubicBezTo>
                    <a:cubicBezTo>
                      <a:pt x="137" y="147"/>
                      <a:pt x="137" y="144"/>
                      <a:pt x="136" y="144"/>
                    </a:cubicBezTo>
                    <a:cubicBezTo>
                      <a:pt x="135" y="144"/>
                      <a:pt x="133" y="147"/>
                      <a:pt x="131" y="146"/>
                    </a:cubicBezTo>
                    <a:cubicBezTo>
                      <a:pt x="128" y="145"/>
                      <a:pt x="126" y="140"/>
                      <a:pt x="125" y="140"/>
                    </a:cubicBezTo>
                    <a:cubicBezTo>
                      <a:pt x="124" y="139"/>
                      <a:pt x="127" y="134"/>
                      <a:pt x="127" y="132"/>
                    </a:cubicBezTo>
                    <a:cubicBezTo>
                      <a:pt x="127" y="130"/>
                      <a:pt x="129" y="124"/>
                      <a:pt x="127" y="123"/>
                    </a:cubicBezTo>
                    <a:cubicBezTo>
                      <a:pt x="126" y="122"/>
                      <a:pt x="127" y="120"/>
                      <a:pt x="129" y="119"/>
                    </a:cubicBezTo>
                    <a:cubicBezTo>
                      <a:pt x="130" y="117"/>
                      <a:pt x="128" y="113"/>
                      <a:pt x="131" y="113"/>
                    </a:cubicBezTo>
                    <a:cubicBezTo>
                      <a:pt x="133" y="113"/>
                      <a:pt x="139" y="114"/>
                      <a:pt x="140" y="112"/>
                    </a:cubicBezTo>
                    <a:cubicBezTo>
                      <a:pt x="140" y="112"/>
                      <a:pt x="141" y="112"/>
                      <a:pt x="141" y="112"/>
                    </a:cubicBezTo>
                    <a:cubicBezTo>
                      <a:pt x="141" y="111"/>
                      <a:pt x="141" y="111"/>
                      <a:pt x="141" y="110"/>
                    </a:cubicBezTo>
                    <a:cubicBezTo>
                      <a:pt x="139" y="107"/>
                      <a:pt x="138" y="103"/>
                      <a:pt x="135" y="10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5" name="Freeform 166">
                <a:extLst>
                  <a:ext uri="{FF2B5EF4-FFF2-40B4-BE49-F238E27FC236}">
                    <a16:creationId xmlns:a16="http://schemas.microsoft.com/office/drawing/2014/main" id="{919D173C-7F86-45C2-AB0F-C6F6311809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0464" y="4132459"/>
                <a:ext cx="30113" cy="38896"/>
              </a:xfrm>
              <a:custGeom>
                <a:avLst/>
                <a:gdLst>
                  <a:gd name="T0" fmla="*/ 1 w 13"/>
                  <a:gd name="T1" fmla="*/ 8 h 17"/>
                  <a:gd name="T2" fmla="*/ 3 w 13"/>
                  <a:gd name="T3" fmla="*/ 17 h 17"/>
                  <a:gd name="T4" fmla="*/ 6 w 13"/>
                  <a:gd name="T5" fmla="*/ 15 h 17"/>
                  <a:gd name="T6" fmla="*/ 13 w 13"/>
                  <a:gd name="T7" fmla="*/ 5 h 17"/>
                  <a:gd name="T8" fmla="*/ 10 w 13"/>
                  <a:gd name="T9" fmla="*/ 4 h 17"/>
                  <a:gd name="T10" fmla="*/ 10 w 13"/>
                  <a:gd name="T11" fmla="*/ 0 h 17"/>
                  <a:gd name="T12" fmla="*/ 6 w 13"/>
                  <a:gd name="T13" fmla="*/ 0 h 17"/>
                  <a:gd name="T14" fmla="*/ 2 w 13"/>
                  <a:gd name="T15" fmla="*/ 2 h 17"/>
                  <a:gd name="T16" fmla="*/ 0 w 13"/>
                  <a:gd name="T17" fmla="*/ 2 h 17"/>
                  <a:gd name="T18" fmla="*/ 0 w 13"/>
                  <a:gd name="T19" fmla="*/ 2 h 17"/>
                  <a:gd name="T20" fmla="*/ 1 w 13"/>
                  <a:gd name="T21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3" h="17">
                    <a:moveTo>
                      <a:pt x="1" y="8"/>
                    </a:moveTo>
                    <a:cubicBezTo>
                      <a:pt x="1" y="10"/>
                      <a:pt x="2" y="13"/>
                      <a:pt x="3" y="17"/>
                    </a:cubicBezTo>
                    <a:cubicBezTo>
                      <a:pt x="4" y="16"/>
                      <a:pt x="5" y="15"/>
                      <a:pt x="6" y="15"/>
                    </a:cubicBezTo>
                    <a:cubicBezTo>
                      <a:pt x="8" y="14"/>
                      <a:pt x="13" y="5"/>
                      <a:pt x="13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1" y="2"/>
                      <a:pt x="10" y="0"/>
                    </a:cubicBezTo>
                    <a:cubicBezTo>
                      <a:pt x="8" y="0"/>
                      <a:pt x="6" y="0"/>
                      <a:pt x="6" y="0"/>
                    </a:cubicBezTo>
                    <a:cubicBezTo>
                      <a:pt x="6" y="0"/>
                      <a:pt x="7" y="3"/>
                      <a:pt x="2" y="2"/>
                    </a:cubicBezTo>
                    <a:cubicBezTo>
                      <a:pt x="2" y="2"/>
                      <a:pt x="1" y="2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lnTo>
                      <a:pt x="1" y="8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6" name="Freeform 167">
                <a:extLst>
                  <a:ext uri="{FF2B5EF4-FFF2-40B4-BE49-F238E27FC236}">
                    <a16:creationId xmlns:a16="http://schemas.microsoft.com/office/drawing/2014/main" id="{2E2141BC-6271-4181-8663-5D32A4C986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9284" y="4284281"/>
                <a:ext cx="198247" cy="318700"/>
              </a:xfrm>
              <a:custGeom>
                <a:avLst/>
                <a:gdLst>
                  <a:gd name="T0" fmla="*/ 85 w 86"/>
                  <a:gd name="T1" fmla="*/ 35 h 138"/>
                  <a:gd name="T2" fmla="*/ 83 w 86"/>
                  <a:gd name="T3" fmla="*/ 20 h 138"/>
                  <a:gd name="T4" fmla="*/ 82 w 86"/>
                  <a:gd name="T5" fmla="*/ 0 h 138"/>
                  <a:gd name="T6" fmla="*/ 82 w 86"/>
                  <a:gd name="T7" fmla="*/ 0 h 138"/>
                  <a:gd name="T8" fmla="*/ 73 w 86"/>
                  <a:gd name="T9" fmla="*/ 5 h 138"/>
                  <a:gd name="T10" fmla="*/ 68 w 86"/>
                  <a:gd name="T11" fmla="*/ 6 h 138"/>
                  <a:gd name="T12" fmla="*/ 63 w 86"/>
                  <a:gd name="T13" fmla="*/ 6 h 138"/>
                  <a:gd name="T14" fmla="*/ 60 w 86"/>
                  <a:gd name="T15" fmla="*/ 9 h 138"/>
                  <a:gd name="T16" fmla="*/ 56 w 86"/>
                  <a:gd name="T17" fmla="*/ 9 h 138"/>
                  <a:gd name="T18" fmla="*/ 49 w 86"/>
                  <a:gd name="T19" fmla="*/ 10 h 138"/>
                  <a:gd name="T20" fmla="*/ 46 w 86"/>
                  <a:gd name="T21" fmla="*/ 8 h 138"/>
                  <a:gd name="T22" fmla="*/ 41 w 86"/>
                  <a:gd name="T23" fmla="*/ 9 h 138"/>
                  <a:gd name="T24" fmla="*/ 37 w 86"/>
                  <a:gd name="T25" fmla="*/ 8 h 138"/>
                  <a:gd name="T26" fmla="*/ 36 w 86"/>
                  <a:gd name="T27" fmla="*/ 11 h 138"/>
                  <a:gd name="T28" fmla="*/ 40 w 86"/>
                  <a:gd name="T29" fmla="*/ 28 h 138"/>
                  <a:gd name="T30" fmla="*/ 45 w 86"/>
                  <a:gd name="T31" fmla="*/ 33 h 138"/>
                  <a:gd name="T32" fmla="*/ 45 w 86"/>
                  <a:gd name="T33" fmla="*/ 41 h 138"/>
                  <a:gd name="T34" fmla="*/ 40 w 86"/>
                  <a:gd name="T35" fmla="*/ 46 h 138"/>
                  <a:gd name="T36" fmla="*/ 40 w 86"/>
                  <a:gd name="T37" fmla="*/ 54 h 138"/>
                  <a:gd name="T38" fmla="*/ 32 w 86"/>
                  <a:gd name="T39" fmla="*/ 44 h 138"/>
                  <a:gd name="T40" fmla="*/ 34 w 86"/>
                  <a:gd name="T41" fmla="*/ 33 h 138"/>
                  <a:gd name="T42" fmla="*/ 28 w 86"/>
                  <a:gd name="T43" fmla="*/ 32 h 138"/>
                  <a:gd name="T44" fmla="*/ 22 w 86"/>
                  <a:gd name="T45" fmla="*/ 29 h 138"/>
                  <a:gd name="T46" fmla="*/ 0 w 86"/>
                  <a:gd name="T47" fmla="*/ 37 h 138"/>
                  <a:gd name="T48" fmla="*/ 1 w 86"/>
                  <a:gd name="T49" fmla="*/ 43 h 138"/>
                  <a:gd name="T50" fmla="*/ 1 w 86"/>
                  <a:gd name="T51" fmla="*/ 43 h 138"/>
                  <a:gd name="T52" fmla="*/ 2 w 86"/>
                  <a:gd name="T53" fmla="*/ 45 h 138"/>
                  <a:gd name="T54" fmla="*/ 12 w 86"/>
                  <a:gd name="T55" fmla="*/ 48 h 138"/>
                  <a:gd name="T56" fmla="*/ 22 w 86"/>
                  <a:gd name="T57" fmla="*/ 51 h 138"/>
                  <a:gd name="T58" fmla="*/ 22 w 86"/>
                  <a:gd name="T59" fmla="*/ 63 h 138"/>
                  <a:gd name="T60" fmla="*/ 20 w 86"/>
                  <a:gd name="T61" fmla="*/ 71 h 138"/>
                  <a:gd name="T62" fmla="*/ 22 w 86"/>
                  <a:gd name="T63" fmla="*/ 77 h 138"/>
                  <a:gd name="T64" fmla="*/ 18 w 86"/>
                  <a:gd name="T65" fmla="*/ 83 h 138"/>
                  <a:gd name="T66" fmla="*/ 16 w 86"/>
                  <a:gd name="T67" fmla="*/ 91 h 138"/>
                  <a:gd name="T68" fmla="*/ 8 w 86"/>
                  <a:gd name="T69" fmla="*/ 99 h 138"/>
                  <a:gd name="T70" fmla="*/ 8 w 86"/>
                  <a:gd name="T71" fmla="*/ 99 h 138"/>
                  <a:gd name="T72" fmla="*/ 13 w 86"/>
                  <a:gd name="T73" fmla="*/ 114 h 138"/>
                  <a:gd name="T74" fmla="*/ 14 w 86"/>
                  <a:gd name="T75" fmla="*/ 129 h 138"/>
                  <a:gd name="T76" fmla="*/ 15 w 86"/>
                  <a:gd name="T77" fmla="*/ 138 h 138"/>
                  <a:gd name="T78" fmla="*/ 21 w 86"/>
                  <a:gd name="T79" fmla="*/ 137 h 138"/>
                  <a:gd name="T80" fmla="*/ 21 w 86"/>
                  <a:gd name="T81" fmla="*/ 133 h 138"/>
                  <a:gd name="T82" fmla="*/ 18 w 86"/>
                  <a:gd name="T83" fmla="*/ 130 h 138"/>
                  <a:gd name="T84" fmla="*/ 31 w 86"/>
                  <a:gd name="T85" fmla="*/ 121 h 138"/>
                  <a:gd name="T86" fmla="*/ 41 w 86"/>
                  <a:gd name="T87" fmla="*/ 115 h 138"/>
                  <a:gd name="T88" fmla="*/ 41 w 86"/>
                  <a:gd name="T89" fmla="*/ 103 h 138"/>
                  <a:gd name="T90" fmla="*/ 40 w 86"/>
                  <a:gd name="T91" fmla="*/ 93 h 138"/>
                  <a:gd name="T92" fmla="*/ 36 w 86"/>
                  <a:gd name="T93" fmla="*/ 83 h 138"/>
                  <a:gd name="T94" fmla="*/ 37 w 86"/>
                  <a:gd name="T95" fmla="*/ 77 h 138"/>
                  <a:gd name="T96" fmla="*/ 41 w 86"/>
                  <a:gd name="T97" fmla="*/ 72 h 138"/>
                  <a:gd name="T98" fmla="*/ 48 w 86"/>
                  <a:gd name="T99" fmla="*/ 68 h 138"/>
                  <a:gd name="T100" fmla="*/ 56 w 86"/>
                  <a:gd name="T101" fmla="*/ 59 h 138"/>
                  <a:gd name="T102" fmla="*/ 72 w 86"/>
                  <a:gd name="T103" fmla="*/ 52 h 138"/>
                  <a:gd name="T104" fmla="*/ 85 w 86"/>
                  <a:gd name="T105" fmla="*/ 35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86" h="138">
                    <a:moveTo>
                      <a:pt x="85" y="35"/>
                    </a:moveTo>
                    <a:cubicBezTo>
                      <a:pt x="84" y="33"/>
                      <a:pt x="82" y="23"/>
                      <a:pt x="83" y="20"/>
                    </a:cubicBezTo>
                    <a:cubicBezTo>
                      <a:pt x="83" y="16"/>
                      <a:pt x="82" y="5"/>
                      <a:pt x="82" y="0"/>
                    </a:cubicBezTo>
                    <a:cubicBezTo>
                      <a:pt x="82" y="0"/>
                      <a:pt x="82" y="0"/>
                      <a:pt x="82" y="0"/>
                    </a:cubicBezTo>
                    <a:cubicBezTo>
                      <a:pt x="78" y="2"/>
                      <a:pt x="74" y="4"/>
                      <a:pt x="73" y="5"/>
                    </a:cubicBezTo>
                    <a:cubicBezTo>
                      <a:pt x="73" y="6"/>
                      <a:pt x="70" y="4"/>
                      <a:pt x="68" y="6"/>
                    </a:cubicBezTo>
                    <a:cubicBezTo>
                      <a:pt x="66" y="8"/>
                      <a:pt x="65" y="6"/>
                      <a:pt x="63" y="6"/>
                    </a:cubicBezTo>
                    <a:cubicBezTo>
                      <a:pt x="61" y="5"/>
                      <a:pt x="61" y="7"/>
                      <a:pt x="60" y="9"/>
                    </a:cubicBezTo>
                    <a:cubicBezTo>
                      <a:pt x="60" y="10"/>
                      <a:pt x="57" y="10"/>
                      <a:pt x="56" y="9"/>
                    </a:cubicBezTo>
                    <a:cubicBezTo>
                      <a:pt x="54" y="9"/>
                      <a:pt x="51" y="10"/>
                      <a:pt x="49" y="10"/>
                    </a:cubicBezTo>
                    <a:cubicBezTo>
                      <a:pt x="47" y="10"/>
                      <a:pt x="48" y="9"/>
                      <a:pt x="46" y="8"/>
                    </a:cubicBezTo>
                    <a:cubicBezTo>
                      <a:pt x="44" y="7"/>
                      <a:pt x="43" y="9"/>
                      <a:pt x="41" y="9"/>
                    </a:cubicBezTo>
                    <a:cubicBezTo>
                      <a:pt x="41" y="9"/>
                      <a:pt x="38" y="9"/>
                      <a:pt x="37" y="8"/>
                    </a:cubicBezTo>
                    <a:cubicBezTo>
                      <a:pt x="37" y="10"/>
                      <a:pt x="37" y="10"/>
                      <a:pt x="36" y="11"/>
                    </a:cubicBezTo>
                    <a:cubicBezTo>
                      <a:pt x="35" y="15"/>
                      <a:pt x="40" y="24"/>
                      <a:pt x="40" y="28"/>
                    </a:cubicBezTo>
                    <a:cubicBezTo>
                      <a:pt x="42" y="30"/>
                      <a:pt x="44" y="32"/>
                      <a:pt x="45" y="33"/>
                    </a:cubicBezTo>
                    <a:cubicBezTo>
                      <a:pt x="47" y="36"/>
                      <a:pt x="45" y="35"/>
                      <a:pt x="45" y="41"/>
                    </a:cubicBezTo>
                    <a:cubicBezTo>
                      <a:pt x="45" y="47"/>
                      <a:pt x="43" y="44"/>
                      <a:pt x="40" y="46"/>
                    </a:cubicBezTo>
                    <a:cubicBezTo>
                      <a:pt x="38" y="48"/>
                      <a:pt x="40" y="52"/>
                      <a:pt x="40" y="54"/>
                    </a:cubicBezTo>
                    <a:cubicBezTo>
                      <a:pt x="39" y="55"/>
                      <a:pt x="33" y="45"/>
                      <a:pt x="32" y="44"/>
                    </a:cubicBezTo>
                    <a:cubicBezTo>
                      <a:pt x="32" y="42"/>
                      <a:pt x="35" y="37"/>
                      <a:pt x="34" y="33"/>
                    </a:cubicBezTo>
                    <a:cubicBezTo>
                      <a:pt x="33" y="30"/>
                      <a:pt x="29" y="32"/>
                      <a:pt x="28" y="32"/>
                    </a:cubicBezTo>
                    <a:cubicBezTo>
                      <a:pt x="26" y="33"/>
                      <a:pt x="23" y="29"/>
                      <a:pt x="22" y="29"/>
                    </a:cubicBezTo>
                    <a:cubicBezTo>
                      <a:pt x="21" y="29"/>
                      <a:pt x="0" y="37"/>
                      <a:pt x="0" y="37"/>
                    </a:cubicBezTo>
                    <a:cubicBezTo>
                      <a:pt x="1" y="43"/>
                      <a:pt x="1" y="43"/>
                      <a:pt x="1" y="43"/>
                    </a:cubicBezTo>
                    <a:cubicBezTo>
                      <a:pt x="1" y="43"/>
                      <a:pt x="1" y="43"/>
                      <a:pt x="1" y="43"/>
                    </a:cubicBezTo>
                    <a:cubicBezTo>
                      <a:pt x="2" y="45"/>
                      <a:pt x="2" y="45"/>
                      <a:pt x="2" y="45"/>
                    </a:cubicBezTo>
                    <a:cubicBezTo>
                      <a:pt x="2" y="45"/>
                      <a:pt x="9" y="46"/>
                      <a:pt x="12" y="48"/>
                    </a:cubicBezTo>
                    <a:cubicBezTo>
                      <a:pt x="16" y="50"/>
                      <a:pt x="21" y="50"/>
                      <a:pt x="22" y="51"/>
                    </a:cubicBezTo>
                    <a:cubicBezTo>
                      <a:pt x="23" y="52"/>
                      <a:pt x="22" y="60"/>
                      <a:pt x="22" y="63"/>
                    </a:cubicBezTo>
                    <a:cubicBezTo>
                      <a:pt x="22" y="67"/>
                      <a:pt x="18" y="68"/>
                      <a:pt x="20" y="71"/>
                    </a:cubicBezTo>
                    <a:cubicBezTo>
                      <a:pt x="22" y="73"/>
                      <a:pt x="21" y="76"/>
                      <a:pt x="22" y="77"/>
                    </a:cubicBezTo>
                    <a:cubicBezTo>
                      <a:pt x="24" y="77"/>
                      <a:pt x="20" y="82"/>
                      <a:pt x="18" y="83"/>
                    </a:cubicBezTo>
                    <a:cubicBezTo>
                      <a:pt x="16" y="84"/>
                      <a:pt x="18" y="88"/>
                      <a:pt x="16" y="91"/>
                    </a:cubicBezTo>
                    <a:cubicBezTo>
                      <a:pt x="15" y="92"/>
                      <a:pt x="11" y="96"/>
                      <a:pt x="8" y="99"/>
                    </a:cubicBezTo>
                    <a:cubicBezTo>
                      <a:pt x="8" y="99"/>
                      <a:pt x="8" y="99"/>
                      <a:pt x="8" y="99"/>
                    </a:cubicBezTo>
                    <a:cubicBezTo>
                      <a:pt x="9" y="100"/>
                      <a:pt x="11" y="113"/>
                      <a:pt x="13" y="114"/>
                    </a:cubicBezTo>
                    <a:cubicBezTo>
                      <a:pt x="15" y="115"/>
                      <a:pt x="14" y="127"/>
                      <a:pt x="14" y="129"/>
                    </a:cubicBezTo>
                    <a:cubicBezTo>
                      <a:pt x="14" y="130"/>
                      <a:pt x="15" y="138"/>
                      <a:pt x="15" y="138"/>
                    </a:cubicBezTo>
                    <a:cubicBezTo>
                      <a:pt x="15" y="138"/>
                      <a:pt x="18" y="137"/>
                      <a:pt x="21" y="137"/>
                    </a:cubicBezTo>
                    <a:cubicBezTo>
                      <a:pt x="21" y="136"/>
                      <a:pt x="21" y="134"/>
                      <a:pt x="21" y="133"/>
                    </a:cubicBezTo>
                    <a:cubicBezTo>
                      <a:pt x="21" y="130"/>
                      <a:pt x="19" y="133"/>
                      <a:pt x="18" y="130"/>
                    </a:cubicBezTo>
                    <a:cubicBezTo>
                      <a:pt x="17" y="128"/>
                      <a:pt x="24" y="123"/>
                      <a:pt x="31" y="121"/>
                    </a:cubicBezTo>
                    <a:cubicBezTo>
                      <a:pt x="37" y="119"/>
                      <a:pt x="40" y="117"/>
                      <a:pt x="41" y="115"/>
                    </a:cubicBezTo>
                    <a:cubicBezTo>
                      <a:pt x="41" y="112"/>
                      <a:pt x="41" y="106"/>
                      <a:pt x="41" y="103"/>
                    </a:cubicBezTo>
                    <a:cubicBezTo>
                      <a:pt x="42" y="100"/>
                      <a:pt x="41" y="99"/>
                      <a:pt x="40" y="93"/>
                    </a:cubicBezTo>
                    <a:cubicBezTo>
                      <a:pt x="39" y="87"/>
                      <a:pt x="37" y="86"/>
                      <a:pt x="36" y="83"/>
                    </a:cubicBezTo>
                    <a:cubicBezTo>
                      <a:pt x="35" y="79"/>
                      <a:pt x="35" y="77"/>
                      <a:pt x="37" y="77"/>
                    </a:cubicBezTo>
                    <a:cubicBezTo>
                      <a:pt x="39" y="77"/>
                      <a:pt x="39" y="76"/>
                      <a:pt x="41" y="72"/>
                    </a:cubicBezTo>
                    <a:cubicBezTo>
                      <a:pt x="43" y="69"/>
                      <a:pt x="45" y="70"/>
                      <a:pt x="48" y="68"/>
                    </a:cubicBezTo>
                    <a:cubicBezTo>
                      <a:pt x="51" y="66"/>
                      <a:pt x="51" y="63"/>
                      <a:pt x="56" y="59"/>
                    </a:cubicBezTo>
                    <a:cubicBezTo>
                      <a:pt x="61" y="55"/>
                      <a:pt x="67" y="55"/>
                      <a:pt x="72" y="52"/>
                    </a:cubicBezTo>
                    <a:cubicBezTo>
                      <a:pt x="77" y="49"/>
                      <a:pt x="86" y="37"/>
                      <a:pt x="85" y="3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7" name="Freeform 168">
                <a:extLst>
                  <a:ext uri="{FF2B5EF4-FFF2-40B4-BE49-F238E27FC236}">
                    <a16:creationId xmlns:a16="http://schemas.microsoft.com/office/drawing/2014/main" id="{9E9FC834-BA4D-40C7-BCA1-9A8D3C45F8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7992" y="4104855"/>
                <a:ext cx="200756" cy="203266"/>
              </a:xfrm>
              <a:custGeom>
                <a:avLst/>
                <a:gdLst>
                  <a:gd name="T0" fmla="*/ 81 w 87"/>
                  <a:gd name="T1" fmla="*/ 71 h 88"/>
                  <a:gd name="T2" fmla="*/ 78 w 87"/>
                  <a:gd name="T3" fmla="*/ 63 h 88"/>
                  <a:gd name="T4" fmla="*/ 77 w 87"/>
                  <a:gd name="T5" fmla="*/ 56 h 88"/>
                  <a:gd name="T6" fmla="*/ 79 w 87"/>
                  <a:gd name="T7" fmla="*/ 50 h 88"/>
                  <a:gd name="T8" fmla="*/ 75 w 87"/>
                  <a:gd name="T9" fmla="*/ 43 h 88"/>
                  <a:gd name="T10" fmla="*/ 78 w 87"/>
                  <a:gd name="T11" fmla="*/ 31 h 88"/>
                  <a:gd name="T12" fmla="*/ 65 w 87"/>
                  <a:gd name="T13" fmla="*/ 21 h 88"/>
                  <a:gd name="T14" fmla="*/ 65 w 87"/>
                  <a:gd name="T15" fmla="*/ 16 h 88"/>
                  <a:gd name="T16" fmla="*/ 35 w 87"/>
                  <a:gd name="T17" fmla="*/ 0 h 88"/>
                  <a:gd name="T18" fmla="*/ 31 w 87"/>
                  <a:gd name="T19" fmla="*/ 8 h 88"/>
                  <a:gd name="T20" fmla="*/ 31 w 87"/>
                  <a:gd name="T21" fmla="*/ 13 h 88"/>
                  <a:gd name="T22" fmla="*/ 18 w 87"/>
                  <a:gd name="T23" fmla="*/ 12 h 88"/>
                  <a:gd name="T24" fmla="*/ 18 w 87"/>
                  <a:gd name="T25" fmla="*/ 0 h 88"/>
                  <a:gd name="T26" fmla="*/ 12 w 87"/>
                  <a:gd name="T27" fmla="*/ 0 h 88"/>
                  <a:gd name="T28" fmla="*/ 8 w 87"/>
                  <a:gd name="T29" fmla="*/ 1 h 88"/>
                  <a:gd name="T30" fmla="*/ 9 w 87"/>
                  <a:gd name="T31" fmla="*/ 5 h 88"/>
                  <a:gd name="T32" fmla="*/ 10 w 87"/>
                  <a:gd name="T33" fmla="*/ 10 h 88"/>
                  <a:gd name="T34" fmla="*/ 7 w 87"/>
                  <a:gd name="T35" fmla="*/ 12 h 88"/>
                  <a:gd name="T36" fmla="*/ 7 w 87"/>
                  <a:gd name="T37" fmla="*/ 16 h 88"/>
                  <a:gd name="T38" fmla="*/ 10 w 87"/>
                  <a:gd name="T39" fmla="*/ 17 h 88"/>
                  <a:gd name="T40" fmla="*/ 3 w 87"/>
                  <a:gd name="T41" fmla="*/ 27 h 88"/>
                  <a:gd name="T42" fmla="*/ 0 w 87"/>
                  <a:gd name="T43" fmla="*/ 29 h 88"/>
                  <a:gd name="T44" fmla="*/ 4 w 87"/>
                  <a:gd name="T45" fmla="*/ 44 h 88"/>
                  <a:gd name="T46" fmla="*/ 9 w 87"/>
                  <a:gd name="T47" fmla="*/ 54 h 88"/>
                  <a:gd name="T48" fmla="*/ 11 w 87"/>
                  <a:gd name="T49" fmla="*/ 61 h 88"/>
                  <a:gd name="T50" fmla="*/ 6 w 87"/>
                  <a:gd name="T51" fmla="*/ 57 h 88"/>
                  <a:gd name="T52" fmla="*/ 6 w 87"/>
                  <a:gd name="T53" fmla="*/ 59 h 88"/>
                  <a:gd name="T54" fmla="*/ 5 w 87"/>
                  <a:gd name="T55" fmla="*/ 59 h 88"/>
                  <a:gd name="T56" fmla="*/ 11 w 87"/>
                  <a:gd name="T57" fmla="*/ 62 h 88"/>
                  <a:gd name="T58" fmla="*/ 19 w 87"/>
                  <a:gd name="T59" fmla="*/ 65 h 88"/>
                  <a:gd name="T60" fmla="*/ 29 w 87"/>
                  <a:gd name="T61" fmla="*/ 70 h 88"/>
                  <a:gd name="T62" fmla="*/ 29 w 87"/>
                  <a:gd name="T63" fmla="*/ 71 h 88"/>
                  <a:gd name="T64" fmla="*/ 35 w 87"/>
                  <a:gd name="T65" fmla="*/ 71 h 88"/>
                  <a:gd name="T66" fmla="*/ 36 w 87"/>
                  <a:gd name="T67" fmla="*/ 70 h 88"/>
                  <a:gd name="T68" fmla="*/ 42 w 87"/>
                  <a:gd name="T69" fmla="*/ 86 h 88"/>
                  <a:gd name="T70" fmla="*/ 46 w 87"/>
                  <a:gd name="T71" fmla="*/ 87 h 88"/>
                  <a:gd name="T72" fmla="*/ 51 w 87"/>
                  <a:gd name="T73" fmla="*/ 86 h 88"/>
                  <a:gd name="T74" fmla="*/ 54 w 87"/>
                  <a:gd name="T75" fmla="*/ 88 h 88"/>
                  <a:gd name="T76" fmla="*/ 61 w 87"/>
                  <a:gd name="T77" fmla="*/ 87 h 88"/>
                  <a:gd name="T78" fmla="*/ 65 w 87"/>
                  <a:gd name="T79" fmla="*/ 87 h 88"/>
                  <a:gd name="T80" fmla="*/ 68 w 87"/>
                  <a:gd name="T81" fmla="*/ 84 h 88"/>
                  <a:gd name="T82" fmla="*/ 73 w 87"/>
                  <a:gd name="T83" fmla="*/ 84 h 88"/>
                  <a:gd name="T84" fmla="*/ 78 w 87"/>
                  <a:gd name="T85" fmla="*/ 83 h 88"/>
                  <a:gd name="T86" fmla="*/ 87 w 87"/>
                  <a:gd name="T87" fmla="*/ 78 h 88"/>
                  <a:gd name="T88" fmla="*/ 81 w 87"/>
                  <a:gd name="T89" fmla="*/ 71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87" h="88">
                    <a:moveTo>
                      <a:pt x="81" y="71"/>
                    </a:moveTo>
                    <a:cubicBezTo>
                      <a:pt x="81" y="66"/>
                      <a:pt x="78" y="66"/>
                      <a:pt x="78" y="63"/>
                    </a:cubicBezTo>
                    <a:cubicBezTo>
                      <a:pt x="78" y="59"/>
                      <a:pt x="79" y="56"/>
                      <a:pt x="77" y="56"/>
                    </a:cubicBezTo>
                    <a:cubicBezTo>
                      <a:pt x="76" y="55"/>
                      <a:pt x="77" y="53"/>
                      <a:pt x="79" y="50"/>
                    </a:cubicBezTo>
                    <a:cubicBezTo>
                      <a:pt x="81" y="47"/>
                      <a:pt x="75" y="47"/>
                      <a:pt x="75" y="43"/>
                    </a:cubicBezTo>
                    <a:cubicBezTo>
                      <a:pt x="74" y="41"/>
                      <a:pt x="76" y="36"/>
                      <a:pt x="78" y="31"/>
                    </a:cubicBezTo>
                    <a:cubicBezTo>
                      <a:pt x="72" y="26"/>
                      <a:pt x="65" y="21"/>
                      <a:pt x="65" y="21"/>
                    </a:cubicBezTo>
                    <a:cubicBezTo>
                      <a:pt x="65" y="16"/>
                      <a:pt x="65" y="16"/>
                      <a:pt x="65" y="16"/>
                    </a:cubicBezTo>
                    <a:cubicBezTo>
                      <a:pt x="35" y="0"/>
                      <a:pt x="35" y="0"/>
                      <a:pt x="35" y="0"/>
                    </a:cubicBezTo>
                    <a:cubicBezTo>
                      <a:pt x="35" y="4"/>
                      <a:pt x="33" y="7"/>
                      <a:pt x="31" y="8"/>
                    </a:cubicBezTo>
                    <a:cubicBezTo>
                      <a:pt x="29" y="9"/>
                      <a:pt x="34" y="12"/>
                      <a:pt x="31" y="13"/>
                    </a:cubicBezTo>
                    <a:cubicBezTo>
                      <a:pt x="29" y="13"/>
                      <a:pt x="23" y="10"/>
                      <a:pt x="18" y="12"/>
                    </a:cubicBezTo>
                    <a:cubicBezTo>
                      <a:pt x="15" y="13"/>
                      <a:pt x="16" y="6"/>
                      <a:pt x="18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2" y="0"/>
                      <a:pt x="10" y="1"/>
                      <a:pt x="8" y="1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5"/>
                      <a:pt x="11" y="8"/>
                      <a:pt x="10" y="10"/>
                    </a:cubicBezTo>
                    <a:cubicBezTo>
                      <a:pt x="10" y="11"/>
                      <a:pt x="9" y="11"/>
                      <a:pt x="7" y="12"/>
                    </a:cubicBezTo>
                    <a:cubicBezTo>
                      <a:pt x="8" y="14"/>
                      <a:pt x="7" y="16"/>
                      <a:pt x="7" y="16"/>
                    </a:cubicBezTo>
                    <a:cubicBezTo>
                      <a:pt x="10" y="17"/>
                      <a:pt x="10" y="17"/>
                      <a:pt x="10" y="17"/>
                    </a:cubicBezTo>
                    <a:cubicBezTo>
                      <a:pt x="10" y="17"/>
                      <a:pt x="5" y="26"/>
                      <a:pt x="3" y="27"/>
                    </a:cubicBezTo>
                    <a:cubicBezTo>
                      <a:pt x="2" y="27"/>
                      <a:pt x="1" y="28"/>
                      <a:pt x="0" y="29"/>
                    </a:cubicBezTo>
                    <a:cubicBezTo>
                      <a:pt x="1" y="35"/>
                      <a:pt x="2" y="42"/>
                      <a:pt x="4" y="44"/>
                    </a:cubicBezTo>
                    <a:cubicBezTo>
                      <a:pt x="9" y="48"/>
                      <a:pt x="8" y="52"/>
                      <a:pt x="9" y="54"/>
                    </a:cubicBezTo>
                    <a:cubicBezTo>
                      <a:pt x="10" y="57"/>
                      <a:pt x="13" y="60"/>
                      <a:pt x="11" y="61"/>
                    </a:cubicBezTo>
                    <a:cubicBezTo>
                      <a:pt x="9" y="62"/>
                      <a:pt x="8" y="60"/>
                      <a:pt x="6" y="57"/>
                    </a:cubicBezTo>
                    <a:cubicBezTo>
                      <a:pt x="6" y="58"/>
                      <a:pt x="6" y="58"/>
                      <a:pt x="6" y="59"/>
                    </a:cubicBezTo>
                    <a:cubicBezTo>
                      <a:pt x="6" y="59"/>
                      <a:pt x="5" y="59"/>
                      <a:pt x="5" y="59"/>
                    </a:cubicBezTo>
                    <a:cubicBezTo>
                      <a:pt x="8" y="61"/>
                      <a:pt x="10" y="62"/>
                      <a:pt x="11" y="62"/>
                    </a:cubicBezTo>
                    <a:cubicBezTo>
                      <a:pt x="13" y="62"/>
                      <a:pt x="17" y="65"/>
                      <a:pt x="19" y="65"/>
                    </a:cubicBezTo>
                    <a:cubicBezTo>
                      <a:pt x="21" y="66"/>
                      <a:pt x="28" y="69"/>
                      <a:pt x="29" y="70"/>
                    </a:cubicBezTo>
                    <a:cubicBezTo>
                      <a:pt x="29" y="70"/>
                      <a:pt x="29" y="70"/>
                      <a:pt x="29" y="71"/>
                    </a:cubicBezTo>
                    <a:cubicBezTo>
                      <a:pt x="31" y="70"/>
                      <a:pt x="33" y="70"/>
                      <a:pt x="35" y="71"/>
                    </a:cubicBezTo>
                    <a:cubicBezTo>
                      <a:pt x="35" y="70"/>
                      <a:pt x="35" y="70"/>
                      <a:pt x="36" y="70"/>
                    </a:cubicBezTo>
                    <a:cubicBezTo>
                      <a:pt x="39" y="70"/>
                      <a:pt x="42" y="80"/>
                      <a:pt x="42" y="86"/>
                    </a:cubicBezTo>
                    <a:cubicBezTo>
                      <a:pt x="43" y="87"/>
                      <a:pt x="46" y="87"/>
                      <a:pt x="46" y="87"/>
                    </a:cubicBezTo>
                    <a:cubicBezTo>
                      <a:pt x="48" y="87"/>
                      <a:pt x="49" y="85"/>
                      <a:pt x="51" y="86"/>
                    </a:cubicBezTo>
                    <a:cubicBezTo>
                      <a:pt x="53" y="87"/>
                      <a:pt x="52" y="88"/>
                      <a:pt x="54" y="88"/>
                    </a:cubicBezTo>
                    <a:cubicBezTo>
                      <a:pt x="56" y="88"/>
                      <a:pt x="59" y="87"/>
                      <a:pt x="61" y="87"/>
                    </a:cubicBezTo>
                    <a:cubicBezTo>
                      <a:pt x="62" y="88"/>
                      <a:pt x="65" y="88"/>
                      <a:pt x="65" y="87"/>
                    </a:cubicBezTo>
                    <a:cubicBezTo>
                      <a:pt x="66" y="85"/>
                      <a:pt x="66" y="83"/>
                      <a:pt x="68" y="84"/>
                    </a:cubicBezTo>
                    <a:cubicBezTo>
                      <a:pt x="70" y="84"/>
                      <a:pt x="71" y="86"/>
                      <a:pt x="73" y="84"/>
                    </a:cubicBezTo>
                    <a:cubicBezTo>
                      <a:pt x="75" y="82"/>
                      <a:pt x="78" y="84"/>
                      <a:pt x="78" y="83"/>
                    </a:cubicBezTo>
                    <a:cubicBezTo>
                      <a:pt x="79" y="82"/>
                      <a:pt x="83" y="80"/>
                      <a:pt x="87" y="78"/>
                    </a:cubicBezTo>
                    <a:cubicBezTo>
                      <a:pt x="87" y="73"/>
                      <a:pt x="82" y="75"/>
                      <a:pt x="81" y="7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8" name="Freeform 169">
                <a:extLst>
                  <a:ext uri="{FF2B5EF4-FFF2-40B4-BE49-F238E27FC236}">
                    <a16:creationId xmlns:a16="http://schemas.microsoft.com/office/drawing/2014/main" id="{F72D6D50-6040-4419-B895-D2118825D5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5709" y="4266714"/>
                <a:ext cx="61482" cy="144293"/>
              </a:xfrm>
              <a:custGeom>
                <a:avLst/>
                <a:gdLst>
                  <a:gd name="T0" fmla="*/ 25 w 27"/>
                  <a:gd name="T1" fmla="*/ 41 h 63"/>
                  <a:gd name="T2" fmla="*/ 20 w 27"/>
                  <a:gd name="T3" fmla="*/ 36 h 63"/>
                  <a:gd name="T4" fmla="*/ 20 w 27"/>
                  <a:gd name="T5" fmla="*/ 38 h 63"/>
                  <a:gd name="T6" fmla="*/ 11 w 27"/>
                  <a:gd name="T7" fmla="*/ 25 h 63"/>
                  <a:gd name="T8" fmla="*/ 12 w 27"/>
                  <a:gd name="T9" fmla="*/ 11 h 63"/>
                  <a:gd name="T10" fmla="*/ 10 w 27"/>
                  <a:gd name="T11" fmla="*/ 1 h 63"/>
                  <a:gd name="T12" fmla="*/ 4 w 27"/>
                  <a:gd name="T13" fmla="*/ 1 h 63"/>
                  <a:gd name="T14" fmla="*/ 8 w 27"/>
                  <a:gd name="T15" fmla="*/ 8 h 63"/>
                  <a:gd name="T16" fmla="*/ 5 w 27"/>
                  <a:gd name="T17" fmla="*/ 10 h 63"/>
                  <a:gd name="T18" fmla="*/ 5 w 27"/>
                  <a:gd name="T19" fmla="*/ 23 h 63"/>
                  <a:gd name="T20" fmla="*/ 2 w 27"/>
                  <a:gd name="T21" fmla="*/ 25 h 63"/>
                  <a:gd name="T22" fmla="*/ 1 w 27"/>
                  <a:gd name="T23" fmla="*/ 33 h 63"/>
                  <a:gd name="T24" fmla="*/ 2 w 27"/>
                  <a:gd name="T25" fmla="*/ 37 h 63"/>
                  <a:gd name="T26" fmla="*/ 2 w 27"/>
                  <a:gd name="T27" fmla="*/ 37 h 63"/>
                  <a:gd name="T28" fmla="*/ 8 w 27"/>
                  <a:gd name="T29" fmla="*/ 40 h 63"/>
                  <a:gd name="T30" fmla="*/ 14 w 27"/>
                  <a:gd name="T31" fmla="*/ 41 h 63"/>
                  <a:gd name="T32" fmla="*/ 12 w 27"/>
                  <a:gd name="T33" fmla="*/ 52 h 63"/>
                  <a:gd name="T34" fmla="*/ 20 w 27"/>
                  <a:gd name="T35" fmla="*/ 62 h 63"/>
                  <a:gd name="T36" fmla="*/ 20 w 27"/>
                  <a:gd name="T37" fmla="*/ 54 h 63"/>
                  <a:gd name="T38" fmla="*/ 25 w 27"/>
                  <a:gd name="T39" fmla="*/ 49 h 63"/>
                  <a:gd name="T40" fmla="*/ 25 w 27"/>
                  <a:gd name="T41" fmla="*/ 41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7" h="63">
                    <a:moveTo>
                      <a:pt x="25" y="41"/>
                    </a:moveTo>
                    <a:cubicBezTo>
                      <a:pt x="24" y="40"/>
                      <a:pt x="22" y="38"/>
                      <a:pt x="20" y="36"/>
                    </a:cubicBezTo>
                    <a:cubicBezTo>
                      <a:pt x="20" y="37"/>
                      <a:pt x="20" y="37"/>
                      <a:pt x="20" y="38"/>
                    </a:cubicBezTo>
                    <a:cubicBezTo>
                      <a:pt x="17" y="41"/>
                      <a:pt x="12" y="31"/>
                      <a:pt x="11" y="25"/>
                    </a:cubicBezTo>
                    <a:cubicBezTo>
                      <a:pt x="10" y="19"/>
                      <a:pt x="14" y="17"/>
                      <a:pt x="12" y="11"/>
                    </a:cubicBezTo>
                    <a:cubicBezTo>
                      <a:pt x="10" y="6"/>
                      <a:pt x="8" y="2"/>
                      <a:pt x="10" y="1"/>
                    </a:cubicBezTo>
                    <a:cubicBezTo>
                      <a:pt x="8" y="0"/>
                      <a:pt x="6" y="0"/>
                      <a:pt x="4" y="1"/>
                    </a:cubicBezTo>
                    <a:cubicBezTo>
                      <a:pt x="6" y="3"/>
                      <a:pt x="8" y="7"/>
                      <a:pt x="8" y="8"/>
                    </a:cubicBezTo>
                    <a:cubicBezTo>
                      <a:pt x="8" y="10"/>
                      <a:pt x="6" y="8"/>
                      <a:pt x="5" y="10"/>
                    </a:cubicBezTo>
                    <a:cubicBezTo>
                      <a:pt x="4" y="12"/>
                      <a:pt x="3" y="22"/>
                      <a:pt x="5" y="23"/>
                    </a:cubicBezTo>
                    <a:cubicBezTo>
                      <a:pt x="7" y="25"/>
                      <a:pt x="2" y="24"/>
                      <a:pt x="2" y="25"/>
                    </a:cubicBezTo>
                    <a:cubicBezTo>
                      <a:pt x="2" y="27"/>
                      <a:pt x="1" y="33"/>
                      <a:pt x="1" y="33"/>
                    </a:cubicBezTo>
                    <a:cubicBezTo>
                      <a:pt x="0" y="33"/>
                      <a:pt x="1" y="35"/>
                      <a:pt x="2" y="37"/>
                    </a:cubicBezTo>
                    <a:cubicBezTo>
                      <a:pt x="2" y="37"/>
                      <a:pt x="2" y="37"/>
                      <a:pt x="2" y="37"/>
                    </a:cubicBezTo>
                    <a:cubicBezTo>
                      <a:pt x="3" y="37"/>
                      <a:pt x="6" y="41"/>
                      <a:pt x="8" y="40"/>
                    </a:cubicBezTo>
                    <a:cubicBezTo>
                      <a:pt x="9" y="40"/>
                      <a:pt x="13" y="38"/>
                      <a:pt x="14" y="41"/>
                    </a:cubicBezTo>
                    <a:cubicBezTo>
                      <a:pt x="15" y="45"/>
                      <a:pt x="12" y="50"/>
                      <a:pt x="12" y="52"/>
                    </a:cubicBezTo>
                    <a:cubicBezTo>
                      <a:pt x="13" y="53"/>
                      <a:pt x="19" y="63"/>
                      <a:pt x="20" y="62"/>
                    </a:cubicBezTo>
                    <a:cubicBezTo>
                      <a:pt x="20" y="60"/>
                      <a:pt x="18" y="56"/>
                      <a:pt x="20" y="54"/>
                    </a:cubicBezTo>
                    <a:cubicBezTo>
                      <a:pt x="23" y="52"/>
                      <a:pt x="25" y="55"/>
                      <a:pt x="25" y="49"/>
                    </a:cubicBezTo>
                    <a:cubicBezTo>
                      <a:pt x="25" y="43"/>
                      <a:pt x="27" y="44"/>
                      <a:pt x="25" y="4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9" name="Freeform 170">
                <a:extLst>
                  <a:ext uri="{FF2B5EF4-FFF2-40B4-BE49-F238E27FC236}">
                    <a16:creationId xmlns:a16="http://schemas.microsoft.com/office/drawing/2014/main" id="{B66750E4-EDC1-40DF-9A9D-1FC19EA157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74440" y="3276736"/>
                <a:ext cx="143039" cy="97869"/>
              </a:xfrm>
              <a:custGeom>
                <a:avLst/>
                <a:gdLst>
                  <a:gd name="T0" fmla="*/ 50 w 62"/>
                  <a:gd name="T1" fmla="*/ 34 h 42"/>
                  <a:gd name="T2" fmla="*/ 53 w 62"/>
                  <a:gd name="T3" fmla="*/ 36 h 42"/>
                  <a:gd name="T4" fmla="*/ 59 w 62"/>
                  <a:gd name="T5" fmla="*/ 38 h 42"/>
                  <a:gd name="T6" fmla="*/ 62 w 62"/>
                  <a:gd name="T7" fmla="*/ 38 h 42"/>
                  <a:gd name="T8" fmla="*/ 60 w 62"/>
                  <a:gd name="T9" fmla="*/ 27 h 42"/>
                  <a:gd name="T10" fmla="*/ 52 w 62"/>
                  <a:gd name="T11" fmla="*/ 22 h 42"/>
                  <a:gd name="T12" fmla="*/ 51 w 62"/>
                  <a:gd name="T13" fmla="*/ 15 h 42"/>
                  <a:gd name="T14" fmla="*/ 40 w 62"/>
                  <a:gd name="T15" fmla="*/ 16 h 42"/>
                  <a:gd name="T16" fmla="*/ 34 w 62"/>
                  <a:gd name="T17" fmla="*/ 14 h 42"/>
                  <a:gd name="T18" fmla="*/ 26 w 62"/>
                  <a:gd name="T19" fmla="*/ 14 h 42"/>
                  <a:gd name="T20" fmla="*/ 15 w 62"/>
                  <a:gd name="T21" fmla="*/ 13 h 42"/>
                  <a:gd name="T22" fmla="*/ 21 w 62"/>
                  <a:gd name="T23" fmla="*/ 8 h 42"/>
                  <a:gd name="T24" fmla="*/ 23 w 62"/>
                  <a:gd name="T25" fmla="*/ 8 h 42"/>
                  <a:gd name="T26" fmla="*/ 26 w 62"/>
                  <a:gd name="T27" fmla="*/ 2 h 42"/>
                  <a:gd name="T28" fmla="*/ 20 w 62"/>
                  <a:gd name="T29" fmla="*/ 3 h 42"/>
                  <a:gd name="T30" fmla="*/ 14 w 62"/>
                  <a:gd name="T31" fmla="*/ 4 h 42"/>
                  <a:gd name="T32" fmla="*/ 10 w 62"/>
                  <a:gd name="T33" fmla="*/ 9 h 42"/>
                  <a:gd name="T34" fmla="*/ 8 w 62"/>
                  <a:gd name="T35" fmla="*/ 13 h 42"/>
                  <a:gd name="T36" fmla="*/ 0 w 62"/>
                  <a:gd name="T37" fmla="*/ 16 h 42"/>
                  <a:gd name="T38" fmla="*/ 5 w 62"/>
                  <a:gd name="T39" fmla="*/ 22 h 42"/>
                  <a:gd name="T40" fmla="*/ 6 w 62"/>
                  <a:gd name="T41" fmla="*/ 29 h 42"/>
                  <a:gd name="T42" fmla="*/ 3 w 62"/>
                  <a:gd name="T43" fmla="*/ 38 h 42"/>
                  <a:gd name="T44" fmla="*/ 7 w 62"/>
                  <a:gd name="T45" fmla="*/ 38 h 42"/>
                  <a:gd name="T46" fmla="*/ 15 w 62"/>
                  <a:gd name="T47" fmla="*/ 36 h 42"/>
                  <a:gd name="T48" fmla="*/ 23 w 62"/>
                  <a:gd name="T49" fmla="*/ 32 h 42"/>
                  <a:gd name="T50" fmla="*/ 30 w 62"/>
                  <a:gd name="T51" fmla="*/ 25 h 42"/>
                  <a:gd name="T52" fmla="*/ 33 w 62"/>
                  <a:gd name="T53" fmla="*/ 32 h 42"/>
                  <a:gd name="T54" fmla="*/ 33 w 62"/>
                  <a:gd name="T55" fmla="*/ 41 h 42"/>
                  <a:gd name="T56" fmla="*/ 37 w 62"/>
                  <a:gd name="T57" fmla="*/ 41 h 42"/>
                  <a:gd name="T58" fmla="*/ 41 w 62"/>
                  <a:gd name="T59" fmla="*/ 40 h 42"/>
                  <a:gd name="T60" fmla="*/ 50 w 62"/>
                  <a:gd name="T61" fmla="*/ 34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62" h="42">
                    <a:moveTo>
                      <a:pt x="50" y="34"/>
                    </a:moveTo>
                    <a:cubicBezTo>
                      <a:pt x="52" y="35"/>
                      <a:pt x="52" y="37"/>
                      <a:pt x="53" y="36"/>
                    </a:cubicBezTo>
                    <a:cubicBezTo>
                      <a:pt x="55" y="36"/>
                      <a:pt x="58" y="37"/>
                      <a:pt x="59" y="38"/>
                    </a:cubicBezTo>
                    <a:cubicBezTo>
                      <a:pt x="60" y="38"/>
                      <a:pt x="62" y="38"/>
                      <a:pt x="62" y="38"/>
                    </a:cubicBezTo>
                    <a:cubicBezTo>
                      <a:pt x="62" y="38"/>
                      <a:pt x="60" y="29"/>
                      <a:pt x="60" y="27"/>
                    </a:cubicBezTo>
                    <a:cubicBezTo>
                      <a:pt x="60" y="24"/>
                      <a:pt x="52" y="22"/>
                      <a:pt x="52" y="22"/>
                    </a:cubicBezTo>
                    <a:cubicBezTo>
                      <a:pt x="51" y="15"/>
                      <a:pt x="51" y="15"/>
                      <a:pt x="51" y="15"/>
                    </a:cubicBezTo>
                    <a:cubicBezTo>
                      <a:pt x="51" y="15"/>
                      <a:pt x="42" y="16"/>
                      <a:pt x="40" y="16"/>
                    </a:cubicBezTo>
                    <a:cubicBezTo>
                      <a:pt x="39" y="15"/>
                      <a:pt x="35" y="16"/>
                      <a:pt x="34" y="14"/>
                    </a:cubicBezTo>
                    <a:cubicBezTo>
                      <a:pt x="32" y="12"/>
                      <a:pt x="29" y="16"/>
                      <a:pt x="26" y="14"/>
                    </a:cubicBezTo>
                    <a:cubicBezTo>
                      <a:pt x="23" y="12"/>
                      <a:pt x="15" y="15"/>
                      <a:pt x="15" y="13"/>
                    </a:cubicBezTo>
                    <a:cubicBezTo>
                      <a:pt x="15" y="11"/>
                      <a:pt x="18" y="8"/>
                      <a:pt x="21" y="8"/>
                    </a:cubicBezTo>
                    <a:cubicBezTo>
                      <a:pt x="21" y="8"/>
                      <a:pt x="22" y="8"/>
                      <a:pt x="23" y="8"/>
                    </a:cubicBezTo>
                    <a:cubicBezTo>
                      <a:pt x="24" y="7"/>
                      <a:pt x="26" y="3"/>
                      <a:pt x="26" y="2"/>
                    </a:cubicBezTo>
                    <a:cubicBezTo>
                      <a:pt x="25" y="0"/>
                      <a:pt x="22" y="1"/>
                      <a:pt x="20" y="3"/>
                    </a:cubicBezTo>
                    <a:cubicBezTo>
                      <a:pt x="19" y="4"/>
                      <a:pt x="15" y="2"/>
                      <a:pt x="14" y="4"/>
                    </a:cubicBezTo>
                    <a:cubicBezTo>
                      <a:pt x="14" y="6"/>
                      <a:pt x="13" y="9"/>
                      <a:pt x="10" y="9"/>
                    </a:cubicBezTo>
                    <a:cubicBezTo>
                      <a:pt x="8" y="9"/>
                      <a:pt x="10" y="12"/>
                      <a:pt x="8" y="13"/>
                    </a:cubicBezTo>
                    <a:cubicBezTo>
                      <a:pt x="6" y="14"/>
                      <a:pt x="1" y="14"/>
                      <a:pt x="0" y="16"/>
                    </a:cubicBezTo>
                    <a:cubicBezTo>
                      <a:pt x="0" y="18"/>
                      <a:pt x="6" y="20"/>
                      <a:pt x="5" y="22"/>
                    </a:cubicBezTo>
                    <a:cubicBezTo>
                      <a:pt x="5" y="25"/>
                      <a:pt x="8" y="28"/>
                      <a:pt x="6" y="29"/>
                    </a:cubicBezTo>
                    <a:cubicBezTo>
                      <a:pt x="4" y="31"/>
                      <a:pt x="3" y="33"/>
                      <a:pt x="3" y="38"/>
                    </a:cubicBezTo>
                    <a:cubicBezTo>
                      <a:pt x="4" y="39"/>
                      <a:pt x="6" y="40"/>
                      <a:pt x="7" y="38"/>
                    </a:cubicBezTo>
                    <a:cubicBezTo>
                      <a:pt x="8" y="36"/>
                      <a:pt x="15" y="38"/>
                      <a:pt x="15" y="36"/>
                    </a:cubicBezTo>
                    <a:cubicBezTo>
                      <a:pt x="15" y="34"/>
                      <a:pt x="23" y="34"/>
                      <a:pt x="23" y="32"/>
                    </a:cubicBezTo>
                    <a:cubicBezTo>
                      <a:pt x="23" y="30"/>
                      <a:pt x="27" y="25"/>
                      <a:pt x="30" y="25"/>
                    </a:cubicBezTo>
                    <a:cubicBezTo>
                      <a:pt x="33" y="25"/>
                      <a:pt x="30" y="30"/>
                      <a:pt x="33" y="32"/>
                    </a:cubicBezTo>
                    <a:cubicBezTo>
                      <a:pt x="36" y="33"/>
                      <a:pt x="31" y="39"/>
                      <a:pt x="33" y="41"/>
                    </a:cubicBezTo>
                    <a:cubicBezTo>
                      <a:pt x="34" y="42"/>
                      <a:pt x="35" y="42"/>
                      <a:pt x="37" y="41"/>
                    </a:cubicBezTo>
                    <a:cubicBezTo>
                      <a:pt x="38" y="41"/>
                      <a:pt x="40" y="40"/>
                      <a:pt x="41" y="40"/>
                    </a:cubicBezTo>
                    <a:cubicBezTo>
                      <a:pt x="45" y="37"/>
                      <a:pt x="49" y="33"/>
                      <a:pt x="50" y="34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0" name="Freeform 171">
                <a:extLst>
                  <a:ext uri="{FF2B5EF4-FFF2-40B4-BE49-F238E27FC236}">
                    <a16:creationId xmlns:a16="http://schemas.microsoft.com/office/drawing/2014/main" id="{0164B8D6-87C3-4035-A187-B339C5CB02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6704" y="3601710"/>
                <a:ext cx="16311" cy="35132"/>
              </a:xfrm>
              <a:custGeom>
                <a:avLst/>
                <a:gdLst>
                  <a:gd name="T0" fmla="*/ 6 w 7"/>
                  <a:gd name="T1" fmla="*/ 14 h 15"/>
                  <a:gd name="T2" fmla="*/ 3 w 7"/>
                  <a:gd name="T3" fmla="*/ 11 h 15"/>
                  <a:gd name="T4" fmla="*/ 0 w 7"/>
                  <a:gd name="T5" fmla="*/ 6 h 15"/>
                  <a:gd name="T6" fmla="*/ 3 w 7"/>
                  <a:gd name="T7" fmla="*/ 3 h 15"/>
                  <a:gd name="T8" fmla="*/ 4 w 7"/>
                  <a:gd name="T9" fmla="*/ 9 h 15"/>
                  <a:gd name="T10" fmla="*/ 6 w 7"/>
                  <a:gd name="T11" fmla="*/ 14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15">
                    <a:moveTo>
                      <a:pt x="6" y="14"/>
                    </a:moveTo>
                    <a:cubicBezTo>
                      <a:pt x="6" y="15"/>
                      <a:pt x="3" y="13"/>
                      <a:pt x="3" y="11"/>
                    </a:cubicBezTo>
                    <a:cubicBezTo>
                      <a:pt x="3" y="9"/>
                      <a:pt x="0" y="9"/>
                      <a:pt x="0" y="6"/>
                    </a:cubicBezTo>
                    <a:cubicBezTo>
                      <a:pt x="0" y="2"/>
                      <a:pt x="2" y="0"/>
                      <a:pt x="3" y="3"/>
                    </a:cubicBezTo>
                    <a:cubicBezTo>
                      <a:pt x="5" y="6"/>
                      <a:pt x="4" y="8"/>
                      <a:pt x="4" y="9"/>
                    </a:cubicBezTo>
                    <a:cubicBezTo>
                      <a:pt x="4" y="11"/>
                      <a:pt x="7" y="12"/>
                      <a:pt x="6" y="14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1" name="Freeform 172">
                <a:extLst>
                  <a:ext uri="{FF2B5EF4-FFF2-40B4-BE49-F238E27FC236}">
                    <a16:creationId xmlns:a16="http://schemas.microsoft.com/office/drawing/2014/main" id="{6B4015FF-BF2A-4F46-AB18-CAD2C28359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2857" y="3884023"/>
                <a:ext cx="23840" cy="17566"/>
              </a:xfrm>
              <a:custGeom>
                <a:avLst/>
                <a:gdLst>
                  <a:gd name="T0" fmla="*/ 2 w 10"/>
                  <a:gd name="T1" fmla="*/ 7 h 8"/>
                  <a:gd name="T2" fmla="*/ 2 w 10"/>
                  <a:gd name="T3" fmla="*/ 4 h 8"/>
                  <a:gd name="T4" fmla="*/ 7 w 10"/>
                  <a:gd name="T5" fmla="*/ 2 h 8"/>
                  <a:gd name="T6" fmla="*/ 8 w 10"/>
                  <a:gd name="T7" fmla="*/ 7 h 8"/>
                  <a:gd name="T8" fmla="*/ 2 w 10"/>
                  <a:gd name="T9" fmla="*/ 7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8">
                    <a:moveTo>
                      <a:pt x="2" y="7"/>
                    </a:moveTo>
                    <a:cubicBezTo>
                      <a:pt x="1" y="6"/>
                      <a:pt x="3" y="4"/>
                      <a:pt x="2" y="4"/>
                    </a:cubicBezTo>
                    <a:cubicBezTo>
                      <a:pt x="0" y="3"/>
                      <a:pt x="6" y="0"/>
                      <a:pt x="7" y="2"/>
                    </a:cubicBezTo>
                    <a:cubicBezTo>
                      <a:pt x="9" y="4"/>
                      <a:pt x="10" y="6"/>
                      <a:pt x="8" y="7"/>
                    </a:cubicBezTo>
                    <a:cubicBezTo>
                      <a:pt x="6" y="7"/>
                      <a:pt x="3" y="8"/>
                      <a:pt x="2" y="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2" name="Freeform 173">
                <a:extLst>
                  <a:ext uri="{FF2B5EF4-FFF2-40B4-BE49-F238E27FC236}">
                    <a16:creationId xmlns:a16="http://schemas.microsoft.com/office/drawing/2014/main" id="{8365C8BD-71AA-4763-8DA0-E3ECD91AF5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17720" y="3267953"/>
                <a:ext cx="62736" cy="52698"/>
              </a:xfrm>
              <a:custGeom>
                <a:avLst/>
                <a:gdLst>
                  <a:gd name="T0" fmla="*/ 25 w 27"/>
                  <a:gd name="T1" fmla="*/ 18 h 23"/>
                  <a:gd name="T2" fmla="*/ 20 w 27"/>
                  <a:gd name="T3" fmla="*/ 12 h 23"/>
                  <a:gd name="T4" fmla="*/ 17 w 27"/>
                  <a:gd name="T5" fmla="*/ 6 h 23"/>
                  <a:gd name="T6" fmla="*/ 15 w 27"/>
                  <a:gd name="T7" fmla="*/ 1 h 23"/>
                  <a:gd name="T8" fmla="*/ 8 w 27"/>
                  <a:gd name="T9" fmla="*/ 1 h 23"/>
                  <a:gd name="T10" fmla="*/ 0 w 27"/>
                  <a:gd name="T11" fmla="*/ 2 h 23"/>
                  <a:gd name="T12" fmla="*/ 2 w 27"/>
                  <a:gd name="T13" fmla="*/ 9 h 23"/>
                  <a:gd name="T14" fmla="*/ 8 w 27"/>
                  <a:gd name="T15" fmla="*/ 11 h 23"/>
                  <a:gd name="T16" fmla="*/ 9 w 27"/>
                  <a:gd name="T17" fmla="*/ 14 h 23"/>
                  <a:gd name="T18" fmla="*/ 10 w 27"/>
                  <a:gd name="T19" fmla="*/ 14 h 23"/>
                  <a:gd name="T20" fmla="*/ 12 w 27"/>
                  <a:gd name="T21" fmla="*/ 16 h 23"/>
                  <a:gd name="T22" fmla="*/ 16 w 27"/>
                  <a:gd name="T23" fmla="*/ 18 h 23"/>
                  <a:gd name="T24" fmla="*/ 20 w 27"/>
                  <a:gd name="T25" fmla="*/ 19 h 23"/>
                  <a:gd name="T26" fmla="*/ 22 w 27"/>
                  <a:gd name="T27" fmla="*/ 23 h 23"/>
                  <a:gd name="T28" fmla="*/ 27 w 27"/>
                  <a:gd name="T29" fmla="*/ 22 h 23"/>
                  <a:gd name="T30" fmla="*/ 25 w 27"/>
                  <a:gd name="T31" fmla="*/ 18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7" h="23">
                    <a:moveTo>
                      <a:pt x="25" y="18"/>
                    </a:moveTo>
                    <a:cubicBezTo>
                      <a:pt x="25" y="16"/>
                      <a:pt x="20" y="15"/>
                      <a:pt x="20" y="12"/>
                    </a:cubicBezTo>
                    <a:cubicBezTo>
                      <a:pt x="20" y="10"/>
                      <a:pt x="17" y="8"/>
                      <a:pt x="17" y="6"/>
                    </a:cubicBezTo>
                    <a:cubicBezTo>
                      <a:pt x="18" y="5"/>
                      <a:pt x="16" y="3"/>
                      <a:pt x="15" y="1"/>
                    </a:cubicBezTo>
                    <a:cubicBezTo>
                      <a:pt x="13" y="1"/>
                      <a:pt x="10" y="0"/>
                      <a:pt x="8" y="1"/>
                    </a:cubicBezTo>
                    <a:cubicBezTo>
                      <a:pt x="5" y="1"/>
                      <a:pt x="3" y="2"/>
                      <a:pt x="0" y="2"/>
                    </a:cubicBezTo>
                    <a:cubicBezTo>
                      <a:pt x="1" y="5"/>
                      <a:pt x="0" y="5"/>
                      <a:pt x="2" y="9"/>
                    </a:cubicBezTo>
                    <a:cubicBezTo>
                      <a:pt x="3" y="12"/>
                      <a:pt x="7" y="10"/>
                      <a:pt x="8" y="11"/>
                    </a:cubicBezTo>
                    <a:cubicBezTo>
                      <a:pt x="8" y="12"/>
                      <a:pt x="9" y="13"/>
                      <a:pt x="9" y="14"/>
                    </a:cubicBezTo>
                    <a:cubicBezTo>
                      <a:pt x="9" y="14"/>
                      <a:pt x="10" y="14"/>
                      <a:pt x="10" y="14"/>
                    </a:cubicBezTo>
                    <a:cubicBezTo>
                      <a:pt x="11" y="14"/>
                      <a:pt x="12" y="15"/>
                      <a:pt x="12" y="16"/>
                    </a:cubicBezTo>
                    <a:cubicBezTo>
                      <a:pt x="14" y="16"/>
                      <a:pt x="15" y="17"/>
                      <a:pt x="16" y="18"/>
                    </a:cubicBezTo>
                    <a:cubicBezTo>
                      <a:pt x="17" y="18"/>
                      <a:pt x="18" y="17"/>
                      <a:pt x="20" y="19"/>
                    </a:cubicBezTo>
                    <a:cubicBezTo>
                      <a:pt x="22" y="21"/>
                      <a:pt x="22" y="22"/>
                      <a:pt x="22" y="23"/>
                    </a:cubicBezTo>
                    <a:cubicBezTo>
                      <a:pt x="23" y="23"/>
                      <a:pt x="25" y="23"/>
                      <a:pt x="27" y="22"/>
                    </a:cubicBezTo>
                    <a:cubicBezTo>
                      <a:pt x="26" y="21"/>
                      <a:pt x="25" y="19"/>
                      <a:pt x="25" y="18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3" name="Freeform 174">
                <a:extLst>
                  <a:ext uri="{FF2B5EF4-FFF2-40B4-BE49-F238E27FC236}">
                    <a16:creationId xmlns:a16="http://schemas.microsoft.com/office/drawing/2014/main" id="{19CBFC91-307F-4A75-AF4D-954E5F06675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45324" y="3256660"/>
                <a:ext cx="92850" cy="75284"/>
              </a:xfrm>
              <a:custGeom>
                <a:avLst/>
                <a:gdLst>
                  <a:gd name="T0" fmla="*/ 38 w 40"/>
                  <a:gd name="T1" fmla="*/ 11 h 33"/>
                  <a:gd name="T2" fmla="*/ 31 w 40"/>
                  <a:gd name="T3" fmla="*/ 2 h 33"/>
                  <a:gd name="T4" fmla="*/ 25 w 40"/>
                  <a:gd name="T5" fmla="*/ 5 h 33"/>
                  <a:gd name="T6" fmla="*/ 22 w 40"/>
                  <a:gd name="T7" fmla="*/ 5 h 33"/>
                  <a:gd name="T8" fmla="*/ 16 w 40"/>
                  <a:gd name="T9" fmla="*/ 1 h 33"/>
                  <a:gd name="T10" fmla="*/ 13 w 40"/>
                  <a:gd name="T11" fmla="*/ 0 h 33"/>
                  <a:gd name="T12" fmla="*/ 12 w 40"/>
                  <a:gd name="T13" fmla="*/ 3 h 33"/>
                  <a:gd name="T14" fmla="*/ 14 w 40"/>
                  <a:gd name="T15" fmla="*/ 7 h 33"/>
                  <a:gd name="T16" fmla="*/ 8 w 40"/>
                  <a:gd name="T17" fmla="*/ 6 h 33"/>
                  <a:gd name="T18" fmla="*/ 3 w 40"/>
                  <a:gd name="T19" fmla="*/ 4 h 33"/>
                  <a:gd name="T20" fmla="*/ 5 w 40"/>
                  <a:gd name="T21" fmla="*/ 11 h 33"/>
                  <a:gd name="T22" fmla="*/ 8 w 40"/>
                  <a:gd name="T23" fmla="*/ 17 h 33"/>
                  <a:gd name="T24" fmla="*/ 13 w 40"/>
                  <a:gd name="T25" fmla="*/ 23 h 33"/>
                  <a:gd name="T26" fmla="*/ 15 w 40"/>
                  <a:gd name="T27" fmla="*/ 27 h 33"/>
                  <a:gd name="T28" fmla="*/ 24 w 40"/>
                  <a:gd name="T29" fmla="*/ 21 h 33"/>
                  <a:gd name="T30" fmla="*/ 26 w 40"/>
                  <a:gd name="T31" fmla="*/ 29 h 33"/>
                  <a:gd name="T32" fmla="*/ 32 w 40"/>
                  <a:gd name="T33" fmla="*/ 33 h 33"/>
                  <a:gd name="T34" fmla="*/ 33 w 40"/>
                  <a:gd name="T35" fmla="*/ 28 h 33"/>
                  <a:gd name="T36" fmla="*/ 38 w 40"/>
                  <a:gd name="T37" fmla="*/ 11 h 33"/>
                  <a:gd name="T38" fmla="*/ 4 w 40"/>
                  <a:gd name="T39" fmla="*/ 23 h 33"/>
                  <a:gd name="T40" fmla="*/ 0 w 40"/>
                  <a:gd name="T41" fmla="*/ 21 h 33"/>
                  <a:gd name="T42" fmla="*/ 3 w 40"/>
                  <a:gd name="T43" fmla="*/ 25 h 33"/>
                  <a:gd name="T44" fmla="*/ 8 w 40"/>
                  <a:gd name="T45" fmla="*/ 28 h 33"/>
                  <a:gd name="T46" fmla="*/ 10 w 40"/>
                  <a:gd name="T47" fmla="*/ 28 h 33"/>
                  <a:gd name="T48" fmla="*/ 8 w 40"/>
                  <a:gd name="T49" fmla="*/ 24 h 33"/>
                  <a:gd name="T50" fmla="*/ 4 w 40"/>
                  <a:gd name="T51" fmla="*/ 2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40" h="33">
                    <a:moveTo>
                      <a:pt x="38" y="11"/>
                    </a:moveTo>
                    <a:cubicBezTo>
                      <a:pt x="37" y="9"/>
                      <a:pt x="34" y="6"/>
                      <a:pt x="31" y="2"/>
                    </a:cubicBezTo>
                    <a:cubicBezTo>
                      <a:pt x="30" y="5"/>
                      <a:pt x="26" y="4"/>
                      <a:pt x="25" y="5"/>
                    </a:cubicBezTo>
                    <a:cubicBezTo>
                      <a:pt x="25" y="7"/>
                      <a:pt x="23" y="5"/>
                      <a:pt x="22" y="5"/>
                    </a:cubicBezTo>
                    <a:cubicBezTo>
                      <a:pt x="21" y="6"/>
                      <a:pt x="18" y="2"/>
                      <a:pt x="16" y="1"/>
                    </a:cubicBezTo>
                    <a:cubicBezTo>
                      <a:pt x="15" y="1"/>
                      <a:pt x="14" y="1"/>
                      <a:pt x="13" y="0"/>
                    </a:cubicBezTo>
                    <a:cubicBezTo>
                      <a:pt x="12" y="1"/>
                      <a:pt x="11" y="2"/>
                      <a:pt x="12" y="3"/>
                    </a:cubicBezTo>
                    <a:cubicBezTo>
                      <a:pt x="12" y="4"/>
                      <a:pt x="16" y="5"/>
                      <a:pt x="14" y="7"/>
                    </a:cubicBezTo>
                    <a:cubicBezTo>
                      <a:pt x="13" y="8"/>
                      <a:pt x="9" y="7"/>
                      <a:pt x="8" y="6"/>
                    </a:cubicBezTo>
                    <a:cubicBezTo>
                      <a:pt x="7" y="5"/>
                      <a:pt x="3" y="3"/>
                      <a:pt x="3" y="4"/>
                    </a:cubicBezTo>
                    <a:cubicBezTo>
                      <a:pt x="2" y="6"/>
                      <a:pt x="6" y="9"/>
                      <a:pt x="5" y="11"/>
                    </a:cubicBezTo>
                    <a:cubicBezTo>
                      <a:pt x="5" y="13"/>
                      <a:pt x="8" y="15"/>
                      <a:pt x="8" y="17"/>
                    </a:cubicBezTo>
                    <a:cubicBezTo>
                      <a:pt x="8" y="20"/>
                      <a:pt x="13" y="21"/>
                      <a:pt x="13" y="23"/>
                    </a:cubicBezTo>
                    <a:cubicBezTo>
                      <a:pt x="13" y="24"/>
                      <a:pt x="14" y="26"/>
                      <a:pt x="15" y="27"/>
                    </a:cubicBezTo>
                    <a:cubicBezTo>
                      <a:pt x="19" y="26"/>
                      <a:pt x="22" y="23"/>
                      <a:pt x="24" y="21"/>
                    </a:cubicBezTo>
                    <a:cubicBezTo>
                      <a:pt x="28" y="19"/>
                      <a:pt x="27" y="27"/>
                      <a:pt x="26" y="29"/>
                    </a:cubicBezTo>
                    <a:cubicBezTo>
                      <a:pt x="25" y="30"/>
                      <a:pt x="29" y="32"/>
                      <a:pt x="32" y="33"/>
                    </a:cubicBezTo>
                    <a:cubicBezTo>
                      <a:pt x="32" y="31"/>
                      <a:pt x="32" y="29"/>
                      <a:pt x="33" y="28"/>
                    </a:cubicBezTo>
                    <a:cubicBezTo>
                      <a:pt x="37" y="23"/>
                      <a:pt x="40" y="15"/>
                      <a:pt x="38" y="11"/>
                    </a:cubicBezTo>
                    <a:close/>
                    <a:moveTo>
                      <a:pt x="4" y="23"/>
                    </a:moveTo>
                    <a:cubicBezTo>
                      <a:pt x="3" y="22"/>
                      <a:pt x="2" y="21"/>
                      <a:pt x="0" y="21"/>
                    </a:cubicBezTo>
                    <a:cubicBezTo>
                      <a:pt x="1" y="22"/>
                      <a:pt x="1" y="24"/>
                      <a:pt x="3" y="25"/>
                    </a:cubicBezTo>
                    <a:cubicBezTo>
                      <a:pt x="6" y="27"/>
                      <a:pt x="1" y="27"/>
                      <a:pt x="8" y="28"/>
                    </a:cubicBezTo>
                    <a:cubicBezTo>
                      <a:pt x="9" y="28"/>
                      <a:pt x="9" y="28"/>
                      <a:pt x="10" y="28"/>
                    </a:cubicBezTo>
                    <a:cubicBezTo>
                      <a:pt x="10" y="27"/>
                      <a:pt x="10" y="26"/>
                      <a:pt x="8" y="24"/>
                    </a:cubicBezTo>
                    <a:cubicBezTo>
                      <a:pt x="6" y="22"/>
                      <a:pt x="5" y="23"/>
                      <a:pt x="4" y="2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4" name="Freeform 175">
                <a:extLst>
                  <a:ext uri="{FF2B5EF4-FFF2-40B4-BE49-F238E27FC236}">
                    <a16:creationId xmlns:a16="http://schemas.microsoft.com/office/drawing/2014/main" id="{7DB09ADC-EE60-4BFA-8965-A13CE0877C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41439" y="3334453"/>
                <a:ext cx="264747" cy="189464"/>
              </a:xfrm>
              <a:custGeom>
                <a:avLst/>
                <a:gdLst>
                  <a:gd name="T0" fmla="*/ 111 w 115"/>
                  <a:gd name="T1" fmla="*/ 11 h 82"/>
                  <a:gd name="T2" fmla="*/ 108 w 115"/>
                  <a:gd name="T3" fmla="*/ 9 h 82"/>
                  <a:gd name="T4" fmla="*/ 99 w 115"/>
                  <a:gd name="T5" fmla="*/ 15 h 82"/>
                  <a:gd name="T6" fmla="*/ 95 w 115"/>
                  <a:gd name="T7" fmla="*/ 16 h 82"/>
                  <a:gd name="T8" fmla="*/ 91 w 115"/>
                  <a:gd name="T9" fmla="*/ 16 h 82"/>
                  <a:gd name="T10" fmla="*/ 91 w 115"/>
                  <a:gd name="T11" fmla="*/ 7 h 82"/>
                  <a:gd name="T12" fmla="*/ 88 w 115"/>
                  <a:gd name="T13" fmla="*/ 0 h 82"/>
                  <a:gd name="T14" fmla="*/ 81 w 115"/>
                  <a:gd name="T15" fmla="*/ 7 h 82"/>
                  <a:gd name="T16" fmla="*/ 73 w 115"/>
                  <a:gd name="T17" fmla="*/ 11 h 82"/>
                  <a:gd name="T18" fmla="*/ 65 w 115"/>
                  <a:gd name="T19" fmla="*/ 13 h 82"/>
                  <a:gd name="T20" fmla="*/ 58 w 115"/>
                  <a:gd name="T21" fmla="*/ 11 h 82"/>
                  <a:gd name="T22" fmla="*/ 51 w 115"/>
                  <a:gd name="T23" fmla="*/ 9 h 82"/>
                  <a:gd name="T24" fmla="*/ 44 w 115"/>
                  <a:gd name="T25" fmla="*/ 8 h 82"/>
                  <a:gd name="T26" fmla="*/ 38 w 115"/>
                  <a:gd name="T27" fmla="*/ 11 h 82"/>
                  <a:gd name="T28" fmla="*/ 33 w 115"/>
                  <a:gd name="T29" fmla="*/ 19 h 82"/>
                  <a:gd name="T30" fmla="*/ 22 w 115"/>
                  <a:gd name="T31" fmla="*/ 26 h 82"/>
                  <a:gd name="T32" fmla="*/ 15 w 115"/>
                  <a:gd name="T33" fmla="*/ 29 h 82"/>
                  <a:gd name="T34" fmla="*/ 9 w 115"/>
                  <a:gd name="T35" fmla="*/ 27 h 82"/>
                  <a:gd name="T36" fmla="*/ 6 w 115"/>
                  <a:gd name="T37" fmla="*/ 31 h 82"/>
                  <a:gd name="T38" fmla="*/ 2 w 115"/>
                  <a:gd name="T39" fmla="*/ 37 h 82"/>
                  <a:gd name="T40" fmla="*/ 1 w 115"/>
                  <a:gd name="T41" fmla="*/ 44 h 82"/>
                  <a:gd name="T42" fmla="*/ 1 w 115"/>
                  <a:gd name="T43" fmla="*/ 53 h 82"/>
                  <a:gd name="T44" fmla="*/ 3 w 115"/>
                  <a:gd name="T45" fmla="*/ 62 h 82"/>
                  <a:gd name="T46" fmla="*/ 11 w 115"/>
                  <a:gd name="T47" fmla="*/ 66 h 82"/>
                  <a:gd name="T48" fmla="*/ 2 w 115"/>
                  <a:gd name="T49" fmla="*/ 78 h 82"/>
                  <a:gd name="T50" fmla="*/ 4 w 115"/>
                  <a:gd name="T51" fmla="*/ 80 h 82"/>
                  <a:gd name="T52" fmla="*/ 16 w 115"/>
                  <a:gd name="T53" fmla="*/ 82 h 82"/>
                  <a:gd name="T54" fmla="*/ 49 w 115"/>
                  <a:gd name="T55" fmla="*/ 78 h 82"/>
                  <a:gd name="T56" fmla="*/ 48 w 115"/>
                  <a:gd name="T57" fmla="*/ 69 h 82"/>
                  <a:gd name="T58" fmla="*/ 54 w 115"/>
                  <a:gd name="T59" fmla="*/ 66 h 82"/>
                  <a:gd name="T60" fmla="*/ 60 w 115"/>
                  <a:gd name="T61" fmla="*/ 64 h 82"/>
                  <a:gd name="T62" fmla="*/ 68 w 115"/>
                  <a:gd name="T63" fmla="*/ 61 h 82"/>
                  <a:gd name="T64" fmla="*/ 72 w 115"/>
                  <a:gd name="T65" fmla="*/ 58 h 82"/>
                  <a:gd name="T66" fmla="*/ 75 w 115"/>
                  <a:gd name="T67" fmla="*/ 49 h 82"/>
                  <a:gd name="T68" fmla="*/ 80 w 115"/>
                  <a:gd name="T69" fmla="*/ 46 h 82"/>
                  <a:gd name="T70" fmla="*/ 78 w 115"/>
                  <a:gd name="T71" fmla="*/ 41 h 82"/>
                  <a:gd name="T72" fmla="*/ 87 w 115"/>
                  <a:gd name="T73" fmla="*/ 41 h 82"/>
                  <a:gd name="T74" fmla="*/ 87 w 115"/>
                  <a:gd name="T75" fmla="*/ 34 h 82"/>
                  <a:gd name="T76" fmla="*/ 91 w 115"/>
                  <a:gd name="T77" fmla="*/ 29 h 82"/>
                  <a:gd name="T78" fmla="*/ 90 w 115"/>
                  <a:gd name="T79" fmla="*/ 24 h 82"/>
                  <a:gd name="T80" fmla="*/ 91 w 115"/>
                  <a:gd name="T81" fmla="*/ 20 h 82"/>
                  <a:gd name="T82" fmla="*/ 92 w 115"/>
                  <a:gd name="T83" fmla="*/ 19 h 82"/>
                  <a:gd name="T84" fmla="*/ 96 w 115"/>
                  <a:gd name="T85" fmla="*/ 18 h 82"/>
                  <a:gd name="T86" fmla="*/ 107 w 115"/>
                  <a:gd name="T87" fmla="*/ 15 h 82"/>
                  <a:gd name="T88" fmla="*/ 115 w 115"/>
                  <a:gd name="T89" fmla="*/ 12 h 82"/>
                  <a:gd name="T90" fmla="*/ 111 w 115"/>
                  <a:gd name="T91" fmla="*/ 11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15" h="82">
                    <a:moveTo>
                      <a:pt x="111" y="11"/>
                    </a:moveTo>
                    <a:cubicBezTo>
                      <a:pt x="110" y="12"/>
                      <a:pt x="110" y="10"/>
                      <a:pt x="108" y="9"/>
                    </a:cubicBezTo>
                    <a:cubicBezTo>
                      <a:pt x="107" y="8"/>
                      <a:pt x="103" y="12"/>
                      <a:pt x="99" y="15"/>
                    </a:cubicBezTo>
                    <a:cubicBezTo>
                      <a:pt x="98" y="15"/>
                      <a:pt x="96" y="16"/>
                      <a:pt x="95" y="16"/>
                    </a:cubicBezTo>
                    <a:cubicBezTo>
                      <a:pt x="93" y="17"/>
                      <a:pt x="92" y="17"/>
                      <a:pt x="91" y="16"/>
                    </a:cubicBezTo>
                    <a:cubicBezTo>
                      <a:pt x="89" y="14"/>
                      <a:pt x="94" y="8"/>
                      <a:pt x="91" y="7"/>
                    </a:cubicBezTo>
                    <a:cubicBezTo>
                      <a:pt x="88" y="5"/>
                      <a:pt x="91" y="0"/>
                      <a:pt x="88" y="0"/>
                    </a:cubicBezTo>
                    <a:cubicBezTo>
                      <a:pt x="85" y="0"/>
                      <a:pt x="81" y="5"/>
                      <a:pt x="81" y="7"/>
                    </a:cubicBezTo>
                    <a:cubicBezTo>
                      <a:pt x="81" y="9"/>
                      <a:pt x="73" y="9"/>
                      <a:pt x="73" y="11"/>
                    </a:cubicBezTo>
                    <a:cubicBezTo>
                      <a:pt x="73" y="13"/>
                      <a:pt x="66" y="11"/>
                      <a:pt x="65" y="13"/>
                    </a:cubicBezTo>
                    <a:cubicBezTo>
                      <a:pt x="63" y="16"/>
                      <a:pt x="60" y="11"/>
                      <a:pt x="58" y="11"/>
                    </a:cubicBezTo>
                    <a:cubicBezTo>
                      <a:pt x="55" y="11"/>
                      <a:pt x="54" y="8"/>
                      <a:pt x="51" y="9"/>
                    </a:cubicBezTo>
                    <a:cubicBezTo>
                      <a:pt x="48" y="10"/>
                      <a:pt x="47" y="8"/>
                      <a:pt x="44" y="8"/>
                    </a:cubicBezTo>
                    <a:cubicBezTo>
                      <a:pt x="42" y="7"/>
                      <a:pt x="41" y="12"/>
                      <a:pt x="38" y="11"/>
                    </a:cubicBezTo>
                    <a:cubicBezTo>
                      <a:pt x="35" y="11"/>
                      <a:pt x="34" y="16"/>
                      <a:pt x="33" y="19"/>
                    </a:cubicBezTo>
                    <a:cubicBezTo>
                      <a:pt x="32" y="23"/>
                      <a:pt x="21" y="23"/>
                      <a:pt x="22" y="26"/>
                    </a:cubicBezTo>
                    <a:cubicBezTo>
                      <a:pt x="22" y="30"/>
                      <a:pt x="15" y="31"/>
                      <a:pt x="15" y="29"/>
                    </a:cubicBezTo>
                    <a:cubicBezTo>
                      <a:pt x="14" y="26"/>
                      <a:pt x="10" y="28"/>
                      <a:pt x="9" y="27"/>
                    </a:cubicBezTo>
                    <a:cubicBezTo>
                      <a:pt x="8" y="26"/>
                      <a:pt x="5" y="28"/>
                      <a:pt x="6" y="31"/>
                    </a:cubicBezTo>
                    <a:cubicBezTo>
                      <a:pt x="6" y="34"/>
                      <a:pt x="3" y="36"/>
                      <a:pt x="2" y="37"/>
                    </a:cubicBezTo>
                    <a:cubicBezTo>
                      <a:pt x="2" y="38"/>
                      <a:pt x="0" y="42"/>
                      <a:pt x="1" y="44"/>
                    </a:cubicBezTo>
                    <a:cubicBezTo>
                      <a:pt x="3" y="46"/>
                      <a:pt x="0" y="49"/>
                      <a:pt x="1" y="53"/>
                    </a:cubicBezTo>
                    <a:cubicBezTo>
                      <a:pt x="3" y="56"/>
                      <a:pt x="2" y="61"/>
                      <a:pt x="3" y="62"/>
                    </a:cubicBezTo>
                    <a:cubicBezTo>
                      <a:pt x="3" y="63"/>
                      <a:pt x="9" y="63"/>
                      <a:pt x="11" y="66"/>
                    </a:cubicBezTo>
                    <a:cubicBezTo>
                      <a:pt x="12" y="70"/>
                      <a:pt x="3" y="76"/>
                      <a:pt x="2" y="78"/>
                    </a:cubicBezTo>
                    <a:cubicBezTo>
                      <a:pt x="2" y="78"/>
                      <a:pt x="3" y="79"/>
                      <a:pt x="4" y="80"/>
                    </a:cubicBezTo>
                    <a:cubicBezTo>
                      <a:pt x="8" y="80"/>
                      <a:pt x="12" y="81"/>
                      <a:pt x="16" y="82"/>
                    </a:cubicBezTo>
                    <a:cubicBezTo>
                      <a:pt x="22" y="82"/>
                      <a:pt x="48" y="78"/>
                      <a:pt x="49" y="78"/>
                    </a:cubicBezTo>
                    <a:cubicBezTo>
                      <a:pt x="49" y="77"/>
                      <a:pt x="48" y="71"/>
                      <a:pt x="48" y="69"/>
                    </a:cubicBezTo>
                    <a:cubicBezTo>
                      <a:pt x="48" y="68"/>
                      <a:pt x="52" y="65"/>
                      <a:pt x="54" y="66"/>
                    </a:cubicBezTo>
                    <a:cubicBezTo>
                      <a:pt x="57" y="66"/>
                      <a:pt x="60" y="66"/>
                      <a:pt x="60" y="64"/>
                    </a:cubicBezTo>
                    <a:cubicBezTo>
                      <a:pt x="60" y="62"/>
                      <a:pt x="68" y="59"/>
                      <a:pt x="68" y="61"/>
                    </a:cubicBezTo>
                    <a:cubicBezTo>
                      <a:pt x="69" y="63"/>
                      <a:pt x="72" y="63"/>
                      <a:pt x="72" y="58"/>
                    </a:cubicBezTo>
                    <a:cubicBezTo>
                      <a:pt x="73" y="53"/>
                      <a:pt x="72" y="49"/>
                      <a:pt x="75" y="49"/>
                    </a:cubicBezTo>
                    <a:cubicBezTo>
                      <a:pt x="78" y="49"/>
                      <a:pt x="81" y="47"/>
                      <a:pt x="80" y="46"/>
                    </a:cubicBezTo>
                    <a:cubicBezTo>
                      <a:pt x="80" y="44"/>
                      <a:pt x="77" y="42"/>
                      <a:pt x="78" y="41"/>
                    </a:cubicBezTo>
                    <a:cubicBezTo>
                      <a:pt x="79" y="40"/>
                      <a:pt x="86" y="43"/>
                      <a:pt x="87" y="41"/>
                    </a:cubicBezTo>
                    <a:cubicBezTo>
                      <a:pt x="88" y="39"/>
                      <a:pt x="86" y="36"/>
                      <a:pt x="87" y="34"/>
                    </a:cubicBezTo>
                    <a:cubicBezTo>
                      <a:pt x="89" y="33"/>
                      <a:pt x="92" y="31"/>
                      <a:pt x="91" y="29"/>
                    </a:cubicBezTo>
                    <a:cubicBezTo>
                      <a:pt x="91" y="27"/>
                      <a:pt x="92" y="26"/>
                      <a:pt x="90" y="24"/>
                    </a:cubicBezTo>
                    <a:cubicBezTo>
                      <a:pt x="88" y="22"/>
                      <a:pt x="89" y="20"/>
                      <a:pt x="91" y="20"/>
                    </a:cubicBezTo>
                    <a:cubicBezTo>
                      <a:pt x="91" y="20"/>
                      <a:pt x="92" y="20"/>
                      <a:pt x="92" y="19"/>
                    </a:cubicBezTo>
                    <a:cubicBezTo>
                      <a:pt x="94" y="19"/>
                      <a:pt x="95" y="19"/>
                      <a:pt x="96" y="18"/>
                    </a:cubicBezTo>
                    <a:cubicBezTo>
                      <a:pt x="99" y="16"/>
                      <a:pt x="105" y="14"/>
                      <a:pt x="107" y="15"/>
                    </a:cubicBezTo>
                    <a:cubicBezTo>
                      <a:pt x="109" y="15"/>
                      <a:pt x="113" y="15"/>
                      <a:pt x="115" y="12"/>
                    </a:cubicBezTo>
                    <a:cubicBezTo>
                      <a:pt x="114" y="12"/>
                      <a:pt x="112" y="11"/>
                      <a:pt x="111" y="1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5" name="Freeform 176">
                <a:extLst>
                  <a:ext uri="{FF2B5EF4-FFF2-40B4-BE49-F238E27FC236}">
                    <a16:creationId xmlns:a16="http://schemas.microsoft.com/office/drawing/2014/main" id="{5F612F07-26EA-45FC-A6A9-CACAD599B1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50223" y="3362057"/>
                <a:ext cx="306153" cy="277294"/>
              </a:xfrm>
              <a:custGeom>
                <a:avLst/>
                <a:gdLst>
                  <a:gd name="T0" fmla="*/ 123 w 133"/>
                  <a:gd name="T1" fmla="*/ 7 h 120"/>
                  <a:gd name="T2" fmla="*/ 113 w 133"/>
                  <a:gd name="T3" fmla="*/ 1 h 120"/>
                  <a:gd name="T4" fmla="*/ 103 w 133"/>
                  <a:gd name="T5" fmla="*/ 3 h 120"/>
                  <a:gd name="T6" fmla="*/ 88 w 133"/>
                  <a:gd name="T7" fmla="*/ 7 h 120"/>
                  <a:gd name="T8" fmla="*/ 86 w 133"/>
                  <a:gd name="T9" fmla="*/ 12 h 120"/>
                  <a:gd name="T10" fmla="*/ 83 w 133"/>
                  <a:gd name="T11" fmla="*/ 22 h 120"/>
                  <a:gd name="T12" fmla="*/ 74 w 133"/>
                  <a:gd name="T13" fmla="*/ 29 h 120"/>
                  <a:gd name="T14" fmla="*/ 71 w 133"/>
                  <a:gd name="T15" fmla="*/ 37 h 120"/>
                  <a:gd name="T16" fmla="*/ 64 w 133"/>
                  <a:gd name="T17" fmla="*/ 49 h 120"/>
                  <a:gd name="T18" fmla="*/ 50 w 133"/>
                  <a:gd name="T19" fmla="*/ 54 h 120"/>
                  <a:gd name="T20" fmla="*/ 45 w 133"/>
                  <a:gd name="T21" fmla="*/ 66 h 120"/>
                  <a:gd name="T22" fmla="*/ 0 w 133"/>
                  <a:gd name="T23" fmla="*/ 68 h 120"/>
                  <a:gd name="T24" fmla="*/ 12 w 133"/>
                  <a:gd name="T25" fmla="*/ 79 h 120"/>
                  <a:gd name="T26" fmla="*/ 18 w 133"/>
                  <a:gd name="T27" fmla="*/ 94 h 120"/>
                  <a:gd name="T28" fmla="*/ 5 w 133"/>
                  <a:gd name="T29" fmla="*/ 105 h 120"/>
                  <a:gd name="T30" fmla="*/ 21 w 133"/>
                  <a:gd name="T31" fmla="*/ 106 h 120"/>
                  <a:gd name="T32" fmla="*/ 40 w 133"/>
                  <a:gd name="T33" fmla="*/ 105 h 120"/>
                  <a:gd name="T34" fmla="*/ 50 w 133"/>
                  <a:gd name="T35" fmla="*/ 111 h 120"/>
                  <a:gd name="T36" fmla="*/ 59 w 133"/>
                  <a:gd name="T37" fmla="*/ 120 h 120"/>
                  <a:gd name="T38" fmla="*/ 60 w 133"/>
                  <a:gd name="T39" fmla="*/ 120 h 120"/>
                  <a:gd name="T40" fmla="*/ 75 w 133"/>
                  <a:gd name="T41" fmla="*/ 114 h 120"/>
                  <a:gd name="T42" fmla="*/ 78 w 133"/>
                  <a:gd name="T43" fmla="*/ 106 h 120"/>
                  <a:gd name="T44" fmla="*/ 70 w 133"/>
                  <a:gd name="T45" fmla="*/ 92 h 120"/>
                  <a:gd name="T46" fmla="*/ 82 w 133"/>
                  <a:gd name="T47" fmla="*/ 85 h 120"/>
                  <a:gd name="T48" fmla="*/ 92 w 133"/>
                  <a:gd name="T49" fmla="*/ 78 h 120"/>
                  <a:gd name="T50" fmla="*/ 102 w 133"/>
                  <a:gd name="T51" fmla="*/ 66 h 120"/>
                  <a:gd name="T52" fmla="*/ 110 w 133"/>
                  <a:gd name="T53" fmla="*/ 57 h 120"/>
                  <a:gd name="T54" fmla="*/ 116 w 133"/>
                  <a:gd name="T55" fmla="*/ 45 h 120"/>
                  <a:gd name="T56" fmla="*/ 107 w 133"/>
                  <a:gd name="T57" fmla="*/ 34 h 120"/>
                  <a:gd name="T58" fmla="*/ 110 w 133"/>
                  <a:gd name="T59" fmla="*/ 22 h 120"/>
                  <a:gd name="T60" fmla="*/ 130 w 133"/>
                  <a:gd name="T61" fmla="*/ 21 h 120"/>
                  <a:gd name="T62" fmla="*/ 127 w 133"/>
                  <a:gd name="T63" fmla="*/ 13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33" h="120">
                    <a:moveTo>
                      <a:pt x="127" y="13"/>
                    </a:moveTo>
                    <a:cubicBezTo>
                      <a:pt x="123" y="11"/>
                      <a:pt x="123" y="8"/>
                      <a:pt x="123" y="7"/>
                    </a:cubicBezTo>
                    <a:cubicBezTo>
                      <a:pt x="123" y="6"/>
                      <a:pt x="118" y="3"/>
                      <a:pt x="115" y="1"/>
                    </a:cubicBezTo>
                    <a:cubicBezTo>
                      <a:pt x="115" y="1"/>
                      <a:pt x="114" y="1"/>
                      <a:pt x="113" y="1"/>
                    </a:cubicBezTo>
                    <a:cubicBezTo>
                      <a:pt x="113" y="1"/>
                      <a:pt x="112" y="1"/>
                      <a:pt x="111" y="0"/>
                    </a:cubicBezTo>
                    <a:cubicBezTo>
                      <a:pt x="109" y="3"/>
                      <a:pt x="105" y="3"/>
                      <a:pt x="103" y="3"/>
                    </a:cubicBezTo>
                    <a:cubicBezTo>
                      <a:pt x="101" y="2"/>
                      <a:pt x="95" y="4"/>
                      <a:pt x="92" y="6"/>
                    </a:cubicBezTo>
                    <a:cubicBezTo>
                      <a:pt x="91" y="7"/>
                      <a:pt x="90" y="7"/>
                      <a:pt x="88" y="7"/>
                    </a:cubicBezTo>
                    <a:cubicBezTo>
                      <a:pt x="88" y="8"/>
                      <a:pt x="87" y="8"/>
                      <a:pt x="87" y="8"/>
                    </a:cubicBezTo>
                    <a:cubicBezTo>
                      <a:pt x="85" y="8"/>
                      <a:pt x="84" y="10"/>
                      <a:pt x="86" y="12"/>
                    </a:cubicBezTo>
                    <a:cubicBezTo>
                      <a:pt x="88" y="14"/>
                      <a:pt x="87" y="15"/>
                      <a:pt x="87" y="17"/>
                    </a:cubicBezTo>
                    <a:cubicBezTo>
                      <a:pt x="88" y="19"/>
                      <a:pt x="85" y="21"/>
                      <a:pt x="83" y="22"/>
                    </a:cubicBezTo>
                    <a:cubicBezTo>
                      <a:pt x="82" y="24"/>
                      <a:pt x="84" y="27"/>
                      <a:pt x="83" y="29"/>
                    </a:cubicBezTo>
                    <a:cubicBezTo>
                      <a:pt x="82" y="31"/>
                      <a:pt x="75" y="28"/>
                      <a:pt x="74" y="29"/>
                    </a:cubicBezTo>
                    <a:cubicBezTo>
                      <a:pt x="73" y="30"/>
                      <a:pt x="76" y="32"/>
                      <a:pt x="76" y="34"/>
                    </a:cubicBezTo>
                    <a:cubicBezTo>
                      <a:pt x="77" y="35"/>
                      <a:pt x="74" y="37"/>
                      <a:pt x="71" y="37"/>
                    </a:cubicBezTo>
                    <a:cubicBezTo>
                      <a:pt x="68" y="37"/>
                      <a:pt x="69" y="41"/>
                      <a:pt x="68" y="46"/>
                    </a:cubicBezTo>
                    <a:cubicBezTo>
                      <a:pt x="68" y="51"/>
                      <a:pt x="65" y="51"/>
                      <a:pt x="64" y="49"/>
                    </a:cubicBezTo>
                    <a:cubicBezTo>
                      <a:pt x="64" y="47"/>
                      <a:pt x="56" y="50"/>
                      <a:pt x="56" y="52"/>
                    </a:cubicBezTo>
                    <a:cubicBezTo>
                      <a:pt x="56" y="54"/>
                      <a:pt x="53" y="54"/>
                      <a:pt x="50" y="54"/>
                    </a:cubicBezTo>
                    <a:cubicBezTo>
                      <a:pt x="48" y="53"/>
                      <a:pt x="44" y="56"/>
                      <a:pt x="44" y="57"/>
                    </a:cubicBezTo>
                    <a:cubicBezTo>
                      <a:pt x="44" y="59"/>
                      <a:pt x="45" y="65"/>
                      <a:pt x="45" y="66"/>
                    </a:cubicBezTo>
                    <a:cubicBezTo>
                      <a:pt x="44" y="66"/>
                      <a:pt x="18" y="70"/>
                      <a:pt x="12" y="70"/>
                    </a:cubicBezTo>
                    <a:cubicBezTo>
                      <a:pt x="8" y="69"/>
                      <a:pt x="4" y="68"/>
                      <a:pt x="0" y="68"/>
                    </a:cubicBezTo>
                    <a:cubicBezTo>
                      <a:pt x="1" y="70"/>
                      <a:pt x="3" y="71"/>
                      <a:pt x="4" y="73"/>
                    </a:cubicBezTo>
                    <a:cubicBezTo>
                      <a:pt x="5" y="75"/>
                      <a:pt x="8" y="78"/>
                      <a:pt x="12" y="79"/>
                    </a:cubicBezTo>
                    <a:cubicBezTo>
                      <a:pt x="16" y="81"/>
                      <a:pt x="14" y="88"/>
                      <a:pt x="16" y="88"/>
                    </a:cubicBezTo>
                    <a:cubicBezTo>
                      <a:pt x="18" y="89"/>
                      <a:pt x="20" y="94"/>
                      <a:pt x="18" y="94"/>
                    </a:cubicBezTo>
                    <a:cubicBezTo>
                      <a:pt x="15" y="95"/>
                      <a:pt x="13" y="95"/>
                      <a:pt x="10" y="97"/>
                    </a:cubicBezTo>
                    <a:cubicBezTo>
                      <a:pt x="8" y="98"/>
                      <a:pt x="5" y="101"/>
                      <a:pt x="5" y="105"/>
                    </a:cubicBezTo>
                    <a:cubicBezTo>
                      <a:pt x="5" y="105"/>
                      <a:pt x="6" y="106"/>
                      <a:pt x="6" y="107"/>
                    </a:cubicBezTo>
                    <a:cubicBezTo>
                      <a:pt x="12" y="107"/>
                      <a:pt x="20" y="107"/>
                      <a:pt x="21" y="106"/>
                    </a:cubicBezTo>
                    <a:cubicBezTo>
                      <a:pt x="22" y="104"/>
                      <a:pt x="25" y="104"/>
                      <a:pt x="27" y="105"/>
                    </a:cubicBezTo>
                    <a:cubicBezTo>
                      <a:pt x="29" y="106"/>
                      <a:pt x="37" y="107"/>
                      <a:pt x="40" y="105"/>
                    </a:cubicBezTo>
                    <a:cubicBezTo>
                      <a:pt x="44" y="103"/>
                      <a:pt x="46" y="105"/>
                      <a:pt x="46" y="107"/>
                    </a:cubicBezTo>
                    <a:cubicBezTo>
                      <a:pt x="46" y="109"/>
                      <a:pt x="48" y="109"/>
                      <a:pt x="50" y="111"/>
                    </a:cubicBezTo>
                    <a:cubicBezTo>
                      <a:pt x="52" y="113"/>
                      <a:pt x="50" y="115"/>
                      <a:pt x="52" y="117"/>
                    </a:cubicBezTo>
                    <a:cubicBezTo>
                      <a:pt x="53" y="118"/>
                      <a:pt x="55" y="118"/>
                      <a:pt x="59" y="120"/>
                    </a:cubicBezTo>
                    <a:cubicBezTo>
                      <a:pt x="59" y="120"/>
                      <a:pt x="59" y="120"/>
                      <a:pt x="60" y="120"/>
                    </a:cubicBezTo>
                    <a:cubicBezTo>
                      <a:pt x="60" y="120"/>
                      <a:pt x="60" y="120"/>
                      <a:pt x="60" y="120"/>
                    </a:cubicBezTo>
                    <a:cubicBezTo>
                      <a:pt x="62" y="118"/>
                      <a:pt x="63" y="114"/>
                      <a:pt x="68" y="115"/>
                    </a:cubicBezTo>
                    <a:cubicBezTo>
                      <a:pt x="73" y="116"/>
                      <a:pt x="72" y="114"/>
                      <a:pt x="75" y="114"/>
                    </a:cubicBezTo>
                    <a:cubicBezTo>
                      <a:pt x="78" y="115"/>
                      <a:pt x="80" y="115"/>
                      <a:pt x="81" y="113"/>
                    </a:cubicBezTo>
                    <a:cubicBezTo>
                      <a:pt x="83" y="111"/>
                      <a:pt x="80" y="107"/>
                      <a:pt x="78" y="106"/>
                    </a:cubicBezTo>
                    <a:cubicBezTo>
                      <a:pt x="77" y="104"/>
                      <a:pt x="75" y="100"/>
                      <a:pt x="75" y="97"/>
                    </a:cubicBezTo>
                    <a:cubicBezTo>
                      <a:pt x="75" y="94"/>
                      <a:pt x="70" y="94"/>
                      <a:pt x="70" y="92"/>
                    </a:cubicBezTo>
                    <a:cubicBezTo>
                      <a:pt x="70" y="89"/>
                      <a:pt x="75" y="85"/>
                      <a:pt x="76" y="84"/>
                    </a:cubicBezTo>
                    <a:cubicBezTo>
                      <a:pt x="77" y="83"/>
                      <a:pt x="81" y="86"/>
                      <a:pt x="82" y="85"/>
                    </a:cubicBezTo>
                    <a:cubicBezTo>
                      <a:pt x="83" y="83"/>
                      <a:pt x="86" y="84"/>
                      <a:pt x="87" y="84"/>
                    </a:cubicBezTo>
                    <a:cubicBezTo>
                      <a:pt x="89" y="85"/>
                      <a:pt x="91" y="81"/>
                      <a:pt x="92" y="78"/>
                    </a:cubicBezTo>
                    <a:cubicBezTo>
                      <a:pt x="92" y="75"/>
                      <a:pt x="97" y="75"/>
                      <a:pt x="98" y="74"/>
                    </a:cubicBezTo>
                    <a:cubicBezTo>
                      <a:pt x="99" y="73"/>
                      <a:pt x="101" y="67"/>
                      <a:pt x="102" y="66"/>
                    </a:cubicBezTo>
                    <a:cubicBezTo>
                      <a:pt x="102" y="64"/>
                      <a:pt x="106" y="65"/>
                      <a:pt x="106" y="62"/>
                    </a:cubicBezTo>
                    <a:cubicBezTo>
                      <a:pt x="106" y="58"/>
                      <a:pt x="108" y="58"/>
                      <a:pt x="110" y="57"/>
                    </a:cubicBezTo>
                    <a:cubicBezTo>
                      <a:pt x="112" y="57"/>
                      <a:pt x="111" y="54"/>
                      <a:pt x="112" y="51"/>
                    </a:cubicBezTo>
                    <a:cubicBezTo>
                      <a:pt x="112" y="49"/>
                      <a:pt x="113" y="46"/>
                      <a:pt x="116" y="45"/>
                    </a:cubicBezTo>
                    <a:cubicBezTo>
                      <a:pt x="118" y="45"/>
                      <a:pt x="115" y="41"/>
                      <a:pt x="112" y="42"/>
                    </a:cubicBezTo>
                    <a:cubicBezTo>
                      <a:pt x="109" y="42"/>
                      <a:pt x="107" y="34"/>
                      <a:pt x="107" y="34"/>
                    </a:cubicBezTo>
                    <a:cubicBezTo>
                      <a:pt x="107" y="34"/>
                      <a:pt x="108" y="27"/>
                      <a:pt x="106" y="26"/>
                    </a:cubicBezTo>
                    <a:cubicBezTo>
                      <a:pt x="104" y="26"/>
                      <a:pt x="107" y="22"/>
                      <a:pt x="110" y="22"/>
                    </a:cubicBezTo>
                    <a:cubicBezTo>
                      <a:pt x="114" y="22"/>
                      <a:pt x="120" y="26"/>
                      <a:pt x="122" y="24"/>
                    </a:cubicBezTo>
                    <a:cubicBezTo>
                      <a:pt x="124" y="23"/>
                      <a:pt x="129" y="22"/>
                      <a:pt x="130" y="21"/>
                    </a:cubicBezTo>
                    <a:cubicBezTo>
                      <a:pt x="131" y="21"/>
                      <a:pt x="132" y="18"/>
                      <a:pt x="133" y="16"/>
                    </a:cubicBezTo>
                    <a:cubicBezTo>
                      <a:pt x="132" y="15"/>
                      <a:pt x="129" y="14"/>
                      <a:pt x="127" y="1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5" name="Freeform 177">
                <a:extLst>
                  <a:ext uri="{FF2B5EF4-FFF2-40B4-BE49-F238E27FC236}">
                    <a16:creationId xmlns:a16="http://schemas.microsoft.com/office/drawing/2014/main" id="{B37C169E-05F7-4F09-BB91-FDF1FA4AB81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63784" y="3980637"/>
                <a:ext cx="851959" cy="311172"/>
              </a:xfrm>
              <a:custGeom>
                <a:avLst/>
                <a:gdLst>
                  <a:gd name="T0" fmla="*/ 27 w 370"/>
                  <a:gd name="T1" fmla="*/ 57 h 135"/>
                  <a:gd name="T2" fmla="*/ 105 w 370"/>
                  <a:gd name="T3" fmla="*/ 72 h 135"/>
                  <a:gd name="T4" fmla="*/ 16 w 370"/>
                  <a:gd name="T5" fmla="*/ 37 h 135"/>
                  <a:gd name="T6" fmla="*/ 199 w 370"/>
                  <a:gd name="T7" fmla="*/ 95 h 135"/>
                  <a:gd name="T8" fmla="*/ 207 w 370"/>
                  <a:gd name="T9" fmla="*/ 76 h 135"/>
                  <a:gd name="T10" fmla="*/ 219 w 370"/>
                  <a:gd name="T11" fmla="*/ 79 h 135"/>
                  <a:gd name="T12" fmla="*/ 227 w 370"/>
                  <a:gd name="T13" fmla="*/ 54 h 135"/>
                  <a:gd name="T14" fmla="*/ 227 w 370"/>
                  <a:gd name="T15" fmla="*/ 45 h 135"/>
                  <a:gd name="T16" fmla="*/ 212 w 370"/>
                  <a:gd name="T17" fmla="*/ 38 h 135"/>
                  <a:gd name="T18" fmla="*/ 190 w 370"/>
                  <a:gd name="T19" fmla="*/ 69 h 135"/>
                  <a:gd name="T20" fmla="*/ 88 w 370"/>
                  <a:gd name="T21" fmla="*/ 75 h 135"/>
                  <a:gd name="T22" fmla="*/ 85 w 370"/>
                  <a:gd name="T23" fmla="*/ 62 h 135"/>
                  <a:gd name="T24" fmla="*/ 82 w 370"/>
                  <a:gd name="T25" fmla="*/ 68 h 135"/>
                  <a:gd name="T26" fmla="*/ 68 w 370"/>
                  <a:gd name="T27" fmla="*/ 51 h 135"/>
                  <a:gd name="T28" fmla="*/ 56 w 370"/>
                  <a:gd name="T29" fmla="*/ 36 h 135"/>
                  <a:gd name="T30" fmla="*/ 38 w 370"/>
                  <a:gd name="T31" fmla="*/ 24 h 135"/>
                  <a:gd name="T32" fmla="*/ 2 w 370"/>
                  <a:gd name="T33" fmla="*/ 3 h 135"/>
                  <a:gd name="T34" fmla="*/ 33 w 370"/>
                  <a:gd name="T35" fmla="*/ 46 h 135"/>
                  <a:gd name="T36" fmla="*/ 71 w 370"/>
                  <a:gd name="T37" fmla="*/ 91 h 135"/>
                  <a:gd name="T38" fmla="*/ 87 w 370"/>
                  <a:gd name="T39" fmla="*/ 84 h 135"/>
                  <a:gd name="T40" fmla="*/ 266 w 370"/>
                  <a:gd name="T41" fmla="*/ 37 h 135"/>
                  <a:gd name="T42" fmla="*/ 268 w 370"/>
                  <a:gd name="T43" fmla="*/ 46 h 135"/>
                  <a:gd name="T44" fmla="*/ 249 w 370"/>
                  <a:gd name="T45" fmla="*/ 75 h 135"/>
                  <a:gd name="T46" fmla="*/ 198 w 370"/>
                  <a:gd name="T47" fmla="*/ 119 h 135"/>
                  <a:gd name="T48" fmla="*/ 230 w 370"/>
                  <a:gd name="T49" fmla="*/ 115 h 135"/>
                  <a:gd name="T50" fmla="*/ 276 w 370"/>
                  <a:gd name="T51" fmla="*/ 76 h 135"/>
                  <a:gd name="T52" fmla="*/ 156 w 370"/>
                  <a:gd name="T53" fmla="*/ 113 h 135"/>
                  <a:gd name="T54" fmla="*/ 140 w 370"/>
                  <a:gd name="T55" fmla="*/ 105 h 135"/>
                  <a:gd name="T56" fmla="*/ 88 w 370"/>
                  <a:gd name="T57" fmla="*/ 98 h 135"/>
                  <a:gd name="T58" fmla="*/ 94 w 370"/>
                  <a:gd name="T59" fmla="*/ 109 h 135"/>
                  <a:gd name="T60" fmla="*/ 144 w 370"/>
                  <a:gd name="T61" fmla="*/ 117 h 135"/>
                  <a:gd name="T62" fmla="*/ 156 w 370"/>
                  <a:gd name="T63" fmla="*/ 113 h 135"/>
                  <a:gd name="T64" fmla="*/ 323 w 370"/>
                  <a:gd name="T65" fmla="*/ 76 h 135"/>
                  <a:gd name="T66" fmla="*/ 289 w 370"/>
                  <a:gd name="T67" fmla="*/ 59 h 135"/>
                  <a:gd name="T68" fmla="*/ 310 w 370"/>
                  <a:gd name="T69" fmla="*/ 67 h 135"/>
                  <a:gd name="T70" fmla="*/ 298 w 370"/>
                  <a:gd name="T71" fmla="*/ 72 h 135"/>
                  <a:gd name="T72" fmla="*/ 317 w 370"/>
                  <a:gd name="T73" fmla="*/ 81 h 135"/>
                  <a:gd name="T74" fmla="*/ 351 w 370"/>
                  <a:gd name="T75" fmla="*/ 102 h 135"/>
                  <a:gd name="T76" fmla="*/ 362 w 370"/>
                  <a:gd name="T77" fmla="*/ 115 h 135"/>
                  <a:gd name="T78" fmla="*/ 343 w 370"/>
                  <a:gd name="T79" fmla="*/ 61 h 135"/>
                  <a:gd name="T80" fmla="*/ 236 w 370"/>
                  <a:gd name="T81" fmla="*/ 125 h 135"/>
                  <a:gd name="T82" fmla="*/ 240 w 370"/>
                  <a:gd name="T83" fmla="*/ 127 h 135"/>
                  <a:gd name="T84" fmla="*/ 242 w 370"/>
                  <a:gd name="T85" fmla="*/ 124 h 135"/>
                  <a:gd name="T86" fmla="*/ 178 w 370"/>
                  <a:gd name="T87" fmla="*/ 48 h 135"/>
                  <a:gd name="T88" fmla="*/ 183 w 370"/>
                  <a:gd name="T89" fmla="*/ 28 h 135"/>
                  <a:gd name="T90" fmla="*/ 182 w 370"/>
                  <a:gd name="T91" fmla="*/ 14 h 135"/>
                  <a:gd name="T92" fmla="*/ 161 w 370"/>
                  <a:gd name="T93" fmla="*/ 25 h 135"/>
                  <a:gd name="T94" fmla="*/ 144 w 370"/>
                  <a:gd name="T95" fmla="*/ 36 h 135"/>
                  <a:gd name="T96" fmla="*/ 118 w 370"/>
                  <a:gd name="T97" fmla="*/ 37 h 135"/>
                  <a:gd name="T98" fmla="*/ 110 w 370"/>
                  <a:gd name="T99" fmla="*/ 43 h 135"/>
                  <a:gd name="T100" fmla="*/ 129 w 370"/>
                  <a:gd name="T101" fmla="*/ 73 h 135"/>
                  <a:gd name="T102" fmla="*/ 156 w 370"/>
                  <a:gd name="T103" fmla="*/ 80 h 135"/>
                  <a:gd name="T104" fmla="*/ 192 w 370"/>
                  <a:gd name="T105" fmla="*/ 127 h 135"/>
                  <a:gd name="T106" fmla="*/ 192 w 370"/>
                  <a:gd name="T107" fmla="*/ 127 h 135"/>
                  <a:gd name="T108" fmla="*/ 168 w 370"/>
                  <a:gd name="T109" fmla="*/ 120 h 135"/>
                  <a:gd name="T110" fmla="*/ 180 w 370"/>
                  <a:gd name="T111" fmla="*/ 115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370" h="135">
                    <a:moveTo>
                      <a:pt x="27" y="57"/>
                    </a:moveTo>
                    <a:cubicBezTo>
                      <a:pt x="27" y="58"/>
                      <a:pt x="30" y="63"/>
                      <a:pt x="31" y="62"/>
                    </a:cubicBezTo>
                    <a:cubicBezTo>
                      <a:pt x="33" y="60"/>
                      <a:pt x="29" y="53"/>
                      <a:pt x="27" y="57"/>
                    </a:cubicBezTo>
                    <a:close/>
                    <a:moveTo>
                      <a:pt x="105" y="72"/>
                    </a:moveTo>
                    <a:cubicBezTo>
                      <a:pt x="105" y="70"/>
                      <a:pt x="99" y="71"/>
                      <a:pt x="101" y="74"/>
                    </a:cubicBezTo>
                    <a:cubicBezTo>
                      <a:pt x="103" y="77"/>
                      <a:pt x="105" y="74"/>
                      <a:pt x="105" y="72"/>
                    </a:cubicBezTo>
                    <a:close/>
                    <a:moveTo>
                      <a:pt x="16" y="37"/>
                    </a:moveTo>
                    <a:cubicBezTo>
                      <a:pt x="15" y="39"/>
                      <a:pt x="18" y="46"/>
                      <a:pt x="21" y="43"/>
                    </a:cubicBezTo>
                    <a:cubicBezTo>
                      <a:pt x="24" y="40"/>
                      <a:pt x="16" y="34"/>
                      <a:pt x="16" y="37"/>
                    </a:cubicBezTo>
                    <a:close/>
                    <a:moveTo>
                      <a:pt x="195" y="77"/>
                    </a:moveTo>
                    <a:cubicBezTo>
                      <a:pt x="199" y="78"/>
                      <a:pt x="198" y="83"/>
                      <a:pt x="198" y="86"/>
                    </a:cubicBezTo>
                    <a:cubicBezTo>
                      <a:pt x="197" y="89"/>
                      <a:pt x="196" y="96"/>
                      <a:pt x="199" y="95"/>
                    </a:cubicBezTo>
                    <a:cubicBezTo>
                      <a:pt x="202" y="94"/>
                      <a:pt x="205" y="89"/>
                      <a:pt x="203" y="87"/>
                    </a:cubicBezTo>
                    <a:cubicBezTo>
                      <a:pt x="201" y="86"/>
                      <a:pt x="201" y="75"/>
                      <a:pt x="202" y="73"/>
                    </a:cubicBezTo>
                    <a:cubicBezTo>
                      <a:pt x="203" y="70"/>
                      <a:pt x="209" y="72"/>
                      <a:pt x="207" y="76"/>
                    </a:cubicBezTo>
                    <a:cubicBezTo>
                      <a:pt x="205" y="80"/>
                      <a:pt x="211" y="80"/>
                      <a:pt x="211" y="84"/>
                    </a:cubicBezTo>
                    <a:cubicBezTo>
                      <a:pt x="211" y="89"/>
                      <a:pt x="215" y="86"/>
                      <a:pt x="218" y="85"/>
                    </a:cubicBezTo>
                    <a:cubicBezTo>
                      <a:pt x="222" y="84"/>
                      <a:pt x="222" y="82"/>
                      <a:pt x="219" y="79"/>
                    </a:cubicBezTo>
                    <a:cubicBezTo>
                      <a:pt x="216" y="76"/>
                      <a:pt x="221" y="72"/>
                      <a:pt x="217" y="70"/>
                    </a:cubicBezTo>
                    <a:cubicBezTo>
                      <a:pt x="214" y="67"/>
                      <a:pt x="211" y="64"/>
                      <a:pt x="215" y="63"/>
                    </a:cubicBezTo>
                    <a:cubicBezTo>
                      <a:pt x="218" y="62"/>
                      <a:pt x="228" y="56"/>
                      <a:pt x="227" y="54"/>
                    </a:cubicBezTo>
                    <a:cubicBezTo>
                      <a:pt x="226" y="52"/>
                      <a:pt x="212" y="55"/>
                      <a:pt x="210" y="59"/>
                    </a:cubicBezTo>
                    <a:cubicBezTo>
                      <a:pt x="209" y="63"/>
                      <a:pt x="199" y="58"/>
                      <a:pt x="200" y="51"/>
                    </a:cubicBezTo>
                    <a:cubicBezTo>
                      <a:pt x="202" y="44"/>
                      <a:pt x="221" y="42"/>
                      <a:pt x="227" y="45"/>
                    </a:cubicBezTo>
                    <a:cubicBezTo>
                      <a:pt x="233" y="48"/>
                      <a:pt x="239" y="41"/>
                      <a:pt x="241" y="37"/>
                    </a:cubicBezTo>
                    <a:cubicBezTo>
                      <a:pt x="243" y="33"/>
                      <a:pt x="236" y="37"/>
                      <a:pt x="232" y="40"/>
                    </a:cubicBezTo>
                    <a:cubicBezTo>
                      <a:pt x="228" y="43"/>
                      <a:pt x="218" y="40"/>
                      <a:pt x="212" y="38"/>
                    </a:cubicBezTo>
                    <a:cubicBezTo>
                      <a:pt x="207" y="36"/>
                      <a:pt x="207" y="41"/>
                      <a:pt x="202" y="42"/>
                    </a:cubicBezTo>
                    <a:cubicBezTo>
                      <a:pt x="198" y="43"/>
                      <a:pt x="199" y="53"/>
                      <a:pt x="197" y="54"/>
                    </a:cubicBezTo>
                    <a:cubicBezTo>
                      <a:pt x="195" y="55"/>
                      <a:pt x="195" y="62"/>
                      <a:pt x="190" y="69"/>
                    </a:cubicBezTo>
                    <a:cubicBezTo>
                      <a:pt x="186" y="76"/>
                      <a:pt x="192" y="77"/>
                      <a:pt x="195" y="77"/>
                    </a:cubicBezTo>
                    <a:close/>
                    <a:moveTo>
                      <a:pt x="87" y="84"/>
                    </a:moveTo>
                    <a:cubicBezTo>
                      <a:pt x="86" y="80"/>
                      <a:pt x="88" y="77"/>
                      <a:pt x="88" y="75"/>
                    </a:cubicBezTo>
                    <a:cubicBezTo>
                      <a:pt x="88" y="74"/>
                      <a:pt x="89" y="73"/>
                      <a:pt x="91" y="73"/>
                    </a:cubicBezTo>
                    <a:cubicBezTo>
                      <a:pt x="93" y="74"/>
                      <a:pt x="93" y="69"/>
                      <a:pt x="91" y="68"/>
                    </a:cubicBezTo>
                    <a:cubicBezTo>
                      <a:pt x="90" y="68"/>
                      <a:pt x="89" y="62"/>
                      <a:pt x="85" y="62"/>
                    </a:cubicBezTo>
                    <a:cubicBezTo>
                      <a:pt x="81" y="62"/>
                      <a:pt x="81" y="65"/>
                      <a:pt x="84" y="65"/>
                    </a:cubicBezTo>
                    <a:cubicBezTo>
                      <a:pt x="86" y="66"/>
                      <a:pt x="88" y="68"/>
                      <a:pt x="87" y="69"/>
                    </a:cubicBezTo>
                    <a:cubicBezTo>
                      <a:pt x="86" y="71"/>
                      <a:pt x="85" y="68"/>
                      <a:pt x="82" y="68"/>
                    </a:cubicBezTo>
                    <a:cubicBezTo>
                      <a:pt x="79" y="68"/>
                      <a:pt x="81" y="64"/>
                      <a:pt x="77" y="64"/>
                    </a:cubicBezTo>
                    <a:cubicBezTo>
                      <a:pt x="73" y="63"/>
                      <a:pt x="74" y="56"/>
                      <a:pt x="70" y="56"/>
                    </a:cubicBezTo>
                    <a:cubicBezTo>
                      <a:pt x="66" y="56"/>
                      <a:pt x="66" y="53"/>
                      <a:pt x="68" y="51"/>
                    </a:cubicBezTo>
                    <a:cubicBezTo>
                      <a:pt x="71" y="48"/>
                      <a:pt x="64" y="46"/>
                      <a:pt x="64" y="43"/>
                    </a:cubicBezTo>
                    <a:cubicBezTo>
                      <a:pt x="64" y="41"/>
                      <a:pt x="60" y="42"/>
                      <a:pt x="60" y="40"/>
                    </a:cubicBezTo>
                    <a:cubicBezTo>
                      <a:pt x="60" y="37"/>
                      <a:pt x="58" y="39"/>
                      <a:pt x="56" y="36"/>
                    </a:cubicBezTo>
                    <a:cubicBezTo>
                      <a:pt x="54" y="33"/>
                      <a:pt x="53" y="36"/>
                      <a:pt x="51" y="33"/>
                    </a:cubicBezTo>
                    <a:cubicBezTo>
                      <a:pt x="49" y="31"/>
                      <a:pt x="46" y="30"/>
                      <a:pt x="45" y="31"/>
                    </a:cubicBezTo>
                    <a:cubicBezTo>
                      <a:pt x="43" y="31"/>
                      <a:pt x="39" y="28"/>
                      <a:pt x="38" y="24"/>
                    </a:cubicBezTo>
                    <a:cubicBezTo>
                      <a:pt x="37" y="21"/>
                      <a:pt x="26" y="16"/>
                      <a:pt x="24" y="12"/>
                    </a:cubicBezTo>
                    <a:cubicBezTo>
                      <a:pt x="23" y="8"/>
                      <a:pt x="19" y="6"/>
                      <a:pt x="12" y="6"/>
                    </a:cubicBezTo>
                    <a:cubicBezTo>
                      <a:pt x="6" y="7"/>
                      <a:pt x="4" y="0"/>
                      <a:pt x="2" y="3"/>
                    </a:cubicBezTo>
                    <a:cubicBezTo>
                      <a:pt x="0" y="7"/>
                      <a:pt x="9" y="16"/>
                      <a:pt x="13" y="19"/>
                    </a:cubicBezTo>
                    <a:cubicBezTo>
                      <a:pt x="17" y="21"/>
                      <a:pt x="19" y="30"/>
                      <a:pt x="24" y="30"/>
                    </a:cubicBezTo>
                    <a:cubicBezTo>
                      <a:pt x="29" y="31"/>
                      <a:pt x="29" y="46"/>
                      <a:pt x="33" y="46"/>
                    </a:cubicBezTo>
                    <a:cubicBezTo>
                      <a:pt x="36" y="47"/>
                      <a:pt x="44" y="59"/>
                      <a:pt x="45" y="65"/>
                    </a:cubicBezTo>
                    <a:cubicBezTo>
                      <a:pt x="46" y="71"/>
                      <a:pt x="54" y="74"/>
                      <a:pt x="57" y="79"/>
                    </a:cubicBezTo>
                    <a:cubicBezTo>
                      <a:pt x="59" y="83"/>
                      <a:pt x="70" y="89"/>
                      <a:pt x="71" y="91"/>
                    </a:cubicBezTo>
                    <a:cubicBezTo>
                      <a:pt x="73" y="93"/>
                      <a:pt x="74" y="97"/>
                      <a:pt x="75" y="95"/>
                    </a:cubicBezTo>
                    <a:cubicBezTo>
                      <a:pt x="76" y="93"/>
                      <a:pt x="81" y="95"/>
                      <a:pt x="84" y="95"/>
                    </a:cubicBezTo>
                    <a:cubicBezTo>
                      <a:pt x="86" y="96"/>
                      <a:pt x="87" y="87"/>
                      <a:pt x="87" y="84"/>
                    </a:cubicBezTo>
                    <a:close/>
                    <a:moveTo>
                      <a:pt x="268" y="46"/>
                    </a:moveTo>
                    <a:cubicBezTo>
                      <a:pt x="274" y="46"/>
                      <a:pt x="271" y="43"/>
                      <a:pt x="271" y="40"/>
                    </a:cubicBezTo>
                    <a:cubicBezTo>
                      <a:pt x="271" y="36"/>
                      <a:pt x="266" y="39"/>
                      <a:pt x="266" y="37"/>
                    </a:cubicBezTo>
                    <a:cubicBezTo>
                      <a:pt x="266" y="36"/>
                      <a:pt x="265" y="29"/>
                      <a:pt x="261" y="34"/>
                    </a:cubicBezTo>
                    <a:cubicBezTo>
                      <a:pt x="257" y="40"/>
                      <a:pt x="262" y="53"/>
                      <a:pt x="265" y="52"/>
                    </a:cubicBezTo>
                    <a:cubicBezTo>
                      <a:pt x="268" y="51"/>
                      <a:pt x="263" y="45"/>
                      <a:pt x="268" y="46"/>
                    </a:cubicBezTo>
                    <a:close/>
                    <a:moveTo>
                      <a:pt x="249" y="75"/>
                    </a:moveTo>
                    <a:cubicBezTo>
                      <a:pt x="250" y="79"/>
                      <a:pt x="257" y="81"/>
                      <a:pt x="259" y="78"/>
                    </a:cubicBezTo>
                    <a:cubicBezTo>
                      <a:pt x="261" y="75"/>
                      <a:pt x="248" y="71"/>
                      <a:pt x="249" y="75"/>
                    </a:cubicBezTo>
                    <a:close/>
                    <a:moveTo>
                      <a:pt x="230" y="115"/>
                    </a:moveTo>
                    <a:cubicBezTo>
                      <a:pt x="224" y="114"/>
                      <a:pt x="219" y="119"/>
                      <a:pt x="213" y="117"/>
                    </a:cubicBezTo>
                    <a:cubicBezTo>
                      <a:pt x="207" y="114"/>
                      <a:pt x="197" y="117"/>
                      <a:pt x="198" y="119"/>
                    </a:cubicBezTo>
                    <a:cubicBezTo>
                      <a:pt x="199" y="121"/>
                      <a:pt x="205" y="121"/>
                      <a:pt x="211" y="121"/>
                    </a:cubicBezTo>
                    <a:cubicBezTo>
                      <a:pt x="217" y="122"/>
                      <a:pt x="223" y="118"/>
                      <a:pt x="227" y="118"/>
                    </a:cubicBezTo>
                    <a:cubicBezTo>
                      <a:pt x="232" y="118"/>
                      <a:pt x="236" y="116"/>
                      <a:pt x="230" y="115"/>
                    </a:cubicBezTo>
                    <a:close/>
                    <a:moveTo>
                      <a:pt x="281" y="72"/>
                    </a:moveTo>
                    <a:cubicBezTo>
                      <a:pt x="275" y="70"/>
                      <a:pt x="264" y="72"/>
                      <a:pt x="265" y="75"/>
                    </a:cubicBezTo>
                    <a:cubicBezTo>
                      <a:pt x="266" y="78"/>
                      <a:pt x="271" y="76"/>
                      <a:pt x="276" y="76"/>
                    </a:cubicBezTo>
                    <a:cubicBezTo>
                      <a:pt x="281" y="76"/>
                      <a:pt x="284" y="80"/>
                      <a:pt x="286" y="80"/>
                    </a:cubicBezTo>
                    <a:cubicBezTo>
                      <a:pt x="289" y="80"/>
                      <a:pt x="287" y="74"/>
                      <a:pt x="281" y="72"/>
                    </a:cubicBezTo>
                    <a:close/>
                    <a:moveTo>
                      <a:pt x="156" y="113"/>
                    </a:moveTo>
                    <a:cubicBezTo>
                      <a:pt x="155" y="110"/>
                      <a:pt x="146" y="113"/>
                      <a:pt x="142" y="111"/>
                    </a:cubicBezTo>
                    <a:cubicBezTo>
                      <a:pt x="137" y="109"/>
                      <a:pt x="147" y="107"/>
                      <a:pt x="150" y="105"/>
                    </a:cubicBezTo>
                    <a:cubicBezTo>
                      <a:pt x="153" y="103"/>
                      <a:pt x="148" y="103"/>
                      <a:pt x="140" y="105"/>
                    </a:cubicBezTo>
                    <a:cubicBezTo>
                      <a:pt x="133" y="107"/>
                      <a:pt x="124" y="100"/>
                      <a:pt x="124" y="103"/>
                    </a:cubicBezTo>
                    <a:cubicBezTo>
                      <a:pt x="123" y="106"/>
                      <a:pt x="110" y="102"/>
                      <a:pt x="106" y="99"/>
                    </a:cubicBezTo>
                    <a:cubicBezTo>
                      <a:pt x="103" y="97"/>
                      <a:pt x="90" y="94"/>
                      <a:pt x="88" y="98"/>
                    </a:cubicBezTo>
                    <a:cubicBezTo>
                      <a:pt x="85" y="103"/>
                      <a:pt x="83" y="99"/>
                      <a:pt x="84" y="103"/>
                    </a:cubicBezTo>
                    <a:cubicBezTo>
                      <a:pt x="85" y="106"/>
                      <a:pt x="88" y="104"/>
                      <a:pt x="90" y="104"/>
                    </a:cubicBezTo>
                    <a:cubicBezTo>
                      <a:pt x="92" y="104"/>
                      <a:pt x="91" y="108"/>
                      <a:pt x="94" y="109"/>
                    </a:cubicBezTo>
                    <a:cubicBezTo>
                      <a:pt x="97" y="109"/>
                      <a:pt x="107" y="112"/>
                      <a:pt x="108" y="110"/>
                    </a:cubicBezTo>
                    <a:cubicBezTo>
                      <a:pt x="109" y="108"/>
                      <a:pt x="119" y="110"/>
                      <a:pt x="124" y="114"/>
                    </a:cubicBezTo>
                    <a:cubicBezTo>
                      <a:pt x="128" y="118"/>
                      <a:pt x="139" y="118"/>
                      <a:pt x="144" y="117"/>
                    </a:cubicBezTo>
                    <a:cubicBezTo>
                      <a:pt x="148" y="116"/>
                      <a:pt x="153" y="120"/>
                      <a:pt x="154" y="118"/>
                    </a:cubicBezTo>
                    <a:cubicBezTo>
                      <a:pt x="156" y="115"/>
                      <a:pt x="159" y="121"/>
                      <a:pt x="164" y="118"/>
                    </a:cubicBezTo>
                    <a:cubicBezTo>
                      <a:pt x="168" y="114"/>
                      <a:pt x="156" y="116"/>
                      <a:pt x="156" y="113"/>
                    </a:cubicBezTo>
                    <a:close/>
                    <a:moveTo>
                      <a:pt x="343" y="61"/>
                    </a:moveTo>
                    <a:cubicBezTo>
                      <a:pt x="339" y="61"/>
                      <a:pt x="339" y="67"/>
                      <a:pt x="336" y="67"/>
                    </a:cubicBezTo>
                    <a:cubicBezTo>
                      <a:pt x="333" y="67"/>
                      <a:pt x="328" y="74"/>
                      <a:pt x="323" y="76"/>
                    </a:cubicBezTo>
                    <a:cubicBezTo>
                      <a:pt x="317" y="78"/>
                      <a:pt x="317" y="59"/>
                      <a:pt x="314" y="56"/>
                    </a:cubicBezTo>
                    <a:cubicBezTo>
                      <a:pt x="311" y="52"/>
                      <a:pt x="297" y="49"/>
                      <a:pt x="296" y="53"/>
                    </a:cubicBezTo>
                    <a:cubicBezTo>
                      <a:pt x="294" y="57"/>
                      <a:pt x="289" y="55"/>
                      <a:pt x="289" y="59"/>
                    </a:cubicBezTo>
                    <a:cubicBezTo>
                      <a:pt x="288" y="62"/>
                      <a:pt x="290" y="61"/>
                      <a:pt x="293" y="61"/>
                    </a:cubicBezTo>
                    <a:cubicBezTo>
                      <a:pt x="296" y="61"/>
                      <a:pt x="296" y="63"/>
                      <a:pt x="298" y="66"/>
                    </a:cubicBezTo>
                    <a:cubicBezTo>
                      <a:pt x="299" y="69"/>
                      <a:pt x="308" y="67"/>
                      <a:pt x="310" y="67"/>
                    </a:cubicBezTo>
                    <a:cubicBezTo>
                      <a:pt x="313" y="67"/>
                      <a:pt x="314" y="71"/>
                      <a:pt x="310" y="69"/>
                    </a:cubicBezTo>
                    <a:cubicBezTo>
                      <a:pt x="306" y="68"/>
                      <a:pt x="306" y="71"/>
                      <a:pt x="303" y="70"/>
                    </a:cubicBezTo>
                    <a:cubicBezTo>
                      <a:pt x="300" y="70"/>
                      <a:pt x="296" y="70"/>
                      <a:pt x="298" y="72"/>
                    </a:cubicBezTo>
                    <a:cubicBezTo>
                      <a:pt x="300" y="73"/>
                      <a:pt x="303" y="75"/>
                      <a:pt x="303" y="79"/>
                    </a:cubicBezTo>
                    <a:cubicBezTo>
                      <a:pt x="303" y="83"/>
                      <a:pt x="309" y="82"/>
                      <a:pt x="309" y="79"/>
                    </a:cubicBezTo>
                    <a:cubicBezTo>
                      <a:pt x="309" y="76"/>
                      <a:pt x="311" y="80"/>
                      <a:pt x="317" y="81"/>
                    </a:cubicBezTo>
                    <a:cubicBezTo>
                      <a:pt x="322" y="83"/>
                      <a:pt x="319" y="85"/>
                      <a:pt x="324" y="85"/>
                    </a:cubicBezTo>
                    <a:cubicBezTo>
                      <a:pt x="329" y="85"/>
                      <a:pt x="342" y="89"/>
                      <a:pt x="347" y="93"/>
                    </a:cubicBezTo>
                    <a:cubicBezTo>
                      <a:pt x="351" y="96"/>
                      <a:pt x="348" y="99"/>
                      <a:pt x="351" y="102"/>
                    </a:cubicBezTo>
                    <a:cubicBezTo>
                      <a:pt x="354" y="105"/>
                      <a:pt x="355" y="109"/>
                      <a:pt x="351" y="109"/>
                    </a:cubicBezTo>
                    <a:cubicBezTo>
                      <a:pt x="347" y="109"/>
                      <a:pt x="342" y="114"/>
                      <a:pt x="343" y="116"/>
                    </a:cubicBezTo>
                    <a:cubicBezTo>
                      <a:pt x="344" y="118"/>
                      <a:pt x="358" y="115"/>
                      <a:pt x="362" y="115"/>
                    </a:cubicBezTo>
                    <a:cubicBezTo>
                      <a:pt x="364" y="115"/>
                      <a:pt x="366" y="119"/>
                      <a:pt x="370" y="121"/>
                    </a:cubicBezTo>
                    <a:cubicBezTo>
                      <a:pt x="370" y="71"/>
                      <a:pt x="370" y="71"/>
                      <a:pt x="370" y="71"/>
                    </a:cubicBezTo>
                    <a:cubicBezTo>
                      <a:pt x="360" y="67"/>
                      <a:pt x="346" y="61"/>
                      <a:pt x="343" y="61"/>
                    </a:cubicBezTo>
                    <a:close/>
                    <a:moveTo>
                      <a:pt x="240" y="121"/>
                    </a:moveTo>
                    <a:cubicBezTo>
                      <a:pt x="239" y="122"/>
                      <a:pt x="238" y="122"/>
                      <a:pt x="237" y="122"/>
                    </a:cubicBezTo>
                    <a:cubicBezTo>
                      <a:pt x="237" y="123"/>
                      <a:pt x="237" y="124"/>
                      <a:pt x="236" y="125"/>
                    </a:cubicBezTo>
                    <a:cubicBezTo>
                      <a:pt x="235" y="125"/>
                      <a:pt x="234" y="124"/>
                      <a:pt x="233" y="123"/>
                    </a:cubicBezTo>
                    <a:cubicBezTo>
                      <a:pt x="229" y="125"/>
                      <a:pt x="226" y="131"/>
                      <a:pt x="230" y="132"/>
                    </a:cubicBezTo>
                    <a:cubicBezTo>
                      <a:pt x="233" y="134"/>
                      <a:pt x="237" y="130"/>
                      <a:pt x="240" y="127"/>
                    </a:cubicBezTo>
                    <a:cubicBezTo>
                      <a:pt x="240" y="126"/>
                      <a:pt x="240" y="126"/>
                      <a:pt x="241" y="125"/>
                    </a:cubicBezTo>
                    <a:cubicBezTo>
                      <a:pt x="241" y="125"/>
                      <a:pt x="241" y="125"/>
                      <a:pt x="242" y="124"/>
                    </a:cubicBezTo>
                    <a:cubicBezTo>
                      <a:pt x="242" y="124"/>
                      <a:pt x="242" y="124"/>
                      <a:pt x="242" y="124"/>
                    </a:cubicBezTo>
                    <a:cubicBezTo>
                      <a:pt x="242" y="123"/>
                      <a:pt x="241" y="122"/>
                      <a:pt x="240" y="121"/>
                    </a:cubicBezTo>
                    <a:close/>
                    <a:moveTo>
                      <a:pt x="174" y="60"/>
                    </a:moveTo>
                    <a:cubicBezTo>
                      <a:pt x="178" y="57"/>
                      <a:pt x="179" y="52"/>
                      <a:pt x="178" y="48"/>
                    </a:cubicBezTo>
                    <a:cubicBezTo>
                      <a:pt x="178" y="43"/>
                      <a:pt x="189" y="43"/>
                      <a:pt x="191" y="41"/>
                    </a:cubicBezTo>
                    <a:cubicBezTo>
                      <a:pt x="192" y="39"/>
                      <a:pt x="188" y="36"/>
                      <a:pt x="185" y="34"/>
                    </a:cubicBezTo>
                    <a:cubicBezTo>
                      <a:pt x="182" y="33"/>
                      <a:pt x="185" y="30"/>
                      <a:pt x="183" y="28"/>
                    </a:cubicBezTo>
                    <a:cubicBezTo>
                      <a:pt x="180" y="26"/>
                      <a:pt x="177" y="21"/>
                      <a:pt x="180" y="21"/>
                    </a:cubicBezTo>
                    <a:cubicBezTo>
                      <a:pt x="183" y="21"/>
                      <a:pt x="178" y="16"/>
                      <a:pt x="180" y="15"/>
                    </a:cubicBezTo>
                    <a:cubicBezTo>
                      <a:pt x="181" y="15"/>
                      <a:pt x="181" y="14"/>
                      <a:pt x="182" y="14"/>
                    </a:cubicBezTo>
                    <a:cubicBezTo>
                      <a:pt x="180" y="13"/>
                      <a:pt x="179" y="13"/>
                      <a:pt x="178" y="13"/>
                    </a:cubicBezTo>
                    <a:cubicBezTo>
                      <a:pt x="174" y="13"/>
                      <a:pt x="165" y="12"/>
                      <a:pt x="165" y="18"/>
                    </a:cubicBezTo>
                    <a:cubicBezTo>
                      <a:pt x="166" y="24"/>
                      <a:pt x="160" y="22"/>
                      <a:pt x="161" y="25"/>
                    </a:cubicBezTo>
                    <a:cubicBezTo>
                      <a:pt x="161" y="29"/>
                      <a:pt x="158" y="29"/>
                      <a:pt x="158" y="33"/>
                    </a:cubicBezTo>
                    <a:cubicBezTo>
                      <a:pt x="159" y="37"/>
                      <a:pt x="156" y="35"/>
                      <a:pt x="151" y="38"/>
                    </a:cubicBezTo>
                    <a:cubicBezTo>
                      <a:pt x="146" y="40"/>
                      <a:pt x="148" y="36"/>
                      <a:pt x="144" y="36"/>
                    </a:cubicBezTo>
                    <a:cubicBezTo>
                      <a:pt x="139" y="36"/>
                      <a:pt x="138" y="39"/>
                      <a:pt x="135" y="40"/>
                    </a:cubicBezTo>
                    <a:cubicBezTo>
                      <a:pt x="133" y="41"/>
                      <a:pt x="127" y="39"/>
                      <a:pt x="125" y="41"/>
                    </a:cubicBezTo>
                    <a:cubicBezTo>
                      <a:pt x="123" y="42"/>
                      <a:pt x="120" y="37"/>
                      <a:pt x="118" y="37"/>
                    </a:cubicBezTo>
                    <a:cubicBezTo>
                      <a:pt x="117" y="37"/>
                      <a:pt x="116" y="35"/>
                      <a:pt x="116" y="32"/>
                    </a:cubicBezTo>
                    <a:cubicBezTo>
                      <a:pt x="116" y="32"/>
                      <a:pt x="115" y="32"/>
                      <a:pt x="115" y="32"/>
                    </a:cubicBezTo>
                    <a:cubicBezTo>
                      <a:pt x="112" y="32"/>
                      <a:pt x="107" y="40"/>
                      <a:pt x="110" y="43"/>
                    </a:cubicBezTo>
                    <a:cubicBezTo>
                      <a:pt x="113" y="46"/>
                      <a:pt x="112" y="52"/>
                      <a:pt x="114" y="54"/>
                    </a:cubicBezTo>
                    <a:cubicBezTo>
                      <a:pt x="116" y="57"/>
                      <a:pt x="121" y="57"/>
                      <a:pt x="121" y="62"/>
                    </a:cubicBezTo>
                    <a:cubicBezTo>
                      <a:pt x="121" y="67"/>
                      <a:pt x="125" y="75"/>
                      <a:pt x="129" y="73"/>
                    </a:cubicBezTo>
                    <a:cubicBezTo>
                      <a:pt x="132" y="71"/>
                      <a:pt x="134" y="74"/>
                      <a:pt x="135" y="76"/>
                    </a:cubicBezTo>
                    <a:cubicBezTo>
                      <a:pt x="136" y="78"/>
                      <a:pt x="143" y="75"/>
                      <a:pt x="146" y="75"/>
                    </a:cubicBezTo>
                    <a:cubicBezTo>
                      <a:pt x="148" y="75"/>
                      <a:pt x="155" y="77"/>
                      <a:pt x="156" y="80"/>
                    </a:cubicBezTo>
                    <a:cubicBezTo>
                      <a:pt x="156" y="83"/>
                      <a:pt x="163" y="80"/>
                      <a:pt x="168" y="78"/>
                    </a:cubicBezTo>
                    <a:cubicBezTo>
                      <a:pt x="172" y="76"/>
                      <a:pt x="169" y="63"/>
                      <a:pt x="174" y="60"/>
                    </a:cubicBezTo>
                    <a:close/>
                    <a:moveTo>
                      <a:pt x="192" y="127"/>
                    </a:moveTo>
                    <a:cubicBezTo>
                      <a:pt x="193" y="129"/>
                      <a:pt x="197" y="129"/>
                      <a:pt x="199" y="130"/>
                    </a:cubicBezTo>
                    <a:cubicBezTo>
                      <a:pt x="200" y="132"/>
                      <a:pt x="206" y="135"/>
                      <a:pt x="206" y="131"/>
                    </a:cubicBezTo>
                    <a:cubicBezTo>
                      <a:pt x="206" y="127"/>
                      <a:pt x="190" y="124"/>
                      <a:pt x="192" y="127"/>
                    </a:cubicBezTo>
                    <a:close/>
                    <a:moveTo>
                      <a:pt x="180" y="115"/>
                    </a:moveTo>
                    <a:cubicBezTo>
                      <a:pt x="179" y="117"/>
                      <a:pt x="175" y="118"/>
                      <a:pt x="172" y="116"/>
                    </a:cubicBezTo>
                    <a:cubicBezTo>
                      <a:pt x="170" y="114"/>
                      <a:pt x="167" y="118"/>
                      <a:pt x="168" y="120"/>
                    </a:cubicBezTo>
                    <a:cubicBezTo>
                      <a:pt x="169" y="121"/>
                      <a:pt x="174" y="125"/>
                      <a:pt x="180" y="122"/>
                    </a:cubicBezTo>
                    <a:cubicBezTo>
                      <a:pt x="186" y="119"/>
                      <a:pt x="190" y="122"/>
                      <a:pt x="192" y="119"/>
                    </a:cubicBezTo>
                    <a:cubicBezTo>
                      <a:pt x="193" y="116"/>
                      <a:pt x="181" y="113"/>
                      <a:pt x="180" y="11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6" name="Freeform 178">
                <a:extLst>
                  <a:ext uri="{FF2B5EF4-FFF2-40B4-BE49-F238E27FC236}">
                    <a16:creationId xmlns:a16="http://schemas.microsoft.com/office/drawing/2014/main" id="{DB1CCE59-D01C-4498-8428-6F422AC2365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200806" y="4242875"/>
                <a:ext cx="61482" cy="26349"/>
              </a:xfrm>
              <a:custGeom>
                <a:avLst/>
                <a:gdLst>
                  <a:gd name="T0" fmla="*/ 3 w 27"/>
                  <a:gd name="T1" fmla="*/ 9 h 11"/>
                  <a:gd name="T2" fmla="*/ 0 w 27"/>
                  <a:gd name="T3" fmla="*/ 9 h 11"/>
                  <a:gd name="T4" fmla="*/ 3 w 27"/>
                  <a:gd name="T5" fmla="*/ 11 h 11"/>
                  <a:gd name="T6" fmla="*/ 4 w 27"/>
                  <a:gd name="T7" fmla="*/ 8 h 11"/>
                  <a:gd name="T8" fmla="*/ 3 w 27"/>
                  <a:gd name="T9" fmla="*/ 9 h 11"/>
                  <a:gd name="T10" fmla="*/ 3 w 27"/>
                  <a:gd name="T11" fmla="*/ 9 h 11"/>
                  <a:gd name="T12" fmla="*/ 14 w 27"/>
                  <a:gd name="T13" fmla="*/ 2 h 11"/>
                  <a:gd name="T14" fmla="*/ 8 w 27"/>
                  <a:gd name="T15" fmla="*/ 7 h 11"/>
                  <a:gd name="T16" fmla="*/ 7 w 27"/>
                  <a:gd name="T17" fmla="*/ 7 h 11"/>
                  <a:gd name="T18" fmla="*/ 9 w 27"/>
                  <a:gd name="T19" fmla="*/ 10 h 11"/>
                  <a:gd name="T20" fmla="*/ 26 w 27"/>
                  <a:gd name="T21" fmla="*/ 2 h 11"/>
                  <a:gd name="T22" fmla="*/ 14 w 27"/>
                  <a:gd name="T23" fmla="*/ 2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7" h="11">
                    <a:moveTo>
                      <a:pt x="3" y="9"/>
                    </a:moveTo>
                    <a:cubicBezTo>
                      <a:pt x="2" y="9"/>
                      <a:pt x="1" y="9"/>
                      <a:pt x="0" y="9"/>
                    </a:cubicBezTo>
                    <a:cubicBezTo>
                      <a:pt x="1" y="10"/>
                      <a:pt x="2" y="11"/>
                      <a:pt x="3" y="11"/>
                    </a:cubicBezTo>
                    <a:cubicBezTo>
                      <a:pt x="4" y="10"/>
                      <a:pt x="4" y="9"/>
                      <a:pt x="4" y="8"/>
                    </a:cubicBezTo>
                    <a:cubicBezTo>
                      <a:pt x="4" y="8"/>
                      <a:pt x="4" y="9"/>
                      <a:pt x="3" y="9"/>
                    </a:cubicBezTo>
                    <a:cubicBezTo>
                      <a:pt x="3" y="9"/>
                      <a:pt x="3" y="9"/>
                      <a:pt x="3" y="9"/>
                    </a:cubicBezTo>
                    <a:close/>
                    <a:moveTo>
                      <a:pt x="14" y="2"/>
                    </a:moveTo>
                    <a:cubicBezTo>
                      <a:pt x="11" y="2"/>
                      <a:pt x="10" y="5"/>
                      <a:pt x="8" y="7"/>
                    </a:cubicBezTo>
                    <a:cubicBezTo>
                      <a:pt x="7" y="7"/>
                      <a:pt x="7" y="7"/>
                      <a:pt x="7" y="7"/>
                    </a:cubicBezTo>
                    <a:cubicBezTo>
                      <a:pt x="8" y="8"/>
                      <a:pt x="9" y="9"/>
                      <a:pt x="9" y="10"/>
                    </a:cubicBezTo>
                    <a:cubicBezTo>
                      <a:pt x="14" y="7"/>
                      <a:pt x="26" y="4"/>
                      <a:pt x="26" y="2"/>
                    </a:cubicBezTo>
                    <a:cubicBezTo>
                      <a:pt x="27" y="0"/>
                      <a:pt x="19" y="3"/>
                      <a:pt x="14" y="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7" name="Freeform 179">
                <a:extLst>
                  <a:ext uri="{FF2B5EF4-FFF2-40B4-BE49-F238E27FC236}">
                    <a16:creationId xmlns:a16="http://schemas.microsoft.com/office/drawing/2014/main" id="{F7988573-2527-4619-9B40-44B145BE367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45187" y="3136207"/>
                <a:ext cx="214558" cy="233379"/>
              </a:xfrm>
              <a:custGeom>
                <a:avLst/>
                <a:gdLst>
                  <a:gd name="T0" fmla="*/ 65 w 93"/>
                  <a:gd name="T1" fmla="*/ 87 h 101"/>
                  <a:gd name="T2" fmla="*/ 55 w 93"/>
                  <a:gd name="T3" fmla="*/ 87 h 101"/>
                  <a:gd name="T4" fmla="*/ 48 w 93"/>
                  <a:gd name="T5" fmla="*/ 90 h 101"/>
                  <a:gd name="T6" fmla="*/ 57 w 93"/>
                  <a:gd name="T7" fmla="*/ 95 h 101"/>
                  <a:gd name="T8" fmla="*/ 66 w 93"/>
                  <a:gd name="T9" fmla="*/ 101 h 101"/>
                  <a:gd name="T10" fmla="*/ 68 w 93"/>
                  <a:gd name="T11" fmla="*/ 95 h 101"/>
                  <a:gd name="T12" fmla="*/ 71 w 93"/>
                  <a:gd name="T13" fmla="*/ 88 h 101"/>
                  <a:gd name="T14" fmla="*/ 65 w 93"/>
                  <a:gd name="T15" fmla="*/ 87 h 101"/>
                  <a:gd name="T16" fmla="*/ 19 w 93"/>
                  <a:gd name="T17" fmla="*/ 60 h 101"/>
                  <a:gd name="T18" fmla="*/ 13 w 93"/>
                  <a:gd name="T19" fmla="*/ 62 h 101"/>
                  <a:gd name="T20" fmla="*/ 16 w 93"/>
                  <a:gd name="T21" fmla="*/ 72 h 101"/>
                  <a:gd name="T22" fmla="*/ 19 w 93"/>
                  <a:gd name="T23" fmla="*/ 80 h 101"/>
                  <a:gd name="T24" fmla="*/ 25 w 93"/>
                  <a:gd name="T25" fmla="*/ 76 h 101"/>
                  <a:gd name="T26" fmla="*/ 26 w 93"/>
                  <a:gd name="T27" fmla="*/ 63 h 101"/>
                  <a:gd name="T28" fmla="*/ 19 w 93"/>
                  <a:gd name="T29" fmla="*/ 60 h 101"/>
                  <a:gd name="T30" fmla="*/ 77 w 93"/>
                  <a:gd name="T31" fmla="*/ 56 h 101"/>
                  <a:gd name="T32" fmla="*/ 71 w 93"/>
                  <a:gd name="T33" fmla="*/ 52 h 101"/>
                  <a:gd name="T34" fmla="*/ 59 w 93"/>
                  <a:gd name="T35" fmla="*/ 39 h 101"/>
                  <a:gd name="T36" fmla="*/ 47 w 93"/>
                  <a:gd name="T37" fmla="*/ 27 h 101"/>
                  <a:gd name="T38" fmla="*/ 47 w 93"/>
                  <a:gd name="T39" fmla="*/ 19 h 101"/>
                  <a:gd name="T40" fmla="*/ 51 w 93"/>
                  <a:gd name="T41" fmla="*/ 15 h 101"/>
                  <a:gd name="T42" fmla="*/ 51 w 93"/>
                  <a:gd name="T43" fmla="*/ 4 h 101"/>
                  <a:gd name="T44" fmla="*/ 47 w 93"/>
                  <a:gd name="T45" fmla="*/ 3 h 101"/>
                  <a:gd name="T46" fmla="*/ 46 w 93"/>
                  <a:gd name="T47" fmla="*/ 0 h 101"/>
                  <a:gd name="T48" fmla="*/ 39 w 93"/>
                  <a:gd name="T49" fmla="*/ 1 h 101"/>
                  <a:gd name="T50" fmla="*/ 34 w 93"/>
                  <a:gd name="T51" fmla="*/ 2 h 101"/>
                  <a:gd name="T52" fmla="*/ 33 w 93"/>
                  <a:gd name="T53" fmla="*/ 2 h 101"/>
                  <a:gd name="T54" fmla="*/ 32 w 93"/>
                  <a:gd name="T55" fmla="*/ 3 h 101"/>
                  <a:gd name="T56" fmla="*/ 31 w 93"/>
                  <a:gd name="T57" fmla="*/ 5 h 101"/>
                  <a:gd name="T58" fmla="*/ 28 w 93"/>
                  <a:gd name="T59" fmla="*/ 6 h 101"/>
                  <a:gd name="T60" fmla="*/ 24 w 93"/>
                  <a:gd name="T61" fmla="*/ 7 h 101"/>
                  <a:gd name="T62" fmla="*/ 22 w 93"/>
                  <a:gd name="T63" fmla="*/ 9 h 101"/>
                  <a:gd name="T64" fmla="*/ 19 w 93"/>
                  <a:gd name="T65" fmla="*/ 12 h 101"/>
                  <a:gd name="T66" fmla="*/ 15 w 93"/>
                  <a:gd name="T67" fmla="*/ 6 h 101"/>
                  <a:gd name="T68" fmla="*/ 11 w 93"/>
                  <a:gd name="T69" fmla="*/ 12 h 101"/>
                  <a:gd name="T70" fmla="*/ 4 w 93"/>
                  <a:gd name="T71" fmla="*/ 12 h 101"/>
                  <a:gd name="T72" fmla="*/ 5 w 93"/>
                  <a:gd name="T73" fmla="*/ 16 h 101"/>
                  <a:gd name="T74" fmla="*/ 3 w 93"/>
                  <a:gd name="T75" fmla="*/ 19 h 101"/>
                  <a:gd name="T76" fmla="*/ 2 w 93"/>
                  <a:gd name="T77" fmla="*/ 21 h 101"/>
                  <a:gd name="T78" fmla="*/ 4 w 93"/>
                  <a:gd name="T79" fmla="*/ 25 h 101"/>
                  <a:gd name="T80" fmla="*/ 6 w 93"/>
                  <a:gd name="T81" fmla="*/ 29 h 101"/>
                  <a:gd name="T82" fmla="*/ 10 w 93"/>
                  <a:gd name="T83" fmla="*/ 31 h 101"/>
                  <a:gd name="T84" fmla="*/ 9 w 93"/>
                  <a:gd name="T85" fmla="*/ 33 h 101"/>
                  <a:gd name="T86" fmla="*/ 13 w 93"/>
                  <a:gd name="T87" fmla="*/ 32 h 101"/>
                  <a:gd name="T88" fmla="*/ 18 w 93"/>
                  <a:gd name="T89" fmla="*/ 27 h 101"/>
                  <a:gd name="T90" fmla="*/ 29 w 93"/>
                  <a:gd name="T91" fmla="*/ 32 h 101"/>
                  <a:gd name="T92" fmla="*/ 32 w 93"/>
                  <a:gd name="T93" fmla="*/ 37 h 101"/>
                  <a:gd name="T94" fmla="*/ 40 w 93"/>
                  <a:gd name="T95" fmla="*/ 47 h 101"/>
                  <a:gd name="T96" fmla="*/ 50 w 93"/>
                  <a:gd name="T97" fmla="*/ 56 h 101"/>
                  <a:gd name="T98" fmla="*/ 58 w 93"/>
                  <a:gd name="T99" fmla="*/ 59 h 101"/>
                  <a:gd name="T100" fmla="*/ 65 w 93"/>
                  <a:gd name="T101" fmla="*/ 64 h 101"/>
                  <a:gd name="T102" fmla="*/ 71 w 93"/>
                  <a:gd name="T103" fmla="*/ 69 h 101"/>
                  <a:gd name="T104" fmla="*/ 74 w 93"/>
                  <a:gd name="T105" fmla="*/ 73 h 101"/>
                  <a:gd name="T106" fmla="*/ 74 w 93"/>
                  <a:gd name="T107" fmla="*/ 82 h 101"/>
                  <a:gd name="T108" fmla="*/ 74 w 93"/>
                  <a:gd name="T109" fmla="*/ 89 h 101"/>
                  <a:gd name="T110" fmla="*/ 78 w 93"/>
                  <a:gd name="T111" fmla="*/ 82 h 101"/>
                  <a:gd name="T112" fmla="*/ 83 w 93"/>
                  <a:gd name="T113" fmla="*/ 77 h 101"/>
                  <a:gd name="T114" fmla="*/ 79 w 93"/>
                  <a:gd name="T115" fmla="*/ 71 h 101"/>
                  <a:gd name="T116" fmla="*/ 87 w 93"/>
                  <a:gd name="T117" fmla="*/ 67 h 101"/>
                  <a:gd name="T118" fmla="*/ 93 w 93"/>
                  <a:gd name="T119" fmla="*/ 68 h 101"/>
                  <a:gd name="T120" fmla="*/ 77 w 93"/>
                  <a:gd name="T121" fmla="*/ 56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93" h="101">
                    <a:moveTo>
                      <a:pt x="65" y="87"/>
                    </a:moveTo>
                    <a:cubicBezTo>
                      <a:pt x="60" y="88"/>
                      <a:pt x="58" y="89"/>
                      <a:pt x="55" y="87"/>
                    </a:cubicBezTo>
                    <a:cubicBezTo>
                      <a:pt x="52" y="86"/>
                      <a:pt x="48" y="89"/>
                      <a:pt x="48" y="90"/>
                    </a:cubicBezTo>
                    <a:cubicBezTo>
                      <a:pt x="49" y="92"/>
                      <a:pt x="51" y="93"/>
                      <a:pt x="57" y="95"/>
                    </a:cubicBezTo>
                    <a:cubicBezTo>
                      <a:pt x="63" y="97"/>
                      <a:pt x="63" y="101"/>
                      <a:pt x="66" y="101"/>
                    </a:cubicBezTo>
                    <a:cubicBezTo>
                      <a:pt x="68" y="101"/>
                      <a:pt x="69" y="98"/>
                      <a:pt x="68" y="95"/>
                    </a:cubicBezTo>
                    <a:cubicBezTo>
                      <a:pt x="67" y="92"/>
                      <a:pt x="71" y="88"/>
                      <a:pt x="71" y="88"/>
                    </a:cubicBezTo>
                    <a:cubicBezTo>
                      <a:pt x="72" y="87"/>
                      <a:pt x="70" y="86"/>
                      <a:pt x="65" y="87"/>
                    </a:cubicBezTo>
                    <a:close/>
                    <a:moveTo>
                      <a:pt x="19" y="60"/>
                    </a:moveTo>
                    <a:cubicBezTo>
                      <a:pt x="16" y="63"/>
                      <a:pt x="14" y="60"/>
                      <a:pt x="13" y="62"/>
                    </a:cubicBezTo>
                    <a:cubicBezTo>
                      <a:pt x="12" y="64"/>
                      <a:pt x="17" y="67"/>
                      <a:pt x="16" y="72"/>
                    </a:cubicBezTo>
                    <a:cubicBezTo>
                      <a:pt x="15" y="77"/>
                      <a:pt x="17" y="83"/>
                      <a:pt x="19" y="80"/>
                    </a:cubicBezTo>
                    <a:cubicBezTo>
                      <a:pt x="22" y="77"/>
                      <a:pt x="23" y="78"/>
                      <a:pt x="25" y="76"/>
                    </a:cubicBezTo>
                    <a:cubicBezTo>
                      <a:pt x="26" y="74"/>
                      <a:pt x="25" y="67"/>
                      <a:pt x="26" y="63"/>
                    </a:cubicBezTo>
                    <a:cubicBezTo>
                      <a:pt x="27" y="60"/>
                      <a:pt x="21" y="58"/>
                      <a:pt x="19" y="60"/>
                    </a:cubicBezTo>
                    <a:close/>
                    <a:moveTo>
                      <a:pt x="77" y="56"/>
                    </a:moveTo>
                    <a:cubicBezTo>
                      <a:pt x="74" y="55"/>
                      <a:pt x="76" y="52"/>
                      <a:pt x="71" y="52"/>
                    </a:cubicBezTo>
                    <a:cubicBezTo>
                      <a:pt x="66" y="52"/>
                      <a:pt x="60" y="46"/>
                      <a:pt x="59" y="39"/>
                    </a:cubicBezTo>
                    <a:cubicBezTo>
                      <a:pt x="57" y="32"/>
                      <a:pt x="49" y="32"/>
                      <a:pt x="47" y="27"/>
                    </a:cubicBezTo>
                    <a:cubicBezTo>
                      <a:pt x="45" y="23"/>
                      <a:pt x="49" y="23"/>
                      <a:pt x="47" y="19"/>
                    </a:cubicBezTo>
                    <a:cubicBezTo>
                      <a:pt x="47" y="17"/>
                      <a:pt x="49" y="16"/>
                      <a:pt x="51" y="15"/>
                    </a:cubicBezTo>
                    <a:cubicBezTo>
                      <a:pt x="51" y="11"/>
                      <a:pt x="51" y="7"/>
                      <a:pt x="51" y="4"/>
                    </a:cubicBezTo>
                    <a:cubicBezTo>
                      <a:pt x="50" y="4"/>
                      <a:pt x="48" y="4"/>
                      <a:pt x="47" y="3"/>
                    </a:cubicBezTo>
                    <a:cubicBezTo>
                      <a:pt x="46" y="3"/>
                      <a:pt x="46" y="0"/>
                      <a:pt x="46" y="0"/>
                    </a:cubicBezTo>
                    <a:cubicBezTo>
                      <a:pt x="45" y="0"/>
                      <a:pt x="40" y="0"/>
                      <a:pt x="39" y="1"/>
                    </a:cubicBezTo>
                    <a:cubicBezTo>
                      <a:pt x="38" y="2"/>
                      <a:pt x="36" y="3"/>
                      <a:pt x="34" y="2"/>
                    </a:cubicBezTo>
                    <a:cubicBezTo>
                      <a:pt x="34" y="2"/>
                      <a:pt x="34" y="2"/>
                      <a:pt x="33" y="2"/>
                    </a:cubicBezTo>
                    <a:cubicBezTo>
                      <a:pt x="32" y="3"/>
                      <a:pt x="32" y="3"/>
                      <a:pt x="32" y="3"/>
                    </a:cubicBezTo>
                    <a:cubicBezTo>
                      <a:pt x="32" y="3"/>
                      <a:pt x="32" y="5"/>
                      <a:pt x="31" y="5"/>
                    </a:cubicBezTo>
                    <a:cubicBezTo>
                      <a:pt x="30" y="5"/>
                      <a:pt x="28" y="4"/>
                      <a:pt x="28" y="6"/>
                    </a:cubicBezTo>
                    <a:cubicBezTo>
                      <a:pt x="28" y="8"/>
                      <a:pt x="26" y="7"/>
                      <a:pt x="24" y="7"/>
                    </a:cubicBezTo>
                    <a:cubicBezTo>
                      <a:pt x="23" y="7"/>
                      <a:pt x="22" y="7"/>
                      <a:pt x="22" y="9"/>
                    </a:cubicBezTo>
                    <a:cubicBezTo>
                      <a:pt x="22" y="10"/>
                      <a:pt x="21" y="13"/>
                      <a:pt x="19" y="12"/>
                    </a:cubicBezTo>
                    <a:cubicBezTo>
                      <a:pt x="18" y="10"/>
                      <a:pt x="16" y="6"/>
                      <a:pt x="15" y="6"/>
                    </a:cubicBezTo>
                    <a:cubicBezTo>
                      <a:pt x="14" y="7"/>
                      <a:pt x="13" y="12"/>
                      <a:pt x="11" y="12"/>
                    </a:cubicBezTo>
                    <a:cubicBezTo>
                      <a:pt x="10" y="12"/>
                      <a:pt x="6" y="12"/>
                      <a:pt x="4" y="12"/>
                    </a:cubicBezTo>
                    <a:cubicBezTo>
                      <a:pt x="3" y="14"/>
                      <a:pt x="4" y="16"/>
                      <a:pt x="5" y="16"/>
                    </a:cubicBezTo>
                    <a:cubicBezTo>
                      <a:pt x="6" y="17"/>
                      <a:pt x="4" y="19"/>
                      <a:pt x="3" y="19"/>
                    </a:cubicBezTo>
                    <a:cubicBezTo>
                      <a:pt x="2" y="20"/>
                      <a:pt x="0" y="19"/>
                      <a:pt x="2" y="21"/>
                    </a:cubicBezTo>
                    <a:cubicBezTo>
                      <a:pt x="3" y="23"/>
                      <a:pt x="5" y="23"/>
                      <a:pt x="4" y="25"/>
                    </a:cubicBezTo>
                    <a:cubicBezTo>
                      <a:pt x="3" y="27"/>
                      <a:pt x="4" y="29"/>
                      <a:pt x="6" y="29"/>
                    </a:cubicBezTo>
                    <a:cubicBezTo>
                      <a:pt x="8" y="29"/>
                      <a:pt x="10" y="29"/>
                      <a:pt x="10" y="31"/>
                    </a:cubicBezTo>
                    <a:cubicBezTo>
                      <a:pt x="9" y="31"/>
                      <a:pt x="9" y="32"/>
                      <a:pt x="9" y="33"/>
                    </a:cubicBezTo>
                    <a:cubicBezTo>
                      <a:pt x="10" y="33"/>
                      <a:pt x="11" y="33"/>
                      <a:pt x="13" y="32"/>
                    </a:cubicBezTo>
                    <a:cubicBezTo>
                      <a:pt x="15" y="31"/>
                      <a:pt x="14" y="29"/>
                      <a:pt x="18" y="27"/>
                    </a:cubicBezTo>
                    <a:cubicBezTo>
                      <a:pt x="22" y="26"/>
                      <a:pt x="28" y="30"/>
                      <a:pt x="29" y="32"/>
                    </a:cubicBezTo>
                    <a:cubicBezTo>
                      <a:pt x="31" y="35"/>
                      <a:pt x="32" y="35"/>
                      <a:pt x="32" y="37"/>
                    </a:cubicBezTo>
                    <a:cubicBezTo>
                      <a:pt x="32" y="39"/>
                      <a:pt x="34" y="43"/>
                      <a:pt x="40" y="47"/>
                    </a:cubicBezTo>
                    <a:cubicBezTo>
                      <a:pt x="45" y="50"/>
                      <a:pt x="47" y="54"/>
                      <a:pt x="50" y="56"/>
                    </a:cubicBezTo>
                    <a:cubicBezTo>
                      <a:pt x="53" y="58"/>
                      <a:pt x="56" y="57"/>
                      <a:pt x="58" y="59"/>
                    </a:cubicBezTo>
                    <a:cubicBezTo>
                      <a:pt x="60" y="61"/>
                      <a:pt x="62" y="63"/>
                      <a:pt x="65" y="64"/>
                    </a:cubicBezTo>
                    <a:cubicBezTo>
                      <a:pt x="68" y="65"/>
                      <a:pt x="68" y="68"/>
                      <a:pt x="71" y="69"/>
                    </a:cubicBezTo>
                    <a:cubicBezTo>
                      <a:pt x="74" y="69"/>
                      <a:pt x="72" y="71"/>
                      <a:pt x="74" y="73"/>
                    </a:cubicBezTo>
                    <a:cubicBezTo>
                      <a:pt x="75" y="76"/>
                      <a:pt x="76" y="80"/>
                      <a:pt x="74" y="82"/>
                    </a:cubicBezTo>
                    <a:cubicBezTo>
                      <a:pt x="72" y="85"/>
                      <a:pt x="73" y="89"/>
                      <a:pt x="74" y="89"/>
                    </a:cubicBezTo>
                    <a:cubicBezTo>
                      <a:pt x="75" y="89"/>
                      <a:pt x="78" y="84"/>
                      <a:pt x="78" y="82"/>
                    </a:cubicBezTo>
                    <a:cubicBezTo>
                      <a:pt x="79" y="80"/>
                      <a:pt x="81" y="80"/>
                      <a:pt x="83" y="77"/>
                    </a:cubicBezTo>
                    <a:cubicBezTo>
                      <a:pt x="85" y="75"/>
                      <a:pt x="80" y="74"/>
                      <a:pt x="79" y="71"/>
                    </a:cubicBezTo>
                    <a:cubicBezTo>
                      <a:pt x="78" y="68"/>
                      <a:pt x="83" y="65"/>
                      <a:pt x="87" y="67"/>
                    </a:cubicBezTo>
                    <a:cubicBezTo>
                      <a:pt x="91" y="70"/>
                      <a:pt x="93" y="72"/>
                      <a:pt x="93" y="68"/>
                    </a:cubicBezTo>
                    <a:cubicBezTo>
                      <a:pt x="93" y="64"/>
                      <a:pt x="80" y="58"/>
                      <a:pt x="77" y="56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8" name="Freeform 180">
                <a:extLst>
                  <a:ext uri="{FF2B5EF4-FFF2-40B4-BE49-F238E27FC236}">
                    <a16:creationId xmlns:a16="http://schemas.microsoft.com/office/drawing/2014/main" id="{37D15F75-35B9-44BC-AE67-6BF589890F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59745" y="3221528"/>
                <a:ext cx="22585" cy="30113"/>
              </a:xfrm>
              <a:custGeom>
                <a:avLst/>
                <a:gdLst>
                  <a:gd name="T0" fmla="*/ 4 w 10"/>
                  <a:gd name="T1" fmla="*/ 0 h 13"/>
                  <a:gd name="T2" fmla="*/ 0 w 10"/>
                  <a:gd name="T3" fmla="*/ 6 h 13"/>
                  <a:gd name="T4" fmla="*/ 0 w 10"/>
                  <a:gd name="T5" fmla="*/ 8 h 13"/>
                  <a:gd name="T6" fmla="*/ 6 w 10"/>
                  <a:gd name="T7" fmla="*/ 13 h 13"/>
                  <a:gd name="T8" fmla="*/ 6 w 10"/>
                  <a:gd name="T9" fmla="*/ 13 h 13"/>
                  <a:gd name="T10" fmla="*/ 10 w 10"/>
                  <a:gd name="T11" fmla="*/ 7 h 13"/>
                  <a:gd name="T12" fmla="*/ 4 w 10"/>
                  <a:gd name="T13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13">
                    <a:moveTo>
                      <a:pt x="4" y="0"/>
                    </a:moveTo>
                    <a:cubicBezTo>
                      <a:pt x="2" y="2"/>
                      <a:pt x="0" y="5"/>
                      <a:pt x="0" y="6"/>
                    </a:cubicBezTo>
                    <a:cubicBezTo>
                      <a:pt x="1" y="6"/>
                      <a:pt x="0" y="7"/>
                      <a:pt x="0" y="8"/>
                    </a:cubicBezTo>
                    <a:cubicBezTo>
                      <a:pt x="2" y="10"/>
                      <a:pt x="4" y="12"/>
                      <a:pt x="6" y="13"/>
                    </a:cubicBezTo>
                    <a:cubicBezTo>
                      <a:pt x="6" y="13"/>
                      <a:pt x="6" y="13"/>
                      <a:pt x="6" y="13"/>
                    </a:cubicBezTo>
                    <a:cubicBezTo>
                      <a:pt x="7" y="10"/>
                      <a:pt x="9" y="7"/>
                      <a:pt x="10" y="7"/>
                    </a:cubicBezTo>
                    <a:cubicBezTo>
                      <a:pt x="8" y="5"/>
                      <a:pt x="5" y="2"/>
                      <a:pt x="4" y="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9" name="Freeform 181">
                <a:extLst>
                  <a:ext uri="{FF2B5EF4-FFF2-40B4-BE49-F238E27FC236}">
                    <a16:creationId xmlns:a16="http://schemas.microsoft.com/office/drawing/2014/main" id="{56893D7D-6A56-4356-8DBF-8B59664638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66019" y="3155028"/>
                <a:ext cx="76538" cy="92850"/>
              </a:xfrm>
              <a:custGeom>
                <a:avLst/>
                <a:gdLst>
                  <a:gd name="T0" fmla="*/ 29 w 33"/>
                  <a:gd name="T1" fmla="*/ 27 h 40"/>
                  <a:gd name="T2" fmla="*/ 29 w 33"/>
                  <a:gd name="T3" fmla="*/ 21 h 40"/>
                  <a:gd name="T4" fmla="*/ 29 w 33"/>
                  <a:gd name="T5" fmla="*/ 17 h 40"/>
                  <a:gd name="T6" fmla="*/ 20 w 33"/>
                  <a:gd name="T7" fmla="*/ 14 h 40"/>
                  <a:gd name="T8" fmla="*/ 19 w 33"/>
                  <a:gd name="T9" fmla="*/ 9 h 40"/>
                  <a:gd name="T10" fmla="*/ 16 w 33"/>
                  <a:gd name="T11" fmla="*/ 7 h 40"/>
                  <a:gd name="T12" fmla="*/ 13 w 33"/>
                  <a:gd name="T13" fmla="*/ 2 h 40"/>
                  <a:gd name="T14" fmla="*/ 14 w 33"/>
                  <a:gd name="T15" fmla="*/ 2 h 40"/>
                  <a:gd name="T16" fmla="*/ 11 w 33"/>
                  <a:gd name="T17" fmla="*/ 1 h 40"/>
                  <a:gd name="T18" fmla="*/ 8 w 33"/>
                  <a:gd name="T19" fmla="*/ 0 h 40"/>
                  <a:gd name="T20" fmla="*/ 0 w 33"/>
                  <a:gd name="T21" fmla="*/ 3 h 40"/>
                  <a:gd name="T22" fmla="*/ 2 w 33"/>
                  <a:gd name="T23" fmla="*/ 8 h 40"/>
                  <a:gd name="T24" fmla="*/ 4 w 33"/>
                  <a:gd name="T25" fmla="*/ 13 h 40"/>
                  <a:gd name="T26" fmla="*/ 4 w 33"/>
                  <a:gd name="T27" fmla="*/ 26 h 40"/>
                  <a:gd name="T28" fmla="*/ 1 w 33"/>
                  <a:gd name="T29" fmla="*/ 29 h 40"/>
                  <a:gd name="T30" fmla="*/ 7 w 33"/>
                  <a:gd name="T31" fmla="*/ 36 h 40"/>
                  <a:gd name="T32" fmla="*/ 7 w 33"/>
                  <a:gd name="T33" fmla="*/ 36 h 40"/>
                  <a:gd name="T34" fmla="*/ 15 w 33"/>
                  <a:gd name="T35" fmla="*/ 40 h 40"/>
                  <a:gd name="T36" fmla="*/ 28 w 33"/>
                  <a:gd name="T37" fmla="*/ 38 h 40"/>
                  <a:gd name="T38" fmla="*/ 29 w 33"/>
                  <a:gd name="T39" fmla="*/ 35 h 40"/>
                  <a:gd name="T40" fmla="*/ 31 w 33"/>
                  <a:gd name="T41" fmla="*/ 32 h 40"/>
                  <a:gd name="T42" fmla="*/ 29 w 33"/>
                  <a:gd name="T43" fmla="*/ 27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3" h="40">
                    <a:moveTo>
                      <a:pt x="29" y="27"/>
                    </a:moveTo>
                    <a:cubicBezTo>
                      <a:pt x="27" y="25"/>
                      <a:pt x="27" y="23"/>
                      <a:pt x="29" y="21"/>
                    </a:cubicBezTo>
                    <a:cubicBezTo>
                      <a:pt x="30" y="20"/>
                      <a:pt x="29" y="19"/>
                      <a:pt x="29" y="17"/>
                    </a:cubicBezTo>
                    <a:cubicBezTo>
                      <a:pt x="29" y="15"/>
                      <a:pt x="21" y="15"/>
                      <a:pt x="20" y="14"/>
                    </a:cubicBezTo>
                    <a:cubicBezTo>
                      <a:pt x="19" y="14"/>
                      <a:pt x="21" y="9"/>
                      <a:pt x="19" y="9"/>
                    </a:cubicBezTo>
                    <a:cubicBezTo>
                      <a:pt x="17" y="9"/>
                      <a:pt x="16" y="8"/>
                      <a:pt x="16" y="7"/>
                    </a:cubicBezTo>
                    <a:cubicBezTo>
                      <a:pt x="16" y="5"/>
                      <a:pt x="13" y="3"/>
                      <a:pt x="13" y="2"/>
                    </a:cubicBezTo>
                    <a:cubicBezTo>
                      <a:pt x="13" y="2"/>
                      <a:pt x="14" y="2"/>
                      <a:pt x="14" y="2"/>
                    </a:cubicBezTo>
                    <a:cubicBezTo>
                      <a:pt x="13" y="1"/>
                      <a:pt x="12" y="1"/>
                      <a:pt x="11" y="1"/>
                    </a:cubicBezTo>
                    <a:cubicBezTo>
                      <a:pt x="10" y="1"/>
                      <a:pt x="8" y="0"/>
                      <a:pt x="8" y="0"/>
                    </a:cubicBezTo>
                    <a:cubicBezTo>
                      <a:pt x="8" y="0"/>
                      <a:pt x="3" y="2"/>
                      <a:pt x="0" y="3"/>
                    </a:cubicBezTo>
                    <a:cubicBezTo>
                      <a:pt x="0" y="5"/>
                      <a:pt x="0" y="7"/>
                      <a:pt x="2" y="8"/>
                    </a:cubicBezTo>
                    <a:cubicBezTo>
                      <a:pt x="4" y="9"/>
                      <a:pt x="3" y="11"/>
                      <a:pt x="4" y="13"/>
                    </a:cubicBezTo>
                    <a:cubicBezTo>
                      <a:pt x="5" y="16"/>
                      <a:pt x="5" y="26"/>
                      <a:pt x="4" y="26"/>
                    </a:cubicBezTo>
                    <a:cubicBezTo>
                      <a:pt x="3" y="26"/>
                      <a:pt x="2" y="27"/>
                      <a:pt x="1" y="29"/>
                    </a:cubicBezTo>
                    <a:cubicBezTo>
                      <a:pt x="2" y="31"/>
                      <a:pt x="5" y="34"/>
                      <a:pt x="7" y="36"/>
                    </a:cubicBezTo>
                    <a:cubicBezTo>
                      <a:pt x="7" y="36"/>
                      <a:pt x="7" y="36"/>
                      <a:pt x="7" y="36"/>
                    </a:cubicBezTo>
                    <a:cubicBezTo>
                      <a:pt x="9" y="36"/>
                      <a:pt x="15" y="40"/>
                      <a:pt x="15" y="40"/>
                    </a:cubicBezTo>
                    <a:cubicBezTo>
                      <a:pt x="15" y="40"/>
                      <a:pt x="23" y="39"/>
                      <a:pt x="28" y="38"/>
                    </a:cubicBezTo>
                    <a:cubicBezTo>
                      <a:pt x="28" y="37"/>
                      <a:pt x="29" y="36"/>
                      <a:pt x="29" y="35"/>
                    </a:cubicBezTo>
                    <a:cubicBezTo>
                      <a:pt x="28" y="34"/>
                      <a:pt x="30" y="32"/>
                      <a:pt x="31" y="32"/>
                    </a:cubicBezTo>
                    <a:cubicBezTo>
                      <a:pt x="33" y="32"/>
                      <a:pt x="31" y="29"/>
                      <a:pt x="29" y="2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560" name="Text Placeholder 553">
            <a:extLst>
              <a:ext uri="{FF2B5EF4-FFF2-40B4-BE49-F238E27FC236}">
                <a16:creationId xmlns:a16="http://schemas.microsoft.com/office/drawing/2014/main" id="{D912895C-B21A-4D2F-8D0B-7647A17FE88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08111" y="2605399"/>
            <a:ext cx="470585" cy="568049"/>
          </a:xfrm>
          <a:custGeom>
            <a:avLst/>
            <a:gdLst>
              <a:gd name="connsiteX0" fmla="*/ 197521 w 395043"/>
              <a:gd name="connsiteY0" fmla="*/ 127878 h 476860"/>
              <a:gd name="connsiteX1" fmla="*/ 134426 w 395043"/>
              <a:gd name="connsiteY1" fmla="*/ 190974 h 476860"/>
              <a:gd name="connsiteX2" fmla="*/ 197521 w 395043"/>
              <a:gd name="connsiteY2" fmla="*/ 254069 h 476860"/>
              <a:gd name="connsiteX3" fmla="*/ 260616 w 395043"/>
              <a:gd name="connsiteY3" fmla="*/ 190974 h 476860"/>
              <a:gd name="connsiteX4" fmla="*/ 197521 w 395043"/>
              <a:gd name="connsiteY4" fmla="*/ 127878 h 476860"/>
              <a:gd name="connsiteX5" fmla="*/ 197522 w 395043"/>
              <a:gd name="connsiteY5" fmla="*/ 0 h 476860"/>
              <a:gd name="connsiteX6" fmla="*/ 337191 w 395043"/>
              <a:gd name="connsiteY6" fmla="*/ 57853 h 476860"/>
              <a:gd name="connsiteX7" fmla="*/ 337191 w 395043"/>
              <a:gd name="connsiteY7" fmla="*/ 57854 h 476860"/>
              <a:gd name="connsiteX8" fmla="*/ 337191 w 395043"/>
              <a:gd name="connsiteY8" fmla="*/ 337192 h 476860"/>
              <a:gd name="connsiteX9" fmla="*/ 197522 w 395043"/>
              <a:gd name="connsiteY9" fmla="*/ 476860 h 476860"/>
              <a:gd name="connsiteX10" fmla="*/ 57853 w 395043"/>
              <a:gd name="connsiteY10" fmla="*/ 337191 h 476860"/>
              <a:gd name="connsiteX11" fmla="*/ 57853 w 395043"/>
              <a:gd name="connsiteY11" fmla="*/ 57853 h 476860"/>
              <a:gd name="connsiteX12" fmla="*/ 197522 w 395043"/>
              <a:gd name="connsiteY12" fmla="*/ 0 h 4768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95043" h="476860">
                <a:moveTo>
                  <a:pt x="197521" y="127878"/>
                </a:moveTo>
                <a:cubicBezTo>
                  <a:pt x="162675" y="127878"/>
                  <a:pt x="134426" y="156127"/>
                  <a:pt x="134426" y="190974"/>
                </a:cubicBezTo>
                <a:cubicBezTo>
                  <a:pt x="134427" y="225819"/>
                  <a:pt x="162676" y="254068"/>
                  <a:pt x="197521" y="254069"/>
                </a:cubicBezTo>
                <a:cubicBezTo>
                  <a:pt x="232368" y="254069"/>
                  <a:pt x="260616" y="225820"/>
                  <a:pt x="260616" y="190974"/>
                </a:cubicBezTo>
                <a:cubicBezTo>
                  <a:pt x="260616" y="156127"/>
                  <a:pt x="232368" y="127878"/>
                  <a:pt x="197521" y="127878"/>
                </a:cubicBezTo>
                <a:close/>
                <a:moveTo>
                  <a:pt x="197522" y="0"/>
                </a:moveTo>
                <a:cubicBezTo>
                  <a:pt x="248073" y="0"/>
                  <a:pt x="298623" y="19285"/>
                  <a:pt x="337191" y="57853"/>
                </a:cubicBezTo>
                <a:lnTo>
                  <a:pt x="337191" y="57854"/>
                </a:lnTo>
                <a:cubicBezTo>
                  <a:pt x="414327" y="134991"/>
                  <a:pt x="414327" y="260055"/>
                  <a:pt x="337191" y="337192"/>
                </a:cubicBezTo>
                <a:lnTo>
                  <a:pt x="197522" y="476860"/>
                </a:lnTo>
                <a:lnTo>
                  <a:pt x="57853" y="337191"/>
                </a:lnTo>
                <a:cubicBezTo>
                  <a:pt x="-19284" y="260054"/>
                  <a:pt x="-19284" y="134990"/>
                  <a:pt x="57853" y="57853"/>
                </a:cubicBezTo>
                <a:cubicBezTo>
                  <a:pt x="96421" y="19285"/>
                  <a:pt x="146971" y="0"/>
                  <a:pt x="197522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none" lIns="640080" anchor="ctr" anchorCtr="0">
            <a:noAutofit/>
          </a:bodyPr>
          <a:lstStyle>
            <a:lvl1pPr>
              <a:defRPr sz="2400" b="1"/>
            </a:lvl1pPr>
          </a:lstStyle>
          <a:p>
            <a:pPr lvl="0"/>
            <a:r>
              <a:rPr lang="en-US" dirty="0"/>
              <a:t>Bucharest, Romani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AE62B8-76B4-48AF-BECC-7E8965977A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89395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sktop Screensho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C92C32A2-735E-4F61-B7C3-7EDF7AB8BD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26764" y="1040665"/>
            <a:ext cx="6579136" cy="5534114"/>
          </a:xfrm>
          <a:prstGeom prst="rect">
            <a:avLst/>
          </a:prstGeom>
        </p:spPr>
      </p:pic>
      <p:sp>
        <p:nvSpPr>
          <p:cNvPr id="18" name="Picture Placeholder 5">
            <a:extLst>
              <a:ext uri="{FF2B5EF4-FFF2-40B4-BE49-F238E27FC236}">
                <a16:creationId xmlns:a16="http://schemas.microsoft.com/office/drawing/2014/main" id="{E1B3FAEE-4E78-46C7-9DB6-5C22BB3E16F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2795588" y="1400175"/>
            <a:ext cx="6029325" cy="3386137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1016641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ptop Screensh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18AA178-7695-486F-AE3D-C1BB3F583729}"/>
              </a:ext>
            </a:extLst>
          </p:cNvPr>
          <p:cNvSpPr/>
          <p:nvPr userDrawn="1"/>
        </p:nvSpPr>
        <p:spPr>
          <a:xfrm>
            <a:off x="2778011" y="1296369"/>
            <a:ext cx="6805516" cy="4411454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n-US" sz="1400" b="0" i="0" dirty="0" err="1">
              <a:latin typeface="Arial"/>
              <a:cs typeface="Arial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3ED9E8F-DE34-408C-8ECF-DE7BEEA6A1A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445418" y="862802"/>
            <a:ext cx="9297988" cy="5609576"/>
          </a:xfrm>
          <a:prstGeom prst="rect">
            <a:avLst/>
          </a:prstGeom>
        </p:spPr>
      </p:pic>
      <p:sp>
        <p:nvSpPr>
          <p:cNvPr id="18" name="Picture Placeholder 5">
            <a:extLst>
              <a:ext uri="{FF2B5EF4-FFF2-40B4-BE49-F238E27FC236}">
                <a16:creationId xmlns:a16="http://schemas.microsoft.com/office/drawing/2014/main" id="{E1B3FAEE-4E78-46C7-9DB6-5C22BB3E16F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2814043" y="1523758"/>
            <a:ext cx="6568082" cy="4092359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/>
          </a:p>
        </p:txBody>
      </p:sp>
      <p:pic>
        <p:nvPicPr>
          <p:cNvPr id="10" name="Graphic 9" hidden="1">
            <a:extLst>
              <a:ext uri="{FF2B5EF4-FFF2-40B4-BE49-F238E27FC236}">
                <a16:creationId xmlns:a16="http://schemas.microsoft.com/office/drawing/2014/main" id="{17CDA781-D5FC-4C3F-93B0-299A1CC43DE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312103" y="715198"/>
            <a:ext cx="9301845" cy="53525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8391687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Imag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5">
            <a:extLst>
              <a:ext uri="{FF2B5EF4-FFF2-40B4-BE49-F238E27FC236}">
                <a16:creationId xmlns:a16="http://schemas.microsoft.com/office/drawing/2014/main" id="{E1B3FAEE-4E78-46C7-9DB6-5C22BB3E16F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-1" y="0"/>
            <a:ext cx="12188825" cy="6858000"/>
          </a:xfrm>
          <a:solidFill>
            <a:schemeClr val="bg2"/>
          </a:solidFill>
        </p:spPr>
        <p:txBody>
          <a:bodyPr anchor="ctr"/>
          <a:lstStyle>
            <a:lvl1pPr algn="ctr"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1411463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– Grid Dark Custom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" name="Freeform: Shape 122">
            <a:extLst>
              <a:ext uri="{FF2B5EF4-FFF2-40B4-BE49-F238E27FC236}">
                <a16:creationId xmlns:a16="http://schemas.microsoft.com/office/drawing/2014/main" id="{AF48B8C3-FDCD-43C6-850A-AA7EF28A95DF}"/>
              </a:ext>
            </a:extLst>
          </p:cNvPr>
          <p:cNvSpPr/>
          <p:nvPr userDrawn="1"/>
        </p:nvSpPr>
        <p:spPr>
          <a:xfrm>
            <a:off x="252826" y="222351"/>
            <a:ext cx="11701760" cy="6407421"/>
          </a:xfrm>
          <a:custGeom>
            <a:avLst/>
            <a:gdLst>
              <a:gd name="connsiteX0" fmla="*/ 11672158 w 11701760"/>
              <a:gd name="connsiteY0" fmla="*/ 6377925 h 6407421"/>
              <a:gd name="connsiteX1" fmla="*/ 11701760 w 11701760"/>
              <a:gd name="connsiteY1" fmla="*/ 6377925 h 6407421"/>
              <a:gd name="connsiteX2" fmla="*/ 11701760 w 11701760"/>
              <a:gd name="connsiteY2" fmla="*/ 6407421 h 6407421"/>
              <a:gd name="connsiteX3" fmla="*/ 11672158 w 11701760"/>
              <a:gd name="connsiteY3" fmla="*/ 6407421 h 6407421"/>
              <a:gd name="connsiteX4" fmla="*/ 11405961 w 11701760"/>
              <a:gd name="connsiteY4" fmla="*/ 6377925 h 6407421"/>
              <a:gd name="connsiteX5" fmla="*/ 11435563 w 11701760"/>
              <a:gd name="connsiteY5" fmla="*/ 6377925 h 6407421"/>
              <a:gd name="connsiteX6" fmla="*/ 11435563 w 11701760"/>
              <a:gd name="connsiteY6" fmla="*/ 6407421 h 6407421"/>
              <a:gd name="connsiteX7" fmla="*/ 11405961 w 11701760"/>
              <a:gd name="connsiteY7" fmla="*/ 6407421 h 6407421"/>
              <a:gd name="connsiteX8" fmla="*/ 11139872 w 11701760"/>
              <a:gd name="connsiteY8" fmla="*/ 6377925 h 6407421"/>
              <a:gd name="connsiteX9" fmla="*/ 11169474 w 11701760"/>
              <a:gd name="connsiteY9" fmla="*/ 6377925 h 6407421"/>
              <a:gd name="connsiteX10" fmla="*/ 11169474 w 11701760"/>
              <a:gd name="connsiteY10" fmla="*/ 6407421 h 6407421"/>
              <a:gd name="connsiteX11" fmla="*/ 11139872 w 11701760"/>
              <a:gd name="connsiteY11" fmla="*/ 6407421 h 6407421"/>
              <a:gd name="connsiteX12" fmla="*/ 10873675 w 11701760"/>
              <a:gd name="connsiteY12" fmla="*/ 6377925 h 6407421"/>
              <a:gd name="connsiteX13" fmla="*/ 10903277 w 11701760"/>
              <a:gd name="connsiteY13" fmla="*/ 6377925 h 6407421"/>
              <a:gd name="connsiteX14" fmla="*/ 10903277 w 11701760"/>
              <a:gd name="connsiteY14" fmla="*/ 6407421 h 6407421"/>
              <a:gd name="connsiteX15" fmla="*/ 10873675 w 11701760"/>
              <a:gd name="connsiteY15" fmla="*/ 6407421 h 6407421"/>
              <a:gd name="connsiteX16" fmla="*/ 10607478 w 11701760"/>
              <a:gd name="connsiteY16" fmla="*/ 6377925 h 6407421"/>
              <a:gd name="connsiteX17" fmla="*/ 10637188 w 11701760"/>
              <a:gd name="connsiteY17" fmla="*/ 6377925 h 6407421"/>
              <a:gd name="connsiteX18" fmla="*/ 10637188 w 11701760"/>
              <a:gd name="connsiteY18" fmla="*/ 6407421 h 6407421"/>
              <a:gd name="connsiteX19" fmla="*/ 10607478 w 11701760"/>
              <a:gd name="connsiteY19" fmla="*/ 6407421 h 6407421"/>
              <a:gd name="connsiteX20" fmla="*/ 10341389 w 11701760"/>
              <a:gd name="connsiteY20" fmla="*/ 6377925 h 6407421"/>
              <a:gd name="connsiteX21" fmla="*/ 10370992 w 11701760"/>
              <a:gd name="connsiteY21" fmla="*/ 6377925 h 6407421"/>
              <a:gd name="connsiteX22" fmla="*/ 10370992 w 11701760"/>
              <a:gd name="connsiteY22" fmla="*/ 6407421 h 6407421"/>
              <a:gd name="connsiteX23" fmla="*/ 10341389 w 11701760"/>
              <a:gd name="connsiteY23" fmla="*/ 6407421 h 6407421"/>
              <a:gd name="connsiteX24" fmla="*/ 10075192 w 11701760"/>
              <a:gd name="connsiteY24" fmla="*/ 6377925 h 6407421"/>
              <a:gd name="connsiteX25" fmla="*/ 10104794 w 11701760"/>
              <a:gd name="connsiteY25" fmla="*/ 6377925 h 6407421"/>
              <a:gd name="connsiteX26" fmla="*/ 10104794 w 11701760"/>
              <a:gd name="connsiteY26" fmla="*/ 6407421 h 6407421"/>
              <a:gd name="connsiteX27" fmla="*/ 10075192 w 11701760"/>
              <a:gd name="connsiteY27" fmla="*/ 6407421 h 6407421"/>
              <a:gd name="connsiteX28" fmla="*/ 9809103 w 11701760"/>
              <a:gd name="connsiteY28" fmla="*/ 6377925 h 6407421"/>
              <a:gd name="connsiteX29" fmla="*/ 9838705 w 11701760"/>
              <a:gd name="connsiteY29" fmla="*/ 6377925 h 6407421"/>
              <a:gd name="connsiteX30" fmla="*/ 9838705 w 11701760"/>
              <a:gd name="connsiteY30" fmla="*/ 6407421 h 6407421"/>
              <a:gd name="connsiteX31" fmla="*/ 9809103 w 11701760"/>
              <a:gd name="connsiteY31" fmla="*/ 6407421 h 6407421"/>
              <a:gd name="connsiteX32" fmla="*/ 9542906 w 11701760"/>
              <a:gd name="connsiteY32" fmla="*/ 6377925 h 6407421"/>
              <a:gd name="connsiteX33" fmla="*/ 9572509 w 11701760"/>
              <a:gd name="connsiteY33" fmla="*/ 6377925 h 6407421"/>
              <a:gd name="connsiteX34" fmla="*/ 9572509 w 11701760"/>
              <a:gd name="connsiteY34" fmla="*/ 6407421 h 6407421"/>
              <a:gd name="connsiteX35" fmla="*/ 9542906 w 11701760"/>
              <a:gd name="connsiteY35" fmla="*/ 6407421 h 6407421"/>
              <a:gd name="connsiteX36" fmla="*/ 9276817 w 11701760"/>
              <a:gd name="connsiteY36" fmla="*/ 6377925 h 6407421"/>
              <a:gd name="connsiteX37" fmla="*/ 9306420 w 11701760"/>
              <a:gd name="connsiteY37" fmla="*/ 6377925 h 6407421"/>
              <a:gd name="connsiteX38" fmla="*/ 9306420 w 11701760"/>
              <a:gd name="connsiteY38" fmla="*/ 6407421 h 6407421"/>
              <a:gd name="connsiteX39" fmla="*/ 9276817 w 11701760"/>
              <a:gd name="connsiteY39" fmla="*/ 6407421 h 6407421"/>
              <a:gd name="connsiteX40" fmla="*/ 9010620 w 11701760"/>
              <a:gd name="connsiteY40" fmla="*/ 6377925 h 6407421"/>
              <a:gd name="connsiteX41" fmla="*/ 9040222 w 11701760"/>
              <a:gd name="connsiteY41" fmla="*/ 6377925 h 6407421"/>
              <a:gd name="connsiteX42" fmla="*/ 9040222 w 11701760"/>
              <a:gd name="connsiteY42" fmla="*/ 6407421 h 6407421"/>
              <a:gd name="connsiteX43" fmla="*/ 9010620 w 11701760"/>
              <a:gd name="connsiteY43" fmla="*/ 6407421 h 6407421"/>
              <a:gd name="connsiteX44" fmla="*/ 8744423 w 11701760"/>
              <a:gd name="connsiteY44" fmla="*/ 6377925 h 6407421"/>
              <a:gd name="connsiteX45" fmla="*/ 8774026 w 11701760"/>
              <a:gd name="connsiteY45" fmla="*/ 6377925 h 6407421"/>
              <a:gd name="connsiteX46" fmla="*/ 8774026 w 11701760"/>
              <a:gd name="connsiteY46" fmla="*/ 6407421 h 6407421"/>
              <a:gd name="connsiteX47" fmla="*/ 8744423 w 11701760"/>
              <a:gd name="connsiteY47" fmla="*/ 6407421 h 6407421"/>
              <a:gd name="connsiteX48" fmla="*/ 8478226 w 11701760"/>
              <a:gd name="connsiteY48" fmla="*/ 6377925 h 6407421"/>
              <a:gd name="connsiteX49" fmla="*/ 8507828 w 11701760"/>
              <a:gd name="connsiteY49" fmla="*/ 6377925 h 6407421"/>
              <a:gd name="connsiteX50" fmla="*/ 8507828 w 11701760"/>
              <a:gd name="connsiteY50" fmla="*/ 6407421 h 6407421"/>
              <a:gd name="connsiteX51" fmla="*/ 8478226 w 11701760"/>
              <a:gd name="connsiteY51" fmla="*/ 6407421 h 6407421"/>
              <a:gd name="connsiteX52" fmla="*/ 8212137 w 11701760"/>
              <a:gd name="connsiteY52" fmla="*/ 6377925 h 6407421"/>
              <a:gd name="connsiteX53" fmla="*/ 8241740 w 11701760"/>
              <a:gd name="connsiteY53" fmla="*/ 6377925 h 6407421"/>
              <a:gd name="connsiteX54" fmla="*/ 8241740 w 11701760"/>
              <a:gd name="connsiteY54" fmla="*/ 6407421 h 6407421"/>
              <a:gd name="connsiteX55" fmla="*/ 8212137 w 11701760"/>
              <a:gd name="connsiteY55" fmla="*/ 6407421 h 6407421"/>
              <a:gd name="connsiteX56" fmla="*/ 7945940 w 11701760"/>
              <a:gd name="connsiteY56" fmla="*/ 6377925 h 6407421"/>
              <a:gd name="connsiteX57" fmla="*/ 7975543 w 11701760"/>
              <a:gd name="connsiteY57" fmla="*/ 6377925 h 6407421"/>
              <a:gd name="connsiteX58" fmla="*/ 7975543 w 11701760"/>
              <a:gd name="connsiteY58" fmla="*/ 6407421 h 6407421"/>
              <a:gd name="connsiteX59" fmla="*/ 7945940 w 11701760"/>
              <a:gd name="connsiteY59" fmla="*/ 6407421 h 6407421"/>
              <a:gd name="connsiteX60" fmla="*/ 7679743 w 11701760"/>
              <a:gd name="connsiteY60" fmla="*/ 6377925 h 6407421"/>
              <a:gd name="connsiteX61" fmla="*/ 7709346 w 11701760"/>
              <a:gd name="connsiteY61" fmla="*/ 6377925 h 6407421"/>
              <a:gd name="connsiteX62" fmla="*/ 7709346 w 11701760"/>
              <a:gd name="connsiteY62" fmla="*/ 6407421 h 6407421"/>
              <a:gd name="connsiteX63" fmla="*/ 7679743 w 11701760"/>
              <a:gd name="connsiteY63" fmla="*/ 6407421 h 6407421"/>
              <a:gd name="connsiteX64" fmla="*/ 7413653 w 11701760"/>
              <a:gd name="connsiteY64" fmla="*/ 6377925 h 6407421"/>
              <a:gd name="connsiteX65" fmla="*/ 7443256 w 11701760"/>
              <a:gd name="connsiteY65" fmla="*/ 6377925 h 6407421"/>
              <a:gd name="connsiteX66" fmla="*/ 7443256 w 11701760"/>
              <a:gd name="connsiteY66" fmla="*/ 6407421 h 6407421"/>
              <a:gd name="connsiteX67" fmla="*/ 7413653 w 11701760"/>
              <a:gd name="connsiteY67" fmla="*/ 6407421 h 6407421"/>
              <a:gd name="connsiteX68" fmla="*/ 7147456 w 11701760"/>
              <a:gd name="connsiteY68" fmla="*/ 6377925 h 6407421"/>
              <a:gd name="connsiteX69" fmla="*/ 7177058 w 11701760"/>
              <a:gd name="connsiteY69" fmla="*/ 6377925 h 6407421"/>
              <a:gd name="connsiteX70" fmla="*/ 7177058 w 11701760"/>
              <a:gd name="connsiteY70" fmla="*/ 6407421 h 6407421"/>
              <a:gd name="connsiteX71" fmla="*/ 7147456 w 11701760"/>
              <a:gd name="connsiteY71" fmla="*/ 6407421 h 6407421"/>
              <a:gd name="connsiteX72" fmla="*/ 6881367 w 11701760"/>
              <a:gd name="connsiteY72" fmla="*/ 6377925 h 6407421"/>
              <a:gd name="connsiteX73" fmla="*/ 6910970 w 11701760"/>
              <a:gd name="connsiteY73" fmla="*/ 6377925 h 6407421"/>
              <a:gd name="connsiteX74" fmla="*/ 6910970 w 11701760"/>
              <a:gd name="connsiteY74" fmla="*/ 6407421 h 6407421"/>
              <a:gd name="connsiteX75" fmla="*/ 6881367 w 11701760"/>
              <a:gd name="connsiteY75" fmla="*/ 6407421 h 6407421"/>
              <a:gd name="connsiteX76" fmla="*/ 6615170 w 11701760"/>
              <a:gd name="connsiteY76" fmla="*/ 6377925 h 6407421"/>
              <a:gd name="connsiteX77" fmla="*/ 6644773 w 11701760"/>
              <a:gd name="connsiteY77" fmla="*/ 6377925 h 6407421"/>
              <a:gd name="connsiteX78" fmla="*/ 6644773 w 11701760"/>
              <a:gd name="connsiteY78" fmla="*/ 6407421 h 6407421"/>
              <a:gd name="connsiteX79" fmla="*/ 6615170 w 11701760"/>
              <a:gd name="connsiteY79" fmla="*/ 6407421 h 6407421"/>
              <a:gd name="connsiteX80" fmla="*/ 6349081 w 11701760"/>
              <a:gd name="connsiteY80" fmla="*/ 6377925 h 6407421"/>
              <a:gd name="connsiteX81" fmla="*/ 6378683 w 11701760"/>
              <a:gd name="connsiteY81" fmla="*/ 6377925 h 6407421"/>
              <a:gd name="connsiteX82" fmla="*/ 6378683 w 11701760"/>
              <a:gd name="connsiteY82" fmla="*/ 6407421 h 6407421"/>
              <a:gd name="connsiteX83" fmla="*/ 6349081 w 11701760"/>
              <a:gd name="connsiteY83" fmla="*/ 6407421 h 6407421"/>
              <a:gd name="connsiteX84" fmla="*/ 6082884 w 11701760"/>
              <a:gd name="connsiteY84" fmla="*/ 6377925 h 6407421"/>
              <a:gd name="connsiteX85" fmla="*/ 6112486 w 11701760"/>
              <a:gd name="connsiteY85" fmla="*/ 6377925 h 6407421"/>
              <a:gd name="connsiteX86" fmla="*/ 6112486 w 11701760"/>
              <a:gd name="connsiteY86" fmla="*/ 6407421 h 6407421"/>
              <a:gd name="connsiteX87" fmla="*/ 6082884 w 11701760"/>
              <a:gd name="connsiteY87" fmla="*/ 6407421 h 6407421"/>
              <a:gd name="connsiteX88" fmla="*/ 5825310 w 11701760"/>
              <a:gd name="connsiteY88" fmla="*/ 6377925 h 6407421"/>
              <a:gd name="connsiteX89" fmla="*/ 5854913 w 11701760"/>
              <a:gd name="connsiteY89" fmla="*/ 6377925 h 6407421"/>
              <a:gd name="connsiteX90" fmla="*/ 5854913 w 11701760"/>
              <a:gd name="connsiteY90" fmla="*/ 6407421 h 6407421"/>
              <a:gd name="connsiteX91" fmla="*/ 5825310 w 11701760"/>
              <a:gd name="connsiteY91" fmla="*/ 6407421 h 6407421"/>
              <a:gd name="connsiteX92" fmla="*/ 5559113 w 11701760"/>
              <a:gd name="connsiteY92" fmla="*/ 6377925 h 6407421"/>
              <a:gd name="connsiteX93" fmla="*/ 5588715 w 11701760"/>
              <a:gd name="connsiteY93" fmla="*/ 6377925 h 6407421"/>
              <a:gd name="connsiteX94" fmla="*/ 5588715 w 11701760"/>
              <a:gd name="connsiteY94" fmla="*/ 6407421 h 6407421"/>
              <a:gd name="connsiteX95" fmla="*/ 5559113 w 11701760"/>
              <a:gd name="connsiteY95" fmla="*/ 6407421 h 6407421"/>
              <a:gd name="connsiteX96" fmla="*/ 5293024 w 11701760"/>
              <a:gd name="connsiteY96" fmla="*/ 6377925 h 6407421"/>
              <a:gd name="connsiteX97" fmla="*/ 5322626 w 11701760"/>
              <a:gd name="connsiteY97" fmla="*/ 6377925 h 6407421"/>
              <a:gd name="connsiteX98" fmla="*/ 5322626 w 11701760"/>
              <a:gd name="connsiteY98" fmla="*/ 6407421 h 6407421"/>
              <a:gd name="connsiteX99" fmla="*/ 5293024 w 11701760"/>
              <a:gd name="connsiteY99" fmla="*/ 6407421 h 6407421"/>
              <a:gd name="connsiteX100" fmla="*/ 5026827 w 11701760"/>
              <a:gd name="connsiteY100" fmla="*/ 6377925 h 6407421"/>
              <a:gd name="connsiteX101" fmla="*/ 5056429 w 11701760"/>
              <a:gd name="connsiteY101" fmla="*/ 6377925 h 6407421"/>
              <a:gd name="connsiteX102" fmla="*/ 5056429 w 11701760"/>
              <a:gd name="connsiteY102" fmla="*/ 6407421 h 6407421"/>
              <a:gd name="connsiteX103" fmla="*/ 5026827 w 11701760"/>
              <a:gd name="connsiteY103" fmla="*/ 6407421 h 6407421"/>
              <a:gd name="connsiteX104" fmla="*/ 4760630 w 11701760"/>
              <a:gd name="connsiteY104" fmla="*/ 6377925 h 6407421"/>
              <a:gd name="connsiteX105" fmla="*/ 4790340 w 11701760"/>
              <a:gd name="connsiteY105" fmla="*/ 6377925 h 6407421"/>
              <a:gd name="connsiteX106" fmla="*/ 4790340 w 11701760"/>
              <a:gd name="connsiteY106" fmla="*/ 6407421 h 6407421"/>
              <a:gd name="connsiteX107" fmla="*/ 4760630 w 11701760"/>
              <a:gd name="connsiteY107" fmla="*/ 6407421 h 6407421"/>
              <a:gd name="connsiteX108" fmla="*/ 4494541 w 11701760"/>
              <a:gd name="connsiteY108" fmla="*/ 6377925 h 6407421"/>
              <a:gd name="connsiteX109" fmla="*/ 4524144 w 11701760"/>
              <a:gd name="connsiteY109" fmla="*/ 6377925 h 6407421"/>
              <a:gd name="connsiteX110" fmla="*/ 4524144 w 11701760"/>
              <a:gd name="connsiteY110" fmla="*/ 6407421 h 6407421"/>
              <a:gd name="connsiteX111" fmla="*/ 4494541 w 11701760"/>
              <a:gd name="connsiteY111" fmla="*/ 6407421 h 6407421"/>
              <a:gd name="connsiteX112" fmla="*/ 4228344 w 11701760"/>
              <a:gd name="connsiteY112" fmla="*/ 6377925 h 6407421"/>
              <a:gd name="connsiteX113" fmla="*/ 4257946 w 11701760"/>
              <a:gd name="connsiteY113" fmla="*/ 6377925 h 6407421"/>
              <a:gd name="connsiteX114" fmla="*/ 4257946 w 11701760"/>
              <a:gd name="connsiteY114" fmla="*/ 6407421 h 6407421"/>
              <a:gd name="connsiteX115" fmla="*/ 4228344 w 11701760"/>
              <a:gd name="connsiteY115" fmla="*/ 6407421 h 6407421"/>
              <a:gd name="connsiteX116" fmla="*/ 3962255 w 11701760"/>
              <a:gd name="connsiteY116" fmla="*/ 6377925 h 6407421"/>
              <a:gd name="connsiteX117" fmla="*/ 3991857 w 11701760"/>
              <a:gd name="connsiteY117" fmla="*/ 6377925 h 6407421"/>
              <a:gd name="connsiteX118" fmla="*/ 3991857 w 11701760"/>
              <a:gd name="connsiteY118" fmla="*/ 6407421 h 6407421"/>
              <a:gd name="connsiteX119" fmla="*/ 3962255 w 11701760"/>
              <a:gd name="connsiteY119" fmla="*/ 6407421 h 6407421"/>
              <a:gd name="connsiteX120" fmla="*/ 3696058 w 11701760"/>
              <a:gd name="connsiteY120" fmla="*/ 6377925 h 6407421"/>
              <a:gd name="connsiteX121" fmla="*/ 3725661 w 11701760"/>
              <a:gd name="connsiteY121" fmla="*/ 6377925 h 6407421"/>
              <a:gd name="connsiteX122" fmla="*/ 3725661 w 11701760"/>
              <a:gd name="connsiteY122" fmla="*/ 6407421 h 6407421"/>
              <a:gd name="connsiteX123" fmla="*/ 3696058 w 11701760"/>
              <a:gd name="connsiteY123" fmla="*/ 6407421 h 6407421"/>
              <a:gd name="connsiteX124" fmla="*/ 3429969 w 11701760"/>
              <a:gd name="connsiteY124" fmla="*/ 6377925 h 6407421"/>
              <a:gd name="connsiteX125" fmla="*/ 3459572 w 11701760"/>
              <a:gd name="connsiteY125" fmla="*/ 6377925 h 6407421"/>
              <a:gd name="connsiteX126" fmla="*/ 3459572 w 11701760"/>
              <a:gd name="connsiteY126" fmla="*/ 6407421 h 6407421"/>
              <a:gd name="connsiteX127" fmla="*/ 3429969 w 11701760"/>
              <a:gd name="connsiteY127" fmla="*/ 6407421 h 6407421"/>
              <a:gd name="connsiteX128" fmla="*/ 3163772 w 11701760"/>
              <a:gd name="connsiteY128" fmla="*/ 6377925 h 6407421"/>
              <a:gd name="connsiteX129" fmla="*/ 3193374 w 11701760"/>
              <a:gd name="connsiteY129" fmla="*/ 6377925 h 6407421"/>
              <a:gd name="connsiteX130" fmla="*/ 3193374 w 11701760"/>
              <a:gd name="connsiteY130" fmla="*/ 6407421 h 6407421"/>
              <a:gd name="connsiteX131" fmla="*/ 3163772 w 11701760"/>
              <a:gd name="connsiteY131" fmla="*/ 6407421 h 6407421"/>
              <a:gd name="connsiteX132" fmla="*/ 2897575 w 11701760"/>
              <a:gd name="connsiteY132" fmla="*/ 6377925 h 6407421"/>
              <a:gd name="connsiteX133" fmla="*/ 2927178 w 11701760"/>
              <a:gd name="connsiteY133" fmla="*/ 6377925 h 6407421"/>
              <a:gd name="connsiteX134" fmla="*/ 2927178 w 11701760"/>
              <a:gd name="connsiteY134" fmla="*/ 6407421 h 6407421"/>
              <a:gd name="connsiteX135" fmla="*/ 2897575 w 11701760"/>
              <a:gd name="connsiteY135" fmla="*/ 6407421 h 6407421"/>
              <a:gd name="connsiteX136" fmla="*/ 2631378 w 11701760"/>
              <a:gd name="connsiteY136" fmla="*/ 6377925 h 6407421"/>
              <a:gd name="connsiteX137" fmla="*/ 2660980 w 11701760"/>
              <a:gd name="connsiteY137" fmla="*/ 6377925 h 6407421"/>
              <a:gd name="connsiteX138" fmla="*/ 2660980 w 11701760"/>
              <a:gd name="connsiteY138" fmla="*/ 6407421 h 6407421"/>
              <a:gd name="connsiteX139" fmla="*/ 2631378 w 11701760"/>
              <a:gd name="connsiteY139" fmla="*/ 6407421 h 6407421"/>
              <a:gd name="connsiteX140" fmla="*/ 2365289 w 11701760"/>
              <a:gd name="connsiteY140" fmla="*/ 6377925 h 6407421"/>
              <a:gd name="connsiteX141" fmla="*/ 2394892 w 11701760"/>
              <a:gd name="connsiteY141" fmla="*/ 6377925 h 6407421"/>
              <a:gd name="connsiteX142" fmla="*/ 2394892 w 11701760"/>
              <a:gd name="connsiteY142" fmla="*/ 6407421 h 6407421"/>
              <a:gd name="connsiteX143" fmla="*/ 2365289 w 11701760"/>
              <a:gd name="connsiteY143" fmla="*/ 6407421 h 6407421"/>
              <a:gd name="connsiteX144" fmla="*/ 2099092 w 11701760"/>
              <a:gd name="connsiteY144" fmla="*/ 6377925 h 6407421"/>
              <a:gd name="connsiteX145" fmla="*/ 2128695 w 11701760"/>
              <a:gd name="connsiteY145" fmla="*/ 6377925 h 6407421"/>
              <a:gd name="connsiteX146" fmla="*/ 2128695 w 11701760"/>
              <a:gd name="connsiteY146" fmla="*/ 6407421 h 6407421"/>
              <a:gd name="connsiteX147" fmla="*/ 2099092 w 11701760"/>
              <a:gd name="connsiteY147" fmla="*/ 6407421 h 6407421"/>
              <a:gd name="connsiteX148" fmla="*/ 1832898 w 11701760"/>
              <a:gd name="connsiteY148" fmla="*/ 6377925 h 6407421"/>
              <a:gd name="connsiteX149" fmla="*/ 1862498 w 11701760"/>
              <a:gd name="connsiteY149" fmla="*/ 6377925 h 6407421"/>
              <a:gd name="connsiteX150" fmla="*/ 1862498 w 11701760"/>
              <a:gd name="connsiteY150" fmla="*/ 6407421 h 6407421"/>
              <a:gd name="connsiteX151" fmla="*/ 1832898 w 11701760"/>
              <a:gd name="connsiteY151" fmla="*/ 6407421 h 6407421"/>
              <a:gd name="connsiteX152" fmla="*/ 1566808 w 11701760"/>
              <a:gd name="connsiteY152" fmla="*/ 6377925 h 6407421"/>
              <a:gd name="connsiteX153" fmla="*/ 1596409 w 11701760"/>
              <a:gd name="connsiteY153" fmla="*/ 6377925 h 6407421"/>
              <a:gd name="connsiteX154" fmla="*/ 1596409 w 11701760"/>
              <a:gd name="connsiteY154" fmla="*/ 6407421 h 6407421"/>
              <a:gd name="connsiteX155" fmla="*/ 1566808 w 11701760"/>
              <a:gd name="connsiteY155" fmla="*/ 6407421 h 6407421"/>
              <a:gd name="connsiteX156" fmla="*/ 1300611 w 11701760"/>
              <a:gd name="connsiteY156" fmla="*/ 6377925 h 6407421"/>
              <a:gd name="connsiteX157" fmla="*/ 1330213 w 11701760"/>
              <a:gd name="connsiteY157" fmla="*/ 6377925 h 6407421"/>
              <a:gd name="connsiteX158" fmla="*/ 1330213 w 11701760"/>
              <a:gd name="connsiteY158" fmla="*/ 6407421 h 6407421"/>
              <a:gd name="connsiteX159" fmla="*/ 1300611 w 11701760"/>
              <a:gd name="connsiteY159" fmla="*/ 6407421 h 6407421"/>
              <a:gd name="connsiteX160" fmla="*/ 1034520 w 11701760"/>
              <a:gd name="connsiteY160" fmla="*/ 6377925 h 6407421"/>
              <a:gd name="connsiteX161" fmla="*/ 1064123 w 11701760"/>
              <a:gd name="connsiteY161" fmla="*/ 6377925 h 6407421"/>
              <a:gd name="connsiteX162" fmla="*/ 1064123 w 11701760"/>
              <a:gd name="connsiteY162" fmla="*/ 6407421 h 6407421"/>
              <a:gd name="connsiteX163" fmla="*/ 1034520 w 11701760"/>
              <a:gd name="connsiteY163" fmla="*/ 6407421 h 6407421"/>
              <a:gd name="connsiteX164" fmla="*/ 768328 w 11701760"/>
              <a:gd name="connsiteY164" fmla="*/ 6377925 h 6407421"/>
              <a:gd name="connsiteX165" fmla="*/ 797926 w 11701760"/>
              <a:gd name="connsiteY165" fmla="*/ 6377925 h 6407421"/>
              <a:gd name="connsiteX166" fmla="*/ 797926 w 11701760"/>
              <a:gd name="connsiteY166" fmla="*/ 6407421 h 6407421"/>
              <a:gd name="connsiteX167" fmla="*/ 768328 w 11701760"/>
              <a:gd name="connsiteY167" fmla="*/ 6407421 h 6407421"/>
              <a:gd name="connsiteX168" fmla="*/ 502237 w 11701760"/>
              <a:gd name="connsiteY168" fmla="*/ 6377925 h 6407421"/>
              <a:gd name="connsiteX169" fmla="*/ 531839 w 11701760"/>
              <a:gd name="connsiteY169" fmla="*/ 6377925 h 6407421"/>
              <a:gd name="connsiteX170" fmla="*/ 531839 w 11701760"/>
              <a:gd name="connsiteY170" fmla="*/ 6407421 h 6407421"/>
              <a:gd name="connsiteX171" fmla="*/ 502237 w 11701760"/>
              <a:gd name="connsiteY171" fmla="*/ 6407421 h 6407421"/>
              <a:gd name="connsiteX172" fmla="*/ 236038 w 11701760"/>
              <a:gd name="connsiteY172" fmla="*/ 6377925 h 6407421"/>
              <a:gd name="connsiteX173" fmla="*/ 265640 w 11701760"/>
              <a:gd name="connsiteY173" fmla="*/ 6377925 h 6407421"/>
              <a:gd name="connsiteX174" fmla="*/ 265640 w 11701760"/>
              <a:gd name="connsiteY174" fmla="*/ 6407421 h 6407421"/>
              <a:gd name="connsiteX175" fmla="*/ 236038 w 11701760"/>
              <a:gd name="connsiteY175" fmla="*/ 6407421 h 6407421"/>
              <a:gd name="connsiteX176" fmla="*/ 2 w 11701760"/>
              <a:gd name="connsiteY176" fmla="*/ 6377925 h 6407421"/>
              <a:gd name="connsiteX177" fmla="*/ 29604 w 11701760"/>
              <a:gd name="connsiteY177" fmla="*/ 6377925 h 6407421"/>
              <a:gd name="connsiteX178" fmla="*/ 29604 w 11701760"/>
              <a:gd name="connsiteY178" fmla="*/ 6407421 h 6407421"/>
              <a:gd name="connsiteX179" fmla="*/ 2 w 11701760"/>
              <a:gd name="connsiteY179" fmla="*/ 6407421 h 6407421"/>
              <a:gd name="connsiteX180" fmla="*/ 11672158 w 11701760"/>
              <a:gd name="connsiteY180" fmla="*/ 6112161 h 6407421"/>
              <a:gd name="connsiteX181" fmla="*/ 11701760 w 11701760"/>
              <a:gd name="connsiteY181" fmla="*/ 6112161 h 6407421"/>
              <a:gd name="connsiteX182" fmla="*/ 11701760 w 11701760"/>
              <a:gd name="connsiteY182" fmla="*/ 6141763 h 6407421"/>
              <a:gd name="connsiteX183" fmla="*/ 11672158 w 11701760"/>
              <a:gd name="connsiteY183" fmla="*/ 6141763 h 6407421"/>
              <a:gd name="connsiteX184" fmla="*/ 11405961 w 11701760"/>
              <a:gd name="connsiteY184" fmla="*/ 6112161 h 6407421"/>
              <a:gd name="connsiteX185" fmla="*/ 11435563 w 11701760"/>
              <a:gd name="connsiteY185" fmla="*/ 6112161 h 6407421"/>
              <a:gd name="connsiteX186" fmla="*/ 11435563 w 11701760"/>
              <a:gd name="connsiteY186" fmla="*/ 6141763 h 6407421"/>
              <a:gd name="connsiteX187" fmla="*/ 11405961 w 11701760"/>
              <a:gd name="connsiteY187" fmla="*/ 6141763 h 6407421"/>
              <a:gd name="connsiteX188" fmla="*/ 11139872 w 11701760"/>
              <a:gd name="connsiteY188" fmla="*/ 6112161 h 6407421"/>
              <a:gd name="connsiteX189" fmla="*/ 11169474 w 11701760"/>
              <a:gd name="connsiteY189" fmla="*/ 6112161 h 6407421"/>
              <a:gd name="connsiteX190" fmla="*/ 11169474 w 11701760"/>
              <a:gd name="connsiteY190" fmla="*/ 6141763 h 6407421"/>
              <a:gd name="connsiteX191" fmla="*/ 11139872 w 11701760"/>
              <a:gd name="connsiteY191" fmla="*/ 6141763 h 6407421"/>
              <a:gd name="connsiteX192" fmla="*/ 10873675 w 11701760"/>
              <a:gd name="connsiteY192" fmla="*/ 6112161 h 6407421"/>
              <a:gd name="connsiteX193" fmla="*/ 10903277 w 11701760"/>
              <a:gd name="connsiteY193" fmla="*/ 6112161 h 6407421"/>
              <a:gd name="connsiteX194" fmla="*/ 10903277 w 11701760"/>
              <a:gd name="connsiteY194" fmla="*/ 6141763 h 6407421"/>
              <a:gd name="connsiteX195" fmla="*/ 10873675 w 11701760"/>
              <a:gd name="connsiteY195" fmla="*/ 6141763 h 6407421"/>
              <a:gd name="connsiteX196" fmla="*/ 10607478 w 11701760"/>
              <a:gd name="connsiteY196" fmla="*/ 6112161 h 6407421"/>
              <a:gd name="connsiteX197" fmla="*/ 10637188 w 11701760"/>
              <a:gd name="connsiteY197" fmla="*/ 6112161 h 6407421"/>
              <a:gd name="connsiteX198" fmla="*/ 10637188 w 11701760"/>
              <a:gd name="connsiteY198" fmla="*/ 6141763 h 6407421"/>
              <a:gd name="connsiteX199" fmla="*/ 10607478 w 11701760"/>
              <a:gd name="connsiteY199" fmla="*/ 6141763 h 6407421"/>
              <a:gd name="connsiteX200" fmla="*/ 10341389 w 11701760"/>
              <a:gd name="connsiteY200" fmla="*/ 6112161 h 6407421"/>
              <a:gd name="connsiteX201" fmla="*/ 10370992 w 11701760"/>
              <a:gd name="connsiteY201" fmla="*/ 6112161 h 6407421"/>
              <a:gd name="connsiteX202" fmla="*/ 10370992 w 11701760"/>
              <a:gd name="connsiteY202" fmla="*/ 6141763 h 6407421"/>
              <a:gd name="connsiteX203" fmla="*/ 10341389 w 11701760"/>
              <a:gd name="connsiteY203" fmla="*/ 6141763 h 6407421"/>
              <a:gd name="connsiteX204" fmla="*/ 10075192 w 11701760"/>
              <a:gd name="connsiteY204" fmla="*/ 6112161 h 6407421"/>
              <a:gd name="connsiteX205" fmla="*/ 10104794 w 11701760"/>
              <a:gd name="connsiteY205" fmla="*/ 6112161 h 6407421"/>
              <a:gd name="connsiteX206" fmla="*/ 10104794 w 11701760"/>
              <a:gd name="connsiteY206" fmla="*/ 6141763 h 6407421"/>
              <a:gd name="connsiteX207" fmla="*/ 10075192 w 11701760"/>
              <a:gd name="connsiteY207" fmla="*/ 6141763 h 6407421"/>
              <a:gd name="connsiteX208" fmla="*/ 9809103 w 11701760"/>
              <a:gd name="connsiteY208" fmla="*/ 6112161 h 6407421"/>
              <a:gd name="connsiteX209" fmla="*/ 9838705 w 11701760"/>
              <a:gd name="connsiteY209" fmla="*/ 6112161 h 6407421"/>
              <a:gd name="connsiteX210" fmla="*/ 9838705 w 11701760"/>
              <a:gd name="connsiteY210" fmla="*/ 6141763 h 6407421"/>
              <a:gd name="connsiteX211" fmla="*/ 9809103 w 11701760"/>
              <a:gd name="connsiteY211" fmla="*/ 6141763 h 6407421"/>
              <a:gd name="connsiteX212" fmla="*/ 9542906 w 11701760"/>
              <a:gd name="connsiteY212" fmla="*/ 6112161 h 6407421"/>
              <a:gd name="connsiteX213" fmla="*/ 9572509 w 11701760"/>
              <a:gd name="connsiteY213" fmla="*/ 6112161 h 6407421"/>
              <a:gd name="connsiteX214" fmla="*/ 9572509 w 11701760"/>
              <a:gd name="connsiteY214" fmla="*/ 6141763 h 6407421"/>
              <a:gd name="connsiteX215" fmla="*/ 9542906 w 11701760"/>
              <a:gd name="connsiteY215" fmla="*/ 6141763 h 6407421"/>
              <a:gd name="connsiteX216" fmla="*/ 9276817 w 11701760"/>
              <a:gd name="connsiteY216" fmla="*/ 6112161 h 6407421"/>
              <a:gd name="connsiteX217" fmla="*/ 9306420 w 11701760"/>
              <a:gd name="connsiteY217" fmla="*/ 6112161 h 6407421"/>
              <a:gd name="connsiteX218" fmla="*/ 9306420 w 11701760"/>
              <a:gd name="connsiteY218" fmla="*/ 6141763 h 6407421"/>
              <a:gd name="connsiteX219" fmla="*/ 9276817 w 11701760"/>
              <a:gd name="connsiteY219" fmla="*/ 6141763 h 6407421"/>
              <a:gd name="connsiteX220" fmla="*/ 9010620 w 11701760"/>
              <a:gd name="connsiteY220" fmla="*/ 6112161 h 6407421"/>
              <a:gd name="connsiteX221" fmla="*/ 9040222 w 11701760"/>
              <a:gd name="connsiteY221" fmla="*/ 6112161 h 6407421"/>
              <a:gd name="connsiteX222" fmla="*/ 9040222 w 11701760"/>
              <a:gd name="connsiteY222" fmla="*/ 6141763 h 6407421"/>
              <a:gd name="connsiteX223" fmla="*/ 9010620 w 11701760"/>
              <a:gd name="connsiteY223" fmla="*/ 6141763 h 6407421"/>
              <a:gd name="connsiteX224" fmla="*/ 8744423 w 11701760"/>
              <a:gd name="connsiteY224" fmla="*/ 6112161 h 6407421"/>
              <a:gd name="connsiteX225" fmla="*/ 8774026 w 11701760"/>
              <a:gd name="connsiteY225" fmla="*/ 6112161 h 6407421"/>
              <a:gd name="connsiteX226" fmla="*/ 8774026 w 11701760"/>
              <a:gd name="connsiteY226" fmla="*/ 6141763 h 6407421"/>
              <a:gd name="connsiteX227" fmla="*/ 8744423 w 11701760"/>
              <a:gd name="connsiteY227" fmla="*/ 6141763 h 6407421"/>
              <a:gd name="connsiteX228" fmla="*/ 8478226 w 11701760"/>
              <a:gd name="connsiteY228" fmla="*/ 6112161 h 6407421"/>
              <a:gd name="connsiteX229" fmla="*/ 8507828 w 11701760"/>
              <a:gd name="connsiteY229" fmla="*/ 6112161 h 6407421"/>
              <a:gd name="connsiteX230" fmla="*/ 8507828 w 11701760"/>
              <a:gd name="connsiteY230" fmla="*/ 6141763 h 6407421"/>
              <a:gd name="connsiteX231" fmla="*/ 8478226 w 11701760"/>
              <a:gd name="connsiteY231" fmla="*/ 6141763 h 6407421"/>
              <a:gd name="connsiteX232" fmla="*/ 8212137 w 11701760"/>
              <a:gd name="connsiteY232" fmla="*/ 6112161 h 6407421"/>
              <a:gd name="connsiteX233" fmla="*/ 8241740 w 11701760"/>
              <a:gd name="connsiteY233" fmla="*/ 6112161 h 6407421"/>
              <a:gd name="connsiteX234" fmla="*/ 8241740 w 11701760"/>
              <a:gd name="connsiteY234" fmla="*/ 6141763 h 6407421"/>
              <a:gd name="connsiteX235" fmla="*/ 8212137 w 11701760"/>
              <a:gd name="connsiteY235" fmla="*/ 6141763 h 6407421"/>
              <a:gd name="connsiteX236" fmla="*/ 7945940 w 11701760"/>
              <a:gd name="connsiteY236" fmla="*/ 6112161 h 6407421"/>
              <a:gd name="connsiteX237" fmla="*/ 7975543 w 11701760"/>
              <a:gd name="connsiteY237" fmla="*/ 6112161 h 6407421"/>
              <a:gd name="connsiteX238" fmla="*/ 7975543 w 11701760"/>
              <a:gd name="connsiteY238" fmla="*/ 6141763 h 6407421"/>
              <a:gd name="connsiteX239" fmla="*/ 7945940 w 11701760"/>
              <a:gd name="connsiteY239" fmla="*/ 6141763 h 6407421"/>
              <a:gd name="connsiteX240" fmla="*/ 7679743 w 11701760"/>
              <a:gd name="connsiteY240" fmla="*/ 6112161 h 6407421"/>
              <a:gd name="connsiteX241" fmla="*/ 7709346 w 11701760"/>
              <a:gd name="connsiteY241" fmla="*/ 6112161 h 6407421"/>
              <a:gd name="connsiteX242" fmla="*/ 7709346 w 11701760"/>
              <a:gd name="connsiteY242" fmla="*/ 6141763 h 6407421"/>
              <a:gd name="connsiteX243" fmla="*/ 7679743 w 11701760"/>
              <a:gd name="connsiteY243" fmla="*/ 6141763 h 6407421"/>
              <a:gd name="connsiteX244" fmla="*/ 7413653 w 11701760"/>
              <a:gd name="connsiteY244" fmla="*/ 6112161 h 6407421"/>
              <a:gd name="connsiteX245" fmla="*/ 7443256 w 11701760"/>
              <a:gd name="connsiteY245" fmla="*/ 6112161 h 6407421"/>
              <a:gd name="connsiteX246" fmla="*/ 7443256 w 11701760"/>
              <a:gd name="connsiteY246" fmla="*/ 6141763 h 6407421"/>
              <a:gd name="connsiteX247" fmla="*/ 7413653 w 11701760"/>
              <a:gd name="connsiteY247" fmla="*/ 6141763 h 6407421"/>
              <a:gd name="connsiteX248" fmla="*/ 7147456 w 11701760"/>
              <a:gd name="connsiteY248" fmla="*/ 6112161 h 6407421"/>
              <a:gd name="connsiteX249" fmla="*/ 7177058 w 11701760"/>
              <a:gd name="connsiteY249" fmla="*/ 6112161 h 6407421"/>
              <a:gd name="connsiteX250" fmla="*/ 7177058 w 11701760"/>
              <a:gd name="connsiteY250" fmla="*/ 6141763 h 6407421"/>
              <a:gd name="connsiteX251" fmla="*/ 7147456 w 11701760"/>
              <a:gd name="connsiteY251" fmla="*/ 6141763 h 6407421"/>
              <a:gd name="connsiteX252" fmla="*/ 6881367 w 11701760"/>
              <a:gd name="connsiteY252" fmla="*/ 6112161 h 6407421"/>
              <a:gd name="connsiteX253" fmla="*/ 6910970 w 11701760"/>
              <a:gd name="connsiteY253" fmla="*/ 6112161 h 6407421"/>
              <a:gd name="connsiteX254" fmla="*/ 6910970 w 11701760"/>
              <a:gd name="connsiteY254" fmla="*/ 6141763 h 6407421"/>
              <a:gd name="connsiteX255" fmla="*/ 6881367 w 11701760"/>
              <a:gd name="connsiteY255" fmla="*/ 6141763 h 6407421"/>
              <a:gd name="connsiteX256" fmla="*/ 6615170 w 11701760"/>
              <a:gd name="connsiteY256" fmla="*/ 6112161 h 6407421"/>
              <a:gd name="connsiteX257" fmla="*/ 6644773 w 11701760"/>
              <a:gd name="connsiteY257" fmla="*/ 6112161 h 6407421"/>
              <a:gd name="connsiteX258" fmla="*/ 6644773 w 11701760"/>
              <a:gd name="connsiteY258" fmla="*/ 6141763 h 6407421"/>
              <a:gd name="connsiteX259" fmla="*/ 6615170 w 11701760"/>
              <a:gd name="connsiteY259" fmla="*/ 6141763 h 6407421"/>
              <a:gd name="connsiteX260" fmla="*/ 6349081 w 11701760"/>
              <a:gd name="connsiteY260" fmla="*/ 6112161 h 6407421"/>
              <a:gd name="connsiteX261" fmla="*/ 6378683 w 11701760"/>
              <a:gd name="connsiteY261" fmla="*/ 6112161 h 6407421"/>
              <a:gd name="connsiteX262" fmla="*/ 6378683 w 11701760"/>
              <a:gd name="connsiteY262" fmla="*/ 6141763 h 6407421"/>
              <a:gd name="connsiteX263" fmla="*/ 6349081 w 11701760"/>
              <a:gd name="connsiteY263" fmla="*/ 6141763 h 6407421"/>
              <a:gd name="connsiteX264" fmla="*/ 6082884 w 11701760"/>
              <a:gd name="connsiteY264" fmla="*/ 6112161 h 6407421"/>
              <a:gd name="connsiteX265" fmla="*/ 6112486 w 11701760"/>
              <a:gd name="connsiteY265" fmla="*/ 6112161 h 6407421"/>
              <a:gd name="connsiteX266" fmla="*/ 6112486 w 11701760"/>
              <a:gd name="connsiteY266" fmla="*/ 6141763 h 6407421"/>
              <a:gd name="connsiteX267" fmla="*/ 6082884 w 11701760"/>
              <a:gd name="connsiteY267" fmla="*/ 6141763 h 6407421"/>
              <a:gd name="connsiteX268" fmla="*/ 5825310 w 11701760"/>
              <a:gd name="connsiteY268" fmla="*/ 6112161 h 6407421"/>
              <a:gd name="connsiteX269" fmla="*/ 5854913 w 11701760"/>
              <a:gd name="connsiteY269" fmla="*/ 6112161 h 6407421"/>
              <a:gd name="connsiteX270" fmla="*/ 5854913 w 11701760"/>
              <a:gd name="connsiteY270" fmla="*/ 6141763 h 6407421"/>
              <a:gd name="connsiteX271" fmla="*/ 5825310 w 11701760"/>
              <a:gd name="connsiteY271" fmla="*/ 6141763 h 6407421"/>
              <a:gd name="connsiteX272" fmla="*/ 5559113 w 11701760"/>
              <a:gd name="connsiteY272" fmla="*/ 6112161 h 6407421"/>
              <a:gd name="connsiteX273" fmla="*/ 5588715 w 11701760"/>
              <a:gd name="connsiteY273" fmla="*/ 6112161 h 6407421"/>
              <a:gd name="connsiteX274" fmla="*/ 5588715 w 11701760"/>
              <a:gd name="connsiteY274" fmla="*/ 6141763 h 6407421"/>
              <a:gd name="connsiteX275" fmla="*/ 5559113 w 11701760"/>
              <a:gd name="connsiteY275" fmla="*/ 6141763 h 6407421"/>
              <a:gd name="connsiteX276" fmla="*/ 5293024 w 11701760"/>
              <a:gd name="connsiteY276" fmla="*/ 6112161 h 6407421"/>
              <a:gd name="connsiteX277" fmla="*/ 5322626 w 11701760"/>
              <a:gd name="connsiteY277" fmla="*/ 6112161 h 6407421"/>
              <a:gd name="connsiteX278" fmla="*/ 5322626 w 11701760"/>
              <a:gd name="connsiteY278" fmla="*/ 6141763 h 6407421"/>
              <a:gd name="connsiteX279" fmla="*/ 5293024 w 11701760"/>
              <a:gd name="connsiteY279" fmla="*/ 6141763 h 6407421"/>
              <a:gd name="connsiteX280" fmla="*/ 5026827 w 11701760"/>
              <a:gd name="connsiteY280" fmla="*/ 6112161 h 6407421"/>
              <a:gd name="connsiteX281" fmla="*/ 5056429 w 11701760"/>
              <a:gd name="connsiteY281" fmla="*/ 6112161 h 6407421"/>
              <a:gd name="connsiteX282" fmla="*/ 5056429 w 11701760"/>
              <a:gd name="connsiteY282" fmla="*/ 6141763 h 6407421"/>
              <a:gd name="connsiteX283" fmla="*/ 5026827 w 11701760"/>
              <a:gd name="connsiteY283" fmla="*/ 6141763 h 6407421"/>
              <a:gd name="connsiteX284" fmla="*/ 4760630 w 11701760"/>
              <a:gd name="connsiteY284" fmla="*/ 6112161 h 6407421"/>
              <a:gd name="connsiteX285" fmla="*/ 4790340 w 11701760"/>
              <a:gd name="connsiteY285" fmla="*/ 6112161 h 6407421"/>
              <a:gd name="connsiteX286" fmla="*/ 4790340 w 11701760"/>
              <a:gd name="connsiteY286" fmla="*/ 6141763 h 6407421"/>
              <a:gd name="connsiteX287" fmla="*/ 4760630 w 11701760"/>
              <a:gd name="connsiteY287" fmla="*/ 6141763 h 6407421"/>
              <a:gd name="connsiteX288" fmla="*/ 4494541 w 11701760"/>
              <a:gd name="connsiteY288" fmla="*/ 6112161 h 6407421"/>
              <a:gd name="connsiteX289" fmla="*/ 4524144 w 11701760"/>
              <a:gd name="connsiteY289" fmla="*/ 6112161 h 6407421"/>
              <a:gd name="connsiteX290" fmla="*/ 4524144 w 11701760"/>
              <a:gd name="connsiteY290" fmla="*/ 6141763 h 6407421"/>
              <a:gd name="connsiteX291" fmla="*/ 4494541 w 11701760"/>
              <a:gd name="connsiteY291" fmla="*/ 6141763 h 6407421"/>
              <a:gd name="connsiteX292" fmla="*/ 4228344 w 11701760"/>
              <a:gd name="connsiteY292" fmla="*/ 6112161 h 6407421"/>
              <a:gd name="connsiteX293" fmla="*/ 4257946 w 11701760"/>
              <a:gd name="connsiteY293" fmla="*/ 6112161 h 6407421"/>
              <a:gd name="connsiteX294" fmla="*/ 4257946 w 11701760"/>
              <a:gd name="connsiteY294" fmla="*/ 6141763 h 6407421"/>
              <a:gd name="connsiteX295" fmla="*/ 4228344 w 11701760"/>
              <a:gd name="connsiteY295" fmla="*/ 6141763 h 6407421"/>
              <a:gd name="connsiteX296" fmla="*/ 3962255 w 11701760"/>
              <a:gd name="connsiteY296" fmla="*/ 6112161 h 6407421"/>
              <a:gd name="connsiteX297" fmla="*/ 3991857 w 11701760"/>
              <a:gd name="connsiteY297" fmla="*/ 6112161 h 6407421"/>
              <a:gd name="connsiteX298" fmla="*/ 3991857 w 11701760"/>
              <a:gd name="connsiteY298" fmla="*/ 6141763 h 6407421"/>
              <a:gd name="connsiteX299" fmla="*/ 3962255 w 11701760"/>
              <a:gd name="connsiteY299" fmla="*/ 6141763 h 6407421"/>
              <a:gd name="connsiteX300" fmla="*/ 3696058 w 11701760"/>
              <a:gd name="connsiteY300" fmla="*/ 6112161 h 6407421"/>
              <a:gd name="connsiteX301" fmla="*/ 3725661 w 11701760"/>
              <a:gd name="connsiteY301" fmla="*/ 6112161 h 6407421"/>
              <a:gd name="connsiteX302" fmla="*/ 3725661 w 11701760"/>
              <a:gd name="connsiteY302" fmla="*/ 6141763 h 6407421"/>
              <a:gd name="connsiteX303" fmla="*/ 3696058 w 11701760"/>
              <a:gd name="connsiteY303" fmla="*/ 6141763 h 6407421"/>
              <a:gd name="connsiteX304" fmla="*/ 3429969 w 11701760"/>
              <a:gd name="connsiteY304" fmla="*/ 6112161 h 6407421"/>
              <a:gd name="connsiteX305" fmla="*/ 3459572 w 11701760"/>
              <a:gd name="connsiteY305" fmla="*/ 6112161 h 6407421"/>
              <a:gd name="connsiteX306" fmla="*/ 3459572 w 11701760"/>
              <a:gd name="connsiteY306" fmla="*/ 6141763 h 6407421"/>
              <a:gd name="connsiteX307" fmla="*/ 3429969 w 11701760"/>
              <a:gd name="connsiteY307" fmla="*/ 6141763 h 6407421"/>
              <a:gd name="connsiteX308" fmla="*/ 3163772 w 11701760"/>
              <a:gd name="connsiteY308" fmla="*/ 6112161 h 6407421"/>
              <a:gd name="connsiteX309" fmla="*/ 3193374 w 11701760"/>
              <a:gd name="connsiteY309" fmla="*/ 6112161 h 6407421"/>
              <a:gd name="connsiteX310" fmla="*/ 3193374 w 11701760"/>
              <a:gd name="connsiteY310" fmla="*/ 6141763 h 6407421"/>
              <a:gd name="connsiteX311" fmla="*/ 3163772 w 11701760"/>
              <a:gd name="connsiteY311" fmla="*/ 6141763 h 6407421"/>
              <a:gd name="connsiteX312" fmla="*/ 2897575 w 11701760"/>
              <a:gd name="connsiteY312" fmla="*/ 6112161 h 6407421"/>
              <a:gd name="connsiteX313" fmla="*/ 2927178 w 11701760"/>
              <a:gd name="connsiteY313" fmla="*/ 6112161 h 6407421"/>
              <a:gd name="connsiteX314" fmla="*/ 2927178 w 11701760"/>
              <a:gd name="connsiteY314" fmla="*/ 6141763 h 6407421"/>
              <a:gd name="connsiteX315" fmla="*/ 2897575 w 11701760"/>
              <a:gd name="connsiteY315" fmla="*/ 6141763 h 6407421"/>
              <a:gd name="connsiteX316" fmla="*/ 2631378 w 11701760"/>
              <a:gd name="connsiteY316" fmla="*/ 6112161 h 6407421"/>
              <a:gd name="connsiteX317" fmla="*/ 2660980 w 11701760"/>
              <a:gd name="connsiteY317" fmla="*/ 6112161 h 6407421"/>
              <a:gd name="connsiteX318" fmla="*/ 2660980 w 11701760"/>
              <a:gd name="connsiteY318" fmla="*/ 6141763 h 6407421"/>
              <a:gd name="connsiteX319" fmla="*/ 2631378 w 11701760"/>
              <a:gd name="connsiteY319" fmla="*/ 6141763 h 6407421"/>
              <a:gd name="connsiteX320" fmla="*/ 2365289 w 11701760"/>
              <a:gd name="connsiteY320" fmla="*/ 6112161 h 6407421"/>
              <a:gd name="connsiteX321" fmla="*/ 2394892 w 11701760"/>
              <a:gd name="connsiteY321" fmla="*/ 6112161 h 6407421"/>
              <a:gd name="connsiteX322" fmla="*/ 2394892 w 11701760"/>
              <a:gd name="connsiteY322" fmla="*/ 6141763 h 6407421"/>
              <a:gd name="connsiteX323" fmla="*/ 2365289 w 11701760"/>
              <a:gd name="connsiteY323" fmla="*/ 6141763 h 6407421"/>
              <a:gd name="connsiteX324" fmla="*/ 2099092 w 11701760"/>
              <a:gd name="connsiteY324" fmla="*/ 6112161 h 6407421"/>
              <a:gd name="connsiteX325" fmla="*/ 2128695 w 11701760"/>
              <a:gd name="connsiteY325" fmla="*/ 6112161 h 6407421"/>
              <a:gd name="connsiteX326" fmla="*/ 2128695 w 11701760"/>
              <a:gd name="connsiteY326" fmla="*/ 6141763 h 6407421"/>
              <a:gd name="connsiteX327" fmla="*/ 2099092 w 11701760"/>
              <a:gd name="connsiteY327" fmla="*/ 6141763 h 6407421"/>
              <a:gd name="connsiteX328" fmla="*/ 1832898 w 11701760"/>
              <a:gd name="connsiteY328" fmla="*/ 6112161 h 6407421"/>
              <a:gd name="connsiteX329" fmla="*/ 1862498 w 11701760"/>
              <a:gd name="connsiteY329" fmla="*/ 6112161 h 6407421"/>
              <a:gd name="connsiteX330" fmla="*/ 1862498 w 11701760"/>
              <a:gd name="connsiteY330" fmla="*/ 6141763 h 6407421"/>
              <a:gd name="connsiteX331" fmla="*/ 1832898 w 11701760"/>
              <a:gd name="connsiteY331" fmla="*/ 6141763 h 6407421"/>
              <a:gd name="connsiteX332" fmla="*/ 1566808 w 11701760"/>
              <a:gd name="connsiteY332" fmla="*/ 6112161 h 6407421"/>
              <a:gd name="connsiteX333" fmla="*/ 1596409 w 11701760"/>
              <a:gd name="connsiteY333" fmla="*/ 6112161 h 6407421"/>
              <a:gd name="connsiteX334" fmla="*/ 1596409 w 11701760"/>
              <a:gd name="connsiteY334" fmla="*/ 6141763 h 6407421"/>
              <a:gd name="connsiteX335" fmla="*/ 1566808 w 11701760"/>
              <a:gd name="connsiteY335" fmla="*/ 6141763 h 6407421"/>
              <a:gd name="connsiteX336" fmla="*/ 1300611 w 11701760"/>
              <a:gd name="connsiteY336" fmla="*/ 6112161 h 6407421"/>
              <a:gd name="connsiteX337" fmla="*/ 1330213 w 11701760"/>
              <a:gd name="connsiteY337" fmla="*/ 6112161 h 6407421"/>
              <a:gd name="connsiteX338" fmla="*/ 1330213 w 11701760"/>
              <a:gd name="connsiteY338" fmla="*/ 6141763 h 6407421"/>
              <a:gd name="connsiteX339" fmla="*/ 1300611 w 11701760"/>
              <a:gd name="connsiteY339" fmla="*/ 6141763 h 6407421"/>
              <a:gd name="connsiteX340" fmla="*/ 1034520 w 11701760"/>
              <a:gd name="connsiteY340" fmla="*/ 6112161 h 6407421"/>
              <a:gd name="connsiteX341" fmla="*/ 1064123 w 11701760"/>
              <a:gd name="connsiteY341" fmla="*/ 6112161 h 6407421"/>
              <a:gd name="connsiteX342" fmla="*/ 1064123 w 11701760"/>
              <a:gd name="connsiteY342" fmla="*/ 6141763 h 6407421"/>
              <a:gd name="connsiteX343" fmla="*/ 1034520 w 11701760"/>
              <a:gd name="connsiteY343" fmla="*/ 6141763 h 6407421"/>
              <a:gd name="connsiteX344" fmla="*/ 768328 w 11701760"/>
              <a:gd name="connsiteY344" fmla="*/ 6112161 h 6407421"/>
              <a:gd name="connsiteX345" fmla="*/ 797926 w 11701760"/>
              <a:gd name="connsiteY345" fmla="*/ 6112161 h 6407421"/>
              <a:gd name="connsiteX346" fmla="*/ 797926 w 11701760"/>
              <a:gd name="connsiteY346" fmla="*/ 6141763 h 6407421"/>
              <a:gd name="connsiteX347" fmla="*/ 768328 w 11701760"/>
              <a:gd name="connsiteY347" fmla="*/ 6141763 h 6407421"/>
              <a:gd name="connsiteX348" fmla="*/ 502237 w 11701760"/>
              <a:gd name="connsiteY348" fmla="*/ 6112161 h 6407421"/>
              <a:gd name="connsiteX349" fmla="*/ 531839 w 11701760"/>
              <a:gd name="connsiteY349" fmla="*/ 6112161 h 6407421"/>
              <a:gd name="connsiteX350" fmla="*/ 531839 w 11701760"/>
              <a:gd name="connsiteY350" fmla="*/ 6141763 h 6407421"/>
              <a:gd name="connsiteX351" fmla="*/ 502237 w 11701760"/>
              <a:gd name="connsiteY351" fmla="*/ 6141763 h 6407421"/>
              <a:gd name="connsiteX352" fmla="*/ 236038 w 11701760"/>
              <a:gd name="connsiteY352" fmla="*/ 6112161 h 6407421"/>
              <a:gd name="connsiteX353" fmla="*/ 265640 w 11701760"/>
              <a:gd name="connsiteY353" fmla="*/ 6112161 h 6407421"/>
              <a:gd name="connsiteX354" fmla="*/ 265640 w 11701760"/>
              <a:gd name="connsiteY354" fmla="*/ 6141763 h 6407421"/>
              <a:gd name="connsiteX355" fmla="*/ 236038 w 11701760"/>
              <a:gd name="connsiteY355" fmla="*/ 6141763 h 6407421"/>
              <a:gd name="connsiteX356" fmla="*/ 2 w 11701760"/>
              <a:gd name="connsiteY356" fmla="*/ 6112161 h 6407421"/>
              <a:gd name="connsiteX357" fmla="*/ 29604 w 11701760"/>
              <a:gd name="connsiteY357" fmla="*/ 6112161 h 6407421"/>
              <a:gd name="connsiteX358" fmla="*/ 29604 w 11701760"/>
              <a:gd name="connsiteY358" fmla="*/ 6141763 h 6407421"/>
              <a:gd name="connsiteX359" fmla="*/ 2 w 11701760"/>
              <a:gd name="connsiteY359" fmla="*/ 6141763 h 6407421"/>
              <a:gd name="connsiteX360" fmla="*/ 11672158 w 11701760"/>
              <a:gd name="connsiteY360" fmla="*/ 5846396 h 6407421"/>
              <a:gd name="connsiteX361" fmla="*/ 11701760 w 11701760"/>
              <a:gd name="connsiteY361" fmla="*/ 5846396 h 6407421"/>
              <a:gd name="connsiteX362" fmla="*/ 11701760 w 11701760"/>
              <a:gd name="connsiteY362" fmla="*/ 5875998 h 6407421"/>
              <a:gd name="connsiteX363" fmla="*/ 11672158 w 11701760"/>
              <a:gd name="connsiteY363" fmla="*/ 5875998 h 6407421"/>
              <a:gd name="connsiteX364" fmla="*/ 11405961 w 11701760"/>
              <a:gd name="connsiteY364" fmla="*/ 5846396 h 6407421"/>
              <a:gd name="connsiteX365" fmla="*/ 11435563 w 11701760"/>
              <a:gd name="connsiteY365" fmla="*/ 5846396 h 6407421"/>
              <a:gd name="connsiteX366" fmla="*/ 11435563 w 11701760"/>
              <a:gd name="connsiteY366" fmla="*/ 5875998 h 6407421"/>
              <a:gd name="connsiteX367" fmla="*/ 11405961 w 11701760"/>
              <a:gd name="connsiteY367" fmla="*/ 5875998 h 6407421"/>
              <a:gd name="connsiteX368" fmla="*/ 11139872 w 11701760"/>
              <a:gd name="connsiteY368" fmla="*/ 5846396 h 6407421"/>
              <a:gd name="connsiteX369" fmla="*/ 11169474 w 11701760"/>
              <a:gd name="connsiteY369" fmla="*/ 5846396 h 6407421"/>
              <a:gd name="connsiteX370" fmla="*/ 11169474 w 11701760"/>
              <a:gd name="connsiteY370" fmla="*/ 5875998 h 6407421"/>
              <a:gd name="connsiteX371" fmla="*/ 11139872 w 11701760"/>
              <a:gd name="connsiteY371" fmla="*/ 5875998 h 6407421"/>
              <a:gd name="connsiteX372" fmla="*/ 10873675 w 11701760"/>
              <a:gd name="connsiteY372" fmla="*/ 5846396 h 6407421"/>
              <a:gd name="connsiteX373" fmla="*/ 10903277 w 11701760"/>
              <a:gd name="connsiteY373" fmla="*/ 5846396 h 6407421"/>
              <a:gd name="connsiteX374" fmla="*/ 10903277 w 11701760"/>
              <a:gd name="connsiteY374" fmla="*/ 5875998 h 6407421"/>
              <a:gd name="connsiteX375" fmla="*/ 10873675 w 11701760"/>
              <a:gd name="connsiteY375" fmla="*/ 5875998 h 6407421"/>
              <a:gd name="connsiteX376" fmla="*/ 10607478 w 11701760"/>
              <a:gd name="connsiteY376" fmla="*/ 5846396 h 6407421"/>
              <a:gd name="connsiteX377" fmla="*/ 10637188 w 11701760"/>
              <a:gd name="connsiteY377" fmla="*/ 5846396 h 6407421"/>
              <a:gd name="connsiteX378" fmla="*/ 10637188 w 11701760"/>
              <a:gd name="connsiteY378" fmla="*/ 5875998 h 6407421"/>
              <a:gd name="connsiteX379" fmla="*/ 10607478 w 11701760"/>
              <a:gd name="connsiteY379" fmla="*/ 5875998 h 6407421"/>
              <a:gd name="connsiteX380" fmla="*/ 10341389 w 11701760"/>
              <a:gd name="connsiteY380" fmla="*/ 5846396 h 6407421"/>
              <a:gd name="connsiteX381" fmla="*/ 10370992 w 11701760"/>
              <a:gd name="connsiteY381" fmla="*/ 5846396 h 6407421"/>
              <a:gd name="connsiteX382" fmla="*/ 10370992 w 11701760"/>
              <a:gd name="connsiteY382" fmla="*/ 5875998 h 6407421"/>
              <a:gd name="connsiteX383" fmla="*/ 10341389 w 11701760"/>
              <a:gd name="connsiteY383" fmla="*/ 5875998 h 6407421"/>
              <a:gd name="connsiteX384" fmla="*/ 10075192 w 11701760"/>
              <a:gd name="connsiteY384" fmla="*/ 5846396 h 6407421"/>
              <a:gd name="connsiteX385" fmla="*/ 10104794 w 11701760"/>
              <a:gd name="connsiteY385" fmla="*/ 5846396 h 6407421"/>
              <a:gd name="connsiteX386" fmla="*/ 10104794 w 11701760"/>
              <a:gd name="connsiteY386" fmla="*/ 5875998 h 6407421"/>
              <a:gd name="connsiteX387" fmla="*/ 10075192 w 11701760"/>
              <a:gd name="connsiteY387" fmla="*/ 5875998 h 6407421"/>
              <a:gd name="connsiteX388" fmla="*/ 9809103 w 11701760"/>
              <a:gd name="connsiteY388" fmla="*/ 5846396 h 6407421"/>
              <a:gd name="connsiteX389" fmla="*/ 9838705 w 11701760"/>
              <a:gd name="connsiteY389" fmla="*/ 5846396 h 6407421"/>
              <a:gd name="connsiteX390" fmla="*/ 9838705 w 11701760"/>
              <a:gd name="connsiteY390" fmla="*/ 5875998 h 6407421"/>
              <a:gd name="connsiteX391" fmla="*/ 9809103 w 11701760"/>
              <a:gd name="connsiteY391" fmla="*/ 5875998 h 6407421"/>
              <a:gd name="connsiteX392" fmla="*/ 9542906 w 11701760"/>
              <a:gd name="connsiteY392" fmla="*/ 5846396 h 6407421"/>
              <a:gd name="connsiteX393" fmla="*/ 9572509 w 11701760"/>
              <a:gd name="connsiteY393" fmla="*/ 5846396 h 6407421"/>
              <a:gd name="connsiteX394" fmla="*/ 9572509 w 11701760"/>
              <a:gd name="connsiteY394" fmla="*/ 5875998 h 6407421"/>
              <a:gd name="connsiteX395" fmla="*/ 9542906 w 11701760"/>
              <a:gd name="connsiteY395" fmla="*/ 5875998 h 6407421"/>
              <a:gd name="connsiteX396" fmla="*/ 9276817 w 11701760"/>
              <a:gd name="connsiteY396" fmla="*/ 5846396 h 6407421"/>
              <a:gd name="connsiteX397" fmla="*/ 9306420 w 11701760"/>
              <a:gd name="connsiteY397" fmla="*/ 5846396 h 6407421"/>
              <a:gd name="connsiteX398" fmla="*/ 9306420 w 11701760"/>
              <a:gd name="connsiteY398" fmla="*/ 5875998 h 6407421"/>
              <a:gd name="connsiteX399" fmla="*/ 9276817 w 11701760"/>
              <a:gd name="connsiteY399" fmla="*/ 5875998 h 6407421"/>
              <a:gd name="connsiteX400" fmla="*/ 9010620 w 11701760"/>
              <a:gd name="connsiteY400" fmla="*/ 5846396 h 6407421"/>
              <a:gd name="connsiteX401" fmla="*/ 9040222 w 11701760"/>
              <a:gd name="connsiteY401" fmla="*/ 5846396 h 6407421"/>
              <a:gd name="connsiteX402" fmla="*/ 9040222 w 11701760"/>
              <a:gd name="connsiteY402" fmla="*/ 5875998 h 6407421"/>
              <a:gd name="connsiteX403" fmla="*/ 9010620 w 11701760"/>
              <a:gd name="connsiteY403" fmla="*/ 5875998 h 6407421"/>
              <a:gd name="connsiteX404" fmla="*/ 8744423 w 11701760"/>
              <a:gd name="connsiteY404" fmla="*/ 5846396 h 6407421"/>
              <a:gd name="connsiteX405" fmla="*/ 8774026 w 11701760"/>
              <a:gd name="connsiteY405" fmla="*/ 5846396 h 6407421"/>
              <a:gd name="connsiteX406" fmla="*/ 8774026 w 11701760"/>
              <a:gd name="connsiteY406" fmla="*/ 5875998 h 6407421"/>
              <a:gd name="connsiteX407" fmla="*/ 8744423 w 11701760"/>
              <a:gd name="connsiteY407" fmla="*/ 5875998 h 6407421"/>
              <a:gd name="connsiteX408" fmla="*/ 8478226 w 11701760"/>
              <a:gd name="connsiteY408" fmla="*/ 5846396 h 6407421"/>
              <a:gd name="connsiteX409" fmla="*/ 8507828 w 11701760"/>
              <a:gd name="connsiteY409" fmla="*/ 5846396 h 6407421"/>
              <a:gd name="connsiteX410" fmla="*/ 8507828 w 11701760"/>
              <a:gd name="connsiteY410" fmla="*/ 5875998 h 6407421"/>
              <a:gd name="connsiteX411" fmla="*/ 8478226 w 11701760"/>
              <a:gd name="connsiteY411" fmla="*/ 5875998 h 6407421"/>
              <a:gd name="connsiteX412" fmla="*/ 8212137 w 11701760"/>
              <a:gd name="connsiteY412" fmla="*/ 5846396 h 6407421"/>
              <a:gd name="connsiteX413" fmla="*/ 8241740 w 11701760"/>
              <a:gd name="connsiteY413" fmla="*/ 5846396 h 6407421"/>
              <a:gd name="connsiteX414" fmla="*/ 8241740 w 11701760"/>
              <a:gd name="connsiteY414" fmla="*/ 5875998 h 6407421"/>
              <a:gd name="connsiteX415" fmla="*/ 8212137 w 11701760"/>
              <a:gd name="connsiteY415" fmla="*/ 5875998 h 6407421"/>
              <a:gd name="connsiteX416" fmla="*/ 7945940 w 11701760"/>
              <a:gd name="connsiteY416" fmla="*/ 5846396 h 6407421"/>
              <a:gd name="connsiteX417" fmla="*/ 7975543 w 11701760"/>
              <a:gd name="connsiteY417" fmla="*/ 5846396 h 6407421"/>
              <a:gd name="connsiteX418" fmla="*/ 7975543 w 11701760"/>
              <a:gd name="connsiteY418" fmla="*/ 5875998 h 6407421"/>
              <a:gd name="connsiteX419" fmla="*/ 7945940 w 11701760"/>
              <a:gd name="connsiteY419" fmla="*/ 5875998 h 6407421"/>
              <a:gd name="connsiteX420" fmla="*/ 7679743 w 11701760"/>
              <a:gd name="connsiteY420" fmla="*/ 5846396 h 6407421"/>
              <a:gd name="connsiteX421" fmla="*/ 7709346 w 11701760"/>
              <a:gd name="connsiteY421" fmla="*/ 5846396 h 6407421"/>
              <a:gd name="connsiteX422" fmla="*/ 7709346 w 11701760"/>
              <a:gd name="connsiteY422" fmla="*/ 5875998 h 6407421"/>
              <a:gd name="connsiteX423" fmla="*/ 7679743 w 11701760"/>
              <a:gd name="connsiteY423" fmla="*/ 5875998 h 6407421"/>
              <a:gd name="connsiteX424" fmla="*/ 7413653 w 11701760"/>
              <a:gd name="connsiteY424" fmla="*/ 5846396 h 6407421"/>
              <a:gd name="connsiteX425" fmla="*/ 7443256 w 11701760"/>
              <a:gd name="connsiteY425" fmla="*/ 5846396 h 6407421"/>
              <a:gd name="connsiteX426" fmla="*/ 7443256 w 11701760"/>
              <a:gd name="connsiteY426" fmla="*/ 5875998 h 6407421"/>
              <a:gd name="connsiteX427" fmla="*/ 7413653 w 11701760"/>
              <a:gd name="connsiteY427" fmla="*/ 5875998 h 6407421"/>
              <a:gd name="connsiteX428" fmla="*/ 7147456 w 11701760"/>
              <a:gd name="connsiteY428" fmla="*/ 5846396 h 6407421"/>
              <a:gd name="connsiteX429" fmla="*/ 7177058 w 11701760"/>
              <a:gd name="connsiteY429" fmla="*/ 5846396 h 6407421"/>
              <a:gd name="connsiteX430" fmla="*/ 7177058 w 11701760"/>
              <a:gd name="connsiteY430" fmla="*/ 5875998 h 6407421"/>
              <a:gd name="connsiteX431" fmla="*/ 7147456 w 11701760"/>
              <a:gd name="connsiteY431" fmla="*/ 5875998 h 6407421"/>
              <a:gd name="connsiteX432" fmla="*/ 6881367 w 11701760"/>
              <a:gd name="connsiteY432" fmla="*/ 5846396 h 6407421"/>
              <a:gd name="connsiteX433" fmla="*/ 6910970 w 11701760"/>
              <a:gd name="connsiteY433" fmla="*/ 5846396 h 6407421"/>
              <a:gd name="connsiteX434" fmla="*/ 6910970 w 11701760"/>
              <a:gd name="connsiteY434" fmla="*/ 5875998 h 6407421"/>
              <a:gd name="connsiteX435" fmla="*/ 6881367 w 11701760"/>
              <a:gd name="connsiteY435" fmla="*/ 5875998 h 6407421"/>
              <a:gd name="connsiteX436" fmla="*/ 6615170 w 11701760"/>
              <a:gd name="connsiteY436" fmla="*/ 5846396 h 6407421"/>
              <a:gd name="connsiteX437" fmla="*/ 6644773 w 11701760"/>
              <a:gd name="connsiteY437" fmla="*/ 5846396 h 6407421"/>
              <a:gd name="connsiteX438" fmla="*/ 6644773 w 11701760"/>
              <a:gd name="connsiteY438" fmla="*/ 5875998 h 6407421"/>
              <a:gd name="connsiteX439" fmla="*/ 6615170 w 11701760"/>
              <a:gd name="connsiteY439" fmla="*/ 5875998 h 6407421"/>
              <a:gd name="connsiteX440" fmla="*/ 6349081 w 11701760"/>
              <a:gd name="connsiteY440" fmla="*/ 5846396 h 6407421"/>
              <a:gd name="connsiteX441" fmla="*/ 6378683 w 11701760"/>
              <a:gd name="connsiteY441" fmla="*/ 5846396 h 6407421"/>
              <a:gd name="connsiteX442" fmla="*/ 6378683 w 11701760"/>
              <a:gd name="connsiteY442" fmla="*/ 5875998 h 6407421"/>
              <a:gd name="connsiteX443" fmla="*/ 6349081 w 11701760"/>
              <a:gd name="connsiteY443" fmla="*/ 5875998 h 6407421"/>
              <a:gd name="connsiteX444" fmla="*/ 6082884 w 11701760"/>
              <a:gd name="connsiteY444" fmla="*/ 5846396 h 6407421"/>
              <a:gd name="connsiteX445" fmla="*/ 6112486 w 11701760"/>
              <a:gd name="connsiteY445" fmla="*/ 5846396 h 6407421"/>
              <a:gd name="connsiteX446" fmla="*/ 6112486 w 11701760"/>
              <a:gd name="connsiteY446" fmla="*/ 5875998 h 6407421"/>
              <a:gd name="connsiteX447" fmla="*/ 6082884 w 11701760"/>
              <a:gd name="connsiteY447" fmla="*/ 5875998 h 6407421"/>
              <a:gd name="connsiteX448" fmla="*/ 5825310 w 11701760"/>
              <a:gd name="connsiteY448" fmla="*/ 5846396 h 6407421"/>
              <a:gd name="connsiteX449" fmla="*/ 5854913 w 11701760"/>
              <a:gd name="connsiteY449" fmla="*/ 5846396 h 6407421"/>
              <a:gd name="connsiteX450" fmla="*/ 5854913 w 11701760"/>
              <a:gd name="connsiteY450" fmla="*/ 5875998 h 6407421"/>
              <a:gd name="connsiteX451" fmla="*/ 5825310 w 11701760"/>
              <a:gd name="connsiteY451" fmla="*/ 5875998 h 6407421"/>
              <a:gd name="connsiteX452" fmla="*/ 5559113 w 11701760"/>
              <a:gd name="connsiteY452" fmla="*/ 5846396 h 6407421"/>
              <a:gd name="connsiteX453" fmla="*/ 5588715 w 11701760"/>
              <a:gd name="connsiteY453" fmla="*/ 5846396 h 6407421"/>
              <a:gd name="connsiteX454" fmla="*/ 5588715 w 11701760"/>
              <a:gd name="connsiteY454" fmla="*/ 5875998 h 6407421"/>
              <a:gd name="connsiteX455" fmla="*/ 5559113 w 11701760"/>
              <a:gd name="connsiteY455" fmla="*/ 5875998 h 6407421"/>
              <a:gd name="connsiteX456" fmla="*/ 5293024 w 11701760"/>
              <a:gd name="connsiteY456" fmla="*/ 5846396 h 6407421"/>
              <a:gd name="connsiteX457" fmla="*/ 5322626 w 11701760"/>
              <a:gd name="connsiteY457" fmla="*/ 5846396 h 6407421"/>
              <a:gd name="connsiteX458" fmla="*/ 5322626 w 11701760"/>
              <a:gd name="connsiteY458" fmla="*/ 5875998 h 6407421"/>
              <a:gd name="connsiteX459" fmla="*/ 5293024 w 11701760"/>
              <a:gd name="connsiteY459" fmla="*/ 5875998 h 6407421"/>
              <a:gd name="connsiteX460" fmla="*/ 5026827 w 11701760"/>
              <a:gd name="connsiteY460" fmla="*/ 5846396 h 6407421"/>
              <a:gd name="connsiteX461" fmla="*/ 5056429 w 11701760"/>
              <a:gd name="connsiteY461" fmla="*/ 5846396 h 6407421"/>
              <a:gd name="connsiteX462" fmla="*/ 5056429 w 11701760"/>
              <a:gd name="connsiteY462" fmla="*/ 5875998 h 6407421"/>
              <a:gd name="connsiteX463" fmla="*/ 5026827 w 11701760"/>
              <a:gd name="connsiteY463" fmla="*/ 5875998 h 6407421"/>
              <a:gd name="connsiteX464" fmla="*/ 4760630 w 11701760"/>
              <a:gd name="connsiteY464" fmla="*/ 5846396 h 6407421"/>
              <a:gd name="connsiteX465" fmla="*/ 4790340 w 11701760"/>
              <a:gd name="connsiteY465" fmla="*/ 5846396 h 6407421"/>
              <a:gd name="connsiteX466" fmla="*/ 4790340 w 11701760"/>
              <a:gd name="connsiteY466" fmla="*/ 5875998 h 6407421"/>
              <a:gd name="connsiteX467" fmla="*/ 4760630 w 11701760"/>
              <a:gd name="connsiteY467" fmla="*/ 5875998 h 6407421"/>
              <a:gd name="connsiteX468" fmla="*/ 4494541 w 11701760"/>
              <a:gd name="connsiteY468" fmla="*/ 5846396 h 6407421"/>
              <a:gd name="connsiteX469" fmla="*/ 4524144 w 11701760"/>
              <a:gd name="connsiteY469" fmla="*/ 5846396 h 6407421"/>
              <a:gd name="connsiteX470" fmla="*/ 4524144 w 11701760"/>
              <a:gd name="connsiteY470" fmla="*/ 5875998 h 6407421"/>
              <a:gd name="connsiteX471" fmla="*/ 4494541 w 11701760"/>
              <a:gd name="connsiteY471" fmla="*/ 5875998 h 6407421"/>
              <a:gd name="connsiteX472" fmla="*/ 4228344 w 11701760"/>
              <a:gd name="connsiteY472" fmla="*/ 5846396 h 6407421"/>
              <a:gd name="connsiteX473" fmla="*/ 4257946 w 11701760"/>
              <a:gd name="connsiteY473" fmla="*/ 5846396 h 6407421"/>
              <a:gd name="connsiteX474" fmla="*/ 4257946 w 11701760"/>
              <a:gd name="connsiteY474" fmla="*/ 5875998 h 6407421"/>
              <a:gd name="connsiteX475" fmla="*/ 4228344 w 11701760"/>
              <a:gd name="connsiteY475" fmla="*/ 5875998 h 6407421"/>
              <a:gd name="connsiteX476" fmla="*/ 3962255 w 11701760"/>
              <a:gd name="connsiteY476" fmla="*/ 5846396 h 6407421"/>
              <a:gd name="connsiteX477" fmla="*/ 3991857 w 11701760"/>
              <a:gd name="connsiteY477" fmla="*/ 5846396 h 6407421"/>
              <a:gd name="connsiteX478" fmla="*/ 3991857 w 11701760"/>
              <a:gd name="connsiteY478" fmla="*/ 5875998 h 6407421"/>
              <a:gd name="connsiteX479" fmla="*/ 3962255 w 11701760"/>
              <a:gd name="connsiteY479" fmla="*/ 5875998 h 6407421"/>
              <a:gd name="connsiteX480" fmla="*/ 3696058 w 11701760"/>
              <a:gd name="connsiteY480" fmla="*/ 5846396 h 6407421"/>
              <a:gd name="connsiteX481" fmla="*/ 3725661 w 11701760"/>
              <a:gd name="connsiteY481" fmla="*/ 5846396 h 6407421"/>
              <a:gd name="connsiteX482" fmla="*/ 3725661 w 11701760"/>
              <a:gd name="connsiteY482" fmla="*/ 5875998 h 6407421"/>
              <a:gd name="connsiteX483" fmla="*/ 3696058 w 11701760"/>
              <a:gd name="connsiteY483" fmla="*/ 5875998 h 6407421"/>
              <a:gd name="connsiteX484" fmla="*/ 3429969 w 11701760"/>
              <a:gd name="connsiteY484" fmla="*/ 5846396 h 6407421"/>
              <a:gd name="connsiteX485" fmla="*/ 3459572 w 11701760"/>
              <a:gd name="connsiteY485" fmla="*/ 5846396 h 6407421"/>
              <a:gd name="connsiteX486" fmla="*/ 3459572 w 11701760"/>
              <a:gd name="connsiteY486" fmla="*/ 5875998 h 6407421"/>
              <a:gd name="connsiteX487" fmla="*/ 3429969 w 11701760"/>
              <a:gd name="connsiteY487" fmla="*/ 5875998 h 6407421"/>
              <a:gd name="connsiteX488" fmla="*/ 3163772 w 11701760"/>
              <a:gd name="connsiteY488" fmla="*/ 5846396 h 6407421"/>
              <a:gd name="connsiteX489" fmla="*/ 3193374 w 11701760"/>
              <a:gd name="connsiteY489" fmla="*/ 5846396 h 6407421"/>
              <a:gd name="connsiteX490" fmla="*/ 3193374 w 11701760"/>
              <a:gd name="connsiteY490" fmla="*/ 5875998 h 6407421"/>
              <a:gd name="connsiteX491" fmla="*/ 3163772 w 11701760"/>
              <a:gd name="connsiteY491" fmla="*/ 5875998 h 6407421"/>
              <a:gd name="connsiteX492" fmla="*/ 2897575 w 11701760"/>
              <a:gd name="connsiteY492" fmla="*/ 5846396 h 6407421"/>
              <a:gd name="connsiteX493" fmla="*/ 2927178 w 11701760"/>
              <a:gd name="connsiteY493" fmla="*/ 5846396 h 6407421"/>
              <a:gd name="connsiteX494" fmla="*/ 2927178 w 11701760"/>
              <a:gd name="connsiteY494" fmla="*/ 5875998 h 6407421"/>
              <a:gd name="connsiteX495" fmla="*/ 2897575 w 11701760"/>
              <a:gd name="connsiteY495" fmla="*/ 5875998 h 6407421"/>
              <a:gd name="connsiteX496" fmla="*/ 2631378 w 11701760"/>
              <a:gd name="connsiteY496" fmla="*/ 5846396 h 6407421"/>
              <a:gd name="connsiteX497" fmla="*/ 2660980 w 11701760"/>
              <a:gd name="connsiteY497" fmla="*/ 5846396 h 6407421"/>
              <a:gd name="connsiteX498" fmla="*/ 2660980 w 11701760"/>
              <a:gd name="connsiteY498" fmla="*/ 5875998 h 6407421"/>
              <a:gd name="connsiteX499" fmla="*/ 2631378 w 11701760"/>
              <a:gd name="connsiteY499" fmla="*/ 5875998 h 6407421"/>
              <a:gd name="connsiteX500" fmla="*/ 2365289 w 11701760"/>
              <a:gd name="connsiteY500" fmla="*/ 5846396 h 6407421"/>
              <a:gd name="connsiteX501" fmla="*/ 2394892 w 11701760"/>
              <a:gd name="connsiteY501" fmla="*/ 5846396 h 6407421"/>
              <a:gd name="connsiteX502" fmla="*/ 2394892 w 11701760"/>
              <a:gd name="connsiteY502" fmla="*/ 5875998 h 6407421"/>
              <a:gd name="connsiteX503" fmla="*/ 2365289 w 11701760"/>
              <a:gd name="connsiteY503" fmla="*/ 5875998 h 6407421"/>
              <a:gd name="connsiteX504" fmla="*/ 2099092 w 11701760"/>
              <a:gd name="connsiteY504" fmla="*/ 5846396 h 6407421"/>
              <a:gd name="connsiteX505" fmla="*/ 2128695 w 11701760"/>
              <a:gd name="connsiteY505" fmla="*/ 5846396 h 6407421"/>
              <a:gd name="connsiteX506" fmla="*/ 2128695 w 11701760"/>
              <a:gd name="connsiteY506" fmla="*/ 5875998 h 6407421"/>
              <a:gd name="connsiteX507" fmla="*/ 2099092 w 11701760"/>
              <a:gd name="connsiteY507" fmla="*/ 5875998 h 6407421"/>
              <a:gd name="connsiteX508" fmla="*/ 1832898 w 11701760"/>
              <a:gd name="connsiteY508" fmla="*/ 5846396 h 6407421"/>
              <a:gd name="connsiteX509" fmla="*/ 1862498 w 11701760"/>
              <a:gd name="connsiteY509" fmla="*/ 5846396 h 6407421"/>
              <a:gd name="connsiteX510" fmla="*/ 1862498 w 11701760"/>
              <a:gd name="connsiteY510" fmla="*/ 5875998 h 6407421"/>
              <a:gd name="connsiteX511" fmla="*/ 1832898 w 11701760"/>
              <a:gd name="connsiteY511" fmla="*/ 5875998 h 6407421"/>
              <a:gd name="connsiteX512" fmla="*/ 1566808 w 11701760"/>
              <a:gd name="connsiteY512" fmla="*/ 5846396 h 6407421"/>
              <a:gd name="connsiteX513" fmla="*/ 1596409 w 11701760"/>
              <a:gd name="connsiteY513" fmla="*/ 5846396 h 6407421"/>
              <a:gd name="connsiteX514" fmla="*/ 1596409 w 11701760"/>
              <a:gd name="connsiteY514" fmla="*/ 5875998 h 6407421"/>
              <a:gd name="connsiteX515" fmla="*/ 1566808 w 11701760"/>
              <a:gd name="connsiteY515" fmla="*/ 5875998 h 6407421"/>
              <a:gd name="connsiteX516" fmla="*/ 1300611 w 11701760"/>
              <a:gd name="connsiteY516" fmla="*/ 5846396 h 6407421"/>
              <a:gd name="connsiteX517" fmla="*/ 1330213 w 11701760"/>
              <a:gd name="connsiteY517" fmla="*/ 5846396 h 6407421"/>
              <a:gd name="connsiteX518" fmla="*/ 1330213 w 11701760"/>
              <a:gd name="connsiteY518" fmla="*/ 5875998 h 6407421"/>
              <a:gd name="connsiteX519" fmla="*/ 1300611 w 11701760"/>
              <a:gd name="connsiteY519" fmla="*/ 5875998 h 6407421"/>
              <a:gd name="connsiteX520" fmla="*/ 1034520 w 11701760"/>
              <a:gd name="connsiteY520" fmla="*/ 5846396 h 6407421"/>
              <a:gd name="connsiteX521" fmla="*/ 1064123 w 11701760"/>
              <a:gd name="connsiteY521" fmla="*/ 5846396 h 6407421"/>
              <a:gd name="connsiteX522" fmla="*/ 1064123 w 11701760"/>
              <a:gd name="connsiteY522" fmla="*/ 5875998 h 6407421"/>
              <a:gd name="connsiteX523" fmla="*/ 1034520 w 11701760"/>
              <a:gd name="connsiteY523" fmla="*/ 5875998 h 6407421"/>
              <a:gd name="connsiteX524" fmla="*/ 768328 w 11701760"/>
              <a:gd name="connsiteY524" fmla="*/ 5846396 h 6407421"/>
              <a:gd name="connsiteX525" fmla="*/ 797926 w 11701760"/>
              <a:gd name="connsiteY525" fmla="*/ 5846396 h 6407421"/>
              <a:gd name="connsiteX526" fmla="*/ 797926 w 11701760"/>
              <a:gd name="connsiteY526" fmla="*/ 5875998 h 6407421"/>
              <a:gd name="connsiteX527" fmla="*/ 768328 w 11701760"/>
              <a:gd name="connsiteY527" fmla="*/ 5875998 h 6407421"/>
              <a:gd name="connsiteX528" fmla="*/ 502237 w 11701760"/>
              <a:gd name="connsiteY528" fmla="*/ 5846396 h 6407421"/>
              <a:gd name="connsiteX529" fmla="*/ 531839 w 11701760"/>
              <a:gd name="connsiteY529" fmla="*/ 5846396 h 6407421"/>
              <a:gd name="connsiteX530" fmla="*/ 531839 w 11701760"/>
              <a:gd name="connsiteY530" fmla="*/ 5875998 h 6407421"/>
              <a:gd name="connsiteX531" fmla="*/ 502237 w 11701760"/>
              <a:gd name="connsiteY531" fmla="*/ 5875998 h 6407421"/>
              <a:gd name="connsiteX532" fmla="*/ 236038 w 11701760"/>
              <a:gd name="connsiteY532" fmla="*/ 5846396 h 6407421"/>
              <a:gd name="connsiteX533" fmla="*/ 265640 w 11701760"/>
              <a:gd name="connsiteY533" fmla="*/ 5846396 h 6407421"/>
              <a:gd name="connsiteX534" fmla="*/ 265640 w 11701760"/>
              <a:gd name="connsiteY534" fmla="*/ 5875998 h 6407421"/>
              <a:gd name="connsiteX535" fmla="*/ 236038 w 11701760"/>
              <a:gd name="connsiteY535" fmla="*/ 5875998 h 6407421"/>
              <a:gd name="connsiteX536" fmla="*/ 2 w 11701760"/>
              <a:gd name="connsiteY536" fmla="*/ 5846396 h 6407421"/>
              <a:gd name="connsiteX537" fmla="*/ 29604 w 11701760"/>
              <a:gd name="connsiteY537" fmla="*/ 5846396 h 6407421"/>
              <a:gd name="connsiteX538" fmla="*/ 29604 w 11701760"/>
              <a:gd name="connsiteY538" fmla="*/ 5875998 h 6407421"/>
              <a:gd name="connsiteX539" fmla="*/ 2 w 11701760"/>
              <a:gd name="connsiteY539" fmla="*/ 5875998 h 6407421"/>
              <a:gd name="connsiteX540" fmla="*/ 11672158 w 11701760"/>
              <a:gd name="connsiteY540" fmla="*/ 5580631 h 6407421"/>
              <a:gd name="connsiteX541" fmla="*/ 11701760 w 11701760"/>
              <a:gd name="connsiteY541" fmla="*/ 5580631 h 6407421"/>
              <a:gd name="connsiteX542" fmla="*/ 11701760 w 11701760"/>
              <a:gd name="connsiteY542" fmla="*/ 5610233 h 6407421"/>
              <a:gd name="connsiteX543" fmla="*/ 11672158 w 11701760"/>
              <a:gd name="connsiteY543" fmla="*/ 5610233 h 6407421"/>
              <a:gd name="connsiteX544" fmla="*/ 11405961 w 11701760"/>
              <a:gd name="connsiteY544" fmla="*/ 5580631 h 6407421"/>
              <a:gd name="connsiteX545" fmla="*/ 11435563 w 11701760"/>
              <a:gd name="connsiteY545" fmla="*/ 5580631 h 6407421"/>
              <a:gd name="connsiteX546" fmla="*/ 11435563 w 11701760"/>
              <a:gd name="connsiteY546" fmla="*/ 5610233 h 6407421"/>
              <a:gd name="connsiteX547" fmla="*/ 11405961 w 11701760"/>
              <a:gd name="connsiteY547" fmla="*/ 5610233 h 6407421"/>
              <a:gd name="connsiteX548" fmla="*/ 11139872 w 11701760"/>
              <a:gd name="connsiteY548" fmla="*/ 5580631 h 6407421"/>
              <a:gd name="connsiteX549" fmla="*/ 11169474 w 11701760"/>
              <a:gd name="connsiteY549" fmla="*/ 5580631 h 6407421"/>
              <a:gd name="connsiteX550" fmla="*/ 11169474 w 11701760"/>
              <a:gd name="connsiteY550" fmla="*/ 5610233 h 6407421"/>
              <a:gd name="connsiteX551" fmla="*/ 11139872 w 11701760"/>
              <a:gd name="connsiteY551" fmla="*/ 5610233 h 6407421"/>
              <a:gd name="connsiteX552" fmla="*/ 10873675 w 11701760"/>
              <a:gd name="connsiteY552" fmla="*/ 5580631 h 6407421"/>
              <a:gd name="connsiteX553" fmla="*/ 10903277 w 11701760"/>
              <a:gd name="connsiteY553" fmla="*/ 5580631 h 6407421"/>
              <a:gd name="connsiteX554" fmla="*/ 10903277 w 11701760"/>
              <a:gd name="connsiteY554" fmla="*/ 5610233 h 6407421"/>
              <a:gd name="connsiteX555" fmla="*/ 10873675 w 11701760"/>
              <a:gd name="connsiteY555" fmla="*/ 5610233 h 6407421"/>
              <a:gd name="connsiteX556" fmla="*/ 10607478 w 11701760"/>
              <a:gd name="connsiteY556" fmla="*/ 5580631 h 6407421"/>
              <a:gd name="connsiteX557" fmla="*/ 10637188 w 11701760"/>
              <a:gd name="connsiteY557" fmla="*/ 5580631 h 6407421"/>
              <a:gd name="connsiteX558" fmla="*/ 10637188 w 11701760"/>
              <a:gd name="connsiteY558" fmla="*/ 5610233 h 6407421"/>
              <a:gd name="connsiteX559" fmla="*/ 10607478 w 11701760"/>
              <a:gd name="connsiteY559" fmla="*/ 5610233 h 6407421"/>
              <a:gd name="connsiteX560" fmla="*/ 10341389 w 11701760"/>
              <a:gd name="connsiteY560" fmla="*/ 5580631 h 6407421"/>
              <a:gd name="connsiteX561" fmla="*/ 10370992 w 11701760"/>
              <a:gd name="connsiteY561" fmla="*/ 5580631 h 6407421"/>
              <a:gd name="connsiteX562" fmla="*/ 10370992 w 11701760"/>
              <a:gd name="connsiteY562" fmla="*/ 5610233 h 6407421"/>
              <a:gd name="connsiteX563" fmla="*/ 10341389 w 11701760"/>
              <a:gd name="connsiteY563" fmla="*/ 5610233 h 6407421"/>
              <a:gd name="connsiteX564" fmla="*/ 10075192 w 11701760"/>
              <a:gd name="connsiteY564" fmla="*/ 5580631 h 6407421"/>
              <a:gd name="connsiteX565" fmla="*/ 10104794 w 11701760"/>
              <a:gd name="connsiteY565" fmla="*/ 5580631 h 6407421"/>
              <a:gd name="connsiteX566" fmla="*/ 10104794 w 11701760"/>
              <a:gd name="connsiteY566" fmla="*/ 5610233 h 6407421"/>
              <a:gd name="connsiteX567" fmla="*/ 10075192 w 11701760"/>
              <a:gd name="connsiteY567" fmla="*/ 5610233 h 6407421"/>
              <a:gd name="connsiteX568" fmla="*/ 9809103 w 11701760"/>
              <a:gd name="connsiteY568" fmla="*/ 5580631 h 6407421"/>
              <a:gd name="connsiteX569" fmla="*/ 9838705 w 11701760"/>
              <a:gd name="connsiteY569" fmla="*/ 5580631 h 6407421"/>
              <a:gd name="connsiteX570" fmla="*/ 9838705 w 11701760"/>
              <a:gd name="connsiteY570" fmla="*/ 5610233 h 6407421"/>
              <a:gd name="connsiteX571" fmla="*/ 9809103 w 11701760"/>
              <a:gd name="connsiteY571" fmla="*/ 5610233 h 6407421"/>
              <a:gd name="connsiteX572" fmla="*/ 9542906 w 11701760"/>
              <a:gd name="connsiteY572" fmla="*/ 5580631 h 6407421"/>
              <a:gd name="connsiteX573" fmla="*/ 9572509 w 11701760"/>
              <a:gd name="connsiteY573" fmla="*/ 5580631 h 6407421"/>
              <a:gd name="connsiteX574" fmla="*/ 9572509 w 11701760"/>
              <a:gd name="connsiteY574" fmla="*/ 5610233 h 6407421"/>
              <a:gd name="connsiteX575" fmla="*/ 9542906 w 11701760"/>
              <a:gd name="connsiteY575" fmla="*/ 5610233 h 6407421"/>
              <a:gd name="connsiteX576" fmla="*/ 9276817 w 11701760"/>
              <a:gd name="connsiteY576" fmla="*/ 5580631 h 6407421"/>
              <a:gd name="connsiteX577" fmla="*/ 9306420 w 11701760"/>
              <a:gd name="connsiteY577" fmla="*/ 5580631 h 6407421"/>
              <a:gd name="connsiteX578" fmla="*/ 9306420 w 11701760"/>
              <a:gd name="connsiteY578" fmla="*/ 5610233 h 6407421"/>
              <a:gd name="connsiteX579" fmla="*/ 9276817 w 11701760"/>
              <a:gd name="connsiteY579" fmla="*/ 5610233 h 6407421"/>
              <a:gd name="connsiteX580" fmla="*/ 9010620 w 11701760"/>
              <a:gd name="connsiteY580" fmla="*/ 5580631 h 6407421"/>
              <a:gd name="connsiteX581" fmla="*/ 9040222 w 11701760"/>
              <a:gd name="connsiteY581" fmla="*/ 5580631 h 6407421"/>
              <a:gd name="connsiteX582" fmla="*/ 9040222 w 11701760"/>
              <a:gd name="connsiteY582" fmla="*/ 5610233 h 6407421"/>
              <a:gd name="connsiteX583" fmla="*/ 9010620 w 11701760"/>
              <a:gd name="connsiteY583" fmla="*/ 5610233 h 6407421"/>
              <a:gd name="connsiteX584" fmla="*/ 8744423 w 11701760"/>
              <a:gd name="connsiteY584" fmla="*/ 5580631 h 6407421"/>
              <a:gd name="connsiteX585" fmla="*/ 8774026 w 11701760"/>
              <a:gd name="connsiteY585" fmla="*/ 5580631 h 6407421"/>
              <a:gd name="connsiteX586" fmla="*/ 8774026 w 11701760"/>
              <a:gd name="connsiteY586" fmla="*/ 5610233 h 6407421"/>
              <a:gd name="connsiteX587" fmla="*/ 8744423 w 11701760"/>
              <a:gd name="connsiteY587" fmla="*/ 5610233 h 6407421"/>
              <a:gd name="connsiteX588" fmla="*/ 8478226 w 11701760"/>
              <a:gd name="connsiteY588" fmla="*/ 5580631 h 6407421"/>
              <a:gd name="connsiteX589" fmla="*/ 8507828 w 11701760"/>
              <a:gd name="connsiteY589" fmla="*/ 5580631 h 6407421"/>
              <a:gd name="connsiteX590" fmla="*/ 8507828 w 11701760"/>
              <a:gd name="connsiteY590" fmla="*/ 5610233 h 6407421"/>
              <a:gd name="connsiteX591" fmla="*/ 8478226 w 11701760"/>
              <a:gd name="connsiteY591" fmla="*/ 5610233 h 6407421"/>
              <a:gd name="connsiteX592" fmla="*/ 8212137 w 11701760"/>
              <a:gd name="connsiteY592" fmla="*/ 5580631 h 6407421"/>
              <a:gd name="connsiteX593" fmla="*/ 8241740 w 11701760"/>
              <a:gd name="connsiteY593" fmla="*/ 5580631 h 6407421"/>
              <a:gd name="connsiteX594" fmla="*/ 8241740 w 11701760"/>
              <a:gd name="connsiteY594" fmla="*/ 5610233 h 6407421"/>
              <a:gd name="connsiteX595" fmla="*/ 8212137 w 11701760"/>
              <a:gd name="connsiteY595" fmla="*/ 5610233 h 6407421"/>
              <a:gd name="connsiteX596" fmla="*/ 7945940 w 11701760"/>
              <a:gd name="connsiteY596" fmla="*/ 5580631 h 6407421"/>
              <a:gd name="connsiteX597" fmla="*/ 7975543 w 11701760"/>
              <a:gd name="connsiteY597" fmla="*/ 5580631 h 6407421"/>
              <a:gd name="connsiteX598" fmla="*/ 7975543 w 11701760"/>
              <a:gd name="connsiteY598" fmla="*/ 5610233 h 6407421"/>
              <a:gd name="connsiteX599" fmla="*/ 7945940 w 11701760"/>
              <a:gd name="connsiteY599" fmla="*/ 5610233 h 6407421"/>
              <a:gd name="connsiteX600" fmla="*/ 7679743 w 11701760"/>
              <a:gd name="connsiteY600" fmla="*/ 5580631 h 6407421"/>
              <a:gd name="connsiteX601" fmla="*/ 7709346 w 11701760"/>
              <a:gd name="connsiteY601" fmla="*/ 5580631 h 6407421"/>
              <a:gd name="connsiteX602" fmla="*/ 7709346 w 11701760"/>
              <a:gd name="connsiteY602" fmla="*/ 5610233 h 6407421"/>
              <a:gd name="connsiteX603" fmla="*/ 7679743 w 11701760"/>
              <a:gd name="connsiteY603" fmla="*/ 5610233 h 6407421"/>
              <a:gd name="connsiteX604" fmla="*/ 7413653 w 11701760"/>
              <a:gd name="connsiteY604" fmla="*/ 5580631 h 6407421"/>
              <a:gd name="connsiteX605" fmla="*/ 7443256 w 11701760"/>
              <a:gd name="connsiteY605" fmla="*/ 5580631 h 6407421"/>
              <a:gd name="connsiteX606" fmla="*/ 7443256 w 11701760"/>
              <a:gd name="connsiteY606" fmla="*/ 5610233 h 6407421"/>
              <a:gd name="connsiteX607" fmla="*/ 7413653 w 11701760"/>
              <a:gd name="connsiteY607" fmla="*/ 5610233 h 6407421"/>
              <a:gd name="connsiteX608" fmla="*/ 7147456 w 11701760"/>
              <a:gd name="connsiteY608" fmla="*/ 5580631 h 6407421"/>
              <a:gd name="connsiteX609" fmla="*/ 7177058 w 11701760"/>
              <a:gd name="connsiteY609" fmla="*/ 5580631 h 6407421"/>
              <a:gd name="connsiteX610" fmla="*/ 7177058 w 11701760"/>
              <a:gd name="connsiteY610" fmla="*/ 5610233 h 6407421"/>
              <a:gd name="connsiteX611" fmla="*/ 7147456 w 11701760"/>
              <a:gd name="connsiteY611" fmla="*/ 5610233 h 6407421"/>
              <a:gd name="connsiteX612" fmla="*/ 6881367 w 11701760"/>
              <a:gd name="connsiteY612" fmla="*/ 5580631 h 6407421"/>
              <a:gd name="connsiteX613" fmla="*/ 6910970 w 11701760"/>
              <a:gd name="connsiteY613" fmla="*/ 5580631 h 6407421"/>
              <a:gd name="connsiteX614" fmla="*/ 6910970 w 11701760"/>
              <a:gd name="connsiteY614" fmla="*/ 5610233 h 6407421"/>
              <a:gd name="connsiteX615" fmla="*/ 6881367 w 11701760"/>
              <a:gd name="connsiteY615" fmla="*/ 5610233 h 6407421"/>
              <a:gd name="connsiteX616" fmla="*/ 6615170 w 11701760"/>
              <a:gd name="connsiteY616" fmla="*/ 5580631 h 6407421"/>
              <a:gd name="connsiteX617" fmla="*/ 6644773 w 11701760"/>
              <a:gd name="connsiteY617" fmla="*/ 5580631 h 6407421"/>
              <a:gd name="connsiteX618" fmla="*/ 6644773 w 11701760"/>
              <a:gd name="connsiteY618" fmla="*/ 5610233 h 6407421"/>
              <a:gd name="connsiteX619" fmla="*/ 6615170 w 11701760"/>
              <a:gd name="connsiteY619" fmla="*/ 5610233 h 6407421"/>
              <a:gd name="connsiteX620" fmla="*/ 6349081 w 11701760"/>
              <a:gd name="connsiteY620" fmla="*/ 5580631 h 6407421"/>
              <a:gd name="connsiteX621" fmla="*/ 6378683 w 11701760"/>
              <a:gd name="connsiteY621" fmla="*/ 5580631 h 6407421"/>
              <a:gd name="connsiteX622" fmla="*/ 6378683 w 11701760"/>
              <a:gd name="connsiteY622" fmla="*/ 5610233 h 6407421"/>
              <a:gd name="connsiteX623" fmla="*/ 6349081 w 11701760"/>
              <a:gd name="connsiteY623" fmla="*/ 5610233 h 6407421"/>
              <a:gd name="connsiteX624" fmla="*/ 6082884 w 11701760"/>
              <a:gd name="connsiteY624" fmla="*/ 5580631 h 6407421"/>
              <a:gd name="connsiteX625" fmla="*/ 6112486 w 11701760"/>
              <a:gd name="connsiteY625" fmla="*/ 5580631 h 6407421"/>
              <a:gd name="connsiteX626" fmla="*/ 6112486 w 11701760"/>
              <a:gd name="connsiteY626" fmla="*/ 5610233 h 6407421"/>
              <a:gd name="connsiteX627" fmla="*/ 6082884 w 11701760"/>
              <a:gd name="connsiteY627" fmla="*/ 5610233 h 6407421"/>
              <a:gd name="connsiteX628" fmla="*/ 5825310 w 11701760"/>
              <a:gd name="connsiteY628" fmla="*/ 5580631 h 6407421"/>
              <a:gd name="connsiteX629" fmla="*/ 5854913 w 11701760"/>
              <a:gd name="connsiteY629" fmla="*/ 5580631 h 6407421"/>
              <a:gd name="connsiteX630" fmla="*/ 5854913 w 11701760"/>
              <a:gd name="connsiteY630" fmla="*/ 5610233 h 6407421"/>
              <a:gd name="connsiteX631" fmla="*/ 5825310 w 11701760"/>
              <a:gd name="connsiteY631" fmla="*/ 5610233 h 6407421"/>
              <a:gd name="connsiteX632" fmla="*/ 5559113 w 11701760"/>
              <a:gd name="connsiteY632" fmla="*/ 5580631 h 6407421"/>
              <a:gd name="connsiteX633" fmla="*/ 5588715 w 11701760"/>
              <a:gd name="connsiteY633" fmla="*/ 5580631 h 6407421"/>
              <a:gd name="connsiteX634" fmla="*/ 5588715 w 11701760"/>
              <a:gd name="connsiteY634" fmla="*/ 5610233 h 6407421"/>
              <a:gd name="connsiteX635" fmla="*/ 5559113 w 11701760"/>
              <a:gd name="connsiteY635" fmla="*/ 5610233 h 6407421"/>
              <a:gd name="connsiteX636" fmla="*/ 5293024 w 11701760"/>
              <a:gd name="connsiteY636" fmla="*/ 5580631 h 6407421"/>
              <a:gd name="connsiteX637" fmla="*/ 5322626 w 11701760"/>
              <a:gd name="connsiteY637" fmla="*/ 5580631 h 6407421"/>
              <a:gd name="connsiteX638" fmla="*/ 5322626 w 11701760"/>
              <a:gd name="connsiteY638" fmla="*/ 5610233 h 6407421"/>
              <a:gd name="connsiteX639" fmla="*/ 5293024 w 11701760"/>
              <a:gd name="connsiteY639" fmla="*/ 5610233 h 6407421"/>
              <a:gd name="connsiteX640" fmla="*/ 5026827 w 11701760"/>
              <a:gd name="connsiteY640" fmla="*/ 5580631 h 6407421"/>
              <a:gd name="connsiteX641" fmla="*/ 5056429 w 11701760"/>
              <a:gd name="connsiteY641" fmla="*/ 5580631 h 6407421"/>
              <a:gd name="connsiteX642" fmla="*/ 5056429 w 11701760"/>
              <a:gd name="connsiteY642" fmla="*/ 5610233 h 6407421"/>
              <a:gd name="connsiteX643" fmla="*/ 5026827 w 11701760"/>
              <a:gd name="connsiteY643" fmla="*/ 5610233 h 6407421"/>
              <a:gd name="connsiteX644" fmla="*/ 4760630 w 11701760"/>
              <a:gd name="connsiteY644" fmla="*/ 5580631 h 6407421"/>
              <a:gd name="connsiteX645" fmla="*/ 4790340 w 11701760"/>
              <a:gd name="connsiteY645" fmla="*/ 5580631 h 6407421"/>
              <a:gd name="connsiteX646" fmla="*/ 4790340 w 11701760"/>
              <a:gd name="connsiteY646" fmla="*/ 5610233 h 6407421"/>
              <a:gd name="connsiteX647" fmla="*/ 4760630 w 11701760"/>
              <a:gd name="connsiteY647" fmla="*/ 5610233 h 6407421"/>
              <a:gd name="connsiteX648" fmla="*/ 4494541 w 11701760"/>
              <a:gd name="connsiteY648" fmla="*/ 5580631 h 6407421"/>
              <a:gd name="connsiteX649" fmla="*/ 4524144 w 11701760"/>
              <a:gd name="connsiteY649" fmla="*/ 5580631 h 6407421"/>
              <a:gd name="connsiteX650" fmla="*/ 4524144 w 11701760"/>
              <a:gd name="connsiteY650" fmla="*/ 5610233 h 6407421"/>
              <a:gd name="connsiteX651" fmla="*/ 4494541 w 11701760"/>
              <a:gd name="connsiteY651" fmla="*/ 5610233 h 6407421"/>
              <a:gd name="connsiteX652" fmla="*/ 4228344 w 11701760"/>
              <a:gd name="connsiteY652" fmla="*/ 5580631 h 6407421"/>
              <a:gd name="connsiteX653" fmla="*/ 4257946 w 11701760"/>
              <a:gd name="connsiteY653" fmla="*/ 5580631 h 6407421"/>
              <a:gd name="connsiteX654" fmla="*/ 4257946 w 11701760"/>
              <a:gd name="connsiteY654" fmla="*/ 5610233 h 6407421"/>
              <a:gd name="connsiteX655" fmla="*/ 4228344 w 11701760"/>
              <a:gd name="connsiteY655" fmla="*/ 5610233 h 6407421"/>
              <a:gd name="connsiteX656" fmla="*/ 3962255 w 11701760"/>
              <a:gd name="connsiteY656" fmla="*/ 5580631 h 6407421"/>
              <a:gd name="connsiteX657" fmla="*/ 3991857 w 11701760"/>
              <a:gd name="connsiteY657" fmla="*/ 5580631 h 6407421"/>
              <a:gd name="connsiteX658" fmla="*/ 3991857 w 11701760"/>
              <a:gd name="connsiteY658" fmla="*/ 5610233 h 6407421"/>
              <a:gd name="connsiteX659" fmla="*/ 3962255 w 11701760"/>
              <a:gd name="connsiteY659" fmla="*/ 5610233 h 6407421"/>
              <a:gd name="connsiteX660" fmla="*/ 3696058 w 11701760"/>
              <a:gd name="connsiteY660" fmla="*/ 5580631 h 6407421"/>
              <a:gd name="connsiteX661" fmla="*/ 3725661 w 11701760"/>
              <a:gd name="connsiteY661" fmla="*/ 5580631 h 6407421"/>
              <a:gd name="connsiteX662" fmla="*/ 3725661 w 11701760"/>
              <a:gd name="connsiteY662" fmla="*/ 5610233 h 6407421"/>
              <a:gd name="connsiteX663" fmla="*/ 3696058 w 11701760"/>
              <a:gd name="connsiteY663" fmla="*/ 5610233 h 6407421"/>
              <a:gd name="connsiteX664" fmla="*/ 3429969 w 11701760"/>
              <a:gd name="connsiteY664" fmla="*/ 5580631 h 6407421"/>
              <a:gd name="connsiteX665" fmla="*/ 3459572 w 11701760"/>
              <a:gd name="connsiteY665" fmla="*/ 5580631 h 6407421"/>
              <a:gd name="connsiteX666" fmla="*/ 3459572 w 11701760"/>
              <a:gd name="connsiteY666" fmla="*/ 5610233 h 6407421"/>
              <a:gd name="connsiteX667" fmla="*/ 3429969 w 11701760"/>
              <a:gd name="connsiteY667" fmla="*/ 5610233 h 6407421"/>
              <a:gd name="connsiteX668" fmla="*/ 3163772 w 11701760"/>
              <a:gd name="connsiteY668" fmla="*/ 5580631 h 6407421"/>
              <a:gd name="connsiteX669" fmla="*/ 3193374 w 11701760"/>
              <a:gd name="connsiteY669" fmla="*/ 5580631 h 6407421"/>
              <a:gd name="connsiteX670" fmla="*/ 3193374 w 11701760"/>
              <a:gd name="connsiteY670" fmla="*/ 5610233 h 6407421"/>
              <a:gd name="connsiteX671" fmla="*/ 3163772 w 11701760"/>
              <a:gd name="connsiteY671" fmla="*/ 5610233 h 6407421"/>
              <a:gd name="connsiteX672" fmla="*/ 2897575 w 11701760"/>
              <a:gd name="connsiteY672" fmla="*/ 5580631 h 6407421"/>
              <a:gd name="connsiteX673" fmla="*/ 2927178 w 11701760"/>
              <a:gd name="connsiteY673" fmla="*/ 5580631 h 6407421"/>
              <a:gd name="connsiteX674" fmla="*/ 2927178 w 11701760"/>
              <a:gd name="connsiteY674" fmla="*/ 5610233 h 6407421"/>
              <a:gd name="connsiteX675" fmla="*/ 2897575 w 11701760"/>
              <a:gd name="connsiteY675" fmla="*/ 5610233 h 6407421"/>
              <a:gd name="connsiteX676" fmla="*/ 2631378 w 11701760"/>
              <a:gd name="connsiteY676" fmla="*/ 5580631 h 6407421"/>
              <a:gd name="connsiteX677" fmla="*/ 2660980 w 11701760"/>
              <a:gd name="connsiteY677" fmla="*/ 5580631 h 6407421"/>
              <a:gd name="connsiteX678" fmla="*/ 2660980 w 11701760"/>
              <a:gd name="connsiteY678" fmla="*/ 5610233 h 6407421"/>
              <a:gd name="connsiteX679" fmla="*/ 2631378 w 11701760"/>
              <a:gd name="connsiteY679" fmla="*/ 5610233 h 6407421"/>
              <a:gd name="connsiteX680" fmla="*/ 2365289 w 11701760"/>
              <a:gd name="connsiteY680" fmla="*/ 5580631 h 6407421"/>
              <a:gd name="connsiteX681" fmla="*/ 2394892 w 11701760"/>
              <a:gd name="connsiteY681" fmla="*/ 5580631 h 6407421"/>
              <a:gd name="connsiteX682" fmla="*/ 2394892 w 11701760"/>
              <a:gd name="connsiteY682" fmla="*/ 5610233 h 6407421"/>
              <a:gd name="connsiteX683" fmla="*/ 2365289 w 11701760"/>
              <a:gd name="connsiteY683" fmla="*/ 5610233 h 6407421"/>
              <a:gd name="connsiteX684" fmla="*/ 2099092 w 11701760"/>
              <a:gd name="connsiteY684" fmla="*/ 5580631 h 6407421"/>
              <a:gd name="connsiteX685" fmla="*/ 2128695 w 11701760"/>
              <a:gd name="connsiteY685" fmla="*/ 5580631 h 6407421"/>
              <a:gd name="connsiteX686" fmla="*/ 2128695 w 11701760"/>
              <a:gd name="connsiteY686" fmla="*/ 5610233 h 6407421"/>
              <a:gd name="connsiteX687" fmla="*/ 2099092 w 11701760"/>
              <a:gd name="connsiteY687" fmla="*/ 5610233 h 6407421"/>
              <a:gd name="connsiteX688" fmla="*/ 1832898 w 11701760"/>
              <a:gd name="connsiteY688" fmla="*/ 5580631 h 6407421"/>
              <a:gd name="connsiteX689" fmla="*/ 1862498 w 11701760"/>
              <a:gd name="connsiteY689" fmla="*/ 5580631 h 6407421"/>
              <a:gd name="connsiteX690" fmla="*/ 1862498 w 11701760"/>
              <a:gd name="connsiteY690" fmla="*/ 5610233 h 6407421"/>
              <a:gd name="connsiteX691" fmla="*/ 1832898 w 11701760"/>
              <a:gd name="connsiteY691" fmla="*/ 5610233 h 6407421"/>
              <a:gd name="connsiteX692" fmla="*/ 1566808 w 11701760"/>
              <a:gd name="connsiteY692" fmla="*/ 5580631 h 6407421"/>
              <a:gd name="connsiteX693" fmla="*/ 1596409 w 11701760"/>
              <a:gd name="connsiteY693" fmla="*/ 5580631 h 6407421"/>
              <a:gd name="connsiteX694" fmla="*/ 1596409 w 11701760"/>
              <a:gd name="connsiteY694" fmla="*/ 5610233 h 6407421"/>
              <a:gd name="connsiteX695" fmla="*/ 1566808 w 11701760"/>
              <a:gd name="connsiteY695" fmla="*/ 5610233 h 6407421"/>
              <a:gd name="connsiteX696" fmla="*/ 1300611 w 11701760"/>
              <a:gd name="connsiteY696" fmla="*/ 5580631 h 6407421"/>
              <a:gd name="connsiteX697" fmla="*/ 1330213 w 11701760"/>
              <a:gd name="connsiteY697" fmla="*/ 5580631 h 6407421"/>
              <a:gd name="connsiteX698" fmla="*/ 1330213 w 11701760"/>
              <a:gd name="connsiteY698" fmla="*/ 5610233 h 6407421"/>
              <a:gd name="connsiteX699" fmla="*/ 1300611 w 11701760"/>
              <a:gd name="connsiteY699" fmla="*/ 5610233 h 6407421"/>
              <a:gd name="connsiteX700" fmla="*/ 1034520 w 11701760"/>
              <a:gd name="connsiteY700" fmla="*/ 5580631 h 6407421"/>
              <a:gd name="connsiteX701" fmla="*/ 1064123 w 11701760"/>
              <a:gd name="connsiteY701" fmla="*/ 5580631 h 6407421"/>
              <a:gd name="connsiteX702" fmla="*/ 1064123 w 11701760"/>
              <a:gd name="connsiteY702" fmla="*/ 5610233 h 6407421"/>
              <a:gd name="connsiteX703" fmla="*/ 1034520 w 11701760"/>
              <a:gd name="connsiteY703" fmla="*/ 5610233 h 6407421"/>
              <a:gd name="connsiteX704" fmla="*/ 768328 w 11701760"/>
              <a:gd name="connsiteY704" fmla="*/ 5580631 h 6407421"/>
              <a:gd name="connsiteX705" fmla="*/ 797926 w 11701760"/>
              <a:gd name="connsiteY705" fmla="*/ 5580631 h 6407421"/>
              <a:gd name="connsiteX706" fmla="*/ 797926 w 11701760"/>
              <a:gd name="connsiteY706" fmla="*/ 5610233 h 6407421"/>
              <a:gd name="connsiteX707" fmla="*/ 768328 w 11701760"/>
              <a:gd name="connsiteY707" fmla="*/ 5610233 h 6407421"/>
              <a:gd name="connsiteX708" fmla="*/ 502237 w 11701760"/>
              <a:gd name="connsiteY708" fmla="*/ 5580631 h 6407421"/>
              <a:gd name="connsiteX709" fmla="*/ 531839 w 11701760"/>
              <a:gd name="connsiteY709" fmla="*/ 5580631 h 6407421"/>
              <a:gd name="connsiteX710" fmla="*/ 531839 w 11701760"/>
              <a:gd name="connsiteY710" fmla="*/ 5610233 h 6407421"/>
              <a:gd name="connsiteX711" fmla="*/ 502237 w 11701760"/>
              <a:gd name="connsiteY711" fmla="*/ 5610233 h 6407421"/>
              <a:gd name="connsiteX712" fmla="*/ 236038 w 11701760"/>
              <a:gd name="connsiteY712" fmla="*/ 5580631 h 6407421"/>
              <a:gd name="connsiteX713" fmla="*/ 265640 w 11701760"/>
              <a:gd name="connsiteY713" fmla="*/ 5580631 h 6407421"/>
              <a:gd name="connsiteX714" fmla="*/ 265640 w 11701760"/>
              <a:gd name="connsiteY714" fmla="*/ 5610233 h 6407421"/>
              <a:gd name="connsiteX715" fmla="*/ 236038 w 11701760"/>
              <a:gd name="connsiteY715" fmla="*/ 5610233 h 6407421"/>
              <a:gd name="connsiteX716" fmla="*/ 2 w 11701760"/>
              <a:gd name="connsiteY716" fmla="*/ 5580631 h 6407421"/>
              <a:gd name="connsiteX717" fmla="*/ 29604 w 11701760"/>
              <a:gd name="connsiteY717" fmla="*/ 5580631 h 6407421"/>
              <a:gd name="connsiteX718" fmla="*/ 29604 w 11701760"/>
              <a:gd name="connsiteY718" fmla="*/ 5610233 h 6407421"/>
              <a:gd name="connsiteX719" fmla="*/ 2 w 11701760"/>
              <a:gd name="connsiteY719" fmla="*/ 5610233 h 6407421"/>
              <a:gd name="connsiteX720" fmla="*/ 11672158 w 11701760"/>
              <a:gd name="connsiteY720" fmla="*/ 5314974 h 6407421"/>
              <a:gd name="connsiteX721" fmla="*/ 11701760 w 11701760"/>
              <a:gd name="connsiteY721" fmla="*/ 5314974 h 6407421"/>
              <a:gd name="connsiteX722" fmla="*/ 11701760 w 11701760"/>
              <a:gd name="connsiteY722" fmla="*/ 5344468 h 6407421"/>
              <a:gd name="connsiteX723" fmla="*/ 11672158 w 11701760"/>
              <a:gd name="connsiteY723" fmla="*/ 5344468 h 6407421"/>
              <a:gd name="connsiteX724" fmla="*/ 11405961 w 11701760"/>
              <a:gd name="connsiteY724" fmla="*/ 5314974 h 6407421"/>
              <a:gd name="connsiteX725" fmla="*/ 11435563 w 11701760"/>
              <a:gd name="connsiteY725" fmla="*/ 5314974 h 6407421"/>
              <a:gd name="connsiteX726" fmla="*/ 11435563 w 11701760"/>
              <a:gd name="connsiteY726" fmla="*/ 5344468 h 6407421"/>
              <a:gd name="connsiteX727" fmla="*/ 11405961 w 11701760"/>
              <a:gd name="connsiteY727" fmla="*/ 5344468 h 6407421"/>
              <a:gd name="connsiteX728" fmla="*/ 11139872 w 11701760"/>
              <a:gd name="connsiteY728" fmla="*/ 5314974 h 6407421"/>
              <a:gd name="connsiteX729" fmla="*/ 11169474 w 11701760"/>
              <a:gd name="connsiteY729" fmla="*/ 5314974 h 6407421"/>
              <a:gd name="connsiteX730" fmla="*/ 11169474 w 11701760"/>
              <a:gd name="connsiteY730" fmla="*/ 5344468 h 6407421"/>
              <a:gd name="connsiteX731" fmla="*/ 11139872 w 11701760"/>
              <a:gd name="connsiteY731" fmla="*/ 5344468 h 6407421"/>
              <a:gd name="connsiteX732" fmla="*/ 10873675 w 11701760"/>
              <a:gd name="connsiteY732" fmla="*/ 5314974 h 6407421"/>
              <a:gd name="connsiteX733" fmla="*/ 10903277 w 11701760"/>
              <a:gd name="connsiteY733" fmla="*/ 5314974 h 6407421"/>
              <a:gd name="connsiteX734" fmla="*/ 10903277 w 11701760"/>
              <a:gd name="connsiteY734" fmla="*/ 5344468 h 6407421"/>
              <a:gd name="connsiteX735" fmla="*/ 10873675 w 11701760"/>
              <a:gd name="connsiteY735" fmla="*/ 5344468 h 6407421"/>
              <a:gd name="connsiteX736" fmla="*/ 10607478 w 11701760"/>
              <a:gd name="connsiteY736" fmla="*/ 5314974 h 6407421"/>
              <a:gd name="connsiteX737" fmla="*/ 10637188 w 11701760"/>
              <a:gd name="connsiteY737" fmla="*/ 5314974 h 6407421"/>
              <a:gd name="connsiteX738" fmla="*/ 10637188 w 11701760"/>
              <a:gd name="connsiteY738" fmla="*/ 5344468 h 6407421"/>
              <a:gd name="connsiteX739" fmla="*/ 10607478 w 11701760"/>
              <a:gd name="connsiteY739" fmla="*/ 5344468 h 6407421"/>
              <a:gd name="connsiteX740" fmla="*/ 10341389 w 11701760"/>
              <a:gd name="connsiteY740" fmla="*/ 5314974 h 6407421"/>
              <a:gd name="connsiteX741" fmla="*/ 10370992 w 11701760"/>
              <a:gd name="connsiteY741" fmla="*/ 5314974 h 6407421"/>
              <a:gd name="connsiteX742" fmla="*/ 10370992 w 11701760"/>
              <a:gd name="connsiteY742" fmla="*/ 5344468 h 6407421"/>
              <a:gd name="connsiteX743" fmla="*/ 10341389 w 11701760"/>
              <a:gd name="connsiteY743" fmla="*/ 5344468 h 6407421"/>
              <a:gd name="connsiteX744" fmla="*/ 10075192 w 11701760"/>
              <a:gd name="connsiteY744" fmla="*/ 5314974 h 6407421"/>
              <a:gd name="connsiteX745" fmla="*/ 10104794 w 11701760"/>
              <a:gd name="connsiteY745" fmla="*/ 5314974 h 6407421"/>
              <a:gd name="connsiteX746" fmla="*/ 10104794 w 11701760"/>
              <a:gd name="connsiteY746" fmla="*/ 5344468 h 6407421"/>
              <a:gd name="connsiteX747" fmla="*/ 10075192 w 11701760"/>
              <a:gd name="connsiteY747" fmla="*/ 5344468 h 6407421"/>
              <a:gd name="connsiteX748" fmla="*/ 9809103 w 11701760"/>
              <a:gd name="connsiteY748" fmla="*/ 5314974 h 6407421"/>
              <a:gd name="connsiteX749" fmla="*/ 9838705 w 11701760"/>
              <a:gd name="connsiteY749" fmla="*/ 5314974 h 6407421"/>
              <a:gd name="connsiteX750" fmla="*/ 9838705 w 11701760"/>
              <a:gd name="connsiteY750" fmla="*/ 5344468 h 6407421"/>
              <a:gd name="connsiteX751" fmla="*/ 9809103 w 11701760"/>
              <a:gd name="connsiteY751" fmla="*/ 5344468 h 6407421"/>
              <a:gd name="connsiteX752" fmla="*/ 9542906 w 11701760"/>
              <a:gd name="connsiteY752" fmla="*/ 5314974 h 6407421"/>
              <a:gd name="connsiteX753" fmla="*/ 9572509 w 11701760"/>
              <a:gd name="connsiteY753" fmla="*/ 5314974 h 6407421"/>
              <a:gd name="connsiteX754" fmla="*/ 9572509 w 11701760"/>
              <a:gd name="connsiteY754" fmla="*/ 5344468 h 6407421"/>
              <a:gd name="connsiteX755" fmla="*/ 9542906 w 11701760"/>
              <a:gd name="connsiteY755" fmla="*/ 5344468 h 6407421"/>
              <a:gd name="connsiteX756" fmla="*/ 9276817 w 11701760"/>
              <a:gd name="connsiteY756" fmla="*/ 5314974 h 6407421"/>
              <a:gd name="connsiteX757" fmla="*/ 9306420 w 11701760"/>
              <a:gd name="connsiteY757" fmla="*/ 5314974 h 6407421"/>
              <a:gd name="connsiteX758" fmla="*/ 9306420 w 11701760"/>
              <a:gd name="connsiteY758" fmla="*/ 5344468 h 6407421"/>
              <a:gd name="connsiteX759" fmla="*/ 9276817 w 11701760"/>
              <a:gd name="connsiteY759" fmla="*/ 5344468 h 6407421"/>
              <a:gd name="connsiteX760" fmla="*/ 9010620 w 11701760"/>
              <a:gd name="connsiteY760" fmla="*/ 5314974 h 6407421"/>
              <a:gd name="connsiteX761" fmla="*/ 9040222 w 11701760"/>
              <a:gd name="connsiteY761" fmla="*/ 5314974 h 6407421"/>
              <a:gd name="connsiteX762" fmla="*/ 9040222 w 11701760"/>
              <a:gd name="connsiteY762" fmla="*/ 5344468 h 6407421"/>
              <a:gd name="connsiteX763" fmla="*/ 9010620 w 11701760"/>
              <a:gd name="connsiteY763" fmla="*/ 5344468 h 6407421"/>
              <a:gd name="connsiteX764" fmla="*/ 8744423 w 11701760"/>
              <a:gd name="connsiteY764" fmla="*/ 5314974 h 6407421"/>
              <a:gd name="connsiteX765" fmla="*/ 8774026 w 11701760"/>
              <a:gd name="connsiteY765" fmla="*/ 5314974 h 6407421"/>
              <a:gd name="connsiteX766" fmla="*/ 8774026 w 11701760"/>
              <a:gd name="connsiteY766" fmla="*/ 5344468 h 6407421"/>
              <a:gd name="connsiteX767" fmla="*/ 8744423 w 11701760"/>
              <a:gd name="connsiteY767" fmla="*/ 5344468 h 6407421"/>
              <a:gd name="connsiteX768" fmla="*/ 8478226 w 11701760"/>
              <a:gd name="connsiteY768" fmla="*/ 5314974 h 6407421"/>
              <a:gd name="connsiteX769" fmla="*/ 8507828 w 11701760"/>
              <a:gd name="connsiteY769" fmla="*/ 5314974 h 6407421"/>
              <a:gd name="connsiteX770" fmla="*/ 8507828 w 11701760"/>
              <a:gd name="connsiteY770" fmla="*/ 5344468 h 6407421"/>
              <a:gd name="connsiteX771" fmla="*/ 8478226 w 11701760"/>
              <a:gd name="connsiteY771" fmla="*/ 5344468 h 6407421"/>
              <a:gd name="connsiteX772" fmla="*/ 8212137 w 11701760"/>
              <a:gd name="connsiteY772" fmla="*/ 5314974 h 6407421"/>
              <a:gd name="connsiteX773" fmla="*/ 8241740 w 11701760"/>
              <a:gd name="connsiteY773" fmla="*/ 5314974 h 6407421"/>
              <a:gd name="connsiteX774" fmla="*/ 8241740 w 11701760"/>
              <a:gd name="connsiteY774" fmla="*/ 5344468 h 6407421"/>
              <a:gd name="connsiteX775" fmla="*/ 8212137 w 11701760"/>
              <a:gd name="connsiteY775" fmla="*/ 5344468 h 6407421"/>
              <a:gd name="connsiteX776" fmla="*/ 7945940 w 11701760"/>
              <a:gd name="connsiteY776" fmla="*/ 5314974 h 6407421"/>
              <a:gd name="connsiteX777" fmla="*/ 7975543 w 11701760"/>
              <a:gd name="connsiteY777" fmla="*/ 5314974 h 6407421"/>
              <a:gd name="connsiteX778" fmla="*/ 7975543 w 11701760"/>
              <a:gd name="connsiteY778" fmla="*/ 5344468 h 6407421"/>
              <a:gd name="connsiteX779" fmla="*/ 7945940 w 11701760"/>
              <a:gd name="connsiteY779" fmla="*/ 5344468 h 6407421"/>
              <a:gd name="connsiteX780" fmla="*/ 7679743 w 11701760"/>
              <a:gd name="connsiteY780" fmla="*/ 5314974 h 6407421"/>
              <a:gd name="connsiteX781" fmla="*/ 7709346 w 11701760"/>
              <a:gd name="connsiteY781" fmla="*/ 5314974 h 6407421"/>
              <a:gd name="connsiteX782" fmla="*/ 7709346 w 11701760"/>
              <a:gd name="connsiteY782" fmla="*/ 5344468 h 6407421"/>
              <a:gd name="connsiteX783" fmla="*/ 7679743 w 11701760"/>
              <a:gd name="connsiteY783" fmla="*/ 5344468 h 6407421"/>
              <a:gd name="connsiteX784" fmla="*/ 7413653 w 11701760"/>
              <a:gd name="connsiteY784" fmla="*/ 5314974 h 6407421"/>
              <a:gd name="connsiteX785" fmla="*/ 7443256 w 11701760"/>
              <a:gd name="connsiteY785" fmla="*/ 5314974 h 6407421"/>
              <a:gd name="connsiteX786" fmla="*/ 7443256 w 11701760"/>
              <a:gd name="connsiteY786" fmla="*/ 5344468 h 6407421"/>
              <a:gd name="connsiteX787" fmla="*/ 7413653 w 11701760"/>
              <a:gd name="connsiteY787" fmla="*/ 5344468 h 6407421"/>
              <a:gd name="connsiteX788" fmla="*/ 7147456 w 11701760"/>
              <a:gd name="connsiteY788" fmla="*/ 5314974 h 6407421"/>
              <a:gd name="connsiteX789" fmla="*/ 7177058 w 11701760"/>
              <a:gd name="connsiteY789" fmla="*/ 5314974 h 6407421"/>
              <a:gd name="connsiteX790" fmla="*/ 7177058 w 11701760"/>
              <a:gd name="connsiteY790" fmla="*/ 5344468 h 6407421"/>
              <a:gd name="connsiteX791" fmla="*/ 7147456 w 11701760"/>
              <a:gd name="connsiteY791" fmla="*/ 5344468 h 6407421"/>
              <a:gd name="connsiteX792" fmla="*/ 6881367 w 11701760"/>
              <a:gd name="connsiteY792" fmla="*/ 5314974 h 6407421"/>
              <a:gd name="connsiteX793" fmla="*/ 6910970 w 11701760"/>
              <a:gd name="connsiteY793" fmla="*/ 5314974 h 6407421"/>
              <a:gd name="connsiteX794" fmla="*/ 6910970 w 11701760"/>
              <a:gd name="connsiteY794" fmla="*/ 5344468 h 6407421"/>
              <a:gd name="connsiteX795" fmla="*/ 6881367 w 11701760"/>
              <a:gd name="connsiteY795" fmla="*/ 5344468 h 6407421"/>
              <a:gd name="connsiteX796" fmla="*/ 6615170 w 11701760"/>
              <a:gd name="connsiteY796" fmla="*/ 5314974 h 6407421"/>
              <a:gd name="connsiteX797" fmla="*/ 6644773 w 11701760"/>
              <a:gd name="connsiteY797" fmla="*/ 5314974 h 6407421"/>
              <a:gd name="connsiteX798" fmla="*/ 6644773 w 11701760"/>
              <a:gd name="connsiteY798" fmla="*/ 5344468 h 6407421"/>
              <a:gd name="connsiteX799" fmla="*/ 6615170 w 11701760"/>
              <a:gd name="connsiteY799" fmla="*/ 5344468 h 6407421"/>
              <a:gd name="connsiteX800" fmla="*/ 6349081 w 11701760"/>
              <a:gd name="connsiteY800" fmla="*/ 5314974 h 6407421"/>
              <a:gd name="connsiteX801" fmla="*/ 6378683 w 11701760"/>
              <a:gd name="connsiteY801" fmla="*/ 5314974 h 6407421"/>
              <a:gd name="connsiteX802" fmla="*/ 6378683 w 11701760"/>
              <a:gd name="connsiteY802" fmla="*/ 5344468 h 6407421"/>
              <a:gd name="connsiteX803" fmla="*/ 6349081 w 11701760"/>
              <a:gd name="connsiteY803" fmla="*/ 5344468 h 6407421"/>
              <a:gd name="connsiteX804" fmla="*/ 6082884 w 11701760"/>
              <a:gd name="connsiteY804" fmla="*/ 5314974 h 6407421"/>
              <a:gd name="connsiteX805" fmla="*/ 6112486 w 11701760"/>
              <a:gd name="connsiteY805" fmla="*/ 5314974 h 6407421"/>
              <a:gd name="connsiteX806" fmla="*/ 6112486 w 11701760"/>
              <a:gd name="connsiteY806" fmla="*/ 5344468 h 6407421"/>
              <a:gd name="connsiteX807" fmla="*/ 6082884 w 11701760"/>
              <a:gd name="connsiteY807" fmla="*/ 5344468 h 6407421"/>
              <a:gd name="connsiteX808" fmla="*/ 5825310 w 11701760"/>
              <a:gd name="connsiteY808" fmla="*/ 5314974 h 6407421"/>
              <a:gd name="connsiteX809" fmla="*/ 5854913 w 11701760"/>
              <a:gd name="connsiteY809" fmla="*/ 5314974 h 6407421"/>
              <a:gd name="connsiteX810" fmla="*/ 5854913 w 11701760"/>
              <a:gd name="connsiteY810" fmla="*/ 5344468 h 6407421"/>
              <a:gd name="connsiteX811" fmla="*/ 5825310 w 11701760"/>
              <a:gd name="connsiteY811" fmla="*/ 5344468 h 6407421"/>
              <a:gd name="connsiteX812" fmla="*/ 5559113 w 11701760"/>
              <a:gd name="connsiteY812" fmla="*/ 5314974 h 6407421"/>
              <a:gd name="connsiteX813" fmla="*/ 5588715 w 11701760"/>
              <a:gd name="connsiteY813" fmla="*/ 5314974 h 6407421"/>
              <a:gd name="connsiteX814" fmla="*/ 5588715 w 11701760"/>
              <a:gd name="connsiteY814" fmla="*/ 5344468 h 6407421"/>
              <a:gd name="connsiteX815" fmla="*/ 5559113 w 11701760"/>
              <a:gd name="connsiteY815" fmla="*/ 5344468 h 6407421"/>
              <a:gd name="connsiteX816" fmla="*/ 5293024 w 11701760"/>
              <a:gd name="connsiteY816" fmla="*/ 5314974 h 6407421"/>
              <a:gd name="connsiteX817" fmla="*/ 5322626 w 11701760"/>
              <a:gd name="connsiteY817" fmla="*/ 5314974 h 6407421"/>
              <a:gd name="connsiteX818" fmla="*/ 5322626 w 11701760"/>
              <a:gd name="connsiteY818" fmla="*/ 5344468 h 6407421"/>
              <a:gd name="connsiteX819" fmla="*/ 5293024 w 11701760"/>
              <a:gd name="connsiteY819" fmla="*/ 5344468 h 6407421"/>
              <a:gd name="connsiteX820" fmla="*/ 5026827 w 11701760"/>
              <a:gd name="connsiteY820" fmla="*/ 5314974 h 6407421"/>
              <a:gd name="connsiteX821" fmla="*/ 5056429 w 11701760"/>
              <a:gd name="connsiteY821" fmla="*/ 5314974 h 6407421"/>
              <a:gd name="connsiteX822" fmla="*/ 5056429 w 11701760"/>
              <a:gd name="connsiteY822" fmla="*/ 5344468 h 6407421"/>
              <a:gd name="connsiteX823" fmla="*/ 5026827 w 11701760"/>
              <a:gd name="connsiteY823" fmla="*/ 5344468 h 6407421"/>
              <a:gd name="connsiteX824" fmla="*/ 4760630 w 11701760"/>
              <a:gd name="connsiteY824" fmla="*/ 5314974 h 6407421"/>
              <a:gd name="connsiteX825" fmla="*/ 4790340 w 11701760"/>
              <a:gd name="connsiteY825" fmla="*/ 5314974 h 6407421"/>
              <a:gd name="connsiteX826" fmla="*/ 4790340 w 11701760"/>
              <a:gd name="connsiteY826" fmla="*/ 5344468 h 6407421"/>
              <a:gd name="connsiteX827" fmla="*/ 4760630 w 11701760"/>
              <a:gd name="connsiteY827" fmla="*/ 5344468 h 6407421"/>
              <a:gd name="connsiteX828" fmla="*/ 4494541 w 11701760"/>
              <a:gd name="connsiteY828" fmla="*/ 5314974 h 6407421"/>
              <a:gd name="connsiteX829" fmla="*/ 4524144 w 11701760"/>
              <a:gd name="connsiteY829" fmla="*/ 5314974 h 6407421"/>
              <a:gd name="connsiteX830" fmla="*/ 4524144 w 11701760"/>
              <a:gd name="connsiteY830" fmla="*/ 5344468 h 6407421"/>
              <a:gd name="connsiteX831" fmla="*/ 4494541 w 11701760"/>
              <a:gd name="connsiteY831" fmla="*/ 5344468 h 6407421"/>
              <a:gd name="connsiteX832" fmla="*/ 4228344 w 11701760"/>
              <a:gd name="connsiteY832" fmla="*/ 5314974 h 6407421"/>
              <a:gd name="connsiteX833" fmla="*/ 4257946 w 11701760"/>
              <a:gd name="connsiteY833" fmla="*/ 5314974 h 6407421"/>
              <a:gd name="connsiteX834" fmla="*/ 4257946 w 11701760"/>
              <a:gd name="connsiteY834" fmla="*/ 5344468 h 6407421"/>
              <a:gd name="connsiteX835" fmla="*/ 4228344 w 11701760"/>
              <a:gd name="connsiteY835" fmla="*/ 5344468 h 6407421"/>
              <a:gd name="connsiteX836" fmla="*/ 3962255 w 11701760"/>
              <a:gd name="connsiteY836" fmla="*/ 5314974 h 6407421"/>
              <a:gd name="connsiteX837" fmla="*/ 3991857 w 11701760"/>
              <a:gd name="connsiteY837" fmla="*/ 5314974 h 6407421"/>
              <a:gd name="connsiteX838" fmla="*/ 3991857 w 11701760"/>
              <a:gd name="connsiteY838" fmla="*/ 5344468 h 6407421"/>
              <a:gd name="connsiteX839" fmla="*/ 3962255 w 11701760"/>
              <a:gd name="connsiteY839" fmla="*/ 5344468 h 6407421"/>
              <a:gd name="connsiteX840" fmla="*/ 3696058 w 11701760"/>
              <a:gd name="connsiteY840" fmla="*/ 5314974 h 6407421"/>
              <a:gd name="connsiteX841" fmla="*/ 3725661 w 11701760"/>
              <a:gd name="connsiteY841" fmla="*/ 5314974 h 6407421"/>
              <a:gd name="connsiteX842" fmla="*/ 3725661 w 11701760"/>
              <a:gd name="connsiteY842" fmla="*/ 5344468 h 6407421"/>
              <a:gd name="connsiteX843" fmla="*/ 3696058 w 11701760"/>
              <a:gd name="connsiteY843" fmla="*/ 5344468 h 6407421"/>
              <a:gd name="connsiteX844" fmla="*/ 3429969 w 11701760"/>
              <a:gd name="connsiteY844" fmla="*/ 5314974 h 6407421"/>
              <a:gd name="connsiteX845" fmla="*/ 3459572 w 11701760"/>
              <a:gd name="connsiteY845" fmla="*/ 5314974 h 6407421"/>
              <a:gd name="connsiteX846" fmla="*/ 3459572 w 11701760"/>
              <a:gd name="connsiteY846" fmla="*/ 5344468 h 6407421"/>
              <a:gd name="connsiteX847" fmla="*/ 3429969 w 11701760"/>
              <a:gd name="connsiteY847" fmla="*/ 5344468 h 6407421"/>
              <a:gd name="connsiteX848" fmla="*/ 3163772 w 11701760"/>
              <a:gd name="connsiteY848" fmla="*/ 5314974 h 6407421"/>
              <a:gd name="connsiteX849" fmla="*/ 3193374 w 11701760"/>
              <a:gd name="connsiteY849" fmla="*/ 5314974 h 6407421"/>
              <a:gd name="connsiteX850" fmla="*/ 3193374 w 11701760"/>
              <a:gd name="connsiteY850" fmla="*/ 5344468 h 6407421"/>
              <a:gd name="connsiteX851" fmla="*/ 3163772 w 11701760"/>
              <a:gd name="connsiteY851" fmla="*/ 5344468 h 6407421"/>
              <a:gd name="connsiteX852" fmla="*/ 2897575 w 11701760"/>
              <a:gd name="connsiteY852" fmla="*/ 5314974 h 6407421"/>
              <a:gd name="connsiteX853" fmla="*/ 2927178 w 11701760"/>
              <a:gd name="connsiteY853" fmla="*/ 5314974 h 6407421"/>
              <a:gd name="connsiteX854" fmla="*/ 2927178 w 11701760"/>
              <a:gd name="connsiteY854" fmla="*/ 5344468 h 6407421"/>
              <a:gd name="connsiteX855" fmla="*/ 2897575 w 11701760"/>
              <a:gd name="connsiteY855" fmla="*/ 5344468 h 6407421"/>
              <a:gd name="connsiteX856" fmla="*/ 2631378 w 11701760"/>
              <a:gd name="connsiteY856" fmla="*/ 5314974 h 6407421"/>
              <a:gd name="connsiteX857" fmla="*/ 2660980 w 11701760"/>
              <a:gd name="connsiteY857" fmla="*/ 5314974 h 6407421"/>
              <a:gd name="connsiteX858" fmla="*/ 2660980 w 11701760"/>
              <a:gd name="connsiteY858" fmla="*/ 5344468 h 6407421"/>
              <a:gd name="connsiteX859" fmla="*/ 2631378 w 11701760"/>
              <a:gd name="connsiteY859" fmla="*/ 5344468 h 6407421"/>
              <a:gd name="connsiteX860" fmla="*/ 2365289 w 11701760"/>
              <a:gd name="connsiteY860" fmla="*/ 5314974 h 6407421"/>
              <a:gd name="connsiteX861" fmla="*/ 2394892 w 11701760"/>
              <a:gd name="connsiteY861" fmla="*/ 5314974 h 6407421"/>
              <a:gd name="connsiteX862" fmla="*/ 2394892 w 11701760"/>
              <a:gd name="connsiteY862" fmla="*/ 5344468 h 6407421"/>
              <a:gd name="connsiteX863" fmla="*/ 2365289 w 11701760"/>
              <a:gd name="connsiteY863" fmla="*/ 5344468 h 6407421"/>
              <a:gd name="connsiteX864" fmla="*/ 2099092 w 11701760"/>
              <a:gd name="connsiteY864" fmla="*/ 5314974 h 6407421"/>
              <a:gd name="connsiteX865" fmla="*/ 2128695 w 11701760"/>
              <a:gd name="connsiteY865" fmla="*/ 5314974 h 6407421"/>
              <a:gd name="connsiteX866" fmla="*/ 2128695 w 11701760"/>
              <a:gd name="connsiteY866" fmla="*/ 5344468 h 6407421"/>
              <a:gd name="connsiteX867" fmla="*/ 2099092 w 11701760"/>
              <a:gd name="connsiteY867" fmla="*/ 5344468 h 6407421"/>
              <a:gd name="connsiteX868" fmla="*/ 1832898 w 11701760"/>
              <a:gd name="connsiteY868" fmla="*/ 5314974 h 6407421"/>
              <a:gd name="connsiteX869" fmla="*/ 1862498 w 11701760"/>
              <a:gd name="connsiteY869" fmla="*/ 5314974 h 6407421"/>
              <a:gd name="connsiteX870" fmla="*/ 1862498 w 11701760"/>
              <a:gd name="connsiteY870" fmla="*/ 5344468 h 6407421"/>
              <a:gd name="connsiteX871" fmla="*/ 1832898 w 11701760"/>
              <a:gd name="connsiteY871" fmla="*/ 5344468 h 6407421"/>
              <a:gd name="connsiteX872" fmla="*/ 1566808 w 11701760"/>
              <a:gd name="connsiteY872" fmla="*/ 5314974 h 6407421"/>
              <a:gd name="connsiteX873" fmla="*/ 1596409 w 11701760"/>
              <a:gd name="connsiteY873" fmla="*/ 5314974 h 6407421"/>
              <a:gd name="connsiteX874" fmla="*/ 1596409 w 11701760"/>
              <a:gd name="connsiteY874" fmla="*/ 5344468 h 6407421"/>
              <a:gd name="connsiteX875" fmla="*/ 1566808 w 11701760"/>
              <a:gd name="connsiteY875" fmla="*/ 5344468 h 6407421"/>
              <a:gd name="connsiteX876" fmla="*/ 1300611 w 11701760"/>
              <a:gd name="connsiteY876" fmla="*/ 5314974 h 6407421"/>
              <a:gd name="connsiteX877" fmla="*/ 1330213 w 11701760"/>
              <a:gd name="connsiteY877" fmla="*/ 5314974 h 6407421"/>
              <a:gd name="connsiteX878" fmla="*/ 1330213 w 11701760"/>
              <a:gd name="connsiteY878" fmla="*/ 5344468 h 6407421"/>
              <a:gd name="connsiteX879" fmla="*/ 1300611 w 11701760"/>
              <a:gd name="connsiteY879" fmla="*/ 5344468 h 6407421"/>
              <a:gd name="connsiteX880" fmla="*/ 1034520 w 11701760"/>
              <a:gd name="connsiteY880" fmla="*/ 5314974 h 6407421"/>
              <a:gd name="connsiteX881" fmla="*/ 1064123 w 11701760"/>
              <a:gd name="connsiteY881" fmla="*/ 5314974 h 6407421"/>
              <a:gd name="connsiteX882" fmla="*/ 1064123 w 11701760"/>
              <a:gd name="connsiteY882" fmla="*/ 5344468 h 6407421"/>
              <a:gd name="connsiteX883" fmla="*/ 1034520 w 11701760"/>
              <a:gd name="connsiteY883" fmla="*/ 5344468 h 6407421"/>
              <a:gd name="connsiteX884" fmla="*/ 768328 w 11701760"/>
              <a:gd name="connsiteY884" fmla="*/ 5314974 h 6407421"/>
              <a:gd name="connsiteX885" fmla="*/ 797926 w 11701760"/>
              <a:gd name="connsiteY885" fmla="*/ 5314974 h 6407421"/>
              <a:gd name="connsiteX886" fmla="*/ 797926 w 11701760"/>
              <a:gd name="connsiteY886" fmla="*/ 5344468 h 6407421"/>
              <a:gd name="connsiteX887" fmla="*/ 768328 w 11701760"/>
              <a:gd name="connsiteY887" fmla="*/ 5344468 h 6407421"/>
              <a:gd name="connsiteX888" fmla="*/ 502237 w 11701760"/>
              <a:gd name="connsiteY888" fmla="*/ 5314974 h 6407421"/>
              <a:gd name="connsiteX889" fmla="*/ 531839 w 11701760"/>
              <a:gd name="connsiteY889" fmla="*/ 5314974 h 6407421"/>
              <a:gd name="connsiteX890" fmla="*/ 531839 w 11701760"/>
              <a:gd name="connsiteY890" fmla="*/ 5344468 h 6407421"/>
              <a:gd name="connsiteX891" fmla="*/ 502237 w 11701760"/>
              <a:gd name="connsiteY891" fmla="*/ 5344468 h 6407421"/>
              <a:gd name="connsiteX892" fmla="*/ 236038 w 11701760"/>
              <a:gd name="connsiteY892" fmla="*/ 5314974 h 6407421"/>
              <a:gd name="connsiteX893" fmla="*/ 265640 w 11701760"/>
              <a:gd name="connsiteY893" fmla="*/ 5314974 h 6407421"/>
              <a:gd name="connsiteX894" fmla="*/ 265640 w 11701760"/>
              <a:gd name="connsiteY894" fmla="*/ 5344468 h 6407421"/>
              <a:gd name="connsiteX895" fmla="*/ 236038 w 11701760"/>
              <a:gd name="connsiteY895" fmla="*/ 5344468 h 6407421"/>
              <a:gd name="connsiteX896" fmla="*/ 2 w 11701760"/>
              <a:gd name="connsiteY896" fmla="*/ 5314974 h 6407421"/>
              <a:gd name="connsiteX897" fmla="*/ 29604 w 11701760"/>
              <a:gd name="connsiteY897" fmla="*/ 5314974 h 6407421"/>
              <a:gd name="connsiteX898" fmla="*/ 29604 w 11701760"/>
              <a:gd name="connsiteY898" fmla="*/ 5344468 h 6407421"/>
              <a:gd name="connsiteX899" fmla="*/ 2 w 11701760"/>
              <a:gd name="connsiteY899" fmla="*/ 5344468 h 6407421"/>
              <a:gd name="connsiteX900" fmla="*/ 11672158 w 11701760"/>
              <a:gd name="connsiteY900" fmla="*/ 5049209 h 6407421"/>
              <a:gd name="connsiteX901" fmla="*/ 11701760 w 11701760"/>
              <a:gd name="connsiteY901" fmla="*/ 5049209 h 6407421"/>
              <a:gd name="connsiteX902" fmla="*/ 11701760 w 11701760"/>
              <a:gd name="connsiteY902" fmla="*/ 5078812 h 6407421"/>
              <a:gd name="connsiteX903" fmla="*/ 11672158 w 11701760"/>
              <a:gd name="connsiteY903" fmla="*/ 5078812 h 6407421"/>
              <a:gd name="connsiteX904" fmla="*/ 11405961 w 11701760"/>
              <a:gd name="connsiteY904" fmla="*/ 5049209 h 6407421"/>
              <a:gd name="connsiteX905" fmla="*/ 11435563 w 11701760"/>
              <a:gd name="connsiteY905" fmla="*/ 5049209 h 6407421"/>
              <a:gd name="connsiteX906" fmla="*/ 11435563 w 11701760"/>
              <a:gd name="connsiteY906" fmla="*/ 5078812 h 6407421"/>
              <a:gd name="connsiteX907" fmla="*/ 11405961 w 11701760"/>
              <a:gd name="connsiteY907" fmla="*/ 5078812 h 6407421"/>
              <a:gd name="connsiteX908" fmla="*/ 11139872 w 11701760"/>
              <a:gd name="connsiteY908" fmla="*/ 5049209 h 6407421"/>
              <a:gd name="connsiteX909" fmla="*/ 11169474 w 11701760"/>
              <a:gd name="connsiteY909" fmla="*/ 5049209 h 6407421"/>
              <a:gd name="connsiteX910" fmla="*/ 11169474 w 11701760"/>
              <a:gd name="connsiteY910" fmla="*/ 5078812 h 6407421"/>
              <a:gd name="connsiteX911" fmla="*/ 11139872 w 11701760"/>
              <a:gd name="connsiteY911" fmla="*/ 5078812 h 6407421"/>
              <a:gd name="connsiteX912" fmla="*/ 10873675 w 11701760"/>
              <a:gd name="connsiteY912" fmla="*/ 5049209 h 6407421"/>
              <a:gd name="connsiteX913" fmla="*/ 10903277 w 11701760"/>
              <a:gd name="connsiteY913" fmla="*/ 5049209 h 6407421"/>
              <a:gd name="connsiteX914" fmla="*/ 10903277 w 11701760"/>
              <a:gd name="connsiteY914" fmla="*/ 5078812 h 6407421"/>
              <a:gd name="connsiteX915" fmla="*/ 10873675 w 11701760"/>
              <a:gd name="connsiteY915" fmla="*/ 5078812 h 6407421"/>
              <a:gd name="connsiteX916" fmla="*/ 10607478 w 11701760"/>
              <a:gd name="connsiteY916" fmla="*/ 5049209 h 6407421"/>
              <a:gd name="connsiteX917" fmla="*/ 10637188 w 11701760"/>
              <a:gd name="connsiteY917" fmla="*/ 5049209 h 6407421"/>
              <a:gd name="connsiteX918" fmla="*/ 10637188 w 11701760"/>
              <a:gd name="connsiteY918" fmla="*/ 5078812 h 6407421"/>
              <a:gd name="connsiteX919" fmla="*/ 10607478 w 11701760"/>
              <a:gd name="connsiteY919" fmla="*/ 5078812 h 6407421"/>
              <a:gd name="connsiteX920" fmla="*/ 10341389 w 11701760"/>
              <a:gd name="connsiteY920" fmla="*/ 5049209 h 6407421"/>
              <a:gd name="connsiteX921" fmla="*/ 10370992 w 11701760"/>
              <a:gd name="connsiteY921" fmla="*/ 5049209 h 6407421"/>
              <a:gd name="connsiteX922" fmla="*/ 10370992 w 11701760"/>
              <a:gd name="connsiteY922" fmla="*/ 5078812 h 6407421"/>
              <a:gd name="connsiteX923" fmla="*/ 10341389 w 11701760"/>
              <a:gd name="connsiteY923" fmla="*/ 5078812 h 6407421"/>
              <a:gd name="connsiteX924" fmla="*/ 10075192 w 11701760"/>
              <a:gd name="connsiteY924" fmla="*/ 5049209 h 6407421"/>
              <a:gd name="connsiteX925" fmla="*/ 10104794 w 11701760"/>
              <a:gd name="connsiteY925" fmla="*/ 5049209 h 6407421"/>
              <a:gd name="connsiteX926" fmla="*/ 10104794 w 11701760"/>
              <a:gd name="connsiteY926" fmla="*/ 5078812 h 6407421"/>
              <a:gd name="connsiteX927" fmla="*/ 10075192 w 11701760"/>
              <a:gd name="connsiteY927" fmla="*/ 5078812 h 6407421"/>
              <a:gd name="connsiteX928" fmla="*/ 9809103 w 11701760"/>
              <a:gd name="connsiteY928" fmla="*/ 5049209 h 6407421"/>
              <a:gd name="connsiteX929" fmla="*/ 9838705 w 11701760"/>
              <a:gd name="connsiteY929" fmla="*/ 5049209 h 6407421"/>
              <a:gd name="connsiteX930" fmla="*/ 9838705 w 11701760"/>
              <a:gd name="connsiteY930" fmla="*/ 5078812 h 6407421"/>
              <a:gd name="connsiteX931" fmla="*/ 9809103 w 11701760"/>
              <a:gd name="connsiteY931" fmla="*/ 5078812 h 6407421"/>
              <a:gd name="connsiteX932" fmla="*/ 9542906 w 11701760"/>
              <a:gd name="connsiteY932" fmla="*/ 5049209 h 6407421"/>
              <a:gd name="connsiteX933" fmla="*/ 9572509 w 11701760"/>
              <a:gd name="connsiteY933" fmla="*/ 5049209 h 6407421"/>
              <a:gd name="connsiteX934" fmla="*/ 9572509 w 11701760"/>
              <a:gd name="connsiteY934" fmla="*/ 5078812 h 6407421"/>
              <a:gd name="connsiteX935" fmla="*/ 9542906 w 11701760"/>
              <a:gd name="connsiteY935" fmla="*/ 5078812 h 6407421"/>
              <a:gd name="connsiteX936" fmla="*/ 9276817 w 11701760"/>
              <a:gd name="connsiteY936" fmla="*/ 5049209 h 6407421"/>
              <a:gd name="connsiteX937" fmla="*/ 9306420 w 11701760"/>
              <a:gd name="connsiteY937" fmla="*/ 5049209 h 6407421"/>
              <a:gd name="connsiteX938" fmla="*/ 9306420 w 11701760"/>
              <a:gd name="connsiteY938" fmla="*/ 5078812 h 6407421"/>
              <a:gd name="connsiteX939" fmla="*/ 9276817 w 11701760"/>
              <a:gd name="connsiteY939" fmla="*/ 5078812 h 6407421"/>
              <a:gd name="connsiteX940" fmla="*/ 9010620 w 11701760"/>
              <a:gd name="connsiteY940" fmla="*/ 5049209 h 6407421"/>
              <a:gd name="connsiteX941" fmla="*/ 9040222 w 11701760"/>
              <a:gd name="connsiteY941" fmla="*/ 5049209 h 6407421"/>
              <a:gd name="connsiteX942" fmla="*/ 9040222 w 11701760"/>
              <a:gd name="connsiteY942" fmla="*/ 5078812 h 6407421"/>
              <a:gd name="connsiteX943" fmla="*/ 9010620 w 11701760"/>
              <a:gd name="connsiteY943" fmla="*/ 5078812 h 6407421"/>
              <a:gd name="connsiteX944" fmla="*/ 8744423 w 11701760"/>
              <a:gd name="connsiteY944" fmla="*/ 5049209 h 6407421"/>
              <a:gd name="connsiteX945" fmla="*/ 8774026 w 11701760"/>
              <a:gd name="connsiteY945" fmla="*/ 5049209 h 6407421"/>
              <a:gd name="connsiteX946" fmla="*/ 8774026 w 11701760"/>
              <a:gd name="connsiteY946" fmla="*/ 5078812 h 6407421"/>
              <a:gd name="connsiteX947" fmla="*/ 8744423 w 11701760"/>
              <a:gd name="connsiteY947" fmla="*/ 5078812 h 6407421"/>
              <a:gd name="connsiteX948" fmla="*/ 8478226 w 11701760"/>
              <a:gd name="connsiteY948" fmla="*/ 5049209 h 6407421"/>
              <a:gd name="connsiteX949" fmla="*/ 8507828 w 11701760"/>
              <a:gd name="connsiteY949" fmla="*/ 5049209 h 6407421"/>
              <a:gd name="connsiteX950" fmla="*/ 8507828 w 11701760"/>
              <a:gd name="connsiteY950" fmla="*/ 5078812 h 6407421"/>
              <a:gd name="connsiteX951" fmla="*/ 8478226 w 11701760"/>
              <a:gd name="connsiteY951" fmla="*/ 5078812 h 6407421"/>
              <a:gd name="connsiteX952" fmla="*/ 8212137 w 11701760"/>
              <a:gd name="connsiteY952" fmla="*/ 5049209 h 6407421"/>
              <a:gd name="connsiteX953" fmla="*/ 8241740 w 11701760"/>
              <a:gd name="connsiteY953" fmla="*/ 5049209 h 6407421"/>
              <a:gd name="connsiteX954" fmla="*/ 8241740 w 11701760"/>
              <a:gd name="connsiteY954" fmla="*/ 5078812 h 6407421"/>
              <a:gd name="connsiteX955" fmla="*/ 8212137 w 11701760"/>
              <a:gd name="connsiteY955" fmla="*/ 5078812 h 6407421"/>
              <a:gd name="connsiteX956" fmla="*/ 7945940 w 11701760"/>
              <a:gd name="connsiteY956" fmla="*/ 5049209 h 6407421"/>
              <a:gd name="connsiteX957" fmla="*/ 7975543 w 11701760"/>
              <a:gd name="connsiteY957" fmla="*/ 5049209 h 6407421"/>
              <a:gd name="connsiteX958" fmla="*/ 7975543 w 11701760"/>
              <a:gd name="connsiteY958" fmla="*/ 5078812 h 6407421"/>
              <a:gd name="connsiteX959" fmla="*/ 7945940 w 11701760"/>
              <a:gd name="connsiteY959" fmla="*/ 5078812 h 6407421"/>
              <a:gd name="connsiteX960" fmla="*/ 7679743 w 11701760"/>
              <a:gd name="connsiteY960" fmla="*/ 5049209 h 6407421"/>
              <a:gd name="connsiteX961" fmla="*/ 7709346 w 11701760"/>
              <a:gd name="connsiteY961" fmla="*/ 5049209 h 6407421"/>
              <a:gd name="connsiteX962" fmla="*/ 7709346 w 11701760"/>
              <a:gd name="connsiteY962" fmla="*/ 5078812 h 6407421"/>
              <a:gd name="connsiteX963" fmla="*/ 7679743 w 11701760"/>
              <a:gd name="connsiteY963" fmla="*/ 5078812 h 6407421"/>
              <a:gd name="connsiteX964" fmla="*/ 7413653 w 11701760"/>
              <a:gd name="connsiteY964" fmla="*/ 5049209 h 6407421"/>
              <a:gd name="connsiteX965" fmla="*/ 7443256 w 11701760"/>
              <a:gd name="connsiteY965" fmla="*/ 5049209 h 6407421"/>
              <a:gd name="connsiteX966" fmla="*/ 7443256 w 11701760"/>
              <a:gd name="connsiteY966" fmla="*/ 5078812 h 6407421"/>
              <a:gd name="connsiteX967" fmla="*/ 7413653 w 11701760"/>
              <a:gd name="connsiteY967" fmla="*/ 5078812 h 6407421"/>
              <a:gd name="connsiteX968" fmla="*/ 7147456 w 11701760"/>
              <a:gd name="connsiteY968" fmla="*/ 5049209 h 6407421"/>
              <a:gd name="connsiteX969" fmla="*/ 7177058 w 11701760"/>
              <a:gd name="connsiteY969" fmla="*/ 5049209 h 6407421"/>
              <a:gd name="connsiteX970" fmla="*/ 7177058 w 11701760"/>
              <a:gd name="connsiteY970" fmla="*/ 5078812 h 6407421"/>
              <a:gd name="connsiteX971" fmla="*/ 7147456 w 11701760"/>
              <a:gd name="connsiteY971" fmla="*/ 5078812 h 6407421"/>
              <a:gd name="connsiteX972" fmla="*/ 6881367 w 11701760"/>
              <a:gd name="connsiteY972" fmla="*/ 5049209 h 6407421"/>
              <a:gd name="connsiteX973" fmla="*/ 6910970 w 11701760"/>
              <a:gd name="connsiteY973" fmla="*/ 5049209 h 6407421"/>
              <a:gd name="connsiteX974" fmla="*/ 6910970 w 11701760"/>
              <a:gd name="connsiteY974" fmla="*/ 5078812 h 6407421"/>
              <a:gd name="connsiteX975" fmla="*/ 6881367 w 11701760"/>
              <a:gd name="connsiteY975" fmla="*/ 5078812 h 6407421"/>
              <a:gd name="connsiteX976" fmla="*/ 6615170 w 11701760"/>
              <a:gd name="connsiteY976" fmla="*/ 5049209 h 6407421"/>
              <a:gd name="connsiteX977" fmla="*/ 6644773 w 11701760"/>
              <a:gd name="connsiteY977" fmla="*/ 5049209 h 6407421"/>
              <a:gd name="connsiteX978" fmla="*/ 6644773 w 11701760"/>
              <a:gd name="connsiteY978" fmla="*/ 5078812 h 6407421"/>
              <a:gd name="connsiteX979" fmla="*/ 6615170 w 11701760"/>
              <a:gd name="connsiteY979" fmla="*/ 5078812 h 6407421"/>
              <a:gd name="connsiteX980" fmla="*/ 6349081 w 11701760"/>
              <a:gd name="connsiteY980" fmla="*/ 5049209 h 6407421"/>
              <a:gd name="connsiteX981" fmla="*/ 6378683 w 11701760"/>
              <a:gd name="connsiteY981" fmla="*/ 5049209 h 6407421"/>
              <a:gd name="connsiteX982" fmla="*/ 6378683 w 11701760"/>
              <a:gd name="connsiteY982" fmla="*/ 5078812 h 6407421"/>
              <a:gd name="connsiteX983" fmla="*/ 6349081 w 11701760"/>
              <a:gd name="connsiteY983" fmla="*/ 5078812 h 6407421"/>
              <a:gd name="connsiteX984" fmla="*/ 6082884 w 11701760"/>
              <a:gd name="connsiteY984" fmla="*/ 5049209 h 6407421"/>
              <a:gd name="connsiteX985" fmla="*/ 6112486 w 11701760"/>
              <a:gd name="connsiteY985" fmla="*/ 5049209 h 6407421"/>
              <a:gd name="connsiteX986" fmla="*/ 6112486 w 11701760"/>
              <a:gd name="connsiteY986" fmla="*/ 5078812 h 6407421"/>
              <a:gd name="connsiteX987" fmla="*/ 6082884 w 11701760"/>
              <a:gd name="connsiteY987" fmla="*/ 5078812 h 6407421"/>
              <a:gd name="connsiteX988" fmla="*/ 5825310 w 11701760"/>
              <a:gd name="connsiteY988" fmla="*/ 5049209 h 6407421"/>
              <a:gd name="connsiteX989" fmla="*/ 5854913 w 11701760"/>
              <a:gd name="connsiteY989" fmla="*/ 5049209 h 6407421"/>
              <a:gd name="connsiteX990" fmla="*/ 5854913 w 11701760"/>
              <a:gd name="connsiteY990" fmla="*/ 5078812 h 6407421"/>
              <a:gd name="connsiteX991" fmla="*/ 5825310 w 11701760"/>
              <a:gd name="connsiteY991" fmla="*/ 5078812 h 6407421"/>
              <a:gd name="connsiteX992" fmla="*/ 5559113 w 11701760"/>
              <a:gd name="connsiteY992" fmla="*/ 5049209 h 6407421"/>
              <a:gd name="connsiteX993" fmla="*/ 5588715 w 11701760"/>
              <a:gd name="connsiteY993" fmla="*/ 5049209 h 6407421"/>
              <a:gd name="connsiteX994" fmla="*/ 5588715 w 11701760"/>
              <a:gd name="connsiteY994" fmla="*/ 5078812 h 6407421"/>
              <a:gd name="connsiteX995" fmla="*/ 5559113 w 11701760"/>
              <a:gd name="connsiteY995" fmla="*/ 5078812 h 6407421"/>
              <a:gd name="connsiteX996" fmla="*/ 5293024 w 11701760"/>
              <a:gd name="connsiteY996" fmla="*/ 5049209 h 6407421"/>
              <a:gd name="connsiteX997" fmla="*/ 5322626 w 11701760"/>
              <a:gd name="connsiteY997" fmla="*/ 5049209 h 6407421"/>
              <a:gd name="connsiteX998" fmla="*/ 5322626 w 11701760"/>
              <a:gd name="connsiteY998" fmla="*/ 5078812 h 6407421"/>
              <a:gd name="connsiteX999" fmla="*/ 5293024 w 11701760"/>
              <a:gd name="connsiteY999" fmla="*/ 5078812 h 6407421"/>
              <a:gd name="connsiteX1000" fmla="*/ 5026827 w 11701760"/>
              <a:gd name="connsiteY1000" fmla="*/ 5049209 h 6407421"/>
              <a:gd name="connsiteX1001" fmla="*/ 5056429 w 11701760"/>
              <a:gd name="connsiteY1001" fmla="*/ 5049209 h 6407421"/>
              <a:gd name="connsiteX1002" fmla="*/ 5056429 w 11701760"/>
              <a:gd name="connsiteY1002" fmla="*/ 5078812 h 6407421"/>
              <a:gd name="connsiteX1003" fmla="*/ 5026827 w 11701760"/>
              <a:gd name="connsiteY1003" fmla="*/ 5078812 h 6407421"/>
              <a:gd name="connsiteX1004" fmla="*/ 4760630 w 11701760"/>
              <a:gd name="connsiteY1004" fmla="*/ 5049209 h 6407421"/>
              <a:gd name="connsiteX1005" fmla="*/ 4790340 w 11701760"/>
              <a:gd name="connsiteY1005" fmla="*/ 5049209 h 6407421"/>
              <a:gd name="connsiteX1006" fmla="*/ 4790340 w 11701760"/>
              <a:gd name="connsiteY1006" fmla="*/ 5078812 h 6407421"/>
              <a:gd name="connsiteX1007" fmla="*/ 4760630 w 11701760"/>
              <a:gd name="connsiteY1007" fmla="*/ 5078812 h 6407421"/>
              <a:gd name="connsiteX1008" fmla="*/ 4494541 w 11701760"/>
              <a:gd name="connsiteY1008" fmla="*/ 5049209 h 6407421"/>
              <a:gd name="connsiteX1009" fmla="*/ 4524144 w 11701760"/>
              <a:gd name="connsiteY1009" fmla="*/ 5049209 h 6407421"/>
              <a:gd name="connsiteX1010" fmla="*/ 4524144 w 11701760"/>
              <a:gd name="connsiteY1010" fmla="*/ 5078812 h 6407421"/>
              <a:gd name="connsiteX1011" fmla="*/ 4494541 w 11701760"/>
              <a:gd name="connsiteY1011" fmla="*/ 5078812 h 6407421"/>
              <a:gd name="connsiteX1012" fmla="*/ 4228344 w 11701760"/>
              <a:gd name="connsiteY1012" fmla="*/ 5049209 h 6407421"/>
              <a:gd name="connsiteX1013" fmla="*/ 4257946 w 11701760"/>
              <a:gd name="connsiteY1013" fmla="*/ 5049209 h 6407421"/>
              <a:gd name="connsiteX1014" fmla="*/ 4257946 w 11701760"/>
              <a:gd name="connsiteY1014" fmla="*/ 5078812 h 6407421"/>
              <a:gd name="connsiteX1015" fmla="*/ 4228344 w 11701760"/>
              <a:gd name="connsiteY1015" fmla="*/ 5078812 h 6407421"/>
              <a:gd name="connsiteX1016" fmla="*/ 3962255 w 11701760"/>
              <a:gd name="connsiteY1016" fmla="*/ 5049209 h 6407421"/>
              <a:gd name="connsiteX1017" fmla="*/ 3991857 w 11701760"/>
              <a:gd name="connsiteY1017" fmla="*/ 5049209 h 6407421"/>
              <a:gd name="connsiteX1018" fmla="*/ 3991857 w 11701760"/>
              <a:gd name="connsiteY1018" fmla="*/ 5078812 h 6407421"/>
              <a:gd name="connsiteX1019" fmla="*/ 3962255 w 11701760"/>
              <a:gd name="connsiteY1019" fmla="*/ 5078812 h 6407421"/>
              <a:gd name="connsiteX1020" fmla="*/ 3696058 w 11701760"/>
              <a:gd name="connsiteY1020" fmla="*/ 5049209 h 6407421"/>
              <a:gd name="connsiteX1021" fmla="*/ 3725661 w 11701760"/>
              <a:gd name="connsiteY1021" fmla="*/ 5049209 h 6407421"/>
              <a:gd name="connsiteX1022" fmla="*/ 3725661 w 11701760"/>
              <a:gd name="connsiteY1022" fmla="*/ 5078812 h 6407421"/>
              <a:gd name="connsiteX1023" fmla="*/ 3696058 w 11701760"/>
              <a:gd name="connsiteY1023" fmla="*/ 5078812 h 6407421"/>
              <a:gd name="connsiteX1024" fmla="*/ 3429969 w 11701760"/>
              <a:gd name="connsiteY1024" fmla="*/ 5049209 h 6407421"/>
              <a:gd name="connsiteX1025" fmla="*/ 3459572 w 11701760"/>
              <a:gd name="connsiteY1025" fmla="*/ 5049209 h 6407421"/>
              <a:gd name="connsiteX1026" fmla="*/ 3459572 w 11701760"/>
              <a:gd name="connsiteY1026" fmla="*/ 5078812 h 6407421"/>
              <a:gd name="connsiteX1027" fmla="*/ 3429969 w 11701760"/>
              <a:gd name="connsiteY1027" fmla="*/ 5078812 h 6407421"/>
              <a:gd name="connsiteX1028" fmla="*/ 3163772 w 11701760"/>
              <a:gd name="connsiteY1028" fmla="*/ 5049209 h 6407421"/>
              <a:gd name="connsiteX1029" fmla="*/ 3193374 w 11701760"/>
              <a:gd name="connsiteY1029" fmla="*/ 5049209 h 6407421"/>
              <a:gd name="connsiteX1030" fmla="*/ 3193374 w 11701760"/>
              <a:gd name="connsiteY1030" fmla="*/ 5078812 h 6407421"/>
              <a:gd name="connsiteX1031" fmla="*/ 3163772 w 11701760"/>
              <a:gd name="connsiteY1031" fmla="*/ 5078812 h 6407421"/>
              <a:gd name="connsiteX1032" fmla="*/ 2897575 w 11701760"/>
              <a:gd name="connsiteY1032" fmla="*/ 5049209 h 6407421"/>
              <a:gd name="connsiteX1033" fmla="*/ 2927178 w 11701760"/>
              <a:gd name="connsiteY1033" fmla="*/ 5049209 h 6407421"/>
              <a:gd name="connsiteX1034" fmla="*/ 2927178 w 11701760"/>
              <a:gd name="connsiteY1034" fmla="*/ 5078812 h 6407421"/>
              <a:gd name="connsiteX1035" fmla="*/ 2897575 w 11701760"/>
              <a:gd name="connsiteY1035" fmla="*/ 5078812 h 6407421"/>
              <a:gd name="connsiteX1036" fmla="*/ 2631378 w 11701760"/>
              <a:gd name="connsiteY1036" fmla="*/ 5049209 h 6407421"/>
              <a:gd name="connsiteX1037" fmla="*/ 2660980 w 11701760"/>
              <a:gd name="connsiteY1037" fmla="*/ 5049209 h 6407421"/>
              <a:gd name="connsiteX1038" fmla="*/ 2660980 w 11701760"/>
              <a:gd name="connsiteY1038" fmla="*/ 5078812 h 6407421"/>
              <a:gd name="connsiteX1039" fmla="*/ 2631378 w 11701760"/>
              <a:gd name="connsiteY1039" fmla="*/ 5078812 h 6407421"/>
              <a:gd name="connsiteX1040" fmla="*/ 2365289 w 11701760"/>
              <a:gd name="connsiteY1040" fmla="*/ 5049209 h 6407421"/>
              <a:gd name="connsiteX1041" fmla="*/ 2394892 w 11701760"/>
              <a:gd name="connsiteY1041" fmla="*/ 5049209 h 6407421"/>
              <a:gd name="connsiteX1042" fmla="*/ 2394892 w 11701760"/>
              <a:gd name="connsiteY1042" fmla="*/ 5078812 h 6407421"/>
              <a:gd name="connsiteX1043" fmla="*/ 2365289 w 11701760"/>
              <a:gd name="connsiteY1043" fmla="*/ 5078812 h 6407421"/>
              <a:gd name="connsiteX1044" fmla="*/ 2099092 w 11701760"/>
              <a:gd name="connsiteY1044" fmla="*/ 5049209 h 6407421"/>
              <a:gd name="connsiteX1045" fmla="*/ 2128695 w 11701760"/>
              <a:gd name="connsiteY1045" fmla="*/ 5049209 h 6407421"/>
              <a:gd name="connsiteX1046" fmla="*/ 2128695 w 11701760"/>
              <a:gd name="connsiteY1046" fmla="*/ 5078812 h 6407421"/>
              <a:gd name="connsiteX1047" fmla="*/ 2099092 w 11701760"/>
              <a:gd name="connsiteY1047" fmla="*/ 5078812 h 6407421"/>
              <a:gd name="connsiteX1048" fmla="*/ 1832898 w 11701760"/>
              <a:gd name="connsiteY1048" fmla="*/ 5049209 h 6407421"/>
              <a:gd name="connsiteX1049" fmla="*/ 1862498 w 11701760"/>
              <a:gd name="connsiteY1049" fmla="*/ 5049209 h 6407421"/>
              <a:gd name="connsiteX1050" fmla="*/ 1862498 w 11701760"/>
              <a:gd name="connsiteY1050" fmla="*/ 5078812 h 6407421"/>
              <a:gd name="connsiteX1051" fmla="*/ 1832898 w 11701760"/>
              <a:gd name="connsiteY1051" fmla="*/ 5078812 h 6407421"/>
              <a:gd name="connsiteX1052" fmla="*/ 1566808 w 11701760"/>
              <a:gd name="connsiteY1052" fmla="*/ 5049209 h 6407421"/>
              <a:gd name="connsiteX1053" fmla="*/ 1596409 w 11701760"/>
              <a:gd name="connsiteY1053" fmla="*/ 5049209 h 6407421"/>
              <a:gd name="connsiteX1054" fmla="*/ 1596409 w 11701760"/>
              <a:gd name="connsiteY1054" fmla="*/ 5078812 h 6407421"/>
              <a:gd name="connsiteX1055" fmla="*/ 1566808 w 11701760"/>
              <a:gd name="connsiteY1055" fmla="*/ 5078812 h 6407421"/>
              <a:gd name="connsiteX1056" fmla="*/ 1300611 w 11701760"/>
              <a:gd name="connsiteY1056" fmla="*/ 5049209 h 6407421"/>
              <a:gd name="connsiteX1057" fmla="*/ 1330213 w 11701760"/>
              <a:gd name="connsiteY1057" fmla="*/ 5049209 h 6407421"/>
              <a:gd name="connsiteX1058" fmla="*/ 1330213 w 11701760"/>
              <a:gd name="connsiteY1058" fmla="*/ 5078812 h 6407421"/>
              <a:gd name="connsiteX1059" fmla="*/ 1300611 w 11701760"/>
              <a:gd name="connsiteY1059" fmla="*/ 5078812 h 6407421"/>
              <a:gd name="connsiteX1060" fmla="*/ 1034520 w 11701760"/>
              <a:gd name="connsiteY1060" fmla="*/ 5049209 h 6407421"/>
              <a:gd name="connsiteX1061" fmla="*/ 1064123 w 11701760"/>
              <a:gd name="connsiteY1061" fmla="*/ 5049209 h 6407421"/>
              <a:gd name="connsiteX1062" fmla="*/ 1064123 w 11701760"/>
              <a:gd name="connsiteY1062" fmla="*/ 5078812 h 6407421"/>
              <a:gd name="connsiteX1063" fmla="*/ 1034520 w 11701760"/>
              <a:gd name="connsiteY1063" fmla="*/ 5078812 h 6407421"/>
              <a:gd name="connsiteX1064" fmla="*/ 768328 w 11701760"/>
              <a:gd name="connsiteY1064" fmla="*/ 5049209 h 6407421"/>
              <a:gd name="connsiteX1065" fmla="*/ 797926 w 11701760"/>
              <a:gd name="connsiteY1065" fmla="*/ 5049209 h 6407421"/>
              <a:gd name="connsiteX1066" fmla="*/ 797926 w 11701760"/>
              <a:gd name="connsiteY1066" fmla="*/ 5078812 h 6407421"/>
              <a:gd name="connsiteX1067" fmla="*/ 768328 w 11701760"/>
              <a:gd name="connsiteY1067" fmla="*/ 5078812 h 6407421"/>
              <a:gd name="connsiteX1068" fmla="*/ 502237 w 11701760"/>
              <a:gd name="connsiteY1068" fmla="*/ 5049209 h 6407421"/>
              <a:gd name="connsiteX1069" fmla="*/ 531839 w 11701760"/>
              <a:gd name="connsiteY1069" fmla="*/ 5049209 h 6407421"/>
              <a:gd name="connsiteX1070" fmla="*/ 531839 w 11701760"/>
              <a:gd name="connsiteY1070" fmla="*/ 5078812 h 6407421"/>
              <a:gd name="connsiteX1071" fmla="*/ 502237 w 11701760"/>
              <a:gd name="connsiteY1071" fmla="*/ 5078812 h 6407421"/>
              <a:gd name="connsiteX1072" fmla="*/ 236038 w 11701760"/>
              <a:gd name="connsiteY1072" fmla="*/ 5049209 h 6407421"/>
              <a:gd name="connsiteX1073" fmla="*/ 265640 w 11701760"/>
              <a:gd name="connsiteY1073" fmla="*/ 5049209 h 6407421"/>
              <a:gd name="connsiteX1074" fmla="*/ 265640 w 11701760"/>
              <a:gd name="connsiteY1074" fmla="*/ 5078812 h 6407421"/>
              <a:gd name="connsiteX1075" fmla="*/ 236038 w 11701760"/>
              <a:gd name="connsiteY1075" fmla="*/ 5078812 h 6407421"/>
              <a:gd name="connsiteX1076" fmla="*/ 2 w 11701760"/>
              <a:gd name="connsiteY1076" fmla="*/ 5049209 h 6407421"/>
              <a:gd name="connsiteX1077" fmla="*/ 29604 w 11701760"/>
              <a:gd name="connsiteY1077" fmla="*/ 5049209 h 6407421"/>
              <a:gd name="connsiteX1078" fmla="*/ 29604 w 11701760"/>
              <a:gd name="connsiteY1078" fmla="*/ 5078812 h 6407421"/>
              <a:gd name="connsiteX1079" fmla="*/ 2 w 11701760"/>
              <a:gd name="connsiteY1079" fmla="*/ 5078812 h 6407421"/>
              <a:gd name="connsiteX1080" fmla="*/ 11672158 w 11701760"/>
              <a:gd name="connsiteY1080" fmla="*/ 4783444 h 6407421"/>
              <a:gd name="connsiteX1081" fmla="*/ 11701760 w 11701760"/>
              <a:gd name="connsiteY1081" fmla="*/ 4783444 h 6407421"/>
              <a:gd name="connsiteX1082" fmla="*/ 11701760 w 11701760"/>
              <a:gd name="connsiteY1082" fmla="*/ 4813046 h 6407421"/>
              <a:gd name="connsiteX1083" fmla="*/ 11672158 w 11701760"/>
              <a:gd name="connsiteY1083" fmla="*/ 4813046 h 6407421"/>
              <a:gd name="connsiteX1084" fmla="*/ 11405961 w 11701760"/>
              <a:gd name="connsiteY1084" fmla="*/ 4783444 h 6407421"/>
              <a:gd name="connsiteX1085" fmla="*/ 11435563 w 11701760"/>
              <a:gd name="connsiteY1085" fmla="*/ 4783444 h 6407421"/>
              <a:gd name="connsiteX1086" fmla="*/ 11435563 w 11701760"/>
              <a:gd name="connsiteY1086" fmla="*/ 4813046 h 6407421"/>
              <a:gd name="connsiteX1087" fmla="*/ 11405961 w 11701760"/>
              <a:gd name="connsiteY1087" fmla="*/ 4813046 h 6407421"/>
              <a:gd name="connsiteX1088" fmla="*/ 11139872 w 11701760"/>
              <a:gd name="connsiteY1088" fmla="*/ 4783444 h 6407421"/>
              <a:gd name="connsiteX1089" fmla="*/ 11169474 w 11701760"/>
              <a:gd name="connsiteY1089" fmla="*/ 4783444 h 6407421"/>
              <a:gd name="connsiteX1090" fmla="*/ 11169474 w 11701760"/>
              <a:gd name="connsiteY1090" fmla="*/ 4813046 h 6407421"/>
              <a:gd name="connsiteX1091" fmla="*/ 11139872 w 11701760"/>
              <a:gd name="connsiteY1091" fmla="*/ 4813046 h 6407421"/>
              <a:gd name="connsiteX1092" fmla="*/ 10873675 w 11701760"/>
              <a:gd name="connsiteY1092" fmla="*/ 4783444 h 6407421"/>
              <a:gd name="connsiteX1093" fmla="*/ 10903277 w 11701760"/>
              <a:gd name="connsiteY1093" fmla="*/ 4783444 h 6407421"/>
              <a:gd name="connsiteX1094" fmla="*/ 10903277 w 11701760"/>
              <a:gd name="connsiteY1094" fmla="*/ 4813046 h 6407421"/>
              <a:gd name="connsiteX1095" fmla="*/ 10873675 w 11701760"/>
              <a:gd name="connsiteY1095" fmla="*/ 4813046 h 6407421"/>
              <a:gd name="connsiteX1096" fmla="*/ 10607478 w 11701760"/>
              <a:gd name="connsiteY1096" fmla="*/ 4783444 h 6407421"/>
              <a:gd name="connsiteX1097" fmla="*/ 10637188 w 11701760"/>
              <a:gd name="connsiteY1097" fmla="*/ 4783444 h 6407421"/>
              <a:gd name="connsiteX1098" fmla="*/ 10637188 w 11701760"/>
              <a:gd name="connsiteY1098" fmla="*/ 4813046 h 6407421"/>
              <a:gd name="connsiteX1099" fmla="*/ 10607478 w 11701760"/>
              <a:gd name="connsiteY1099" fmla="*/ 4813046 h 6407421"/>
              <a:gd name="connsiteX1100" fmla="*/ 10341389 w 11701760"/>
              <a:gd name="connsiteY1100" fmla="*/ 4783444 h 6407421"/>
              <a:gd name="connsiteX1101" fmla="*/ 10370992 w 11701760"/>
              <a:gd name="connsiteY1101" fmla="*/ 4783444 h 6407421"/>
              <a:gd name="connsiteX1102" fmla="*/ 10370992 w 11701760"/>
              <a:gd name="connsiteY1102" fmla="*/ 4813046 h 6407421"/>
              <a:gd name="connsiteX1103" fmla="*/ 10341389 w 11701760"/>
              <a:gd name="connsiteY1103" fmla="*/ 4813046 h 6407421"/>
              <a:gd name="connsiteX1104" fmla="*/ 10075192 w 11701760"/>
              <a:gd name="connsiteY1104" fmla="*/ 4783444 h 6407421"/>
              <a:gd name="connsiteX1105" fmla="*/ 10104794 w 11701760"/>
              <a:gd name="connsiteY1105" fmla="*/ 4783444 h 6407421"/>
              <a:gd name="connsiteX1106" fmla="*/ 10104794 w 11701760"/>
              <a:gd name="connsiteY1106" fmla="*/ 4813046 h 6407421"/>
              <a:gd name="connsiteX1107" fmla="*/ 10075192 w 11701760"/>
              <a:gd name="connsiteY1107" fmla="*/ 4813046 h 6407421"/>
              <a:gd name="connsiteX1108" fmla="*/ 9809103 w 11701760"/>
              <a:gd name="connsiteY1108" fmla="*/ 4783444 h 6407421"/>
              <a:gd name="connsiteX1109" fmla="*/ 9838705 w 11701760"/>
              <a:gd name="connsiteY1109" fmla="*/ 4783444 h 6407421"/>
              <a:gd name="connsiteX1110" fmla="*/ 9838705 w 11701760"/>
              <a:gd name="connsiteY1110" fmla="*/ 4813046 h 6407421"/>
              <a:gd name="connsiteX1111" fmla="*/ 9809103 w 11701760"/>
              <a:gd name="connsiteY1111" fmla="*/ 4813046 h 6407421"/>
              <a:gd name="connsiteX1112" fmla="*/ 9542906 w 11701760"/>
              <a:gd name="connsiteY1112" fmla="*/ 4783444 h 6407421"/>
              <a:gd name="connsiteX1113" fmla="*/ 9572509 w 11701760"/>
              <a:gd name="connsiteY1113" fmla="*/ 4783444 h 6407421"/>
              <a:gd name="connsiteX1114" fmla="*/ 9572509 w 11701760"/>
              <a:gd name="connsiteY1114" fmla="*/ 4813046 h 6407421"/>
              <a:gd name="connsiteX1115" fmla="*/ 9542906 w 11701760"/>
              <a:gd name="connsiteY1115" fmla="*/ 4813046 h 6407421"/>
              <a:gd name="connsiteX1116" fmla="*/ 9276817 w 11701760"/>
              <a:gd name="connsiteY1116" fmla="*/ 4783444 h 6407421"/>
              <a:gd name="connsiteX1117" fmla="*/ 9306420 w 11701760"/>
              <a:gd name="connsiteY1117" fmla="*/ 4783444 h 6407421"/>
              <a:gd name="connsiteX1118" fmla="*/ 9306420 w 11701760"/>
              <a:gd name="connsiteY1118" fmla="*/ 4813046 h 6407421"/>
              <a:gd name="connsiteX1119" fmla="*/ 9276817 w 11701760"/>
              <a:gd name="connsiteY1119" fmla="*/ 4813046 h 6407421"/>
              <a:gd name="connsiteX1120" fmla="*/ 9010620 w 11701760"/>
              <a:gd name="connsiteY1120" fmla="*/ 4783444 h 6407421"/>
              <a:gd name="connsiteX1121" fmla="*/ 9040222 w 11701760"/>
              <a:gd name="connsiteY1121" fmla="*/ 4783444 h 6407421"/>
              <a:gd name="connsiteX1122" fmla="*/ 9040222 w 11701760"/>
              <a:gd name="connsiteY1122" fmla="*/ 4813046 h 6407421"/>
              <a:gd name="connsiteX1123" fmla="*/ 9010620 w 11701760"/>
              <a:gd name="connsiteY1123" fmla="*/ 4813046 h 6407421"/>
              <a:gd name="connsiteX1124" fmla="*/ 8744423 w 11701760"/>
              <a:gd name="connsiteY1124" fmla="*/ 4783444 h 6407421"/>
              <a:gd name="connsiteX1125" fmla="*/ 8774026 w 11701760"/>
              <a:gd name="connsiteY1125" fmla="*/ 4783444 h 6407421"/>
              <a:gd name="connsiteX1126" fmla="*/ 8774026 w 11701760"/>
              <a:gd name="connsiteY1126" fmla="*/ 4813046 h 6407421"/>
              <a:gd name="connsiteX1127" fmla="*/ 8744423 w 11701760"/>
              <a:gd name="connsiteY1127" fmla="*/ 4813046 h 6407421"/>
              <a:gd name="connsiteX1128" fmla="*/ 8478226 w 11701760"/>
              <a:gd name="connsiteY1128" fmla="*/ 4783444 h 6407421"/>
              <a:gd name="connsiteX1129" fmla="*/ 8507828 w 11701760"/>
              <a:gd name="connsiteY1129" fmla="*/ 4783444 h 6407421"/>
              <a:gd name="connsiteX1130" fmla="*/ 8507828 w 11701760"/>
              <a:gd name="connsiteY1130" fmla="*/ 4813046 h 6407421"/>
              <a:gd name="connsiteX1131" fmla="*/ 8478226 w 11701760"/>
              <a:gd name="connsiteY1131" fmla="*/ 4813046 h 6407421"/>
              <a:gd name="connsiteX1132" fmla="*/ 8212137 w 11701760"/>
              <a:gd name="connsiteY1132" fmla="*/ 4783444 h 6407421"/>
              <a:gd name="connsiteX1133" fmla="*/ 8241740 w 11701760"/>
              <a:gd name="connsiteY1133" fmla="*/ 4783444 h 6407421"/>
              <a:gd name="connsiteX1134" fmla="*/ 8241740 w 11701760"/>
              <a:gd name="connsiteY1134" fmla="*/ 4813046 h 6407421"/>
              <a:gd name="connsiteX1135" fmla="*/ 8212137 w 11701760"/>
              <a:gd name="connsiteY1135" fmla="*/ 4813046 h 6407421"/>
              <a:gd name="connsiteX1136" fmla="*/ 7945940 w 11701760"/>
              <a:gd name="connsiteY1136" fmla="*/ 4783444 h 6407421"/>
              <a:gd name="connsiteX1137" fmla="*/ 7975543 w 11701760"/>
              <a:gd name="connsiteY1137" fmla="*/ 4783444 h 6407421"/>
              <a:gd name="connsiteX1138" fmla="*/ 7975543 w 11701760"/>
              <a:gd name="connsiteY1138" fmla="*/ 4813046 h 6407421"/>
              <a:gd name="connsiteX1139" fmla="*/ 7945940 w 11701760"/>
              <a:gd name="connsiteY1139" fmla="*/ 4813046 h 6407421"/>
              <a:gd name="connsiteX1140" fmla="*/ 7679743 w 11701760"/>
              <a:gd name="connsiteY1140" fmla="*/ 4783444 h 6407421"/>
              <a:gd name="connsiteX1141" fmla="*/ 7709346 w 11701760"/>
              <a:gd name="connsiteY1141" fmla="*/ 4783444 h 6407421"/>
              <a:gd name="connsiteX1142" fmla="*/ 7709346 w 11701760"/>
              <a:gd name="connsiteY1142" fmla="*/ 4813046 h 6407421"/>
              <a:gd name="connsiteX1143" fmla="*/ 7679743 w 11701760"/>
              <a:gd name="connsiteY1143" fmla="*/ 4813046 h 6407421"/>
              <a:gd name="connsiteX1144" fmla="*/ 7413653 w 11701760"/>
              <a:gd name="connsiteY1144" fmla="*/ 4783444 h 6407421"/>
              <a:gd name="connsiteX1145" fmla="*/ 7443256 w 11701760"/>
              <a:gd name="connsiteY1145" fmla="*/ 4783444 h 6407421"/>
              <a:gd name="connsiteX1146" fmla="*/ 7443256 w 11701760"/>
              <a:gd name="connsiteY1146" fmla="*/ 4813046 h 6407421"/>
              <a:gd name="connsiteX1147" fmla="*/ 7413653 w 11701760"/>
              <a:gd name="connsiteY1147" fmla="*/ 4813046 h 6407421"/>
              <a:gd name="connsiteX1148" fmla="*/ 7147456 w 11701760"/>
              <a:gd name="connsiteY1148" fmla="*/ 4783444 h 6407421"/>
              <a:gd name="connsiteX1149" fmla="*/ 7177058 w 11701760"/>
              <a:gd name="connsiteY1149" fmla="*/ 4783444 h 6407421"/>
              <a:gd name="connsiteX1150" fmla="*/ 7177058 w 11701760"/>
              <a:gd name="connsiteY1150" fmla="*/ 4813046 h 6407421"/>
              <a:gd name="connsiteX1151" fmla="*/ 7147456 w 11701760"/>
              <a:gd name="connsiteY1151" fmla="*/ 4813046 h 6407421"/>
              <a:gd name="connsiteX1152" fmla="*/ 6881367 w 11701760"/>
              <a:gd name="connsiteY1152" fmla="*/ 4783444 h 6407421"/>
              <a:gd name="connsiteX1153" fmla="*/ 6910970 w 11701760"/>
              <a:gd name="connsiteY1153" fmla="*/ 4783444 h 6407421"/>
              <a:gd name="connsiteX1154" fmla="*/ 6910970 w 11701760"/>
              <a:gd name="connsiteY1154" fmla="*/ 4813046 h 6407421"/>
              <a:gd name="connsiteX1155" fmla="*/ 6881367 w 11701760"/>
              <a:gd name="connsiteY1155" fmla="*/ 4813046 h 6407421"/>
              <a:gd name="connsiteX1156" fmla="*/ 6615170 w 11701760"/>
              <a:gd name="connsiteY1156" fmla="*/ 4783444 h 6407421"/>
              <a:gd name="connsiteX1157" fmla="*/ 6644773 w 11701760"/>
              <a:gd name="connsiteY1157" fmla="*/ 4783444 h 6407421"/>
              <a:gd name="connsiteX1158" fmla="*/ 6644773 w 11701760"/>
              <a:gd name="connsiteY1158" fmla="*/ 4813046 h 6407421"/>
              <a:gd name="connsiteX1159" fmla="*/ 6615170 w 11701760"/>
              <a:gd name="connsiteY1159" fmla="*/ 4813046 h 6407421"/>
              <a:gd name="connsiteX1160" fmla="*/ 6349081 w 11701760"/>
              <a:gd name="connsiteY1160" fmla="*/ 4783444 h 6407421"/>
              <a:gd name="connsiteX1161" fmla="*/ 6378683 w 11701760"/>
              <a:gd name="connsiteY1161" fmla="*/ 4783444 h 6407421"/>
              <a:gd name="connsiteX1162" fmla="*/ 6378683 w 11701760"/>
              <a:gd name="connsiteY1162" fmla="*/ 4813046 h 6407421"/>
              <a:gd name="connsiteX1163" fmla="*/ 6349081 w 11701760"/>
              <a:gd name="connsiteY1163" fmla="*/ 4813046 h 6407421"/>
              <a:gd name="connsiteX1164" fmla="*/ 6082884 w 11701760"/>
              <a:gd name="connsiteY1164" fmla="*/ 4783444 h 6407421"/>
              <a:gd name="connsiteX1165" fmla="*/ 6112486 w 11701760"/>
              <a:gd name="connsiteY1165" fmla="*/ 4783444 h 6407421"/>
              <a:gd name="connsiteX1166" fmla="*/ 6112486 w 11701760"/>
              <a:gd name="connsiteY1166" fmla="*/ 4813046 h 6407421"/>
              <a:gd name="connsiteX1167" fmla="*/ 6082884 w 11701760"/>
              <a:gd name="connsiteY1167" fmla="*/ 4813046 h 6407421"/>
              <a:gd name="connsiteX1168" fmla="*/ 5825310 w 11701760"/>
              <a:gd name="connsiteY1168" fmla="*/ 4783444 h 6407421"/>
              <a:gd name="connsiteX1169" fmla="*/ 5854913 w 11701760"/>
              <a:gd name="connsiteY1169" fmla="*/ 4783444 h 6407421"/>
              <a:gd name="connsiteX1170" fmla="*/ 5854913 w 11701760"/>
              <a:gd name="connsiteY1170" fmla="*/ 4813046 h 6407421"/>
              <a:gd name="connsiteX1171" fmla="*/ 5825310 w 11701760"/>
              <a:gd name="connsiteY1171" fmla="*/ 4813046 h 6407421"/>
              <a:gd name="connsiteX1172" fmla="*/ 5559113 w 11701760"/>
              <a:gd name="connsiteY1172" fmla="*/ 4783444 h 6407421"/>
              <a:gd name="connsiteX1173" fmla="*/ 5588715 w 11701760"/>
              <a:gd name="connsiteY1173" fmla="*/ 4783444 h 6407421"/>
              <a:gd name="connsiteX1174" fmla="*/ 5588715 w 11701760"/>
              <a:gd name="connsiteY1174" fmla="*/ 4813046 h 6407421"/>
              <a:gd name="connsiteX1175" fmla="*/ 5559113 w 11701760"/>
              <a:gd name="connsiteY1175" fmla="*/ 4813046 h 6407421"/>
              <a:gd name="connsiteX1176" fmla="*/ 5293024 w 11701760"/>
              <a:gd name="connsiteY1176" fmla="*/ 4783444 h 6407421"/>
              <a:gd name="connsiteX1177" fmla="*/ 5322626 w 11701760"/>
              <a:gd name="connsiteY1177" fmla="*/ 4783444 h 6407421"/>
              <a:gd name="connsiteX1178" fmla="*/ 5322626 w 11701760"/>
              <a:gd name="connsiteY1178" fmla="*/ 4813046 h 6407421"/>
              <a:gd name="connsiteX1179" fmla="*/ 5293024 w 11701760"/>
              <a:gd name="connsiteY1179" fmla="*/ 4813046 h 6407421"/>
              <a:gd name="connsiteX1180" fmla="*/ 5026827 w 11701760"/>
              <a:gd name="connsiteY1180" fmla="*/ 4783444 h 6407421"/>
              <a:gd name="connsiteX1181" fmla="*/ 5056429 w 11701760"/>
              <a:gd name="connsiteY1181" fmla="*/ 4783444 h 6407421"/>
              <a:gd name="connsiteX1182" fmla="*/ 5056429 w 11701760"/>
              <a:gd name="connsiteY1182" fmla="*/ 4813046 h 6407421"/>
              <a:gd name="connsiteX1183" fmla="*/ 5026827 w 11701760"/>
              <a:gd name="connsiteY1183" fmla="*/ 4813046 h 6407421"/>
              <a:gd name="connsiteX1184" fmla="*/ 4760630 w 11701760"/>
              <a:gd name="connsiteY1184" fmla="*/ 4783444 h 6407421"/>
              <a:gd name="connsiteX1185" fmla="*/ 4790340 w 11701760"/>
              <a:gd name="connsiteY1185" fmla="*/ 4783444 h 6407421"/>
              <a:gd name="connsiteX1186" fmla="*/ 4790340 w 11701760"/>
              <a:gd name="connsiteY1186" fmla="*/ 4813046 h 6407421"/>
              <a:gd name="connsiteX1187" fmla="*/ 4760630 w 11701760"/>
              <a:gd name="connsiteY1187" fmla="*/ 4813046 h 6407421"/>
              <a:gd name="connsiteX1188" fmla="*/ 4494541 w 11701760"/>
              <a:gd name="connsiteY1188" fmla="*/ 4783444 h 6407421"/>
              <a:gd name="connsiteX1189" fmla="*/ 4524144 w 11701760"/>
              <a:gd name="connsiteY1189" fmla="*/ 4783444 h 6407421"/>
              <a:gd name="connsiteX1190" fmla="*/ 4524144 w 11701760"/>
              <a:gd name="connsiteY1190" fmla="*/ 4813046 h 6407421"/>
              <a:gd name="connsiteX1191" fmla="*/ 4494541 w 11701760"/>
              <a:gd name="connsiteY1191" fmla="*/ 4813046 h 6407421"/>
              <a:gd name="connsiteX1192" fmla="*/ 4228344 w 11701760"/>
              <a:gd name="connsiteY1192" fmla="*/ 4783444 h 6407421"/>
              <a:gd name="connsiteX1193" fmla="*/ 4257946 w 11701760"/>
              <a:gd name="connsiteY1193" fmla="*/ 4783444 h 6407421"/>
              <a:gd name="connsiteX1194" fmla="*/ 4257946 w 11701760"/>
              <a:gd name="connsiteY1194" fmla="*/ 4813046 h 6407421"/>
              <a:gd name="connsiteX1195" fmla="*/ 4228344 w 11701760"/>
              <a:gd name="connsiteY1195" fmla="*/ 4813046 h 6407421"/>
              <a:gd name="connsiteX1196" fmla="*/ 3962255 w 11701760"/>
              <a:gd name="connsiteY1196" fmla="*/ 4783444 h 6407421"/>
              <a:gd name="connsiteX1197" fmla="*/ 3991857 w 11701760"/>
              <a:gd name="connsiteY1197" fmla="*/ 4783444 h 6407421"/>
              <a:gd name="connsiteX1198" fmla="*/ 3991857 w 11701760"/>
              <a:gd name="connsiteY1198" fmla="*/ 4813046 h 6407421"/>
              <a:gd name="connsiteX1199" fmla="*/ 3962255 w 11701760"/>
              <a:gd name="connsiteY1199" fmla="*/ 4813046 h 6407421"/>
              <a:gd name="connsiteX1200" fmla="*/ 3696058 w 11701760"/>
              <a:gd name="connsiteY1200" fmla="*/ 4783444 h 6407421"/>
              <a:gd name="connsiteX1201" fmla="*/ 3725661 w 11701760"/>
              <a:gd name="connsiteY1201" fmla="*/ 4783444 h 6407421"/>
              <a:gd name="connsiteX1202" fmla="*/ 3725661 w 11701760"/>
              <a:gd name="connsiteY1202" fmla="*/ 4813046 h 6407421"/>
              <a:gd name="connsiteX1203" fmla="*/ 3696058 w 11701760"/>
              <a:gd name="connsiteY1203" fmla="*/ 4813046 h 6407421"/>
              <a:gd name="connsiteX1204" fmla="*/ 3429969 w 11701760"/>
              <a:gd name="connsiteY1204" fmla="*/ 4783444 h 6407421"/>
              <a:gd name="connsiteX1205" fmla="*/ 3459572 w 11701760"/>
              <a:gd name="connsiteY1205" fmla="*/ 4783444 h 6407421"/>
              <a:gd name="connsiteX1206" fmla="*/ 3459572 w 11701760"/>
              <a:gd name="connsiteY1206" fmla="*/ 4813046 h 6407421"/>
              <a:gd name="connsiteX1207" fmla="*/ 3429969 w 11701760"/>
              <a:gd name="connsiteY1207" fmla="*/ 4813046 h 6407421"/>
              <a:gd name="connsiteX1208" fmla="*/ 3163772 w 11701760"/>
              <a:gd name="connsiteY1208" fmla="*/ 4783444 h 6407421"/>
              <a:gd name="connsiteX1209" fmla="*/ 3193374 w 11701760"/>
              <a:gd name="connsiteY1209" fmla="*/ 4783444 h 6407421"/>
              <a:gd name="connsiteX1210" fmla="*/ 3193374 w 11701760"/>
              <a:gd name="connsiteY1210" fmla="*/ 4813046 h 6407421"/>
              <a:gd name="connsiteX1211" fmla="*/ 3163772 w 11701760"/>
              <a:gd name="connsiteY1211" fmla="*/ 4813046 h 6407421"/>
              <a:gd name="connsiteX1212" fmla="*/ 2897575 w 11701760"/>
              <a:gd name="connsiteY1212" fmla="*/ 4783444 h 6407421"/>
              <a:gd name="connsiteX1213" fmla="*/ 2927178 w 11701760"/>
              <a:gd name="connsiteY1213" fmla="*/ 4783444 h 6407421"/>
              <a:gd name="connsiteX1214" fmla="*/ 2927178 w 11701760"/>
              <a:gd name="connsiteY1214" fmla="*/ 4813046 h 6407421"/>
              <a:gd name="connsiteX1215" fmla="*/ 2897575 w 11701760"/>
              <a:gd name="connsiteY1215" fmla="*/ 4813046 h 6407421"/>
              <a:gd name="connsiteX1216" fmla="*/ 2631378 w 11701760"/>
              <a:gd name="connsiteY1216" fmla="*/ 4783444 h 6407421"/>
              <a:gd name="connsiteX1217" fmla="*/ 2660980 w 11701760"/>
              <a:gd name="connsiteY1217" fmla="*/ 4783444 h 6407421"/>
              <a:gd name="connsiteX1218" fmla="*/ 2660980 w 11701760"/>
              <a:gd name="connsiteY1218" fmla="*/ 4813046 h 6407421"/>
              <a:gd name="connsiteX1219" fmla="*/ 2631378 w 11701760"/>
              <a:gd name="connsiteY1219" fmla="*/ 4813046 h 6407421"/>
              <a:gd name="connsiteX1220" fmla="*/ 2365289 w 11701760"/>
              <a:gd name="connsiteY1220" fmla="*/ 4783444 h 6407421"/>
              <a:gd name="connsiteX1221" fmla="*/ 2394892 w 11701760"/>
              <a:gd name="connsiteY1221" fmla="*/ 4783444 h 6407421"/>
              <a:gd name="connsiteX1222" fmla="*/ 2394892 w 11701760"/>
              <a:gd name="connsiteY1222" fmla="*/ 4813046 h 6407421"/>
              <a:gd name="connsiteX1223" fmla="*/ 2365289 w 11701760"/>
              <a:gd name="connsiteY1223" fmla="*/ 4813046 h 6407421"/>
              <a:gd name="connsiteX1224" fmla="*/ 2099092 w 11701760"/>
              <a:gd name="connsiteY1224" fmla="*/ 4783444 h 6407421"/>
              <a:gd name="connsiteX1225" fmla="*/ 2128695 w 11701760"/>
              <a:gd name="connsiteY1225" fmla="*/ 4783444 h 6407421"/>
              <a:gd name="connsiteX1226" fmla="*/ 2128695 w 11701760"/>
              <a:gd name="connsiteY1226" fmla="*/ 4813046 h 6407421"/>
              <a:gd name="connsiteX1227" fmla="*/ 2099092 w 11701760"/>
              <a:gd name="connsiteY1227" fmla="*/ 4813046 h 6407421"/>
              <a:gd name="connsiteX1228" fmla="*/ 1832898 w 11701760"/>
              <a:gd name="connsiteY1228" fmla="*/ 4783444 h 6407421"/>
              <a:gd name="connsiteX1229" fmla="*/ 1862498 w 11701760"/>
              <a:gd name="connsiteY1229" fmla="*/ 4783444 h 6407421"/>
              <a:gd name="connsiteX1230" fmla="*/ 1862498 w 11701760"/>
              <a:gd name="connsiteY1230" fmla="*/ 4813046 h 6407421"/>
              <a:gd name="connsiteX1231" fmla="*/ 1832898 w 11701760"/>
              <a:gd name="connsiteY1231" fmla="*/ 4813046 h 6407421"/>
              <a:gd name="connsiteX1232" fmla="*/ 1566808 w 11701760"/>
              <a:gd name="connsiteY1232" fmla="*/ 4783444 h 6407421"/>
              <a:gd name="connsiteX1233" fmla="*/ 1596409 w 11701760"/>
              <a:gd name="connsiteY1233" fmla="*/ 4783444 h 6407421"/>
              <a:gd name="connsiteX1234" fmla="*/ 1596409 w 11701760"/>
              <a:gd name="connsiteY1234" fmla="*/ 4813046 h 6407421"/>
              <a:gd name="connsiteX1235" fmla="*/ 1566808 w 11701760"/>
              <a:gd name="connsiteY1235" fmla="*/ 4813046 h 6407421"/>
              <a:gd name="connsiteX1236" fmla="*/ 1300611 w 11701760"/>
              <a:gd name="connsiteY1236" fmla="*/ 4783444 h 6407421"/>
              <a:gd name="connsiteX1237" fmla="*/ 1330213 w 11701760"/>
              <a:gd name="connsiteY1237" fmla="*/ 4783444 h 6407421"/>
              <a:gd name="connsiteX1238" fmla="*/ 1330213 w 11701760"/>
              <a:gd name="connsiteY1238" fmla="*/ 4813046 h 6407421"/>
              <a:gd name="connsiteX1239" fmla="*/ 1300611 w 11701760"/>
              <a:gd name="connsiteY1239" fmla="*/ 4813046 h 6407421"/>
              <a:gd name="connsiteX1240" fmla="*/ 1034520 w 11701760"/>
              <a:gd name="connsiteY1240" fmla="*/ 4783444 h 6407421"/>
              <a:gd name="connsiteX1241" fmla="*/ 1064123 w 11701760"/>
              <a:gd name="connsiteY1241" fmla="*/ 4783444 h 6407421"/>
              <a:gd name="connsiteX1242" fmla="*/ 1064123 w 11701760"/>
              <a:gd name="connsiteY1242" fmla="*/ 4813046 h 6407421"/>
              <a:gd name="connsiteX1243" fmla="*/ 1034520 w 11701760"/>
              <a:gd name="connsiteY1243" fmla="*/ 4813046 h 6407421"/>
              <a:gd name="connsiteX1244" fmla="*/ 768327 w 11701760"/>
              <a:gd name="connsiteY1244" fmla="*/ 4783444 h 6407421"/>
              <a:gd name="connsiteX1245" fmla="*/ 797926 w 11701760"/>
              <a:gd name="connsiteY1245" fmla="*/ 4783444 h 6407421"/>
              <a:gd name="connsiteX1246" fmla="*/ 797926 w 11701760"/>
              <a:gd name="connsiteY1246" fmla="*/ 4813046 h 6407421"/>
              <a:gd name="connsiteX1247" fmla="*/ 768327 w 11701760"/>
              <a:gd name="connsiteY1247" fmla="*/ 4813046 h 6407421"/>
              <a:gd name="connsiteX1248" fmla="*/ 502237 w 11701760"/>
              <a:gd name="connsiteY1248" fmla="*/ 4783444 h 6407421"/>
              <a:gd name="connsiteX1249" fmla="*/ 531839 w 11701760"/>
              <a:gd name="connsiteY1249" fmla="*/ 4783444 h 6407421"/>
              <a:gd name="connsiteX1250" fmla="*/ 531839 w 11701760"/>
              <a:gd name="connsiteY1250" fmla="*/ 4813046 h 6407421"/>
              <a:gd name="connsiteX1251" fmla="*/ 502237 w 11701760"/>
              <a:gd name="connsiteY1251" fmla="*/ 4813046 h 6407421"/>
              <a:gd name="connsiteX1252" fmla="*/ 236038 w 11701760"/>
              <a:gd name="connsiteY1252" fmla="*/ 4783444 h 6407421"/>
              <a:gd name="connsiteX1253" fmla="*/ 265640 w 11701760"/>
              <a:gd name="connsiteY1253" fmla="*/ 4783444 h 6407421"/>
              <a:gd name="connsiteX1254" fmla="*/ 265640 w 11701760"/>
              <a:gd name="connsiteY1254" fmla="*/ 4813046 h 6407421"/>
              <a:gd name="connsiteX1255" fmla="*/ 236038 w 11701760"/>
              <a:gd name="connsiteY1255" fmla="*/ 4813046 h 6407421"/>
              <a:gd name="connsiteX1256" fmla="*/ 2 w 11701760"/>
              <a:gd name="connsiteY1256" fmla="*/ 4783444 h 6407421"/>
              <a:gd name="connsiteX1257" fmla="*/ 29604 w 11701760"/>
              <a:gd name="connsiteY1257" fmla="*/ 4783444 h 6407421"/>
              <a:gd name="connsiteX1258" fmla="*/ 29604 w 11701760"/>
              <a:gd name="connsiteY1258" fmla="*/ 4813046 h 6407421"/>
              <a:gd name="connsiteX1259" fmla="*/ 2 w 11701760"/>
              <a:gd name="connsiteY1259" fmla="*/ 4813046 h 6407421"/>
              <a:gd name="connsiteX1260" fmla="*/ 11672158 w 11701760"/>
              <a:gd name="connsiteY1260" fmla="*/ 4517679 h 6407421"/>
              <a:gd name="connsiteX1261" fmla="*/ 11701760 w 11701760"/>
              <a:gd name="connsiteY1261" fmla="*/ 4517679 h 6407421"/>
              <a:gd name="connsiteX1262" fmla="*/ 11701760 w 11701760"/>
              <a:gd name="connsiteY1262" fmla="*/ 4547281 h 6407421"/>
              <a:gd name="connsiteX1263" fmla="*/ 11672158 w 11701760"/>
              <a:gd name="connsiteY1263" fmla="*/ 4547281 h 6407421"/>
              <a:gd name="connsiteX1264" fmla="*/ 11405961 w 11701760"/>
              <a:gd name="connsiteY1264" fmla="*/ 4517679 h 6407421"/>
              <a:gd name="connsiteX1265" fmla="*/ 11435563 w 11701760"/>
              <a:gd name="connsiteY1265" fmla="*/ 4517679 h 6407421"/>
              <a:gd name="connsiteX1266" fmla="*/ 11435563 w 11701760"/>
              <a:gd name="connsiteY1266" fmla="*/ 4547281 h 6407421"/>
              <a:gd name="connsiteX1267" fmla="*/ 11405961 w 11701760"/>
              <a:gd name="connsiteY1267" fmla="*/ 4547281 h 6407421"/>
              <a:gd name="connsiteX1268" fmla="*/ 11139872 w 11701760"/>
              <a:gd name="connsiteY1268" fmla="*/ 4517679 h 6407421"/>
              <a:gd name="connsiteX1269" fmla="*/ 11169474 w 11701760"/>
              <a:gd name="connsiteY1269" fmla="*/ 4517679 h 6407421"/>
              <a:gd name="connsiteX1270" fmla="*/ 11169474 w 11701760"/>
              <a:gd name="connsiteY1270" fmla="*/ 4547281 h 6407421"/>
              <a:gd name="connsiteX1271" fmla="*/ 11139872 w 11701760"/>
              <a:gd name="connsiteY1271" fmla="*/ 4547281 h 6407421"/>
              <a:gd name="connsiteX1272" fmla="*/ 10873675 w 11701760"/>
              <a:gd name="connsiteY1272" fmla="*/ 4517679 h 6407421"/>
              <a:gd name="connsiteX1273" fmla="*/ 10903277 w 11701760"/>
              <a:gd name="connsiteY1273" fmla="*/ 4517679 h 6407421"/>
              <a:gd name="connsiteX1274" fmla="*/ 10903277 w 11701760"/>
              <a:gd name="connsiteY1274" fmla="*/ 4547281 h 6407421"/>
              <a:gd name="connsiteX1275" fmla="*/ 10873675 w 11701760"/>
              <a:gd name="connsiteY1275" fmla="*/ 4547281 h 6407421"/>
              <a:gd name="connsiteX1276" fmla="*/ 10607478 w 11701760"/>
              <a:gd name="connsiteY1276" fmla="*/ 4517679 h 6407421"/>
              <a:gd name="connsiteX1277" fmla="*/ 10637188 w 11701760"/>
              <a:gd name="connsiteY1277" fmla="*/ 4517679 h 6407421"/>
              <a:gd name="connsiteX1278" fmla="*/ 10637188 w 11701760"/>
              <a:gd name="connsiteY1278" fmla="*/ 4547281 h 6407421"/>
              <a:gd name="connsiteX1279" fmla="*/ 10607478 w 11701760"/>
              <a:gd name="connsiteY1279" fmla="*/ 4547281 h 6407421"/>
              <a:gd name="connsiteX1280" fmla="*/ 10341389 w 11701760"/>
              <a:gd name="connsiteY1280" fmla="*/ 4517679 h 6407421"/>
              <a:gd name="connsiteX1281" fmla="*/ 10370992 w 11701760"/>
              <a:gd name="connsiteY1281" fmla="*/ 4517679 h 6407421"/>
              <a:gd name="connsiteX1282" fmla="*/ 10370992 w 11701760"/>
              <a:gd name="connsiteY1282" fmla="*/ 4547281 h 6407421"/>
              <a:gd name="connsiteX1283" fmla="*/ 10341389 w 11701760"/>
              <a:gd name="connsiteY1283" fmla="*/ 4547281 h 6407421"/>
              <a:gd name="connsiteX1284" fmla="*/ 10075192 w 11701760"/>
              <a:gd name="connsiteY1284" fmla="*/ 4517679 h 6407421"/>
              <a:gd name="connsiteX1285" fmla="*/ 10104794 w 11701760"/>
              <a:gd name="connsiteY1285" fmla="*/ 4517679 h 6407421"/>
              <a:gd name="connsiteX1286" fmla="*/ 10104794 w 11701760"/>
              <a:gd name="connsiteY1286" fmla="*/ 4547281 h 6407421"/>
              <a:gd name="connsiteX1287" fmla="*/ 10075192 w 11701760"/>
              <a:gd name="connsiteY1287" fmla="*/ 4547281 h 6407421"/>
              <a:gd name="connsiteX1288" fmla="*/ 9809103 w 11701760"/>
              <a:gd name="connsiteY1288" fmla="*/ 4517679 h 6407421"/>
              <a:gd name="connsiteX1289" fmla="*/ 9838705 w 11701760"/>
              <a:gd name="connsiteY1289" fmla="*/ 4517679 h 6407421"/>
              <a:gd name="connsiteX1290" fmla="*/ 9838705 w 11701760"/>
              <a:gd name="connsiteY1290" fmla="*/ 4547281 h 6407421"/>
              <a:gd name="connsiteX1291" fmla="*/ 9809103 w 11701760"/>
              <a:gd name="connsiteY1291" fmla="*/ 4547281 h 6407421"/>
              <a:gd name="connsiteX1292" fmla="*/ 9542906 w 11701760"/>
              <a:gd name="connsiteY1292" fmla="*/ 4517679 h 6407421"/>
              <a:gd name="connsiteX1293" fmla="*/ 9572509 w 11701760"/>
              <a:gd name="connsiteY1293" fmla="*/ 4517679 h 6407421"/>
              <a:gd name="connsiteX1294" fmla="*/ 9572509 w 11701760"/>
              <a:gd name="connsiteY1294" fmla="*/ 4547281 h 6407421"/>
              <a:gd name="connsiteX1295" fmla="*/ 9542906 w 11701760"/>
              <a:gd name="connsiteY1295" fmla="*/ 4547281 h 6407421"/>
              <a:gd name="connsiteX1296" fmla="*/ 9276817 w 11701760"/>
              <a:gd name="connsiteY1296" fmla="*/ 4517679 h 6407421"/>
              <a:gd name="connsiteX1297" fmla="*/ 9306420 w 11701760"/>
              <a:gd name="connsiteY1297" fmla="*/ 4517679 h 6407421"/>
              <a:gd name="connsiteX1298" fmla="*/ 9306420 w 11701760"/>
              <a:gd name="connsiteY1298" fmla="*/ 4547281 h 6407421"/>
              <a:gd name="connsiteX1299" fmla="*/ 9276817 w 11701760"/>
              <a:gd name="connsiteY1299" fmla="*/ 4547281 h 6407421"/>
              <a:gd name="connsiteX1300" fmla="*/ 9010620 w 11701760"/>
              <a:gd name="connsiteY1300" fmla="*/ 4517679 h 6407421"/>
              <a:gd name="connsiteX1301" fmla="*/ 9040222 w 11701760"/>
              <a:gd name="connsiteY1301" fmla="*/ 4517679 h 6407421"/>
              <a:gd name="connsiteX1302" fmla="*/ 9040222 w 11701760"/>
              <a:gd name="connsiteY1302" fmla="*/ 4547281 h 6407421"/>
              <a:gd name="connsiteX1303" fmla="*/ 9010620 w 11701760"/>
              <a:gd name="connsiteY1303" fmla="*/ 4547281 h 6407421"/>
              <a:gd name="connsiteX1304" fmla="*/ 8744423 w 11701760"/>
              <a:gd name="connsiteY1304" fmla="*/ 4517679 h 6407421"/>
              <a:gd name="connsiteX1305" fmla="*/ 8774026 w 11701760"/>
              <a:gd name="connsiteY1305" fmla="*/ 4517679 h 6407421"/>
              <a:gd name="connsiteX1306" fmla="*/ 8774026 w 11701760"/>
              <a:gd name="connsiteY1306" fmla="*/ 4547281 h 6407421"/>
              <a:gd name="connsiteX1307" fmla="*/ 8744423 w 11701760"/>
              <a:gd name="connsiteY1307" fmla="*/ 4547281 h 6407421"/>
              <a:gd name="connsiteX1308" fmla="*/ 8478226 w 11701760"/>
              <a:gd name="connsiteY1308" fmla="*/ 4517679 h 6407421"/>
              <a:gd name="connsiteX1309" fmla="*/ 8507828 w 11701760"/>
              <a:gd name="connsiteY1309" fmla="*/ 4517679 h 6407421"/>
              <a:gd name="connsiteX1310" fmla="*/ 8507828 w 11701760"/>
              <a:gd name="connsiteY1310" fmla="*/ 4547281 h 6407421"/>
              <a:gd name="connsiteX1311" fmla="*/ 8478226 w 11701760"/>
              <a:gd name="connsiteY1311" fmla="*/ 4547281 h 6407421"/>
              <a:gd name="connsiteX1312" fmla="*/ 8212137 w 11701760"/>
              <a:gd name="connsiteY1312" fmla="*/ 4517679 h 6407421"/>
              <a:gd name="connsiteX1313" fmla="*/ 8241740 w 11701760"/>
              <a:gd name="connsiteY1313" fmla="*/ 4517679 h 6407421"/>
              <a:gd name="connsiteX1314" fmla="*/ 8241740 w 11701760"/>
              <a:gd name="connsiteY1314" fmla="*/ 4547281 h 6407421"/>
              <a:gd name="connsiteX1315" fmla="*/ 8212137 w 11701760"/>
              <a:gd name="connsiteY1315" fmla="*/ 4547281 h 6407421"/>
              <a:gd name="connsiteX1316" fmla="*/ 7945940 w 11701760"/>
              <a:gd name="connsiteY1316" fmla="*/ 4517679 h 6407421"/>
              <a:gd name="connsiteX1317" fmla="*/ 7975543 w 11701760"/>
              <a:gd name="connsiteY1317" fmla="*/ 4517679 h 6407421"/>
              <a:gd name="connsiteX1318" fmla="*/ 7975543 w 11701760"/>
              <a:gd name="connsiteY1318" fmla="*/ 4547281 h 6407421"/>
              <a:gd name="connsiteX1319" fmla="*/ 7945940 w 11701760"/>
              <a:gd name="connsiteY1319" fmla="*/ 4547281 h 6407421"/>
              <a:gd name="connsiteX1320" fmla="*/ 7679743 w 11701760"/>
              <a:gd name="connsiteY1320" fmla="*/ 4517679 h 6407421"/>
              <a:gd name="connsiteX1321" fmla="*/ 7709346 w 11701760"/>
              <a:gd name="connsiteY1321" fmla="*/ 4517679 h 6407421"/>
              <a:gd name="connsiteX1322" fmla="*/ 7709346 w 11701760"/>
              <a:gd name="connsiteY1322" fmla="*/ 4547281 h 6407421"/>
              <a:gd name="connsiteX1323" fmla="*/ 7679743 w 11701760"/>
              <a:gd name="connsiteY1323" fmla="*/ 4547281 h 6407421"/>
              <a:gd name="connsiteX1324" fmla="*/ 7413653 w 11701760"/>
              <a:gd name="connsiteY1324" fmla="*/ 4517679 h 6407421"/>
              <a:gd name="connsiteX1325" fmla="*/ 7443256 w 11701760"/>
              <a:gd name="connsiteY1325" fmla="*/ 4517679 h 6407421"/>
              <a:gd name="connsiteX1326" fmla="*/ 7443256 w 11701760"/>
              <a:gd name="connsiteY1326" fmla="*/ 4547281 h 6407421"/>
              <a:gd name="connsiteX1327" fmla="*/ 7413653 w 11701760"/>
              <a:gd name="connsiteY1327" fmla="*/ 4547281 h 6407421"/>
              <a:gd name="connsiteX1328" fmla="*/ 7147456 w 11701760"/>
              <a:gd name="connsiteY1328" fmla="*/ 4517679 h 6407421"/>
              <a:gd name="connsiteX1329" fmla="*/ 7177058 w 11701760"/>
              <a:gd name="connsiteY1329" fmla="*/ 4517679 h 6407421"/>
              <a:gd name="connsiteX1330" fmla="*/ 7177058 w 11701760"/>
              <a:gd name="connsiteY1330" fmla="*/ 4547281 h 6407421"/>
              <a:gd name="connsiteX1331" fmla="*/ 7147456 w 11701760"/>
              <a:gd name="connsiteY1331" fmla="*/ 4547281 h 6407421"/>
              <a:gd name="connsiteX1332" fmla="*/ 6881367 w 11701760"/>
              <a:gd name="connsiteY1332" fmla="*/ 4517679 h 6407421"/>
              <a:gd name="connsiteX1333" fmla="*/ 6910970 w 11701760"/>
              <a:gd name="connsiteY1333" fmla="*/ 4517679 h 6407421"/>
              <a:gd name="connsiteX1334" fmla="*/ 6910970 w 11701760"/>
              <a:gd name="connsiteY1334" fmla="*/ 4547281 h 6407421"/>
              <a:gd name="connsiteX1335" fmla="*/ 6881367 w 11701760"/>
              <a:gd name="connsiteY1335" fmla="*/ 4547281 h 6407421"/>
              <a:gd name="connsiteX1336" fmla="*/ 6615170 w 11701760"/>
              <a:gd name="connsiteY1336" fmla="*/ 4517679 h 6407421"/>
              <a:gd name="connsiteX1337" fmla="*/ 6644773 w 11701760"/>
              <a:gd name="connsiteY1337" fmla="*/ 4517679 h 6407421"/>
              <a:gd name="connsiteX1338" fmla="*/ 6644773 w 11701760"/>
              <a:gd name="connsiteY1338" fmla="*/ 4547281 h 6407421"/>
              <a:gd name="connsiteX1339" fmla="*/ 6615170 w 11701760"/>
              <a:gd name="connsiteY1339" fmla="*/ 4547281 h 6407421"/>
              <a:gd name="connsiteX1340" fmla="*/ 6349081 w 11701760"/>
              <a:gd name="connsiteY1340" fmla="*/ 4517679 h 6407421"/>
              <a:gd name="connsiteX1341" fmla="*/ 6378683 w 11701760"/>
              <a:gd name="connsiteY1341" fmla="*/ 4517679 h 6407421"/>
              <a:gd name="connsiteX1342" fmla="*/ 6378683 w 11701760"/>
              <a:gd name="connsiteY1342" fmla="*/ 4547281 h 6407421"/>
              <a:gd name="connsiteX1343" fmla="*/ 6349081 w 11701760"/>
              <a:gd name="connsiteY1343" fmla="*/ 4547281 h 6407421"/>
              <a:gd name="connsiteX1344" fmla="*/ 6082884 w 11701760"/>
              <a:gd name="connsiteY1344" fmla="*/ 4517679 h 6407421"/>
              <a:gd name="connsiteX1345" fmla="*/ 6112486 w 11701760"/>
              <a:gd name="connsiteY1345" fmla="*/ 4517679 h 6407421"/>
              <a:gd name="connsiteX1346" fmla="*/ 6112486 w 11701760"/>
              <a:gd name="connsiteY1346" fmla="*/ 4547281 h 6407421"/>
              <a:gd name="connsiteX1347" fmla="*/ 6082884 w 11701760"/>
              <a:gd name="connsiteY1347" fmla="*/ 4547281 h 6407421"/>
              <a:gd name="connsiteX1348" fmla="*/ 5825310 w 11701760"/>
              <a:gd name="connsiteY1348" fmla="*/ 4517679 h 6407421"/>
              <a:gd name="connsiteX1349" fmla="*/ 5854913 w 11701760"/>
              <a:gd name="connsiteY1349" fmla="*/ 4517679 h 6407421"/>
              <a:gd name="connsiteX1350" fmla="*/ 5854913 w 11701760"/>
              <a:gd name="connsiteY1350" fmla="*/ 4547281 h 6407421"/>
              <a:gd name="connsiteX1351" fmla="*/ 5825310 w 11701760"/>
              <a:gd name="connsiteY1351" fmla="*/ 4547281 h 6407421"/>
              <a:gd name="connsiteX1352" fmla="*/ 5559113 w 11701760"/>
              <a:gd name="connsiteY1352" fmla="*/ 4517679 h 6407421"/>
              <a:gd name="connsiteX1353" fmla="*/ 5588715 w 11701760"/>
              <a:gd name="connsiteY1353" fmla="*/ 4517679 h 6407421"/>
              <a:gd name="connsiteX1354" fmla="*/ 5588715 w 11701760"/>
              <a:gd name="connsiteY1354" fmla="*/ 4547281 h 6407421"/>
              <a:gd name="connsiteX1355" fmla="*/ 5559113 w 11701760"/>
              <a:gd name="connsiteY1355" fmla="*/ 4547281 h 6407421"/>
              <a:gd name="connsiteX1356" fmla="*/ 5293024 w 11701760"/>
              <a:gd name="connsiteY1356" fmla="*/ 4517679 h 6407421"/>
              <a:gd name="connsiteX1357" fmla="*/ 5322626 w 11701760"/>
              <a:gd name="connsiteY1357" fmla="*/ 4517679 h 6407421"/>
              <a:gd name="connsiteX1358" fmla="*/ 5322626 w 11701760"/>
              <a:gd name="connsiteY1358" fmla="*/ 4547281 h 6407421"/>
              <a:gd name="connsiteX1359" fmla="*/ 5293024 w 11701760"/>
              <a:gd name="connsiteY1359" fmla="*/ 4547281 h 6407421"/>
              <a:gd name="connsiteX1360" fmla="*/ 5026827 w 11701760"/>
              <a:gd name="connsiteY1360" fmla="*/ 4517679 h 6407421"/>
              <a:gd name="connsiteX1361" fmla="*/ 5056429 w 11701760"/>
              <a:gd name="connsiteY1361" fmla="*/ 4517679 h 6407421"/>
              <a:gd name="connsiteX1362" fmla="*/ 5056429 w 11701760"/>
              <a:gd name="connsiteY1362" fmla="*/ 4547281 h 6407421"/>
              <a:gd name="connsiteX1363" fmla="*/ 5026827 w 11701760"/>
              <a:gd name="connsiteY1363" fmla="*/ 4547281 h 6407421"/>
              <a:gd name="connsiteX1364" fmla="*/ 4760630 w 11701760"/>
              <a:gd name="connsiteY1364" fmla="*/ 4517679 h 6407421"/>
              <a:gd name="connsiteX1365" fmla="*/ 4790340 w 11701760"/>
              <a:gd name="connsiteY1365" fmla="*/ 4517679 h 6407421"/>
              <a:gd name="connsiteX1366" fmla="*/ 4790340 w 11701760"/>
              <a:gd name="connsiteY1366" fmla="*/ 4547281 h 6407421"/>
              <a:gd name="connsiteX1367" fmla="*/ 4760630 w 11701760"/>
              <a:gd name="connsiteY1367" fmla="*/ 4547281 h 6407421"/>
              <a:gd name="connsiteX1368" fmla="*/ 4494541 w 11701760"/>
              <a:gd name="connsiteY1368" fmla="*/ 4517679 h 6407421"/>
              <a:gd name="connsiteX1369" fmla="*/ 4524144 w 11701760"/>
              <a:gd name="connsiteY1369" fmla="*/ 4517679 h 6407421"/>
              <a:gd name="connsiteX1370" fmla="*/ 4524144 w 11701760"/>
              <a:gd name="connsiteY1370" fmla="*/ 4547281 h 6407421"/>
              <a:gd name="connsiteX1371" fmla="*/ 4494541 w 11701760"/>
              <a:gd name="connsiteY1371" fmla="*/ 4547281 h 6407421"/>
              <a:gd name="connsiteX1372" fmla="*/ 4228344 w 11701760"/>
              <a:gd name="connsiteY1372" fmla="*/ 4517679 h 6407421"/>
              <a:gd name="connsiteX1373" fmla="*/ 4257946 w 11701760"/>
              <a:gd name="connsiteY1373" fmla="*/ 4517679 h 6407421"/>
              <a:gd name="connsiteX1374" fmla="*/ 4257946 w 11701760"/>
              <a:gd name="connsiteY1374" fmla="*/ 4547281 h 6407421"/>
              <a:gd name="connsiteX1375" fmla="*/ 4228344 w 11701760"/>
              <a:gd name="connsiteY1375" fmla="*/ 4547281 h 6407421"/>
              <a:gd name="connsiteX1376" fmla="*/ 3962255 w 11701760"/>
              <a:gd name="connsiteY1376" fmla="*/ 4517679 h 6407421"/>
              <a:gd name="connsiteX1377" fmla="*/ 3991857 w 11701760"/>
              <a:gd name="connsiteY1377" fmla="*/ 4517679 h 6407421"/>
              <a:gd name="connsiteX1378" fmla="*/ 3991857 w 11701760"/>
              <a:gd name="connsiteY1378" fmla="*/ 4547281 h 6407421"/>
              <a:gd name="connsiteX1379" fmla="*/ 3962255 w 11701760"/>
              <a:gd name="connsiteY1379" fmla="*/ 4547281 h 6407421"/>
              <a:gd name="connsiteX1380" fmla="*/ 3696058 w 11701760"/>
              <a:gd name="connsiteY1380" fmla="*/ 4517679 h 6407421"/>
              <a:gd name="connsiteX1381" fmla="*/ 3725661 w 11701760"/>
              <a:gd name="connsiteY1381" fmla="*/ 4517679 h 6407421"/>
              <a:gd name="connsiteX1382" fmla="*/ 3725661 w 11701760"/>
              <a:gd name="connsiteY1382" fmla="*/ 4547281 h 6407421"/>
              <a:gd name="connsiteX1383" fmla="*/ 3696058 w 11701760"/>
              <a:gd name="connsiteY1383" fmla="*/ 4547281 h 6407421"/>
              <a:gd name="connsiteX1384" fmla="*/ 3429969 w 11701760"/>
              <a:gd name="connsiteY1384" fmla="*/ 4517679 h 6407421"/>
              <a:gd name="connsiteX1385" fmla="*/ 3459572 w 11701760"/>
              <a:gd name="connsiteY1385" fmla="*/ 4517679 h 6407421"/>
              <a:gd name="connsiteX1386" fmla="*/ 3459572 w 11701760"/>
              <a:gd name="connsiteY1386" fmla="*/ 4547281 h 6407421"/>
              <a:gd name="connsiteX1387" fmla="*/ 3429969 w 11701760"/>
              <a:gd name="connsiteY1387" fmla="*/ 4547281 h 6407421"/>
              <a:gd name="connsiteX1388" fmla="*/ 3163772 w 11701760"/>
              <a:gd name="connsiteY1388" fmla="*/ 4517679 h 6407421"/>
              <a:gd name="connsiteX1389" fmla="*/ 3193374 w 11701760"/>
              <a:gd name="connsiteY1389" fmla="*/ 4517679 h 6407421"/>
              <a:gd name="connsiteX1390" fmla="*/ 3193374 w 11701760"/>
              <a:gd name="connsiteY1390" fmla="*/ 4547281 h 6407421"/>
              <a:gd name="connsiteX1391" fmla="*/ 3163772 w 11701760"/>
              <a:gd name="connsiteY1391" fmla="*/ 4547281 h 6407421"/>
              <a:gd name="connsiteX1392" fmla="*/ 2897575 w 11701760"/>
              <a:gd name="connsiteY1392" fmla="*/ 4517679 h 6407421"/>
              <a:gd name="connsiteX1393" fmla="*/ 2927178 w 11701760"/>
              <a:gd name="connsiteY1393" fmla="*/ 4517679 h 6407421"/>
              <a:gd name="connsiteX1394" fmla="*/ 2927178 w 11701760"/>
              <a:gd name="connsiteY1394" fmla="*/ 4547281 h 6407421"/>
              <a:gd name="connsiteX1395" fmla="*/ 2897575 w 11701760"/>
              <a:gd name="connsiteY1395" fmla="*/ 4547281 h 6407421"/>
              <a:gd name="connsiteX1396" fmla="*/ 2631378 w 11701760"/>
              <a:gd name="connsiteY1396" fmla="*/ 4517679 h 6407421"/>
              <a:gd name="connsiteX1397" fmla="*/ 2660980 w 11701760"/>
              <a:gd name="connsiteY1397" fmla="*/ 4517679 h 6407421"/>
              <a:gd name="connsiteX1398" fmla="*/ 2660980 w 11701760"/>
              <a:gd name="connsiteY1398" fmla="*/ 4547281 h 6407421"/>
              <a:gd name="connsiteX1399" fmla="*/ 2631378 w 11701760"/>
              <a:gd name="connsiteY1399" fmla="*/ 4547281 h 6407421"/>
              <a:gd name="connsiteX1400" fmla="*/ 2365289 w 11701760"/>
              <a:gd name="connsiteY1400" fmla="*/ 4517679 h 6407421"/>
              <a:gd name="connsiteX1401" fmla="*/ 2394892 w 11701760"/>
              <a:gd name="connsiteY1401" fmla="*/ 4517679 h 6407421"/>
              <a:gd name="connsiteX1402" fmla="*/ 2394892 w 11701760"/>
              <a:gd name="connsiteY1402" fmla="*/ 4547281 h 6407421"/>
              <a:gd name="connsiteX1403" fmla="*/ 2365289 w 11701760"/>
              <a:gd name="connsiteY1403" fmla="*/ 4547281 h 6407421"/>
              <a:gd name="connsiteX1404" fmla="*/ 2099092 w 11701760"/>
              <a:gd name="connsiteY1404" fmla="*/ 4517679 h 6407421"/>
              <a:gd name="connsiteX1405" fmla="*/ 2128695 w 11701760"/>
              <a:gd name="connsiteY1405" fmla="*/ 4517679 h 6407421"/>
              <a:gd name="connsiteX1406" fmla="*/ 2128695 w 11701760"/>
              <a:gd name="connsiteY1406" fmla="*/ 4547281 h 6407421"/>
              <a:gd name="connsiteX1407" fmla="*/ 2099092 w 11701760"/>
              <a:gd name="connsiteY1407" fmla="*/ 4547281 h 6407421"/>
              <a:gd name="connsiteX1408" fmla="*/ 1832898 w 11701760"/>
              <a:gd name="connsiteY1408" fmla="*/ 4517679 h 6407421"/>
              <a:gd name="connsiteX1409" fmla="*/ 1862498 w 11701760"/>
              <a:gd name="connsiteY1409" fmla="*/ 4517679 h 6407421"/>
              <a:gd name="connsiteX1410" fmla="*/ 1862498 w 11701760"/>
              <a:gd name="connsiteY1410" fmla="*/ 4547281 h 6407421"/>
              <a:gd name="connsiteX1411" fmla="*/ 1832898 w 11701760"/>
              <a:gd name="connsiteY1411" fmla="*/ 4547281 h 6407421"/>
              <a:gd name="connsiteX1412" fmla="*/ 1566808 w 11701760"/>
              <a:gd name="connsiteY1412" fmla="*/ 4517679 h 6407421"/>
              <a:gd name="connsiteX1413" fmla="*/ 1596409 w 11701760"/>
              <a:gd name="connsiteY1413" fmla="*/ 4517679 h 6407421"/>
              <a:gd name="connsiteX1414" fmla="*/ 1596409 w 11701760"/>
              <a:gd name="connsiteY1414" fmla="*/ 4547281 h 6407421"/>
              <a:gd name="connsiteX1415" fmla="*/ 1566808 w 11701760"/>
              <a:gd name="connsiteY1415" fmla="*/ 4547281 h 6407421"/>
              <a:gd name="connsiteX1416" fmla="*/ 1300611 w 11701760"/>
              <a:gd name="connsiteY1416" fmla="*/ 4517679 h 6407421"/>
              <a:gd name="connsiteX1417" fmla="*/ 1330213 w 11701760"/>
              <a:gd name="connsiteY1417" fmla="*/ 4517679 h 6407421"/>
              <a:gd name="connsiteX1418" fmla="*/ 1330213 w 11701760"/>
              <a:gd name="connsiteY1418" fmla="*/ 4547281 h 6407421"/>
              <a:gd name="connsiteX1419" fmla="*/ 1300611 w 11701760"/>
              <a:gd name="connsiteY1419" fmla="*/ 4547281 h 6407421"/>
              <a:gd name="connsiteX1420" fmla="*/ 1034520 w 11701760"/>
              <a:gd name="connsiteY1420" fmla="*/ 4517679 h 6407421"/>
              <a:gd name="connsiteX1421" fmla="*/ 1064123 w 11701760"/>
              <a:gd name="connsiteY1421" fmla="*/ 4517679 h 6407421"/>
              <a:gd name="connsiteX1422" fmla="*/ 1064123 w 11701760"/>
              <a:gd name="connsiteY1422" fmla="*/ 4547281 h 6407421"/>
              <a:gd name="connsiteX1423" fmla="*/ 1034520 w 11701760"/>
              <a:gd name="connsiteY1423" fmla="*/ 4547281 h 6407421"/>
              <a:gd name="connsiteX1424" fmla="*/ 768327 w 11701760"/>
              <a:gd name="connsiteY1424" fmla="*/ 4517679 h 6407421"/>
              <a:gd name="connsiteX1425" fmla="*/ 797926 w 11701760"/>
              <a:gd name="connsiteY1425" fmla="*/ 4517679 h 6407421"/>
              <a:gd name="connsiteX1426" fmla="*/ 797926 w 11701760"/>
              <a:gd name="connsiteY1426" fmla="*/ 4547281 h 6407421"/>
              <a:gd name="connsiteX1427" fmla="*/ 768327 w 11701760"/>
              <a:gd name="connsiteY1427" fmla="*/ 4547281 h 6407421"/>
              <a:gd name="connsiteX1428" fmla="*/ 502236 w 11701760"/>
              <a:gd name="connsiteY1428" fmla="*/ 4517679 h 6407421"/>
              <a:gd name="connsiteX1429" fmla="*/ 531839 w 11701760"/>
              <a:gd name="connsiteY1429" fmla="*/ 4517679 h 6407421"/>
              <a:gd name="connsiteX1430" fmla="*/ 531839 w 11701760"/>
              <a:gd name="connsiteY1430" fmla="*/ 4547281 h 6407421"/>
              <a:gd name="connsiteX1431" fmla="*/ 502236 w 11701760"/>
              <a:gd name="connsiteY1431" fmla="*/ 4547281 h 6407421"/>
              <a:gd name="connsiteX1432" fmla="*/ 236037 w 11701760"/>
              <a:gd name="connsiteY1432" fmla="*/ 4517679 h 6407421"/>
              <a:gd name="connsiteX1433" fmla="*/ 265640 w 11701760"/>
              <a:gd name="connsiteY1433" fmla="*/ 4517679 h 6407421"/>
              <a:gd name="connsiteX1434" fmla="*/ 265640 w 11701760"/>
              <a:gd name="connsiteY1434" fmla="*/ 4547281 h 6407421"/>
              <a:gd name="connsiteX1435" fmla="*/ 236037 w 11701760"/>
              <a:gd name="connsiteY1435" fmla="*/ 4547281 h 6407421"/>
              <a:gd name="connsiteX1436" fmla="*/ 2 w 11701760"/>
              <a:gd name="connsiteY1436" fmla="*/ 4517679 h 6407421"/>
              <a:gd name="connsiteX1437" fmla="*/ 29603 w 11701760"/>
              <a:gd name="connsiteY1437" fmla="*/ 4517679 h 6407421"/>
              <a:gd name="connsiteX1438" fmla="*/ 29603 w 11701760"/>
              <a:gd name="connsiteY1438" fmla="*/ 4547281 h 6407421"/>
              <a:gd name="connsiteX1439" fmla="*/ 2 w 11701760"/>
              <a:gd name="connsiteY1439" fmla="*/ 4547281 h 6407421"/>
              <a:gd name="connsiteX1440" fmla="*/ 11672158 w 11701760"/>
              <a:gd name="connsiteY1440" fmla="*/ 4252022 h 6407421"/>
              <a:gd name="connsiteX1441" fmla="*/ 11701760 w 11701760"/>
              <a:gd name="connsiteY1441" fmla="*/ 4252022 h 6407421"/>
              <a:gd name="connsiteX1442" fmla="*/ 11701760 w 11701760"/>
              <a:gd name="connsiteY1442" fmla="*/ 4281516 h 6407421"/>
              <a:gd name="connsiteX1443" fmla="*/ 11672158 w 11701760"/>
              <a:gd name="connsiteY1443" fmla="*/ 4281516 h 6407421"/>
              <a:gd name="connsiteX1444" fmla="*/ 11405961 w 11701760"/>
              <a:gd name="connsiteY1444" fmla="*/ 4252022 h 6407421"/>
              <a:gd name="connsiteX1445" fmla="*/ 11435563 w 11701760"/>
              <a:gd name="connsiteY1445" fmla="*/ 4252022 h 6407421"/>
              <a:gd name="connsiteX1446" fmla="*/ 11435563 w 11701760"/>
              <a:gd name="connsiteY1446" fmla="*/ 4281516 h 6407421"/>
              <a:gd name="connsiteX1447" fmla="*/ 11405961 w 11701760"/>
              <a:gd name="connsiteY1447" fmla="*/ 4281516 h 6407421"/>
              <a:gd name="connsiteX1448" fmla="*/ 11139872 w 11701760"/>
              <a:gd name="connsiteY1448" fmla="*/ 4252022 h 6407421"/>
              <a:gd name="connsiteX1449" fmla="*/ 11169474 w 11701760"/>
              <a:gd name="connsiteY1449" fmla="*/ 4252022 h 6407421"/>
              <a:gd name="connsiteX1450" fmla="*/ 11169474 w 11701760"/>
              <a:gd name="connsiteY1450" fmla="*/ 4281516 h 6407421"/>
              <a:gd name="connsiteX1451" fmla="*/ 11139872 w 11701760"/>
              <a:gd name="connsiteY1451" fmla="*/ 4281516 h 6407421"/>
              <a:gd name="connsiteX1452" fmla="*/ 10873675 w 11701760"/>
              <a:gd name="connsiteY1452" fmla="*/ 4252022 h 6407421"/>
              <a:gd name="connsiteX1453" fmla="*/ 10903277 w 11701760"/>
              <a:gd name="connsiteY1453" fmla="*/ 4252022 h 6407421"/>
              <a:gd name="connsiteX1454" fmla="*/ 10903277 w 11701760"/>
              <a:gd name="connsiteY1454" fmla="*/ 4281516 h 6407421"/>
              <a:gd name="connsiteX1455" fmla="*/ 10873675 w 11701760"/>
              <a:gd name="connsiteY1455" fmla="*/ 4281516 h 6407421"/>
              <a:gd name="connsiteX1456" fmla="*/ 10607478 w 11701760"/>
              <a:gd name="connsiteY1456" fmla="*/ 4252022 h 6407421"/>
              <a:gd name="connsiteX1457" fmla="*/ 10637188 w 11701760"/>
              <a:gd name="connsiteY1457" fmla="*/ 4252022 h 6407421"/>
              <a:gd name="connsiteX1458" fmla="*/ 10637188 w 11701760"/>
              <a:gd name="connsiteY1458" fmla="*/ 4281516 h 6407421"/>
              <a:gd name="connsiteX1459" fmla="*/ 10607478 w 11701760"/>
              <a:gd name="connsiteY1459" fmla="*/ 4281516 h 6407421"/>
              <a:gd name="connsiteX1460" fmla="*/ 10341389 w 11701760"/>
              <a:gd name="connsiteY1460" fmla="*/ 4252022 h 6407421"/>
              <a:gd name="connsiteX1461" fmla="*/ 10370992 w 11701760"/>
              <a:gd name="connsiteY1461" fmla="*/ 4252022 h 6407421"/>
              <a:gd name="connsiteX1462" fmla="*/ 10370992 w 11701760"/>
              <a:gd name="connsiteY1462" fmla="*/ 4281516 h 6407421"/>
              <a:gd name="connsiteX1463" fmla="*/ 10341389 w 11701760"/>
              <a:gd name="connsiteY1463" fmla="*/ 4281516 h 6407421"/>
              <a:gd name="connsiteX1464" fmla="*/ 10075192 w 11701760"/>
              <a:gd name="connsiteY1464" fmla="*/ 4252022 h 6407421"/>
              <a:gd name="connsiteX1465" fmla="*/ 10104794 w 11701760"/>
              <a:gd name="connsiteY1465" fmla="*/ 4252022 h 6407421"/>
              <a:gd name="connsiteX1466" fmla="*/ 10104794 w 11701760"/>
              <a:gd name="connsiteY1466" fmla="*/ 4281516 h 6407421"/>
              <a:gd name="connsiteX1467" fmla="*/ 10075192 w 11701760"/>
              <a:gd name="connsiteY1467" fmla="*/ 4281516 h 6407421"/>
              <a:gd name="connsiteX1468" fmla="*/ 9809103 w 11701760"/>
              <a:gd name="connsiteY1468" fmla="*/ 4252022 h 6407421"/>
              <a:gd name="connsiteX1469" fmla="*/ 9838705 w 11701760"/>
              <a:gd name="connsiteY1469" fmla="*/ 4252022 h 6407421"/>
              <a:gd name="connsiteX1470" fmla="*/ 9838705 w 11701760"/>
              <a:gd name="connsiteY1470" fmla="*/ 4281516 h 6407421"/>
              <a:gd name="connsiteX1471" fmla="*/ 9809103 w 11701760"/>
              <a:gd name="connsiteY1471" fmla="*/ 4281516 h 6407421"/>
              <a:gd name="connsiteX1472" fmla="*/ 9542906 w 11701760"/>
              <a:gd name="connsiteY1472" fmla="*/ 4252022 h 6407421"/>
              <a:gd name="connsiteX1473" fmla="*/ 9572509 w 11701760"/>
              <a:gd name="connsiteY1473" fmla="*/ 4252022 h 6407421"/>
              <a:gd name="connsiteX1474" fmla="*/ 9572509 w 11701760"/>
              <a:gd name="connsiteY1474" fmla="*/ 4281516 h 6407421"/>
              <a:gd name="connsiteX1475" fmla="*/ 9542906 w 11701760"/>
              <a:gd name="connsiteY1475" fmla="*/ 4281516 h 6407421"/>
              <a:gd name="connsiteX1476" fmla="*/ 9276817 w 11701760"/>
              <a:gd name="connsiteY1476" fmla="*/ 4252022 h 6407421"/>
              <a:gd name="connsiteX1477" fmla="*/ 9306420 w 11701760"/>
              <a:gd name="connsiteY1477" fmla="*/ 4252022 h 6407421"/>
              <a:gd name="connsiteX1478" fmla="*/ 9306420 w 11701760"/>
              <a:gd name="connsiteY1478" fmla="*/ 4281516 h 6407421"/>
              <a:gd name="connsiteX1479" fmla="*/ 9276817 w 11701760"/>
              <a:gd name="connsiteY1479" fmla="*/ 4281516 h 6407421"/>
              <a:gd name="connsiteX1480" fmla="*/ 9010620 w 11701760"/>
              <a:gd name="connsiteY1480" fmla="*/ 4252022 h 6407421"/>
              <a:gd name="connsiteX1481" fmla="*/ 9040222 w 11701760"/>
              <a:gd name="connsiteY1481" fmla="*/ 4252022 h 6407421"/>
              <a:gd name="connsiteX1482" fmla="*/ 9040222 w 11701760"/>
              <a:gd name="connsiteY1482" fmla="*/ 4281516 h 6407421"/>
              <a:gd name="connsiteX1483" fmla="*/ 9010620 w 11701760"/>
              <a:gd name="connsiteY1483" fmla="*/ 4281516 h 6407421"/>
              <a:gd name="connsiteX1484" fmla="*/ 8744423 w 11701760"/>
              <a:gd name="connsiteY1484" fmla="*/ 4252022 h 6407421"/>
              <a:gd name="connsiteX1485" fmla="*/ 8774026 w 11701760"/>
              <a:gd name="connsiteY1485" fmla="*/ 4252022 h 6407421"/>
              <a:gd name="connsiteX1486" fmla="*/ 8774026 w 11701760"/>
              <a:gd name="connsiteY1486" fmla="*/ 4281516 h 6407421"/>
              <a:gd name="connsiteX1487" fmla="*/ 8744423 w 11701760"/>
              <a:gd name="connsiteY1487" fmla="*/ 4281516 h 6407421"/>
              <a:gd name="connsiteX1488" fmla="*/ 8478226 w 11701760"/>
              <a:gd name="connsiteY1488" fmla="*/ 4252022 h 6407421"/>
              <a:gd name="connsiteX1489" fmla="*/ 8507828 w 11701760"/>
              <a:gd name="connsiteY1489" fmla="*/ 4252022 h 6407421"/>
              <a:gd name="connsiteX1490" fmla="*/ 8507828 w 11701760"/>
              <a:gd name="connsiteY1490" fmla="*/ 4281516 h 6407421"/>
              <a:gd name="connsiteX1491" fmla="*/ 8478226 w 11701760"/>
              <a:gd name="connsiteY1491" fmla="*/ 4281516 h 6407421"/>
              <a:gd name="connsiteX1492" fmla="*/ 8212137 w 11701760"/>
              <a:gd name="connsiteY1492" fmla="*/ 4252022 h 6407421"/>
              <a:gd name="connsiteX1493" fmla="*/ 8241740 w 11701760"/>
              <a:gd name="connsiteY1493" fmla="*/ 4252022 h 6407421"/>
              <a:gd name="connsiteX1494" fmla="*/ 8241740 w 11701760"/>
              <a:gd name="connsiteY1494" fmla="*/ 4281516 h 6407421"/>
              <a:gd name="connsiteX1495" fmla="*/ 8212137 w 11701760"/>
              <a:gd name="connsiteY1495" fmla="*/ 4281516 h 6407421"/>
              <a:gd name="connsiteX1496" fmla="*/ 7945940 w 11701760"/>
              <a:gd name="connsiteY1496" fmla="*/ 4252022 h 6407421"/>
              <a:gd name="connsiteX1497" fmla="*/ 7975543 w 11701760"/>
              <a:gd name="connsiteY1497" fmla="*/ 4252022 h 6407421"/>
              <a:gd name="connsiteX1498" fmla="*/ 7975543 w 11701760"/>
              <a:gd name="connsiteY1498" fmla="*/ 4281516 h 6407421"/>
              <a:gd name="connsiteX1499" fmla="*/ 7945940 w 11701760"/>
              <a:gd name="connsiteY1499" fmla="*/ 4281516 h 6407421"/>
              <a:gd name="connsiteX1500" fmla="*/ 7679743 w 11701760"/>
              <a:gd name="connsiteY1500" fmla="*/ 4252022 h 6407421"/>
              <a:gd name="connsiteX1501" fmla="*/ 7709346 w 11701760"/>
              <a:gd name="connsiteY1501" fmla="*/ 4252022 h 6407421"/>
              <a:gd name="connsiteX1502" fmla="*/ 7709346 w 11701760"/>
              <a:gd name="connsiteY1502" fmla="*/ 4281516 h 6407421"/>
              <a:gd name="connsiteX1503" fmla="*/ 7679743 w 11701760"/>
              <a:gd name="connsiteY1503" fmla="*/ 4281516 h 6407421"/>
              <a:gd name="connsiteX1504" fmla="*/ 7413653 w 11701760"/>
              <a:gd name="connsiteY1504" fmla="*/ 4252022 h 6407421"/>
              <a:gd name="connsiteX1505" fmla="*/ 7443256 w 11701760"/>
              <a:gd name="connsiteY1505" fmla="*/ 4252022 h 6407421"/>
              <a:gd name="connsiteX1506" fmla="*/ 7443256 w 11701760"/>
              <a:gd name="connsiteY1506" fmla="*/ 4281516 h 6407421"/>
              <a:gd name="connsiteX1507" fmla="*/ 7413653 w 11701760"/>
              <a:gd name="connsiteY1507" fmla="*/ 4281516 h 6407421"/>
              <a:gd name="connsiteX1508" fmla="*/ 7147456 w 11701760"/>
              <a:gd name="connsiteY1508" fmla="*/ 4252022 h 6407421"/>
              <a:gd name="connsiteX1509" fmla="*/ 7177058 w 11701760"/>
              <a:gd name="connsiteY1509" fmla="*/ 4252022 h 6407421"/>
              <a:gd name="connsiteX1510" fmla="*/ 7177058 w 11701760"/>
              <a:gd name="connsiteY1510" fmla="*/ 4281516 h 6407421"/>
              <a:gd name="connsiteX1511" fmla="*/ 7147456 w 11701760"/>
              <a:gd name="connsiteY1511" fmla="*/ 4281516 h 6407421"/>
              <a:gd name="connsiteX1512" fmla="*/ 6881367 w 11701760"/>
              <a:gd name="connsiteY1512" fmla="*/ 4252022 h 6407421"/>
              <a:gd name="connsiteX1513" fmla="*/ 6910970 w 11701760"/>
              <a:gd name="connsiteY1513" fmla="*/ 4252022 h 6407421"/>
              <a:gd name="connsiteX1514" fmla="*/ 6910970 w 11701760"/>
              <a:gd name="connsiteY1514" fmla="*/ 4281516 h 6407421"/>
              <a:gd name="connsiteX1515" fmla="*/ 6881367 w 11701760"/>
              <a:gd name="connsiteY1515" fmla="*/ 4281516 h 6407421"/>
              <a:gd name="connsiteX1516" fmla="*/ 6615170 w 11701760"/>
              <a:gd name="connsiteY1516" fmla="*/ 4252022 h 6407421"/>
              <a:gd name="connsiteX1517" fmla="*/ 6644773 w 11701760"/>
              <a:gd name="connsiteY1517" fmla="*/ 4252022 h 6407421"/>
              <a:gd name="connsiteX1518" fmla="*/ 6644773 w 11701760"/>
              <a:gd name="connsiteY1518" fmla="*/ 4281516 h 6407421"/>
              <a:gd name="connsiteX1519" fmla="*/ 6615170 w 11701760"/>
              <a:gd name="connsiteY1519" fmla="*/ 4281516 h 6407421"/>
              <a:gd name="connsiteX1520" fmla="*/ 6349081 w 11701760"/>
              <a:gd name="connsiteY1520" fmla="*/ 4252022 h 6407421"/>
              <a:gd name="connsiteX1521" fmla="*/ 6378683 w 11701760"/>
              <a:gd name="connsiteY1521" fmla="*/ 4252022 h 6407421"/>
              <a:gd name="connsiteX1522" fmla="*/ 6378683 w 11701760"/>
              <a:gd name="connsiteY1522" fmla="*/ 4281516 h 6407421"/>
              <a:gd name="connsiteX1523" fmla="*/ 6349081 w 11701760"/>
              <a:gd name="connsiteY1523" fmla="*/ 4281516 h 6407421"/>
              <a:gd name="connsiteX1524" fmla="*/ 6082884 w 11701760"/>
              <a:gd name="connsiteY1524" fmla="*/ 4252022 h 6407421"/>
              <a:gd name="connsiteX1525" fmla="*/ 6112486 w 11701760"/>
              <a:gd name="connsiteY1525" fmla="*/ 4252022 h 6407421"/>
              <a:gd name="connsiteX1526" fmla="*/ 6112486 w 11701760"/>
              <a:gd name="connsiteY1526" fmla="*/ 4281516 h 6407421"/>
              <a:gd name="connsiteX1527" fmla="*/ 6082884 w 11701760"/>
              <a:gd name="connsiteY1527" fmla="*/ 4281516 h 6407421"/>
              <a:gd name="connsiteX1528" fmla="*/ 5825310 w 11701760"/>
              <a:gd name="connsiteY1528" fmla="*/ 4252022 h 6407421"/>
              <a:gd name="connsiteX1529" fmla="*/ 5854913 w 11701760"/>
              <a:gd name="connsiteY1529" fmla="*/ 4252022 h 6407421"/>
              <a:gd name="connsiteX1530" fmla="*/ 5854913 w 11701760"/>
              <a:gd name="connsiteY1530" fmla="*/ 4281516 h 6407421"/>
              <a:gd name="connsiteX1531" fmla="*/ 5825310 w 11701760"/>
              <a:gd name="connsiteY1531" fmla="*/ 4281516 h 6407421"/>
              <a:gd name="connsiteX1532" fmla="*/ 5559113 w 11701760"/>
              <a:gd name="connsiteY1532" fmla="*/ 4252022 h 6407421"/>
              <a:gd name="connsiteX1533" fmla="*/ 5588715 w 11701760"/>
              <a:gd name="connsiteY1533" fmla="*/ 4252022 h 6407421"/>
              <a:gd name="connsiteX1534" fmla="*/ 5588715 w 11701760"/>
              <a:gd name="connsiteY1534" fmla="*/ 4281516 h 6407421"/>
              <a:gd name="connsiteX1535" fmla="*/ 5559113 w 11701760"/>
              <a:gd name="connsiteY1535" fmla="*/ 4281516 h 6407421"/>
              <a:gd name="connsiteX1536" fmla="*/ 5293024 w 11701760"/>
              <a:gd name="connsiteY1536" fmla="*/ 4252022 h 6407421"/>
              <a:gd name="connsiteX1537" fmla="*/ 5322626 w 11701760"/>
              <a:gd name="connsiteY1537" fmla="*/ 4252022 h 6407421"/>
              <a:gd name="connsiteX1538" fmla="*/ 5322626 w 11701760"/>
              <a:gd name="connsiteY1538" fmla="*/ 4281516 h 6407421"/>
              <a:gd name="connsiteX1539" fmla="*/ 5293024 w 11701760"/>
              <a:gd name="connsiteY1539" fmla="*/ 4281516 h 6407421"/>
              <a:gd name="connsiteX1540" fmla="*/ 5026827 w 11701760"/>
              <a:gd name="connsiteY1540" fmla="*/ 4252022 h 6407421"/>
              <a:gd name="connsiteX1541" fmla="*/ 5056429 w 11701760"/>
              <a:gd name="connsiteY1541" fmla="*/ 4252022 h 6407421"/>
              <a:gd name="connsiteX1542" fmla="*/ 5056429 w 11701760"/>
              <a:gd name="connsiteY1542" fmla="*/ 4281516 h 6407421"/>
              <a:gd name="connsiteX1543" fmla="*/ 5026827 w 11701760"/>
              <a:gd name="connsiteY1543" fmla="*/ 4281516 h 6407421"/>
              <a:gd name="connsiteX1544" fmla="*/ 4760630 w 11701760"/>
              <a:gd name="connsiteY1544" fmla="*/ 4252022 h 6407421"/>
              <a:gd name="connsiteX1545" fmla="*/ 4790340 w 11701760"/>
              <a:gd name="connsiteY1545" fmla="*/ 4252022 h 6407421"/>
              <a:gd name="connsiteX1546" fmla="*/ 4790340 w 11701760"/>
              <a:gd name="connsiteY1546" fmla="*/ 4281516 h 6407421"/>
              <a:gd name="connsiteX1547" fmla="*/ 4760630 w 11701760"/>
              <a:gd name="connsiteY1547" fmla="*/ 4281516 h 6407421"/>
              <a:gd name="connsiteX1548" fmla="*/ 4494541 w 11701760"/>
              <a:gd name="connsiteY1548" fmla="*/ 4252022 h 6407421"/>
              <a:gd name="connsiteX1549" fmla="*/ 4524144 w 11701760"/>
              <a:gd name="connsiteY1549" fmla="*/ 4252022 h 6407421"/>
              <a:gd name="connsiteX1550" fmla="*/ 4524144 w 11701760"/>
              <a:gd name="connsiteY1550" fmla="*/ 4281516 h 6407421"/>
              <a:gd name="connsiteX1551" fmla="*/ 4494541 w 11701760"/>
              <a:gd name="connsiteY1551" fmla="*/ 4281516 h 6407421"/>
              <a:gd name="connsiteX1552" fmla="*/ 4228344 w 11701760"/>
              <a:gd name="connsiteY1552" fmla="*/ 4252022 h 6407421"/>
              <a:gd name="connsiteX1553" fmla="*/ 4257946 w 11701760"/>
              <a:gd name="connsiteY1553" fmla="*/ 4252022 h 6407421"/>
              <a:gd name="connsiteX1554" fmla="*/ 4257946 w 11701760"/>
              <a:gd name="connsiteY1554" fmla="*/ 4281516 h 6407421"/>
              <a:gd name="connsiteX1555" fmla="*/ 4228344 w 11701760"/>
              <a:gd name="connsiteY1555" fmla="*/ 4281516 h 6407421"/>
              <a:gd name="connsiteX1556" fmla="*/ 3962255 w 11701760"/>
              <a:gd name="connsiteY1556" fmla="*/ 4252022 h 6407421"/>
              <a:gd name="connsiteX1557" fmla="*/ 3991857 w 11701760"/>
              <a:gd name="connsiteY1557" fmla="*/ 4252022 h 6407421"/>
              <a:gd name="connsiteX1558" fmla="*/ 3991857 w 11701760"/>
              <a:gd name="connsiteY1558" fmla="*/ 4281516 h 6407421"/>
              <a:gd name="connsiteX1559" fmla="*/ 3962255 w 11701760"/>
              <a:gd name="connsiteY1559" fmla="*/ 4281516 h 6407421"/>
              <a:gd name="connsiteX1560" fmla="*/ 3696058 w 11701760"/>
              <a:gd name="connsiteY1560" fmla="*/ 4252022 h 6407421"/>
              <a:gd name="connsiteX1561" fmla="*/ 3725661 w 11701760"/>
              <a:gd name="connsiteY1561" fmla="*/ 4252022 h 6407421"/>
              <a:gd name="connsiteX1562" fmla="*/ 3725661 w 11701760"/>
              <a:gd name="connsiteY1562" fmla="*/ 4281516 h 6407421"/>
              <a:gd name="connsiteX1563" fmla="*/ 3696058 w 11701760"/>
              <a:gd name="connsiteY1563" fmla="*/ 4281516 h 6407421"/>
              <a:gd name="connsiteX1564" fmla="*/ 3429969 w 11701760"/>
              <a:gd name="connsiteY1564" fmla="*/ 4252022 h 6407421"/>
              <a:gd name="connsiteX1565" fmla="*/ 3459572 w 11701760"/>
              <a:gd name="connsiteY1565" fmla="*/ 4252022 h 6407421"/>
              <a:gd name="connsiteX1566" fmla="*/ 3459572 w 11701760"/>
              <a:gd name="connsiteY1566" fmla="*/ 4281516 h 6407421"/>
              <a:gd name="connsiteX1567" fmla="*/ 3429969 w 11701760"/>
              <a:gd name="connsiteY1567" fmla="*/ 4281516 h 6407421"/>
              <a:gd name="connsiteX1568" fmla="*/ 3163772 w 11701760"/>
              <a:gd name="connsiteY1568" fmla="*/ 4252022 h 6407421"/>
              <a:gd name="connsiteX1569" fmla="*/ 3193374 w 11701760"/>
              <a:gd name="connsiteY1569" fmla="*/ 4252022 h 6407421"/>
              <a:gd name="connsiteX1570" fmla="*/ 3193374 w 11701760"/>
              <a:gd name="connsiteY1570" fmla="*/ 4281516 h 6407421"/>
              <a:gd name="connsiteX1571" fmla="*/ 3163772 w 11701760"/>
              <a:gd name="connsiteY1571" fmla="*/ 4281516 h 6407421"/>
              <a:gd name="connsiteX1572" fmla="*/ 2897575 w 11701760"/>
              <a:gd name="connsiteY1572" fmla="*/ 4252022 h 6407421"/>
              <a:gd name="connsiteX1573" fmla="*/ 2927178 w 11701760"/>
              <a:gd name="connsiteY1573" fmla="*/ 4252022 h 6407421"/>
              <a:gd name="connsiteX1574" fmla="*/ 2927178 w 11701760"/>
              <a:gd name="connsiteY1574" fmla="*/ 4281516 h 6407421"/>
              <a:gd name="connsiteX1575" fmla="*/ 2897575 w 11701760"/>
              <a:gd name="connsiteY1575" fmla="*/ 4281516 h 6407421"/>
              <a:gd name="connsiteX1576" fmla="*/ 2631378 w 11701760"/>
              <a:gd name="connsiteY1576" fmla="*/ 4252022 h 6407421"/>
              <a:gd name="connsiteX1577" fmla="*/ 2660980 w 11701760"/>
              <a:gd name="connsiteY1577" fmla="*/ 4252022 h 6407421"/>
              <a:gd name="connsiteX1578" fmla="*/ 2660980 w 11701760"/>
              <a:gd name="connsiteY1578" fmla="*/ 4281516 h 6407421"/>
              <a:gd name="connsiteX1579" fmla="*/ 2631378 w 11701760"/>
              <a:gd name="connsiteY1579" fmla="*/ 4281516 h 6407421"/>
              <a:gd name="connsiteX1580" fmla="*/ 2365289 w 11701760"/>
              <a:gd name="connsiteY1580" fmla="*/ 4252022 h 6407421"/>
              <a:gd name="connsiteX1581" fmla="*/ 2394892 w 11701760"/>
              <a:gd name="connsiteY1581" fmla="*/ 4252022 h 6407421"/>
              <a:gd name="connsiteX1582" fmla="*/ 2394892 w 11701760"/>
              <a:gd name="connsiteY1582" fmla="*/ 4281516 h 6407421"/>
              <a:gd name="connsiteX1583" fmla="*/ 2365289 w 11701760"/>
              <a:gd name="connsiteY1583" fmla="*/ 4281516 h 6407421"/>
              <a:gd name="connsiteX1584" fmla="*/ 2099092 w 11701760"/>
              <a:gd name="connsiteY1584" fmla="*/ 4252022 h 6407421"/>
              <a:gd name="connsiteX1585" fmla="*/ 2128695 w 11701760"/>
              <a:gd name="connsiteY1585" fmla="*/ 4252022 h 6407421"/>
              <a:gd name="connsiteX1586" fmla="*/ 2128695 w 11701760"/>
              <a:gd name="connsiteY1586" fmla="*/ 4281516 h 6407421"/>
              <a:gd name="connsiteX1587" fmla="*/ 2099092 w 11701760"/>
              <a:gd name="connsiteY1587" fmla="*/ 4281516 h 6407421"/>
              <a:gd name="connsiteX1588" fmla="*/ 1832898 w 11701760"/>
              <a:gd name="connsiteY1588" fmla="*/ 4252022 h 6407421"/>
              <a:gd name="connsiteX1589" fmla="*/ 1862498 w 11701760"/>
              <a:gd name="connsiteY1589" fmla="*/ 4252022 h 6407421"/>
              <a:gd name="connsiteX1590" fmla="*/ 1862498 w 11701760"/>
              <a:gd name="connsiteY1590" fmla="*/ 4281516 h 6407421"/>
              <a:gd name="connsiteX1591" fmla="*/ 1832898 w 11701760"/>
              <a:gd name="connsiteY1591" fmla="*/ 4281516 h 6407421"/>
              <a:gd name="connsiteX1592" fmla="*/ 1566808 w 11701760"/>
              <a:gd name="connsiteY1592" fmla="*/ 4252022 h 6407421"/>
              <a:gd name="connsiteX1593" fmla="*/ 1596409 w 11701760"/>
              <a:gd name="connsiteY1593" fmla="*/ 4252022 h 6407421"/>
              <a:gd name="connsiteX1594" fmla="*/ 1596409 w 11701760"/>
              <a:gd name="connsiteY1594" fmla="*/ 4281516 h 6407421"/>
              <a:gd name="connsiteX1595" fmla="*/ 1566808 w 11701760"/>
              <a:gd name="connsiteY1595" fmla="*/ 4281516 h 6407421"/>
              <a:gd name="connsiteX1596" fmla="*/ 1300611 w 11701760"/>
              <a:gd name="connsiteY1596" fmla="*/ 4252022 h 6407421"/>
              <a:gd name="connsiteX1597" fmla="*/ 1330213 w 11701760"/>
              <a:gd name="connsiteY1597" fmla="*/ 4252022 h 6407421"/>
              <a:gd name="connsiteX1598" fmla="*/ 1330213 w 11701760"/>
              <a:gd name="connsiteY1598" fmla="*/ 4281516 h 6407421"/>
              <a:gd name="connsiteX1599" fmla="*/ 1300611 w 11701760"/>
              <a:gd name="connsiteY1599" fmla="*/ 4281516 h 6407421"/>
              <a:gd name="connsiteX1600" fmla="*/ 1034520 w 11701760"/>
              <a:gd name="connsiteY1600" fmla="*/ 4252022 h 6407421"/>
              <a:gd name="connsiteX1601" fmla="*/ 1064123 w 11701760"/>
              <a:gd name="connsiteY1601" fmla="*/ 4252022 h 6407421"/>
              <a:gd name="connsiteX1602" fmla="*/ 1064123 w 11701760"/>
              <a:gd name="connsiteY1602" fmla="*/ 4281516 h 6407421"/>
              <a:gd name="connsiteX1603" fmla="*/ 1034520 w 11701760"/>
              <a:gd name="connsiteY1603" fmla="*/ 4281516 h 6407421"/>
              <a:gd name="connsiteX1604" fmla="*/ 768327 w 11701760"/>
              <a:gd name="connsiteY1604" fmla="*/ 4252022 h 6407421"/>
              <a:gd name="connsiteX1605" fmla="*/ 797926 w 11701760"/>
              <a:gd name="connsiteY1605" fmla="*/ 4252022 h 6407421"/>
              <a:gd name="connsiteX1606" fmla="*/ 797926 w 11701760"/>
              <a:gd name="connsiteY1606" fmla="*/ 4281516 h 6407421"/>
              <a:gd name="connsiteX1607" fmla="*/ 768327 w 11701760"/>
              <a:gd name="connsiteY1607" fmla="*/ 4281516 h 6407421"/>
              <a:gd name="connsiteX1608" fmla="*/ 502236 w 11701760"/>
              <a:gd name="connsiteY1608" fmla="*/ 4252022 h 6407421"/>
              <a:gd name="connsiteX1609" fmla="*/ 531839 w 11701760"/>
              <a:gd name="connsiteY1609" fmla="*/ 4252022 h 6407421"/>
              <a:gd name="connsiteX1610" fmla="*/ 531839 w 11701760"/>
              <a:gd name="connsiteY1610" fmla="*/ 4281516 h 6407421"/>
              <a:gd name="connsiteX1611" fmla="*/ 502236 w 11701760"/>
              <a:gd name="connsiteY1611" fmla="*/ 4281516 h 6407421"/>
              <a:gd name="connsiteX1612" fmla="*/ 236037 w 11701760"/>
              <a:gd name="connsiteY1612" fmla="*/ 4252022 h 6407421"/>
              <a:gd name="connsiteX1613" fmla="*/ 265640 w 11701760"/>
              <a:gd name="connsiteY1613" fmla="*/ 4252022 h 6407421"/>
              <a:gd name="connsiteX1614" fmla="*/ 265640 w 11701760"/>
              <a:gd name="connsiteY1614" fmla="*/ 4281516 h 6407421"/>
              <a:gd name="connsiteX1615" fmla="*/ 236037 w 11701760"/>
              <a:gd name="connsiteY1615" fmla="*/ 4281516 h 6407421"/>
              <a:gd name="connsiteX1616" fmla="*/ 1 w 11701760"/>
              <a:gd name="connsiteY1616" fmla="*/ 4252022 h 6407421"/>
              <a:gd name="connsiteX1617" fmla="*/ 29603 w 11701760"/>
              <a:gd name="connsiteY1617" fmla="*/ 4252022 h 6407421"/>
              <a:gd name="connsiteX1618" fmla="*/ 29603 w 11701760"/>
              <a:gd name="connsiteY1618" fmla="*/ 4281516 h 6407421"/>
              <a:gd name="connsiteX1619" fmla="*/ 1 w 11701760"/>
              <a:gd name="connsiteY1619" fmla="*/ 4281516 h 6407421"/>
              <a:gd name="connsiteX1620" fmla="*/ 11672158 w 11701760"/>
              <a:gd name="connsiteY1620" fmla="*/ 3986257 h 6407421"/>
              <a:gd name="connsiteX1621" fmla="*/ 11701760 w 11701760"/>
              <a:gd name="connsiteY1621" fmla="*/ 3986257 h 6407421"/>
              <a:gd name="connsiteX1622" fmla="*/ 11701760 w 11701760"/>
              <a:gd name="connsiteY1622" fmla="*/ 4015859 h 6407421"/>
              <a:gd name="connsiteX1623" fmla="*/ 11672158 w 11701760"/>
              <a:gd name="connsiteY1623" fmla="*/ 4015859 h 6407421"/>
              <a:gd name="connsiteX1624" fmla="*/ 11405961 w 11701760"/>
              <a:gd name="connsiteY1624" fmla="*/ 3986257 h 6407421"/>
              <a:gd name="connsiteX1625" fmla="*/ 11435563 w 11701760"/>
              <a:gd name="connsiteY1625" fmla="*/ 3986257 h 6407421"/>
              <a:gd name="connsiteX1626" fmla="*/ 11435563 w 11701760"/>
              <a:gd name="connsiteY1626" fmla="*/ 4015859 h 6407421"/>
              <a:gd name="connsiteX1627" fmla="*/ 11405961 w 11701760"/>
              <a:gd name="connsiteY1627" fmla="*/ 4015859 h 6407421"/>
              <a:gd name="connsiteX1628" fmla="*/ 11139872 w 11701760"/>
              <a:gd name="connsiteY1628" fmla="*/ 3986257 h 6407421"/>
              <a:gd name="connsiteX1629" fmla="*/ 11169474 w 11701760"/>
              <a:gd name="connsiteY1629" fmla="*/ 3986257 h 6407421"/>
              <a:gd name="connsiteX1630" fmla="*/ 11169474 w 11701760"/>
              <a:gd name="connsiteY1630" fmla="*/ 4015859 h 6407421"/>
              <a:gd name="connsiteX1631" fmla="*/ 11139872 w 11701760"/>
              <a:gd name="connsiteY1631" fmla="*/ 4015859 h 6407421"/>
              <a:gd name="connsiteX1632" fmla="*/ 10873675 w 11701760"/>
              <a:gd name="connsiteY1632" fmla="*/ 3986257 h 6407421"/>
              <a:gd name="connsiteX1633" fmla="*/ 10903277 w 11701760"/>
              <a:gd name="connsiteY1633" fmla="*/ 3986257 h 6407421"/>
              <a:gd name="connsiteX1634" fmla="*/ 10903277 w 11701760"/>
              <a:gd name="connsiteY1634" fmla="*/ 4015859 h 6407421"/>
              <a:gd name="connsiteX1635" fmla="*/ 10873675 w 11701760"/>
              <a:gd name="connsiteY1635" fmla="*/ 4015859 h 6407421"/>
              <a:gd name="connsiteX1636" fmla="*/ 10607478 w 11701760"/>
              <a:gd name="connsiteY1636" fmla="*/ 3986257 h 6407421"/>
              <a:gd name="connsiteX1637" fmla="*/ 10637188 w 11701760"/>
              <a:gd name="connsiteY1637" fmla="*/ 3986257 h 6407421"/>
              <a:gd name="connsiteX1638" fmla="*/ 10637188 w 11701760"/>
              <a:gd name="connsiteY1638" fmla="*/ 4015859 h 6407421"/>
              <a:gd name="connsiteX1639" fmla="*/ 10607478 w 11701760"/>
              <a:gd name="connsiteY1639" fmla="*/ 4015859 h 6407421"/>
              <a:gd name="connsiteX1640" fmla="*/ 10341389 w 11701760"/>
              <a:gd name="connsiteY1640" fmla="*/ 3986257 h 6407421"/>
              <a:gd name="connsiteX1641" fmla="*/ 10370992 w 11701760"/>
              <a:gd name="connsiteY1641" fmla="*/ 3986257 h 6407421"/>
              <a:gd name="connsiteX1642" fmla="*/ 10370992 w 11701760"/>
              <a:gd name="connsiteY1642" fmla="*/ 4015859 h 6407421"/>
              <a:gd name="connsiteX1643" fmla="*/ 10341389 w 11701760"/>
              <a:gd name="connsiteY1643" fmla="*/ 4015859 h 6407421"/>
              <a:gd name="connsiteX1644" fmla="*/ 10075192 w 11701760"/>
              <a:gd name="connsiteY1644" fmla="*/ 3986257 h 6407421"/>
              <a:gd name="connsiteX1645" fmla="*/ 10104794 w 11701760"/>
              <a:gd name="connsiteY1645" fmla="*/ 3986257 h 6407421"/>
              <a:gd name="connsiteX1646" fmla="*/ 10104794 w 11701760"/>
              <a:gd name="connsiteY1646" fmla="*/ 4015859 h 6407421"/>
              <a:gd name="connsiteX1647" fmla="*/ 10075192 w 11701760"/>
              <a:gd name="connsiteY1647" fmla="*/ 4015859 h 6407421"/>
              <a:gd name="connsiteX1648" fmla="*/ 9809103 w 11701760"/>
              <a:gd name="connsiteY1648" fmla="*/ 3986257 h 6407421"/>
              <a:gd name="connsiteX1649" fmla="*/ 9838705 w 11701760"/>
              <a:gd name="connsiteY1649" fmla="*/ 3986257 h 6407421"/>
              <a:gd name="connsiteX1650" fmla="*/ 9838705 w 11701760"/>
              <a:gd name="connsiteY1650" fmla="*/ 4015859 h 6407421"/>
              <a:gd name="connsiteX1651" fmla="*/ 9809103 w 11701760"/>
              <a:gd name="connsiteY1651" fmla="*/ 4015859 h 6407421"/>
              <a:gd name="connsiteX1652" fmla="*/ 9542906 w 11701760"/>
              <a:gd name="connsiteY1652" fmla="*/ 3986257 h 6407421"/>
              <a:gd name="connsiteX1653" fmla="*/ 9572509 w 11701760"/>
              <a:gd name="connsiteY1653" fmla="*/ 3986257 h 6407421"/>
              <a:gd name="connsiteX1654" fmla="*/ 9572509 w 11701760"/>
              <a:gd name="connsiteY1654" fmla="*/ 4015859 h 6407421"/>
              <a:gd name="connsiteX1655" fmla="*/ 9542906 w 11701760"/>
              <a:gd name="connsiteY1655" fmla="*/ 4015859 h 6407421"/>
              <a:gd name="connsiteX1656" fmla="*/ 9276817 w 11701760"/>
              <a:gd name="connsiteY1656" fmla="*/ 3986257 h 6407421"/>
              <a:gd name="connsiteX1657" fmla="*/ 9306420 w 11701760"/>
              <a:gd name="connsiteY1657" fmla="*/ 3986257 h 6407421"/>
              <a:gd name="connsiteX1658" fmla="*/ 9306420 w 11701760"/>
              <a:gd name="connsiteY1658" fmla="*/ 4015859 h 6407421"/>
              <a:gd name="connsiteX1659" fmla="*/ 9276817 w 11701760"/>
              <a:gd name="connsiteY1659" fmla="*/ 4015859 h 6407421"/>
              <a:gd name="connsiteX1660" fmla="*/ 9010620 w 11701760"/>
              <a:gd name="connsiteY1660" fmla="*/ 3986257 h 6407421"/>
              <a:gd name="connsiteX1661" fmla="*/ 9040222 w 11701760"/>
              <a:gd name="connsiteY1661" fmla="*/ 3986257 h 6407421"/>
              <a:gd name="connsiteX1662" fmla="*/ 9040222 w 11701760"/>
              <a:gd name="connsiteY1662" fmla="*/ 4015859 h 6407421"/>
              <a:gd name="connsiteX1663" fmla="*/ 9010620 w 11701760"/>
              <a:gd name="connsiteY1663" fmla="*/ 4015859 h 6407421"/>
              <a:gd name="connsiteX1664" fmla="*/ 8744423 w 11701760"/>
              <a:gd name="connsiteY1664" fmla="*/ 3986257 h 6407421"/>
              <a:gd name="connsiteX1665" fmla="*/ 8774026 w 11701760"/>
              <a:gd name="connsiteY1665" fmla="*/ 3986257 h 6407421"/>
              <a:gd name="connsiteX1666" fmla="*/ 8774026 w 11701760"/>
              <a:gd name="connsiteY1666" fmla="*/ 4015859 h 6407421"/>
              <a:gd name="connsiteX1667" fmla="*/ 8744423 w 11701760"/>
              <a:gd name="connsiteY1667" fmla="*/ 4015859 h 6407421"/>
              <a:gd name="connsiteX1668" fmla="*/ 8478226 w 11701760"/>
              <a:gd name="connsiteY1668" fmla="*/ 3986257 h 6407421"/>
              <a:gd name="connsiteX1669" fmla="*/ 8507828 w 11701760"/>
              <a:gd name="connsiteY1669" fmla="*/ 3986257 h 6407421"/>
              <a:gd name="connsiteX1670" fmla="*/ 8507828 w 11701760"/>
              <a:gd name="connsiteY1670" fmla="*/ 4015859 h 6407421"/>
              <a:gd name="connsiteX1671" fmla="*/ 8478226 w 11701760"/>
              <a:gd name="connsiteY1671" fmla="*/ 4015859 h 6407421"/>
              <a:gd name="connsiteX1672" fmla="*/ 8212137 w 11701760"/>
              <a:gd name="connsiteY1672" fmla="*/ 3986257 h 6407421"/>
              <a:gd name="connsiteX1673" fmla="*/ 8241740 w 11701760"/>
              <a:gd name="connsiteY1673" fmla="*/ 3986257 h 6407421"/>
              <a:gd name="connsiteX1674" fmla="*/ 8241740 w 11701760"/>
              <a:gd name="connsiteY1674" fmla="*/ 4015859 h 6407421"/>
              <a:gd name="connsiteX1675" fmla="*/ 8212137 w 11701760"/>
              <a:gd name="connsiteY1675" fmla="*/ 4015859 h 6407421"/>
              <a:gd name="connsiteX1676" fmla="*/ 7945940 w 11701760"/>
              <a:gd name="connsiteY1676" fmla="*/ 3986257 h 6407421"/>
              <a:gd name="connsiteX1677" fmla="*/ 7975543 w 11701760"/>
              <a:gd name="connsiteY1677" fmla="*/ 3986257 h 6407421"/>
              <a:gd name="connsiteX1678" fmla="*/ 7975543 w 11701760"/>
              <a:gd name="connsiteY1678" fmla="*/ 4015859 h 6407421"/>
              <a:gd name="connsiteX1679" fmla="*/ 7945940 w 11701760"/>
              <a:gd name="connsiteY1679" fmla="*/ 4015859 h 6407421"/>
              <a:gd name="connsiteX1680" fmla="*/ 7679743 w 11701760"/>
              <a:gd name="connsiteY1680" fmla="*/ 3986257 h 6407421"/>
              <a:gd name="connsiteX1681" fmla="*/ 7709346 w 11701760"/>
              <a:gd name="connsiteY1681" fmla="*/ 3986257 h 6407421"/>
              <a:gd name="connsiteX1682" fmla="*/ 7709346 w 11701760"/>
              <a:gd name="connsiteY1682" fmla="*/ 4015859 h 6407421"/>
              <a:gd name="connsiteX1683" fmla="*/ 7679743 w 11701760"/>
              <a:gd name="connsiteY1683" fmla="*/ 4015859 h 6407421"/>
              <a:gd name="connsiteX1684" fmla="*/ 7413653 w 11701760"/>
              <a:gd name="connsiteY1684" fmla="*/ 3986257 h 6407421"/>
              <a:gd name="connsiteX1685" fmla="*/ 7443256 w 11701760"/>
              <a:gd name="connsiteY1685" fmla="*/ 3986257 h 6407421"/>
              <a:gd name="connsiteX1686" fmla="*/ 7443256 w 11701760"/>
              <a:gd name="connsiteY1686" fmla="*/ 4015859 h 6407421"/>
              <a:gd name="connsiteX1687" fmla="*/ 7413653 w 11701760"/>
              <a:gd name="connsiteY1687" fmla="*/ 4015859 h 6407421"/>
              <a:gd name="connsiteX1688" fmla="*/ 7147456 w 11701760"/>
              <a:gd name="connsiteY1688" fmla="*/ 3986257 h 6407421"/>
              <a:gd name="connsiteX1689" fmla="*/ 7177058 w 11701760"/>
              <a:gd name="connsiteY1689" fmla="*/ 3986257 h 6407421"/>
              <a:gd name="connsiteX1690" fmla="*/ 7177058 w 11701760"/>
              <a:gd name="connsiteY1690" fmla="*/ 4015859 h 6407421"/>
              <a:gd name="connsiteX1691" fmla="*/ 7147456 w 11701760"/>
              <a:gd name="connsiteY1691" fmla="*/ 4015859 h 6407421"/>
              <a:gd name="connsiteX1692" fmla="*/ 6881367 w 11701760"/>
              <a:gd name="connsiteY1692" fmla="*/ 3986257 h 6407421"/>
              <a:gd name="connsiteX1693" fmla="*/ 6910970 w 11701760"/>
              <a:gd name="connsiteY1693" fmla="*/ 3986257 h 6407421"/>
              <a:gd name="connsiteX1694" fmla="*/ 6910970 w 11701760"/>
              <a:gd name="connsiteY1694" fmla="*/ 4015859 h 6407421"/>
              <a:gd name="connsiteX1695" fmla="*/ 6881367 w 11701760"/>
              <a:gd name="connsiteY1695" fmla="*/ 4015859 h 6407421"/>
              <a:gd name="connsiteX1696" fmla="*/ 6615170 w 11701760"/>
              <a:gd name="connsiteY1696" fmla="*/ 3986257 h 6407421"/>
              <a:gd name="connsiteX1697" fmla="*/ 6644773 w 11701760"/>
              <a:gd name="connsiteY1697" fmla="*/ 3986257 h 6407421"/>
              <a:gd name="connsiteX1698" fmla="*/ 6644773 w 11701760"/>
              <a:gd name="connsiteY1698" fmla="*/ 4015859 h 6407421"/>
              <a:gd name="connsiteX1699" fmla="*/ 6615170 w 11701760"/>
              <a:gd name="connsiteY1699" fmla="*/ 4015859 h 6407421"/>
              <a:gd name="connsiteX1700" fmla="*/ 6349081 w 11701760"/>
              <a:gd name="connsiteY1700" fmla="*/ 3986257 h 6407421"/>
              <a:gd name="connsiteX1701" fmla="*/ 6378683 w 11701760"/>
              <a:gd name="connsiteY1701" fmla="*/ 3986257 h 6407421"/>
              <a:gd name="connsiteX1702" fmla="*/ 6378683 w 11701760"/>
              <a:gd name="connsiteY1702" fmla="*/ 4015859 h 6407421"/>
              <a:gd name="connsiteX1703" fmla="*/ 6349081 w 11701760"/>
              <a:gd name="connsiteY1703" fmla="*/ 4015859 h 6407421"/>
              <a:gd name="connsiteX1704" fmla="*/ 6082884 w 11701760"/>
              <a:gd name="connsiteY1704" fmla="*/ 3986257 h 6407421"/>
              <a:gd name="connsiteX1705" fmla="*/ 6112486 w 11701760"/>
              <a:gd name="connsiteY1705" fmla="*/ 3986257 h 6407421"/>
              <a:gd name="connsiteX1706" fmla="*/ 6112486 w 11701760"/>
              <a:gd name="connsiteY1706" fmla="*/ 4015859 h 6407421"/>
              <a:gd name="connsiteX1707" fmla="*/ 6082884 w 11701760"/>
              <a:gd name="connsiteY1707" fmla="*/ 4015859 h 6407421"/>
              <a:gd name="connsiteX1708" fmla="*/ 5825310 w 11701760"/>
              <a:gd name="connsiteY1708" fmla="*/ 3986257 h 6407421"/>
              <a:gd name="connsiteX1709" fmla="*/ 5854913 w 11701760"/>
              <a:gd name="connsiteY1709" fmla="*/ 3986257 h 6407421"/>
              <a:gd name="connsiteX1710" fmla="*/ 5854913 w 11701760"/>
              <a:gd name="connsiteY1710" fmla="*/ 4015859 h 6407421"/>
              <a:gd name="connsiteX1711" fmla="*/ 5825310 w 11701760"/>
              <a:gd name="connsiteY1711" fmla="*/ 4015859 h 6407421"/>
              <a:gd name="connsiteX1712" fmla="*/ 5559113 w 11701760"/>
              <a:gd name="connsiteY1712" fmla="*/ 3986257 h 6407421"/>
              <a:gd name="connsiteX1713" fmla="*/ 5588715 w 11701760"/>
              <a:gd name="connsiteY1713" fmla="*/ 3986257 h 6407421"/>
              <a:gd name="connsiteX1714" fmla="*/ 5588715 w 11701760"/>
              <a:gd name="connsiteY1714" fmla="*/ 4015859 h 6407421"/>
              <a:gd name="connsiteX1715" fmla="*/ 5559113 w 11701760"/>
              <a:gd name="connsiteY1715" fmla="*/ 4015859 h 6407421"/>
              <a:gd name="connsiteX1716" fmla="*/ 5293024 w 11701760"/>
              <a:gd name="connsiteY1716" fmla="*/ 3986257 h 6407421"/>
              <a:gd name="connsiteX1717" fmla="*/ 5322626 w 11701760"/>
              <a:gd name="connsiteY1717" fmla="*/ 3986257 h 6407421"/>
              <a:gd name="connsiteX1718" fmla="*/ 5322626 w 11701760"/>
              <a:gd name="connsiteY1718" fmla="*/ 4015859 h 6407421"/>
              <a:gd name="connsiteX1719" fmla="*/ 5293024 w 11701760"/>
              <a:gd name="connsiteY1719" fmla="*/ 4015859 h 6407421"/>
              <a:gd name="connsiteX1720" fmla="*/ 5026827 w 11701760"/>
              <a:gd name="connsiteY1720" fmla="*/ 3986257 h 6407421"/>
              <a:gd name="connsiteX1721" fmla="*/ 5056429 w 11701760"/>
              <a:gd name="connsiteY1721" fmla="*/ 3986257 h 6407421"/>
              <a:gd name="connsiteX1722" fmla="*/ 5056429 w 11701760"/>
              <a:gd name="connsiteY1722" fmla="*/ 4015859 h 6407421"/>
              <a:gd name="connsiteX1723" fmla="*/ 5026827 w 11701760"/>
              <a:gd name="connsiteY1723" fmla="*/ 4015859 h 6407421"/>
              <a:gd name="connsiteX1724" fmla="*/ 4760630 w 11701760"/>
              <a:gd name="connsiteY1724" fmla="*/ 3986257 h 6407421"/>
              <a:gd name="connsiteX1725" fmla="*/ 4790340 w 11701760"/>
              <a:gd name="connsiteY1725" fmla="*/ 3986257 h 6407421"/>
              <a:gd name="connsiteX1726" fmla="*/ 4790340 w 11701760"/>
              <a:gd name="connsiteY1726" fmla="*/ 4015859 h 6407421"/>
              <a:gd name="connsiteX1727" fmla="*/ 4760630 w 11701760"/>
              <a:gd name="connsiteY1727" fmla="*/ 4015859 h 6407421"/>
              <a:gd name="connsiteX1728" fmla="*/ 4494541 w 11701760"/>
              <a:gd name="connsiteY1728" fmla="*/ 3986257 h 6407421"/>
              <a:gd name="connsiteX1729" fmla="*/ 4524144 w 11701760"/>
              <a:gd name="connsiteY1729" fmla="*/ 3986257 h 6407421"/>
              <a:gd name="connsiteX1730" fmla="*/ 4524144 w 11701760"/>
              <a:gd name="connsiteY1730" fmla="*/ 4015859 h 6407421"/>
              <a:gd name="connsiteX1731" fmla="*/ 4494541 w 11701760"/>
              <a:gd name="connsiteY1731" fmla="*/ 4015859 h 6407421"/>
              <a:gd name="connsiteX1732" fmla="*/ 4228344 w 11701760"/>
              <a:gd name="connsiteY1732" fmla="*/ 3986257 h 6407421"/>
              <a:gd name="connsiteX1733" fmla="*/ 4257946 w 11701760"/>
              <a:gd name="connsiteY1733" fmla="*/ 3986257 h 6407421"/>
              <a:gd name="connsiteX1734" fmla="*/ 4257946 w 11701760"/>
              <a:gd name="connsiteY1734" fmla="*/ 4015859 h 6407421"/>
              <a:gd name="connsiteX1735" fmla="*/ 4228344 w 11701760"/>
              <a:gd name="connsiteY1735" fmla="*/ 4015859 h 6407421"/>
              <a:gd name="connsiteX1736" fmla="*/ 3962255 w 11701760"/>
              <a:gd name="connsiteY1736" fmla="*/ 3986257 h 6407421"/>
              <a:gd name="connsiteX1737" fmla="*/ 3991857 w 11701760"/>
              <a:gd name="connsiteY1737" fmla="*/ 3986257 h 6407421"/>
              <a:gd name="connsiteX1738" fmla="*/ 3991857 w 11701760"/>
              <a:gd name="connsiteY1738" fmla="*/ 4015859 h 6407421"/>
              <a:gd name="connsiteX1739" fmla="*/ 3962255 w 11701760"/>
              <a:gd name="connsiteY1739" fmla="*/ 4015859 h 6407421"/>
              <a:gd name="connsiteX1740" fmla="*/ 3696058 w 11701760"/>
              <a:gd name="connsiteY1740" fmla="*/ 3986257 h 6407421"/>
              <a:gd name="connsiteX1741" fmla="*/ 3725661 w 11701760"/>
              <a:gd name="connsiteY1741" fmla="*/ 3986257 h 6407421"/>
              <a:gd name="connsiteX1742" fmla="*/ 3725661 w 11701760"/>
              <a:gd name="connsiteY1742" fmla="*/ 4015859 h 6407421"/>
              <a:gd name="connsiteX1743" fmla="*/ 3696058 w 11701760"/>
              <a:gd name="connsiteY1743" fmla="*/ 4015859 h 6407421"/>
              <a:gd name="connsiteX1744" fmla="*/ 3429969 w 11701760"/>
              <a:gd name="connsiteY1744" fmla="*/ 3986257 h 6407421"/>
              <a:gd name="connsiteX1745" fmla="*/ 3459572 w 11701760"/>
              <a:gd name="connsiteY1745" fmla="*/ 3986257 h 6407421"/>
              <a:gd name="connsiteX1746" fmla="*/ 3459572 w 11701760"/>
              <a:gd name="connsiteY1746" fmla="*/ 4015859 h 6407421"/>
              <a:gd name="connsiteX1747" fmla="*/ 3429969 w 11701760"/>
              <a:gd name="connsiteY1747" fmla="*/ 4015859 h 6407421"/>
              <a:gd name="connsiteX1748" fmla="*/ 3163772 w 11701760"/>
              <a:gd name="connsiteY1748" fmla="*/ 3986257 h 6407421"/>
              <a:gd name="connsiteX1749" fmla="*/ 3193374 w 11701760"/>
              <a:gd name="connsiteY1749" fmla="*/ 3986257 h 6407421"/>
              <a:gd name="connsiteX1750" fmla="*/ 3193374 w 11701760"/>
              <a:gd name="connsiteY1750" fmla="*/ 4015859 h 6407421"/>
              <a:gd name="connsiteX1751" fmla="*/ 3163772 w 11701760"/>
              <a:gd name="connsiteY1751" fmla="*/ 4015859 h 6407421"/>
              <a:gd name="connsiteX1752" fmla="*/ 2897575 w 11701760"/>
              <a:gd name="connsiteY1752" fmla="*/ 3986257 h 6407421"/>
              <a:gd name="connsiteX1753" fmla="*/ 2927178 w 11701760"/>
              <a:gd name="connsiteY1753" fmla="*/ 3986257 h 6407421"/>
              <a:gd name="connsiteX1754" fmla="*/ 2927178 w 11701760"/>
              <a:gd name="connsiteY1754" fmla="*/ 4015859 h 6407421"/>
              <a:gd name="connsiteX1755" fmla="*/ 2897575 w 11701760"/>
              <a:gd name="connsiteY1755" fmla="*/ 4015859 h 6407421"/>
              <a:gd name="connsiteX1756" fmla="*/ 2631378 w 11701760"/>
              <a:gd name="connsiteY1756" fmla="*/ 3986257 h 6407421"/>
              <a:gd name="connsiteX1757" fmla="*/ 2660980 w 11701760"/>
              <a:gd name="connsiteY1757" fmla="*/ 3986257 h 6407421"/>
              <a:gd name="connsiteX1758" fmla="*/ 2660980 w 11701760"/>
              <a:gd name="connsiteY1758" fmla="*/ 4015859 h 6407421"/>
              <a:gd name="connsiteX1759" fmla="*/ 2631378 w 11701760"/>
              <a:gd name="connsiteY1759" fmla="*/ 4015859 h 6407421"/>
              <a:gd name="connsiteX1760" fmla="*/ 2365289 w 11701760"/>
              <a:gd name="connsiteY1760" fmla="*/ 3986257 h 6407421"/>
              <a:gd name="connsiteX1761" fmla="*/ 2394892 w 11701760"/>
              <a:gd name="connsiteY1761" fmla="*/ 3986257 h 6407421"/>
              <a:gd name="connsiteX1762" fmla="*/ 2394892 w 11701760"/>
              <a:gd name="connsiteY1762" fmla="*/ 4015859 h 6407421"/>
              <a:gd name="connsiteX1763" fmla="*/ 2365289 w 11701760"/>
              <a:gd name="connsiteY1763" fmla="*/ 4015859 h 6407421"/>
              <a:gd name="connsiteX1764" fmla="*/ 2099092 w 11701760"/>
              <a:gd name="connsiteY1764" fmla="*/ 3986257 h 6407421"/>
              <a:gd name="connsiteX1765" fmla="*/ 2128695 w 11701760"/>
              <a:gd name="connsiteY1765" fmla="*/ 3986257 h 6407421"/>
              <a:gd name="connsiteX1766" fmla="*/ 2128695 w 11701760"/>
              <a:gd name="connsiteY1766" fmla="*/ 4015859 h 6407421"/>
              <a:gd name="connsiteX1767" fmla="*/ 2099092 w 11701760"/>
              <a:gd name="connsiteY1767" fmla="*/ 4015859 h 6407421"/>
              <a:gd name="connsiteX1768" fmla="*/ 1832898 w 11701760"/>
              <a:gd name="connsiteY1768" fmla="*/ 3986257 h 6407421"/>
              <a:gd name="connsiteX1769" fmla="*/ 1862498 w 11701760"/>
              <a:gd name="connsiteY1769" fmla="*/ 3986257 h 6407421"/>
              <a:gd name="connsiteX1770" fmla="*/ 1862498 w 11701760"/>
              <a:gd name="connsiteY1770" fmla="*/ 4015859 h 6407421"/>
              <a:gd name="connsiteX1771" fmla="*/ 1832898 w 11701760"/>
              <a:gd name="connsiteY1771" fmla="*/ 4015859 h 6407421"/>
              <a:gd name="connsiteX1772" fmla="*/ 1566808 w 11701760"/>
              <a:gd name="connsiteY1772" fmla="*/ 3986257 h 6407421"/>
              <a:gd name="connsiteX1773" fmla="*/ 1596409 w 11701760"/>
              <a:gd name="connsiteY1773" fmla="*/ 3986257 h 6407421"/>
              <a:gd name="connsiteX1774" fmla="*/ 1596409 w 11701760"/>
              <a:gd name="connsiteY1774" fmla="*/ 4015859 h 6407421"/>
              <a:gd name="connsiteX1775" fmla="*/ 1566808 w 11701760"/>
              <a:gd name="connsiteY1775" fmla="*/ 4015859 h 6407421"/>
              <a:gd name="connsiteX1776" fmla="*/ 1300611 w 11701760"/>
              <a:gd name="connsiteY1776" fmla="*/ 3986257 h 6407421"/>
              <a:gd name="connsiteX1777" fmla="*/ 1330213 w 11701760"/>
              <a:gd name="connsiteY1777" fmla="*/ 3986257 h 6407421"/>
              <a:gd name="connsiteX1778" fmla="*/ 1330213 w 11701760"/>
              <a:gd name="connsiteY1778" fmla="*/ 4015859 h 6407421"/>
              <a:gd name="connsiteX1779" fmla="*/ 1300611 w 11701760"/>
              <a:gd name="connsiteY1779" fmla="*/ 4015859 h 6407421"/>
              <a:gd name="connsiteX1780" fmla="*/ 1034520 w 11701760"/>
              <a:gd name="connsiteY1780" fmla="*/ 3986257 h 6407421"/>
              <a:gd name="connsiteX1781" fmla="*/ 1064123 w 11701760"/>
              <a:gd name="connsiteY1781" fmla="*/ 3986257 h 6407421"/>
              <a:gd name="connsiteX1782" fmla="*/ 1064123 w 11701760"/>
              <a:gd name="connsiteY1782" fmla="*/ 4015859 h 6407421"/>
              <a:gd name="connsiteX1783" fmla="*/ 1034520 w 11701760"/>
              <a:gd name="connsiteY1783" fmla="*/ 4015859 h 6407421"/>
              <a:gd name="connsiteX1784" fmla="*/ 768327 w 11701760"/>
              <a:gd name="connsiteY1784" fmla="*/ 3986257 h 6407421"/>
              <a:gd name="connsiteX1785" fmla="*/ 797926 w 11701760"/>
              <a:gd name="connsiteY1785" fmla="*/ 3986257 h 6407421"/>
              <a:gd name="connsiteX1786" fmla="*/ 797926 w 11701760"/>
              <a:gd name="connsiteY1786" fmla="*/ 4015859 h 6407421"/>
              <a:gd name="connsiteX1787" fmla="*/ 768327 w 11701760"/>
              <a:gd name="connsiteY1787" fmla="*/ 4015859 h 6407421"/>
              <a:gd name="connsiteX1788" fmla="*/ 502236 w 11701760"/>
              <a:gd name="connsiteY1788" fmla="*/ 3986257 h 6407421"/>
              <a:gd name="connsiteX1789" fmla="*/ 531839 w 11701760"/>
              <a:gd name="connsiteY1789" fmla="*/ 3986257 h 6407421"/>
              <a:gd name="connsiteX1790" fmla="*/ 531839 w 11701760"/>
              <a:gd name="connsiteY1790" fmla="*/ 4015859 h 6407421"/>
              <a:gd name="connsiteX1791" fmla="*/ 502236 w 11701760"/>
              <a:gd name="connsiteY1791" fmla="*/ 4015859 h 6407421"/>
              <a:gd name="connsiteX1792" fmla="*/ 236037 w 11701760"/>
              <a:gd name="connsiteY1792" fmla="*/ 3986257 h 6407421"/>
              <a:gd name="connsiteX1793" fmla="*/ 265640 w 11701760"/>
              <a:gd name="connsiteY1793" fmla="*/ 3986257 h 6407421"/>
              <a:gd name="connsiteX1794" fmla="*/ 265640 w 11701760"/>
              <a:gd name="connsiteY1794" fmla="*/ 4015859 h 6407421"/>
              <a:gd name="connsiteX1795" fmla="*/ 236037 w 11701760"/>
              <a:gd name="connsiteY1795" fmla="*/ 4015859 h 6407421"/>
              <a:gd name="connsiteX1796" fmla="*/ 1 w 11701760"/>
              <a:gd name="connsiteY1796" fmla="*/ 3986257 h 6407421"/>
              <a:gd name="connsiteX1797" fmla="*/ 29603 w 11701760"/>
              <a:gd name="connsiteY1797" fmla="*/ 3986257 h 6407421"/>
              <a:gd name="connsiteX1798" fmla="*/ 29603 w 11701760"/>
              <a:gd name="connsiteY1798" fmla="*/ 4015859 h 6407421"/>
              <a:gd name="connsiteX1799" fmla="*/ 1 w 11701760"/>
              <a:gd name="connsiteY1799" fmla="*/ 4015859 h 6407421"/>
              <a:gd name="connsiteX1800" fmla="*/ 11672158 w 11701760"/>
              <a:gd name="connsiteY1800" fmla="*/ 3720492 h 6407421"/>
              <a:gd name="connsiteX1801" fmla="*/ 11701760 w 11701760"/>
              <a:gd name="connsiteY1801" fmla="*/ 3720492 h 6407421"/>
              <a:gd name="connsiteX1802" fmla="*/ 11701760 w 11701760"/>
              <a:gd name="connsiteY1802" fmla="*/ 3750094 h 6407421"/>
              <a:gd name="connsiteX1803" fmla="*/ 11672158 w 11701760"/>
              <a:gd name="connsiteY1803" fmla="*/ 3750094 h 6407421"/>
              <a:gd name="connsiteX1804" fmla="*/ 11405961 w 11701760"/>
              <a:gd name="connsiteY1804" fmla="*/ 3720492 h 6407421"/>
              <a:gd name="connsiteX1805" fmla="*/ 11435563 w 11701760"/>
              <a:gd name="connsiteY1805" fmla="*/ 3720492 h 6407421"/>
              <a:gd name="connsiteX1806" fmla="*/ 11435563 w 11701760"/>
              <a:gd name="connsiteY1806" fmla="*/ 3750094 h 6407421"/>
              <a:gd name="connsiteX1807" fmla="*/ 11405961 w 11701760"/>
              <a:gd name="connsiteY1807" fmla="*/ 3750094 h 6407421"/>
              <a:gd name="connsiteX1808" fmla="*/ 11139872 w 11701760"/>
              <a:gd name="connsiteY1808" fmla="*/ 3720492 h 6407421"/>
              <a:gd name="connsiteX1809" fmla="*/ 11169474 w 11701760"/>
              <a:gd name="connsiteY1809" fmla="*/ 3720492 h 6407421"/>
              <a:gd name="connsiteX1810" fmla="*/ 11169474 w 11701760"/>
              <a:gd name="connsiteY1810" fmla="*/ 3750094 h 6407421"/>
              <a:gd name="connsiteX1811" fmla="*/ 11139872 w 11701760"/>
              <a:gd name="connsiteY1811" fmla="*/ 3750094 h 6407421"/>
              <a:gd name="connsiteX1812" fmla="*/ 10873675 w 11701760"/>
              <a:gd name="connsiteY1812" fmla="*/ 3720492 h 6407421"/>
              <a:gd name="connsiteX1813" fmla="*/ 10903277 w 11701760"/>
              <a:gd name="connsiteY1813" fmla="*/ 3720492 h 6407421"/>
              <a:gd name="connsiteX1814" fmla="*/ 10903277 w 11701760"/>
              <a:gd name="connsiteY1814" fmla="*/ 3750094 h 6407421"/>
              <a:gd name="connsiteX1815" fmla="*/ 10873675 w 11701760"/>
              <a:gd name="connsiteY1815" fmla="*/ 3750094 h 6407421"/>
              <a:gd name="connsiteX1816" fmla="*/ 10607478 w 11701760"/>
              <a:gd name="connsiteY1816" fmla="*/ 3720492 h 6407421"/>
              <a:gd name="connsiteX1817" fmla="*/ 10637188 w 11701760"/>
              <a:gd name="connsiteY1817" fmla="*/ 3720492 h 6407421"/>
              <a:gd name="connsiteX1818" fmla="*/ 10637188 w 11701760"/>
              <a:gd name="connsiteY1818" fmla="*/ 3750094 h 6407421"/>
              <a:gd name="connsiteX1819" fmla="*/ 10607478 w 11701760"/>
              <a:gd name="connsiteY1819" fmla="*/ 3750094 h 6407421"/>
              <a:gd name="connsiteX1820" fmla="*/ 10341389 w 11701760"/>
              <a:gd name="connsiteY1820" fmla="*/ 3720492 h 6407421"/>
              <a:gd name="connsiteX1821" fmla="*/ 10370992 w 11701760"/>
              <a:gd name="connsiteY1821" fmla="*/ 3720492 h 6407421"/>
              <a:gd name="connsiteX1822" fmla="*/ 10370992 w 11701760"/>
              <a:gd name="connsiteY1822" fmla="*/ 3750094 h 6407421"/>
              <a:gd name="connsiteX1823" fmla="*/ 10341389 w 11701760"/>
              <a:gd name="connsiteY1823" fmla="*/ 3750094 h 6407421"/>
              <a:gd name="connsiteX1824" fmla="*/ 10075192 w 11701760"/>
              <a:gd name="connsiteY1824" fmla="*/ 3720492 h 6407421"/>
              <a:gd name="connsiteX1825" fmla="*/ 10104794 w 11701760"/>
              <a:gd name="connsiteY1825" fmla="*/ 3720492 h 6407421"/>
              <a:gd name="connsiteX1826" fmla="*/ 10104794 w 11701760"/>
              <a:gd name="connsiteY1826" fmla="*/ 3750094 h 6407421"/>
              <a:gd name="connsiteX1827" fmla="*/ 10075192 w 11701760"/>
              <a:gd name="connsiteY1827" fmla="*/ 3750094 h 6407421"/>
              <a:gd name="connsiteX1828" fmla="*/ 9809103 w 11701760"/>
              <a:gd name="connsiteY1828" fmla="*/ 3720492 h 6407421"/>
              <a:gd name="connsiteX1829" fmla="*/ 9838705 w 11701760"/>
              <a:gd name="connsiteY1829" fmla="*/ 3720492 h 6407421"/>
              <a:gd name="connsiteX1830" fmla="*/ 9838705 w 11701760"/>
              <a:gd name="connsiteY1830" fmla="*/ 3750094 h 6407421"/>
              <a:gd name="connsiteX1831" fmla="*/ 9809103 w 11701760"/>
              <a:gd name="connsiteY1831" fmla="*/ 3750094 h 6407421"/>
              <a:gd name="connsiteX1832" fmla="*/ 9542906 w 11701760"/>
              <a:gd name="connsiteY1832" fmla="*/ 3720492 h 6407421"/>
              <a:gd name="connsiteX1833" fmla="*/ 9572509 w 11701760"/>
              <a:gd name="connsiteY1833" fmla="*/ 3720492 h 6407421"/>
              <a:gd name="connsiteX1834" fmla="*/ 9572509 w 11701760"/>
              <a:gd name="connsiteY1834" fmla="*/ 3750094 h 6407421"/>
              <a:gd name="connsiteX1835" fmla="*/ 9542906 w 11701760"/>
              <a:gd name="connsiteY1835" fmla="*/ 3750094 h 6407421"/>
              <a:gd name="connsiteX1836" fmla="*/ 9276817 w 11701760"/>
              <a:gd name="connsiteY1836" fmla="*/ 3720492 h 6407421"/>
              <a:gd name="connsiteX1837" fmla="*/ 9306420 w 11701760"/>
              <a:gd name="connsiteY1837" fmla="*/ 3720492 h 6407421"/>
              <a:gd name="connsiteX1838" fmla="*/ 9306420 w 11701760"/>
              <a:gd name="connsiteY1838" fmla="*/ 3750094 h 6407421"/>
              <a:gd name="connsiteX1839" fmla="*/ 9276817 w 11701760"/>
              <a:gd name="connsiteY1839" fmla="*/ 3750094 h 6407421"/>
              <a:gd name="connsiteX1840" fmla="*/ 9010620 w 11701760"/>
              <a:gd name="connsiteY1840" fmla="*/ 3720492 h 6407421"/>
              <a:gd name="connsiteX1841" fmla="*/ 9040222 w 11701760"/>
              <a:gd name="connsiteY1841" fmla="*/ 3720492 h 6407421"/>
              <a:gd name="connsiteX1842" fmla="*/ 9040222 w 11701760"/>
              <a:gd name="connsiteY1842" fmla="*/ 3750094 h 6407421"/>
              <a:gd name="connsiteX1843" fmla="*/ 9010620 w 11701760"/>
              <a:gd name="connsiteY1843" fmla="*/ 3750094 h 6407421"/>
              <a:gd name="connsiteX1844" fmla="*/ 8744423 w 11701760"/>
              <a:gd name="connsiteY1844" fmla="*/ 3720492 h 6407421"/>
              <a:gd name="connsiteX1845" fmla="*/ 8774026 w 11701760"/>
              <a:gd name="connsiteY1845" fmla="*/ 3720492 h 6407421"/>
              <a:gd name="connsiteX1846" fmla="*/ 8774026 w 11701760"/>
              <a:gd name="connsiteY1846" fmla="*/ 3750094 h 6407421"/>
              <a:gd name="connsiteX1847" fmla="*/ 8744423 w 11701760"/>
              <a:gd name="connsiteY1847" fmla="*/ 3750094 h 6407421"/>
              <a:gd name="connsiteX1848" fmla="*/ 8478226 w 11701760"/>
              <a:gd name="connsiteY1848" fmla="*/ 3720492 h 6407421"/>
              <a:gd name="connsiteX1849" fmla="*/ 8507828 w 11701760"/>
              <a:gd name="connsiteY1849" fmla="*/ 3720492 h 6407421"/>
              <a:gd name="connsiteX1850" fmla="*/ 8507828 w 11701760"/>
              <a:gd name="connsiteY1850" fmla="*/ 3750094 h 6407421"/>
              <a:gd name="connsiteX1851" fmla="*/ 8478226 w 11701760"/>
              <a:gd name="connsiteY1851" fmla="*/ 3750094 h 6407421"/>
              <a:gd name="connsiteX1852" fmla="*/ 8212137 w 11701760"/>
              <a:gd name="connsiteY1852" fmla="*/ 3720492 h 6407421"/>
              <a:gd name="connsiteX1853" fmla="*/ 8241740 w 11701760"/>
              <a:gd name="connsiteY1853" fmla="*/ 3720492 h 6407421"/>
              <a:gd name="connsiteX1854" fmla="*/ 8241740 w 11701760"/>
              <a:gd name="connsiteY1854" fmla="*/ 3750094 h 6407421"/>
              <a:gd name="connsiteX1855" fmla="*/ 8212137 w 11701760"/>
              <a:gd name="connsiteY1855" fmla="*/ 3750094 h 6407421"/>
              <a:gd name="connsiteX1856" fmla="*/ 7945940 w 11701760"/>
              <a:gd name="connsiteY1856" fmla="*/ 3720492 h 6407421"/>
              <a:gd name="connsiteX1857" fmla="*/ 7975543 w 11701760"/>
              <a:gd name="connsiteY1857" fmla="*/ 3720492 h 6407421"/>
              <a:gd name="connsiteX1858" fmla="*/ 7975543 w 11701760"/>
              <a:gd name="connsiteY1858" fmla="*/ 3750094 h 6407421"/>
              <a:gd name="connsiteX1859" fmla="*/ 7945940 w 11701760"/>
              <a:gd name="connsiteY1859" fmla="*/ 3750094 h 6407421"/>
              <a:gd name="connsiteX1860" fmla="*/ 7679743 w 11701760"/>
              <a:gd name="connsiteY1860" fmla="*/ 3720492 h 6407421"/>
              <a:gd name="connsiteX1861" fmla="*/ 7709346 w 11701760"/>
              <a:gd name="connsiteY1861" fmla="*/ 3720492 h 6407421"/>
              <a:gd name="connsiteX1862" fmla="*/ 7709346 w 11701760"/>
              <a:gd name="connsiteY1862" fmla="*/ 3750094 h 6407421"/>
              <a:gd name="connsiteX1863" fmla="*/ 7679743 w 11701760"/>
              <a:gd name="connsiteY1863" fmla="*/ 3750094 h 6407421"/>
              <a:gd name="connsiteX1864" fmla="*/ 7413653 w 11701760"/>
              <a:gd name="connsiteY1864" fmla="*/ 3720492 h 6407421"/>
              <a:gd name="connsiteX1865" fmla="*/ 7443256 w 11701760"/>
              <a:gd name="connsiteY1865" fmla="*/ 3720492 h 6407421"/>
              <a:gd name="connsiteX1866" fmla="*/ 7443256 w 11701760"/>
              <a:gd name="connsiteY1866" fmla="*/ 3750094 h 6407421"/>
              <a:gd name="connsiteX1867" fmla="*/ 7413653 w 11701760"/>
              <a:gd name="connsiteY1867" fmla="*/ 3750094 h 6407421"/>
              <a:gd name="connsiteX1868" fmla="*/ 7147456 w 11701760"/>
              <a:gd name="connsiteY1868" fmla="*/ 3720492 h 6407421"/>
              <a:gd name="connsiteX1869" fmla="*/ 7177058 w 11701760"/>
              <a:gd name="connsiteY1869" fmla="*/ 3720492 h 6407421"/>
              <a:gd name="connsiteX1870" fmla="*/ 7177058 w 11701760"/>
              <a:gd name="connsiteY1870" fmla="*/ 3750094 h 6407421"/>
              <a:gd name="connsiteX1871" fmla="*/ 7147456 w 11701760"/>
              <a:gd name="connsiteY1871" fmla="*/ 3750094 h 6407421"/>
              <a:gd name="connsiteX1872" fmla="*/ 6881367 w 11701760"/>
              <a:gd name="connsiteY1872" fmla="*/ 3720492 h 6407421"/>
              <a:gd name="connsiteX1873" fmla="*/ 6910970 w 11701760"/>
              <a:gd name="connsiteY1873" fmla="*/ 3720492 h 6407421"/>
              <a:gd name="connsiteX1874" fmla="*/ 6910970 w 11701760"/>
              <a:gd name="connsiteY1874" fmla="*/ 3750094 h 6407421"/>
              <a:gd name="connsiteX1875" fmla="*/ 6881367 w 11701760"/>
              <a:gd name="connsiteY1875" fmla="*/ 3750094 h 6407421"/>
              <a:gd name="connsiteX1876" fmla="*/ 6615170 w 11701760"/>
              <a:gd name="connsiteY1876" fmla="*/ 3720492 h 6407421"/>
              <a:gd name="connsiteX1877" fmla="*/ 6644773 w 11701760"/>
              <a:gd name="connsiteY1877" fmla="*/ 3720492 h 6407421"/>
              <a:gd name="connsiteX1878" fmla="*/ 6644773 w 11701760"/>
              <a:gd name="connsiteY1878" fmla="*/ 3750094 h 6407421"/>
              <a:gd name="connsiteX1879" fmla="*/ 6615170 w 11701760"/>
              <a:gd name="connsiteY1879" fmla="*/ 3750094 h 6407421"/>
              <a:gd name="connsiteX1880" fmla="*/ 6349081 w 11701760"/>
              <a:gd name="connsiteY1880" fmla="*/ 3720492 h 6407421"/>
              <a:gd name="connsiteX1881" fmla="*/ 6378683 w 11701760"/>
              <a:gd name="connsiteY1881" fmla="*/ 3720492 h 6407421"/>
              <a:gd name="connsiteX1882" fmla="*/ 6378683 w 11701760"/>
              <a:gd name="connsiteY1882" fmla="*/ 3750094 h 6407421"/>
              <a:gd name="connsiteX1883" fmla="*/ 6349081 w 11701760"/>
              <a:gd name="connsiteY1883" fmla="*/ 3750094 h 6407421"/>
              <a:gd name="connsiteX1884" fmla="*/ 6082884 w 11701760"/>
              <a:gd name="connsiteY1884" fmla="*/ 3720492 h 6407421"/>
              <a:gd name="connsiteX1885" fmla="*/ 6112486 w 11701760"/>
              <a:gd name="connsiteY1885" fmla="*/ 3720492 h 6407421"/>
              <a:gd name="connsiteX1886" fmla="*/ 6112486 w 11701760"/>
              <a:gd name="connsiteY1886" fmla="*/ 3750094 h 6407421"/>
              <a:gd name="connsiteX1887" fmla="*/ 6082884 w 11701760"/>
              <a:gd name="connsiteY1887" fmla="*/ 3750094 h 6407421"/>
              <a:gd name="connsiteX1888" fmla="*/ 5825310 w 11701760"/>
              <a:gd name="connsiteY1888" fmla="*/ 3720492 h 6407421"/>
              <a:gd name="connsiteX1889" fmla="*/ 5854913 w 11701760"/>
              <a:gd name="connsiteY1889" fmla="*/ 3720492 h 6407421"/>
              <a:gd name="connsiteX1890" fmla="*/ 5854913 w 11701760"/>
              <a:gd name="connsiteY1890" fmla="*/ 3750094 h 6407421"/>
              <a:gd name="connsiteX1891" fmla="*/ 5825310 w 11701760"/>
              <a:gd name="connsiteY1891" fmla="*/ 3750094 h 6407421"/>
              <a:gd name="connsiteX1892" fmla="*/ 5559113 w 11701760"/>
              <a:gd name="connsiteY1892" fmla="*/ 3720492 h 6407421"/>
              <a:gd name="connsiteX1893" fmla="*/ 5588715 w 11701760"/>
              <a:gd name="connsiteY1893" fmla="*/ 3720492 h 6407421"/>
              <a:gd name="connsiteX1894" fmla="*/ 5588715 w 11701760"/>
              <a:gd name="connsiteY1894" fmla="*/ 3750094 h 6407421"/>
              <a:gd name="connsiteX1895" fmla="*/ 5559113 w 11701760"/>
              <a:gd name="connsiteY1895" fmla="*/ 3750094 h 6407421"/>
              <a:gd name="connsiteX1896" fmla="*/ 5293024 w 11701760"/>
              <a:gd name="connsiteY1896" fmla="*/ 3720492 h 6407421"/>
              <a:gd name="connsiteX1897" fmla="*/ 5322626 w 11701760"/>
              <a:gd name="connsiteY1897" fmla="*/ 3720492 h 6407421"/>
              <a:gd name="connsiteX1898" fmla="*/ 5322626 w 11701760"/>
              <a:gd name="connsiteY1898" fmla="*/ 3750094 h 6407421"/>
              <a:gd name="connsiteX1899" fmla="*/ 5293024 w 11701760"/>
              <a:gd name="connsiteY1899" fmla="*/ 3750094 h 6407421"/>
              <a:gd name="connsiteX1900" fmla="*/ 5026827 w 11701760"/>
              <a:gd name="connsiteY1900" fmla="*/ 3720492 h 6407421"/>
              <a:gd name="connsiteX1901" fmla="*/ 5056429 w 11701760"/>
              <a:gd name="connsiteY1901" fmla="*/ 3720492 h 6407421"/>
              <a:gd name="connsiteX1902" fmla="*/ 5056429 w 11701760"/>
              <a:gd name="connsiteY1902" fmla="*/ 3750094 h 6407421"/>
              <a:gd name="connsiteX1903" fmla="*/ 5026827 w 11701760"/>
              <a:gd name="connsiteY1903" fmla="*/ 3750094 h 6407421"/>
              <a:gd name="connsiteX1904" fmla="*/ 4760630 w 11701760"/>
              <a:gd name="connsiteY1904" fmla="*/ 3720492 h 6407421"/>
              <a:gd name="connsiteX1905" fmla="*/ 4790340 w 11701760"/>
              <a:gd name="connsiteY1905" fmla="*/ 3720492 h 6407421"/>
              <a:gd name="connsiteX1906" fmla="*/ 4790340 w 11701760"/>
              <a:gd name="connsiteY1906" fmla="*/ 3750094 h 6407421"/>
              <a:gd name="connsiteX1907" fmla="*/ 4760630 w 11701760"/>
              <a:gd name="connsiteY1907" fmla="*/ 3750094 h 6407421"/>
              <a:gd name="connsiteX1908" fmla="*/ 4494541 w 11701760"/>
              <a:gd name="connsiteY1908" fmla="*/ 3720492 h 6407421"/>
              <a:gd name="connsiteX1909" fmla="*/ 4524144 w 11701760"/>
              <a:gd name="connsiteY1909" fmla="*/ 3720492 h 6407421"/>
              <a:gd name="connsiteX1910" fmla="*/ 4524144 w 11701760"/>
              <a:gd name="connsiteY1910" fmla="*/ 3750094 h 6407421"/>
              <a:gd name="connsiteX1911" fmla="*/ 4494541 w 11701760"/>
              <a:gd name="connsiteY1911" fmla="*/ 3750094 h 6407421"/>
              <a:gd name="connsiteX1912" fmla="*/ 4228344 w 11701760"/>
              <a:gd name="connsiteY1912" fmla="*/ 3720492 h 6407421"/>
              <a:gd name="connsiteX1913" fmla="*/ 4257946 w 11701760"/>
              <a:gd name="connsiteY1913" fmla="*/ 3720492 h 6407421"/>
              <a:gd name="connsiteX1914" fmla="*/ 4257946 w 11701760"/>
              <a:gd name="connsiteY1914" fmla="*/ 3750094 h 6407421"/>
              <a:gd name="connsiteX1915" fmla="*/ 4228344 w 11701760"/>
              <a:gd name="connsiteY1915" fmla="*/ 3750094 h 6407421"/>
              <a:gd name="connsiteX1916" fmla="*/ 3962255 w 11701760"/>
              <a:gd name="connsiteY1916" fmla="*/ 3720492 h 6407421"/>
              <a:gd name="connsiteX1917" fmla="*/ 3991857 w 11701760"/>
              <a:gd name="connsiteY1917" fmla="*/ 3720492 h 6407421"/>
              <a:gd name="connsiteX1918" fmla="*/ 3991857 w 11701760"/>
              <a:gd name="connsiteY1918" fmla="*/ 3750094 h 6407421"/>
              <a:gd name="connsiteX1919" fmla="*/ 3962255 w 11701760"/>
              <a:gd name="connsiteY1919" fmla="*/ 3750094 h 6407421"/>
              <a:gd name="connsiteX1920" fmla="*/ 3696058 w 11701760"/>
              <a:gd name="connsiteY1920" fmla="*/ 3720492 h 6407421"/>
              <a:gd name="connsiteX1921" fmla="*/ 3725661 w 11701760"/>
              <a:gd name="connsiteY1921" fmla="*/ 3720492 h 6407421"/>
              <a:gd name="connsiteX1922" fmla="*/ 3725661 w 11701760"/>
              <a:gd name="connsiteY1922" fmla="*/ 3750094 h 6407421"/>
              <a:gd name="connsiteX1923" fmla="*/ 3696058 w 11701760"/>
              <a:gd name="connsiteY1923" fmla="*/ 3750094 h 6407421"/>
              <a:gd name="connsiteX1924" fmla="*/ 3429969 w 11701760"/>
              <a:gd name="connsiteY1924" fmla="*/ 3720492 h 6407421"/>
              <a:gd name="connsiteX1925" fmla="*/ 3459572 w 11701760"/>
              <a:gd name="connsiteY1925" fmla="*/ 3720492 h 6407421"/>
              <a:gd name="connsiteX1926" fmla="*/ 3459572 w 11701760"/>
              <a:gd name="connsiteY1926" fmla="*/ 3750094 h 6407421"/>
              <a:gd name="connsiteX1927" fmla="*/ 3429969 w 11701760"/>
              <a:gd name="connsiteY1927" fmla="*/ 3750094 h 6407421"/>
              <a:gd name="connsiteX1928" fmla="*/ 3163772 w 11701760"/>
              <a:gd name="connsiteY1928" fmla="*/ 3720492 h 6407421"/>
              <a:gd name="connsiteX1929" fmla="*/ 3193374 w 11701760"/>
              <a:gd name="connsiteY1929" fmla="*/ 3720492 h 6407421"/>
              <a:gd name="connsiteX1930" fmla="*/ 3193374 w 11701760"/>
              <a:gd name="connsiteY1930" fmla="*/ 3750094 h 6407421"/>
              <a:gd name="connsiteX1931" fmla="*/ 3163772 w 11701760"/>
              <a:gd name="connsiteY1931" fmla="*/ 3750094 h 6407421"/>
              <a:gd name="connsiteX1932" fmla="*/ 2897575 w 11701760"/>
              <a:gd name="connsiteY1932" fmla="*/ 3720492 h 6407421"/>
              <a:gd name="connsiteX1933" fmla="*/ 2927178 w 11701760"/>
              <a:gd name="connsiteY1933" fmla="*/ 3720492 h 6407421"/>
              <a:gd name="connsiteX1934" fmla="*/ 2927178 w 11701760"/>
              <a:gd name="connsiteY1934" fmla="*/ 3750094 h 6407421"/>
              <a:gd name="connsiteX1935" fmla="*/ 2897575 w 11701760"/>
              <a:gd name="connsiteY1935" fmla="*/ 3750094 h 6407421"/>
              <a:gd name="connsiteX1936" fmla="*/ 2631378 w 11701760"/>
              <a:gd name="connsiteY1936" fmla="*/ 3720492 h 6407421"/>
              <a:gd name="connsiteX1937" fmla="*/ 2660980 w 11701760"/>
              <a:gd name="connsiteY1937" fmla="*/ 3720492 h 6407421"/>
              <a:gd name="connsiteX1938" fmla="*/ 2660980 w 11701760"/>
              <a:gd name="connsiteY1938" fmla="*/ 3750094 h 6407421"/>
              <a:gd name="connsiteX1939" fmla="*/ 2631378 w 11701760"/>
              <a:gd name="connsiteY1939" fmla="*/ 3750094 h 6407421"/>
              <a:gd name="connsiteX1940" fmla="*/ 2365289 w 11701760"/>
              <a:gd name="connsiteY1940" fmla="*/ 3720492 h 6407421"/>
              <a:gd name="connsiteX1941" fmla="*/ 2394892 w 11701760"/>
              <a:gd name="connsiteY1941" fmla="*/ 3720492 h 6407421"/>
              <a:gd name="connsiteX1942" fmla="*/ 2394892 w 11701760"/>
              <a:gd name="connsiteY1942" fmla="*/ 3750094 h 6407421"/>
              <a:gd name="connsiteX1943" fmla="*/ 2365289 w 11701760"/>
              <a:gd name="connsiteY1943" fmla="*/ 3750094 h 6407421"/>
              <a:gd name="connsiteX1944" fmla="*/ 2099092 w 11701760"/>
              <a:gd name="connsiteY1944" fmla="*/ 3720492 h 6407421"/>
              <a:gd name="connsiteX1945" fmla="*/ 2128695 w 11701760"/>
              <a:gd name="connsiteY1945" fmla="*/ 3720492 h 6407421"/>
              <a:gd name="connsiteX1946" fmla="*/ 2128695 w 11701760"/>
              <a:gd name="connsiteY1946" fmla="*/ 3750094 h 6407421"/>
              <a:gd name="connsiteX1947" fmla="*/ 2099092 w 11701760"/>
              <a:gd name="connsiteY1947" fmla="*/ 3750094 h 6407421"/>
              <a:gd name="connsiteX1948" fmla="*/ 1832898 w 11701760"/>
              <a:gd name="connsiteY1948" fmla="*/ 3720492 h 6407421"/>
              <a:gd name="connsiteX1949" fmla="*/ 1862498 w 11701760"/>
              <a:gd name="connsiteY1949" fmla="*/ 3720492 h 6407421"/>
              <a:gd name="connsiteX1950" fmla="*/ 1862498 w 11701760"/>
              <a:gd name="connsiteY1950" fmla="*/ 3750094 h 6407421"/>
              <a:gd name="connsiteX1951" fmla="*/ 1832898 w 11701760"/>
              <a:gd name="connsiteY1951" fmla="*/ 3750094 h 6407421"/>
              <a:gd name="connsiteX1952" fmla="*/ 1566808 w 11701760"/>
              <a:gd name="connsiteY1952" fmla="*/ 3720492 h 6407421"/>
              <a:gd name="connsiteX1953" fmla="*/ 1596409 w 11701760"/>
              <a:gd name="connsiteY1953" fmla="*/ 3720492 h 6407421"/>
              <a:gd name="connsiteX1954" fmla="*/ 1596409 w 11701760"/>
              <a:gd name="connsiteY1954" fmla="*/ 3750094 h 6407421"/>
              <a:gd name="connsiteX1955" fmla="*/ 1566808 w 11701760"/>
              <a:gd name="connsiteY1955" fmla="*/ 3750094 h 6407421"/>
              <a:gd name="connsiteX1956" fmla="*/ 1300611 w 11701760"/>
              <a:gd name="connsiteY1956" fmla="*/ 3720492 h 6407421"/>
              <a:gd name="connsiteX1957" fmla="*/ 1330213 w 11701760"/>
              <a:gd name="connsiteY1957" fmla="*/ 3720492 h 6407421"/>
              <a:gd name="connsiteX1958" fmla="*/ 1330213 w 11701760"/>
              <a:gd name="connsiteY1958" fmla="*/ 3750094 h 6407421"/>
              <a:gd name="connsiteX1959" fmla="*/ 1300611 w 11701760"/>
              <a:gd name="connsiteY1959" fmla="*/ 3750094 h 6407421"/>
              <a:gd name="connsiteX1960" fmla="*/ 1034520 w 11701760"/>
              <a:gd name="connsiteY1960" fmla="*/ 3720492 h 6407421"/>
              <a:gd name="connsiteX1961" fmla="*/ 1064123 w 11701760"/>
              <a:gd name="connsiteY1961" fmla="*/ 3720492 h 6407421"/>
              <a:gd name="connsiteX1962" fmla="*/ 1064123 w 11701760"/>
              <a:gd name="connsiteY1962" fmla="*/ 3750094 h 6407421"/>
              <a:gd name="connsiteX1963" fmla="*/ 1034520 w 11701760"/>
              <a:gd name="connsiteY1963" fmla="*/ 3750094 h 6407421"/>
              <a:gd name="connsiteX1964" fmla="*/ 768327 w 11701760"/>
              <a:gd name="connsiteY1964" fmla="*/ 3720492 h 6407421"/>
              <a:gd name="connsiteX1965" fmla="*/ 797926 w 11701760"/>
              <a:gd name="connsiteY1965" fmla="*/ 3720492 h 6407421"/>
              <a:gd name="connsiteX1966" fmla="*/ 797926 w 11701760"/>
              <a:gd name="connsiteY1966" fmla="*/ 3750094 h 6407421"/>
              <a:gd name="connsiteX1967" fmla="*/ 768327 w 11701760"/>
              <a:gd name="connsiteY1967" fmla="*/ 3750094 h 6407421"/>
              <a:gd name="connsiteX1968" fmla="*/ 502236 w 11701760"/>
              <a:gd name="connsiteY1968" fmla="*/ 3720492 h 6407421"/>
              <a:gd name="connsiteX1969" fmla="*/ 531839 w 11701760"/>
              <a:gd name="connsiteY1969" fmla="*/ 3720492 h 6407421"/>
              <a:gd name="connsiteX1970" fmla="*/ 531839 w 11701760"/>
              <a:gd name="connsiteY1970" fmla="*/ 3750094 h 6407421"/>
              <a:gd name="connsiteX1971" fmla="*/ 502236 w 11701760"/>
              <a:gd name="connsiteY1971" fmla="*/ 3750094 h 6407421"/>
              <a:gd name="connsiteX1972" fmla="*/ 236037 w 11701760"/>
              <a:gd name="connsiteY1972" fmla="*/ 3720492 h 6407421"/>
              <a:gd name="connsiteX1973" fmla="*/ 265640 w 11701760"/>
              <a:gd name="connsiteY1973" fmla="*/ 3720492 h 6407421"/>
              <a:gd name="connsiteX1974" fmla="*/ 265640 w 11701760"/>
              <a:gd name="connsiteY1974" fmla="*/ 3750094 h 6407421"/>
              <a:gd name="connsiteX1975" fmla="*/ 236037 w 11701760"/>
              <a:gd name="connsiteY1975" fmla="*/ 3750094 h 6407421"/>
              <a:gd name="connsiteX1976" fmla="*/ 1 w 11701760"/>
              <a:gd name="connsiteY1976" fmla="*/ 3720492 h 6407421"/>
              <a:gd name="connsiteX1977" fmla="*/ 29603 w 11701760"/>
              <a:gd name="connsiteY1977" fmla="*/ 3720492 h 6407421"/>
              <a:gd name="connsiteX1978" fmla="*/ 29603 w 11701760"/>
              <a:gd name="connsiteY1978" fmla="*/ 3750094 h 6407421"/>
              <a:gd name="connsiteX1979" fmla="*/ 1 w 11701760"/>
              <a:gd name="connsiteY1979" fmla="*/ 3750094 h 6407421"/>
              <a:gd name="connsiteX1980" fmla="*/ 11672158 w 11701760"/>
              <a:gd name="connsiteY1980" fmla="*/ 3454727 h 6407421"/>
              <a:gd name="connsiteX1981" fmla="*/ 11701760 w 11701760"/>
              <a:gd name="connsiteY1981" fmla="*/ 3454727 h 6407421"/>
              <a:gd name="connsiteX1982" fmla="*/ 11701760 w 11701760"/>
              <a:gd name="connsiteY1982" fmla="*/ 3484330 h 6407421"/>
              <a:gd name="connsiteX1983" fmla="*/ 11672158 w 11701760"/>
              <a:gd name="connsiteY1983" fmla="*/ 3484330 h 6407421"/>
              <a:gd name="connsiteX1984" fmla="*/ 11405961 w 11701760"/>
              <a:gd name="connsiteY1984" fmla="*/ 3454727 h 6407421"/>
              <a:gd name="connsiteX1985" fmla="*/ 11435563 w 11701760"/>
              <a:gd name="connsiteY1985" fmla="*/ 3454727 h 6407421"/>
              <a:gd name="connsiteX1986" fmla="*/ 11435563 w 11701760"/>
              <a:gd name="connsiteY1986" fmla="*/ 3484330 h 6407421"/>
              <a:gd name="connsiteX1987" fmla="*/ 11405961 w 11701760"/>
              <a:gd name="connsiteY1987" fmla="*/ 3484330 h 6407421"/>
              <a:gd name="connsiteX1988" fmla="*/ 11139872 w 11701760"/>
              <a:gd name="connsiteY1988" fmla="*/ 3454727 h 6407421"/>
              <a:gd name="connsiteX1989" fmla="*/ 11169474 w 11701760"/>
              <a:gd name="connsiteY1989" fmla="*/ 3454727 h 6407421"/>
              <a:gd name="connsiteX1990" fmla="*/ 11169474 w 11701760"/>
              <a:gd name="connsiteY1990" fmla="*/ 3484330 h 6407421"/>
              <a:gd name="connsiteX1991" fmla="*/ 11139872 w 11701760"/>
              <a:gd name="connsiteY1991" fmla="*/ 3484330 h 6407421"/>
              <a:gd name="connsiteX1992" fmla="*/ 10873675 w 11701760"/>
              <a:gd name="connsiteY1992" fmla="*/ 3454727 h 6407421"/>
              <a:gd name="connsiteX1993" fmla="*/ 10903277 w 11701760"/>
              <a:gd name="connsiteY1993" fmla="*/ 3454727 h 6407421"/>
              <a:gd name="connsiteX1994" fmla="*/ 10903277 w 11701760"/>
              <a:gd name="connsiteY1994" fmla="*/ 3484330 h 6407421"/>
              <a:gd name="connsiteX1995" fmla="*/ 10873675 w 11701760"/>
              <a:gd name="connsiteY1995" fmla="*/ 3484330 h 6407421"/>
              <a:gd name="connsiteX1996" fmla="*/ 10607478 w 11701760"/>
              <a:gd name="connsiteY1996" fmla="*/ 3454727 h 6407421"/>
              <a:gd name="connsiteX1997" fmla="*/ 10637188 w 11701760"/>
              <a:gd name="connsiteY1997" fmla="*/ 3454727 h 6407421"/>
              <a:gd name="connsiteX1998" fmla="*/ 10637188 w 11701760"/>
              <a:gd name="connsiteY1998" fmla="*/ 3484330 h 6407421"/>
              <a:gd name="connsiteX1999" fmla="*/ 10607478 w 11701760"/>
              <a:gd name="connsiteY1999" fmla="*/ 3484330 h 6407421"/>
              <a:gd name="connsiteX2000" fmla="*/ 10341389 w 11701760"/>
              <a:gd name="connsiteY2000" fmla="*/ 3454727 h 6407421"/>
              <a:gd name="connsiteX2001" fmla="*/ 10370992 w 11701760"/>
              <a:gd name="connsiteY2001" fmla="*/ 3454727 h 6407421"/>
              <a:gd name="connsiteX2002" fmla="*/ 10370992 w 11701760"/>
              <a:gd name="connsiteY2002" fmla="*/ 3484330 h 6407421"/>
              <a:gd name="connsiteX2003" fmla="*/ 10341389 w 11701760"/>
              <a:gd name="connsiteY2003" fmla="*/ 3484330 h 6407421"/>
              <a:gd name="connsiteX2004" fmla="*/ 10075192 w 11701760"/>
              <a:gd name="connsiteY2004" fmla="*/ 3454727 h 6407421"/>
              <a:gd name="connsiteX2005" fmla="*/ 10104794 w 11701760"/>
              <a:gd name="connsiteY2005" fmla="*/ 3454727 h 6407421"/>
              <a:gd name="connsiteX2006" fmla="*/ 10104794 w 11701760"/>
              <a:gd name="connsiteY2006" fmla="*/ 3484330 h 6407421"/>
              <a:gd name="connsiteX2007" fmla="*/ 10075192 w 11701760"/>
              <a:gd name="connsiteY2007" fmla="*/ 3484330 h 6407421"/>
              <a:gd name="connsiteX2008" fmla="*/ 9809103 w 11701760"/>
              <a:gd name="connsiteY2008" fmla="*/ 3454727 h 6407421"/>
              <a:gd name="connsiteX2009" fmla="*/ 9838705 w 11701760"/>
              <a:gd name="connsiteY2009" fmla="*/ 3454727 h 6407421"/>
              <a:gd name="connsiteX2010" fmla="*/ 9838705 w 11701760"/>
              <a:gd name="connsiteY2010" fmla="*/ 3484330 h 6407421"/>
              <a:gd name="connsiteX2011" fmla="*/ 9809103 w 11701760"/>
              <a:gd name="connsiteY2011" fmla="*/ 3484330 h 6407421"/>
              <a:gd name="connsiteX2012" fmla="*/ 9542906 w 11701760"/>
              <a:gd name="connsiteY2012" fmla="*/ 3454727 h 6407421"/>
              <a:gd name="connsiteX2013" fmla="*/ 9572509 w 11701760"/>
              <a:gd name="connsiteY2013" fmla="*/ 3454727 h 6407421"/>
              <a:gd name="connsiteX2014" fmla="*/ 9572509 w 11701760"/>
              <a:gd name="connsiteY2014" fmla="*/ 3484330 h 6407421"/>
              <a:gd name="connsiteX2015" fmla="*/ 9542906 w 11701760"/>
              <a:gd name="connsiteY2015" fmla="*/ 3484330 h 6407421"/>
              <a:gd name="connsiteX2016" fmla="*/ 9276817 w 11701760"/>
              <a:gd name="connsiteY2016" fmla="*/ 3454727 h 6407421"/>
              <a:gd name="connsiteX2017" fmla="*/ 9306420 w 11701760"/>
              <a:gd name="connsiteY2017" fmla="*/ 3454727 h 6407421"/>
              <a:gd name="connsiteX2018" fmla="*/ 9306420 w 11701760"/>
              <a:gd name="connsiteY2018" fmla="*/ 3484330 h 6407421"/>
              <a:gd name="connsiteX2019" fmla="*/ 9276817 w 11701760"/>
              <a:gd name="connsiteY2019" fmla="*/ 3484330 h 6407421"/>
              <a:gd name="connsiteX2020" fmla="*/ 9010620 w 11701760"/>
              <a:gd name="connsiteY2020" fmla="*/ 3454727 h 6407421"/>
              <a:gd name="connsiteX2021" fmla="*/ 9040222 w 11701760"/>
              <a:gd name="connsiteY2021" fmla="*/ 3454727 h 6407421"/>
              <a:gd name="connsiteX2022" fmla="*/ 9040222 w 11701760"/>
              <a:gd name="connsiteY2022" fmla="*/ 3484330 h 6407421"/>
              <a:gd name="connsiteX2023" fmla="*/ 9010620 w 11701760"/>
              <a:gd name="connsiteY2023" fmla="*/ 3484330 h 6407421"/>
              <a:gd name="connsiteX2024" fmla="*/ 8744423 w 11701760"/>
              <a:gd name="connsiteY2024" fmla="*/ 3454727 h 6407421"/>
              <a:gd name="connsiteX2025" fmla="*/ 8774026 w 11701760"/>
              <a:gd name="connsiteY2025" fmla="*/ 3454727 h 6407421"/>
              <a:gd name="connsiteX2026" fmla="*/ 8774026 w 11701760"/>
              <a:gd name="connsiteY2026" fmla="*/ 3484330 h 6407421"/>
              <a:gd name="connsiteX2027" fmla="*/ 8744423 w 11701760"/>
              <a:gd name="connsiteY2027" fmla="*/ 3484330 h 6407421"/>
              <a:gd name="connsiteX2028" fmla="*/ 8478226 w 11701760"/>
              <a:gd name="connsiteY2028" fmla="*/ 3454727 h 6407421"/>
              <a:gd name="connsiteX2029" fmla="*/ 8507828 w 11701760"/>
              <a:gd name="connsiteY2029" fmla="*/ 3454727 h 6407421"/>
              <a:gd name="connsiteX2030" fmla="*/ 8507828 w 11701760"/>
              <a:gd name="connsiteY2030" fmla="*/ 3484330 h 6407421"/>
              <a:gd name="connsiteX2031" fmla="*/ 8478226 w 11701760"/>
              <a:gd name="connsiteY2031" fmla="*/ 3484330 h 6407421"/>
              <a:gd name="connsiteX2032" fmla="*/ 8212137 w 11701760"/>
              <a:gd name="connsiteY2032" fmla="*/ 3454727 h 6407421"/>
              <a:gd name="connsiteX2033" fmla="*/ 8241740 w 11701760"/>
              <a:gd name="connsiteY2033" fmla="*/ 3454727 h 6407421"/>
              <a:gd name="connsiteX2034" fmla="*/ 8241740 w 11701760"/>
              <a:gd name="connsiteY2034" fmla="*/ 3484330 h 6407421"/>
              <a:gd name="connsiteX2035" fmla="*/ 8212137 w 11701760"/>
              <a:gd name="connsiteY2035" fmla="*/ 3484330 h 6407421"/>
              <a:gd name="connsiteX2036" fmla="*/ 7945940 w 11701760"/>
              <a:gd name="connsiteY2036" fmla="*/ 3454727 h 6407421"/>
              <a:gd name="connsiteX2037" fmla="*/ 7975543 w 11701760"/>
              <a:gd name="connsiteY2037" fmla="*/ 3454727 h 6407421"/>
              <a:gd name="connsiteX2038" fmla="*/ 7975543 w 11701760"/>
              <a:gd name="connsiteY2038" fmla="*/ 3484330 h 6407421"/>
              <a:gd name="connsiteX2039" fmla="*/ 7945940 w 11701760"/>
              <a:gd name="connsiteY2039" fmla="*/ 3484330 h 6407421"/>
              <a:gd name="connsiteX2040" fmla="*/ 7679743 w 11701760"/>
              <a:gd name="connsiteY2040" fmla="*/ 3454727 h 6407421"/>
              <a:gd name="connsiteX2041" fmla="*/ 7709346 w 11701760"/>
              <a:gd name="connsiteY2041" fmla="*/ 3454727 h 6407421"/>
              <a:gd name="connsiteX2042" fmla="*/ 7709346 w 11701760"/>
              <a:gd name="connsiteY2042" fmla="*/ 3484330 h 6407421"/>
              <a:gd name="connsiteX2043" fmla="*/ 7679743 w 11701760"/>
              <a:gd name="connsiteY2043" fmla="*/ 3484330 h 6407421"/>
              <a:gd name="connsiteX2044" fmla="*/ 7413653 w 11701760"/>
              <a:gd name="connsiteY2044" fmla="*/ 3454727 h 6407421"/>
              <a:gd name="connsiteX2045" fmla="*/ 7443256 w 11701760"/>
              <a:gd name="connsiteY2045" fmla="*/ 3454727 h 6407421"/>
              <a:gd name="connsiteX2046" fmla="*/ 7443256 w 11701760"/>
              <a:gd name="connsiteY2046" fmla="*/ 3484330 h 6407421"/>
              <a:gd name="connsiteX2047" fmla="*/ 7413653 w 11701760"/>
              <a:gd name="connsiteY2047" fmla="*/ 3484330 h 6407421"/>
              <a:gd name="connsiteX2048" fmla="*/ 7147456 w 11701760"/>
              <a:gd name="connsiteY2048" fmla="*/ 3454727 h 6407421"/>
              <a:gd name="connsiteX2049" fmla="*/ 7177058 w 11701760"/>
              <a:gd name="connsiteY2049" fmla="*/ 3454727 h 6407421"/>
              <a:gd name="connsiteX2050" fmla="*/ 7177058 w 11701760"/>
              <a:gd name="connsiteY2050" fmla="*/ 3484330 h 6407421"/>
              <a:gd name="connsiteX2051" fmla="*/ 7147456 w 11701760"/>
              <a:gd name="connsiteY2051" fmla="*/ 3484330 h 6407421"/>
              <a:gd name="connsiteX2052" fmla="*/ 6881367 w 11701760"/>
              <a:gd name="connsiteY2052" fmla="*/ 3454727 h 6407421"/>
              <a:gd name="connsiteX2053" fmla="*/ 6910970 w 11701760"/>
              <a:gd name="connsiteY2053" fmla="*/ 3454727 h 6407421"/>
              <a:gd name="connsiteX2054" fmla="*/ 6910970 w 11701760"/>
              <a:gd name="connsiteY2054" fmla="*/ 3484330 h 6407421"/>
              <a:gd name="connsiteX2055" fmla="*/ 6881367 w 11701760"/>
              <a:gd name="connsiteY2055" fmla="*/ 3484330 h 6407421"/>
              <a:gd name="connsiteX2056" fmla="*/ 6615170 w 11701760"/>
              <a:gd name="connsiteY2056" fmla="*/ 3454727 h 6407421"/>
              <a:gd name="connsiteX2057" fmla="*/ 6644773 w 11701760"/>
              <a:gd name="connsiteY2057" fmla="*/ 3454727 h 6407421"/>
              <a:gd name="connsiteX2058" fmla="*/ 6644773 w 11701760"/>
              <a:gd name="connsiteY2058" fmla="*/ 3484330 h 6407421"/>
              <a:gd name="connsiteX2059" fmla="*/ 6615170 w 11701760"/>
              <a:gd name="connsiteY2059" fmla="*/ 3484330 h 6407421"/>
              <a:gd name="connsiteX2060" fmla="*/ 6349081 w 11701760"/>
              <a:gd name="connsiteY2060" fmla="*/ 3454727 h 6407421"/>
              <a:gd name="connsiteX2061" fmla="*/ 6378683 w 11701760"/>
              <a:gd name="connsiteY2061" fmla="*/ 3454727 h 6407421"/>
              <a:gd name="connsiteX2062" fmla="*/ 6378683 w 11701760"/>
              <a:gd name="connsiteY2062" fmla="*/ 3484330 h 6407421"/>
              <a:gd name="connsiteX2063" fmla="*/ 6349081 w 11701760"/>
              <a:gd name="connsiteY2063" fmla="*/ 3484330 h 6407421"/>
              <a:gd name="connsiteX2064" fmla="*/ 6082884 w 11701760"/>
              <a:gd name="connsiteY2064" fmla="*/ 3454727 h 6407421"/>
              <a:gd name="connsiteX2065" fmla="*/ 6112486 w 11701760"/>
              <a:gd name="connsiteY2065" fmla="*/ 3454727 h 6407421"/>
              <a:gd name="connsiteX2066" fmla="*/ 6112486 w 11701760"/>
              <a:gd name="connsiteY2066" fmla="*/ 3484330 h 6407421"/>
              <a:gd name="connsiteX2067" fmla="*/ 6082884 w 11701760"/>
              <a:gd name="connsiteY2067" fmla="*/ 3484330 h 6407421"/>
              <a:gd name="connsiteX2068" fmla="*/ 5825310 w 11701760"/>
              <a:gd name="connsiteY2068" fmla="*/ 3454727 h 6407421"/>
              <a:gd name="connsiteX2069" fmla="*/ 5854913 w 11701760"/>
              <a:gd name="connsiteY2069" fmla="*/ 3454727 h 6407421"/>
              <a:gd name="connsiteX2070" fmla="*/ 5854913 w 11701760"/>
              <a:gd name="connsiteY2070" fmla="*/ 3484330 h 6407421"/>
              <a:gd name="connsiteX2071" fmla="*/ 5825310 w 11701760"/>
              <a:gd name="connsiteY2071" fmla="*/ 3484330 h 6407421"/>
              <a:gd name="connsiteX2072" fmla="*/ 5559113 w 11701760"/>
              <a:gd name="connsiteY2072" fmla="*/ 3454727 h 6407421"/>
              <a:gd name="connsiteX2073" fmla="*/ 5588715 w 11701760"/>
              <a:gd name="connsiteY2073" fmla="*/ 3454727 h 6407421"/>
              <a:gd name="connsiteX2074" fmla="*/ 5588715 w 11701760"/>
              <a:gd name="connsiteY2074" fmla="*/ 3484330 h 6407421"/>
              <a:gd name="connsiteX2075" fmla="*/ 5559113 w 11701760"/>
              <a:gd name="connsiteY2075" fmla="*/ 3484330 h 6407421"/>
              <a:gd name="connsiteX2076" fmla="*/ 5293024 w 11701760"/>
              <a:gd name="connsiteY2076" fmla="*/ 3454727 h 6407421"/>
              <a:gd name="connsiteX2077" fmla="*/ 5322626 w 11701760"/>
              <a:gd name="connsiteY2077" fmla="*/ 3454727 h 6407421"/>
              <a:gd name="connsiteX2078" fmla="*/ 5322626 w 11701760"/>
              <a:gd name="connsiteY2078" fmla="*/ 3484330 h 6407421"/>
              <a:gd name="connsiteX2079" fmla="*/ 5293024 w 11701760"/>
              <a:gd name="connsiteY2079" fmla="*/ 3484330 h 6407421"/>
              <a:gd name="connsiteX2080" fmla="*/ 5026827 w 11701760"/>
              <a:gd name="connsiteY2080" fmla="*/ 3454727 h 6407421"/>
              <a:gd name="connsiteX2081" fmla="*/ 5056429 w 11701760"/>
              <a:gd name="connsiteY2081" fmla="*/ 3454727 h 6407421"/>
              <a:gd name="connsiteX2082" fmla="*/ 5056429 w 11701760"/>
              <a:gd name="connsiteY2082" fmla="*/ 3484330 h 6407421"/>
              <a:gd name="connsiteX2083" fmla="*/ 5026827 w 11701760"/>
              <a:gd name="connsiteY2083" fmla="*/ 3484330 h 6407421"/>
              <a:gd name="connsiteX2084" fmla="*/ 4760630 w 11701760"/>
              <a:gd name="connsiteY2084" fmla="*/ 3454727 h 6407421"/>
              <a:gd name="connsiteX2085" fmla="*/ 4790340 w 11701760"/>
              <a:gd name="connsiteY2085" fmla="*/ 3454727 h 6407421"/>
              <a:gd name="connsiteX2086" fmla="*/ 4790340 w 11701760"/>
              <a:gd name="connsiteY2086" fmla="*/ 3484330 h 6407421"/>
              <a:gd name="connsiteX2087" fmla="*/ 4760630 w 11701760"/>
              <a:gd name="connsiteY2087" fmla="*/ 3484330 h 6407421"/>
              <a:gd name="connsiteX2088" fmla="*/ 4494541 w 11701760"/>
              <a:gd name="connsiteY2088" fmla="*/ 3454727 h 6407421"/>
              <a:gd name="connsiteX2089" fmla="*/ 4524144 w 11701760"/>
              <a:gd name="connsiteY2089" fmla="*/ 3454727 h 6407421"/>
              <a:gd name="connsiteX2090" fmla="*/ 4524144 w 11701760"/>
              <a:gd name="connsiteY2090" fmla="*/ 3484330 h 6407421"/>
              <a:gd name="connsiteX2091" fmla="*/ 4494541 w 11701760"/>
              <a:gd name="connsiteY2091" fmla="*/ 3484330 h 6407421"/>
              <a:gd name="connsiteX2092" fmla="*/ 4228344 w 11701760"/>
              <a:gd name="connsiteY2092" fmla="*/ 3454727 h 6407421"/>
              <a:gd name="connsiteX2093" fmla="*/ 4257946 w 11701760"/>
              <a:gd name="connsiteY2093" fmla="*/ 3454727 h 6407421"/>
              <a:gd name="connsiteX2094" fmla="*/ 4257946 w 11701760"/>
              <a:gd name="connsiteY2094" fmla="*/ 3484330 h 6407421"/>
              <a:gd name="connsiteX2095" fmla="*/ 4228344 w 11701760"/>
              <a:gd name="connsiteY2095" fmla="*/ 3484330 h 6407421"/>
              <a:gd name="connsiteX2096" fmla="*/ 3962255 w 11701760"/>
              <a:gd name="connsiteY2096" fmla="*/ 3454727 h 6407421"/>
              <a:gd name="connsiteX2097" fmla="*/ 3991857 w 11701760"/>
              <a:gd name="connsiteY2097" fmla="*/ 3454727 h 6407421"/>
              <a:gd name="connsiteX2098" fmla="*/ 3991857 w 11701760"/>
              <a:gd name="connsiteY2098" fmla="*/ 3484330 h 6407421"/>
              <a:gd name="connsiteX2099" fmla="*/ 3962255 w 11701760"/>
              <a:gd name="connsiteY2099" fmla="*/ 3484330 h 6407421"/>
              <a:gd name="connsiteX2100" fmla="*/ 3696058 w 11701760"/>
              <a:gd name="connsiteY2100" fmla="*/ 3454727 h 6407421"/>
              <a:gd name="connsiteX2101" fmla="*/ 3725661 w 11701760"/>
              <a:gd name="connsiteY2101" fmla="*/ 3454727 h 6407421"/>
              <a:gd name="connsiteX2102" fmla="*/ 3725661 w 11701760"/>
              <a:gd name="connsiteY2102" fmla="*/ 3484330 h 6407421"/>
              <a:gd name="connsiteX2103" fmla="*/ 3696058 w 11701760"/>
              <a:gd name="connsiteY2103" fmla="*/ 3484330 h 6407421"/>
              <a:gd name="connsiteX2104" fmla="*/ 3429969 w 11701760"/>
              <a:gd name="connsiteY2104" fmla="*/ 3454727 h 6407421"/>
              <a:gd name="connsiteX2105" fmla="*/ 3459572 w 11701760"/>
              <a:gd name="connsiteY2105" fmla="*/ 3454727 h 6407421"/>
              <a:gd name="connsiteX2106" fmla="*/ 3459572 w 11701760"/>
              <a:gd name="connsiteY2106" fmla="*/ 3484330 h 6407421"/>
              <a:gd name="connsiteX2107" fmla="*/ 3429969 w 11701760"/>
              <a:gd name="connsiteY2107" fmla="*/ 3484330 h 6407421"/>
              <a:gd name="connsiteX2108" fmla="*/ 3163772 w 11701760"/>
              <a:gd name="connsiteY2108" fmla="*/ 3454727 h 6407421"/>
              <a:gd name="connsiteX2109" fmla="*/ 3193374 w 11701760"/>
              <a:gd name="connsiteY2109" fmla="*/ 3454727 h 6407421"/>
              <a:gd name="connsiteX2110" fmla="*/ 3193374 w 11701760"/>
              <a:gd name="connsiteY2110" fmla="*/ 3484330 h 6407421"/>
              <a:gd name="connsiteX2111" fmla="*/ 3163772 w 11701760"/>
              <a:gd name="connsiteY2111" fmla="*/ 3484330 h 6407421"/>
              <a:gd name="connsiteX2112" fmla="*/ 2897575 w 11701760"/>
              <a:gd name="connsiteY2112" fmla="*/ 3454727 h 6407421"/>
              <a:gd name="connsiteX2113" fmla="*/ 2927178 w 11701760"/>
              <a:gd name="connsiteY2113" fmla="*/ 3454727 h 6407421"/>
              <a:gd name="connsiteX2114" fmla="*/ 2927178 w 11701760"/>
              <a:gd name="connsiteY2114" fmla="*/ 3484330 h 6407421"/>
              <a:gd name="connsiteX2115" fmla="*/ 2897575 w 11701760"/>
              <a:gd name="connsiteY2115" fmla="*/ 3484330 h 6407421"/>
              <a:gd name="connsiteX2116" fmla="*/ 2631378 w 11701760"/>
              <a:gd name="connsiteY2116" fmla="*/ 3454727 h 6407421"/>
              <a:gd name="connsiteX2117" fmla="*/ 2660980 w 11701760"/>
              <a:gd name="connsiteY2117" fmla="*/ 3454727 h 6407421"/>
              <a:gd name="connsiteX2118" fmla="*/ 2660980 w 11701760"/>
              <a:gd name="connsiteY2118" fmla="*/ 3484330 h 6407421"/>
              <a:gd name="connsiteX2119" fmla="*/ 2631378 w 11701760"/>
              <a:gd name="connsiteY2119" fmla="*/ 3484330 h 6407421"/>
              <a:gd name="connsiteX2120" fmla="*/ 2365289 w 11701760"/>
              <a:gd name="connsiteY2120" fmla="*/ 3454727 h 6407421"/>
              <a:gd name="connsiteX2121" fmla="*/ 2394892 w 11701760"/>
              <a:gd name="connsiteY2121" fmla="*/ 3454727 h 6407421"/>
              <a:gd name="connsiteX2122" fmla="*/ 2394892 w 11701760"/>
              <a:gd name="connsiteY2122" fmla="*/ 3484330 h 6407421"/>
              <a:gd name="connsiteX2123" fmla="*/ 2365289 w 11701760"/>
              <a:gd name="connsiteY2123" fmla="*/ 3484330 h 6407421"/>
              <a:gd name="connsiteX2124" fmla="*/ 2099092 w 11701760"/>
              <a:gd name="connsiteY2124" fmla="*/ 3454727 h 6407421"/>
              <a:gd name="connsiteX2125" fmla="*/ 2128695 w 11701760"/>
              <a:gd name="connsiteY2125" fmla="*/ 3454727 h 6407421"/>
              <a:gd name="connsiteX2126" fmla="*/ 2128695 w 11701760"/>
              <a:gd name="connsiteY2126" fmla="*/ 3484330 h 6407421"/>
              <a:gd name="connsiteX2127" fmla="*/ 2099092 w 11701760"/>
              <a:gd name="connsiteY2127" fmla="*/ 3484330 h 6407421"/>
              <a:gd name="connsiteX2128" fmla="*/ 1832898 w 11701760"/>
              <a:gd name="connsiteY2128" fmla="*/ 3454727 h 6407421"/>
              <a:gd name="connsiteX2129" fmla="*/ 1862498 w 11701760"/>
              <a:gd name="connsiteY2129" fmla="*/ 3454727 h 6407421"/>
              <a:gd name="connsiteX2130" fmla="*/ 1862498 w 11701760"/>
              <a:gd name="connsiteY2130" fmla="*/ 3484330 h 6407421"/>
              <a:gd name="connsiteX2131" fmla="*/ 1832898 w 11701760"/>
              <a:gd name="connsiteY2131" fmla="*/ 3484330 h 6407421"/>
              <a:gd name="connsiteX2132" fmla="*/ 1566808 w 11701760"/>
              <a:gd name="connsiteY2132" fmla="*/ 3454727 h 6407421"/>
              <a:gd name="connsiteX2133" fmla="*/ 1596409 w 11701760"/>
              <a:gd name="connsiteY2133" fmla="*/ 3454727 h 6407421"/>
              <a:gd name="connsiteX2134" fmla="*/ 1596409 w 11701760"/>
              <a:gd name="connsiteY2134" fmla="*/ 3484330 h 6407421"/>
              <a:gd name="connsiteX2135" fmla="*/ 1566808 w 11701760"/>
              <a:gd name="connsiteY2135" fmla="*/ 3484330 h 6407421"/>
              <a:gd name="connsiteX2136" fmla="*/ 1300611 w 11701760"/>
              <a:gd name="connsiteY2136" fmla="*/ 3454727 h 6407421"/>
              <a:gd name="connsiteX2137" fmla="*/ 1330213 w 11701760"/>
              <a:gd name="connsiteY2137" fmla="*/ 3454727 h 6407421"/>
              <a:gd name="connsiteX2138" fmla="*/ 1330213 w 11701760"/>
              <a:gd name="connsiteY2138" fmla="*/ 3484330 h 6407421"/>
              <a:gd name="connsiteX2139" fmla="*/ 1300611 w 11701760"/>
              <a:gd name="connsiteY2139" fmla="*/ 3484330 h 6407421"/>
              <a:gd name="connsiteX2140" fmla="*/ 1034520 w 11701760"/>
              <a:gd name="connsiteY2140" fmla="*/ 3454727 h 6407421"/>
              <a:gd name="connsiteX2141" fmla="*/ 1064123 w 11701760"/>
              <a:gd name="connsiteY2141" fmla="*/ 3454727 h 6407421"/>
              <a:gd name="connsiteX2142" fmla="*/ 1064123 w 11701760"/>
              <a:gd name="connsiteY2142" fmla="*/ 3484330 h 6407421"/>
              <a:gd name="connsiteX2143" fmla="*/ 1034520 w 11701760"/>
              <a:gd name="connsiteY2143" fmla="*/ 3484330 h 6407421"/>
              <a:gd name="connsiteX2144" fmla="*/ 768327 w 11701760"/>
              <a:gd name="connsiteY2144" fmla="*/ 3454727 h 6407421"/>
              <a:gd name="connsiteX2145" fmla="*/ 797926 w 11701760"/>
              <a:gd name="connsiteY2145" fmla="*/ 3454727 h 6407421"/>
              <a:gd name="connsiteX2146" fmla="*/ 797926 w 11701760"/>
              <a:gd name="connsiteY2146" fmla="*/ 3484330 h 6407421"/>
              <a:gd name="connsiteX2147" fmla="*/ 768327 w 11701760"/>
              <a:gd name="connsiteY2147" fmla="*/ 3484330 h 6407421"/>
              <a:gd name="connsiteX2148" fmla="*/ 502236 w 11701760"/>
              <a:gd name="connsiteY2148" fmla="*/ 3454727 h 6407421"/>
              <a:gd name="connsiteX2149" fmla="*/ 531839 w 11701760"/>
              <a:gd name="connsiteY2149" fmla="*/ 3454727 h 6407421"/>
              <a:gd name="connsiteX2150" fmla="*/ 531839 w 11701760"/>
              <a:gd name="connsiteY2150" fmla="*/ 3484330 h 6407421"/>
              <a:gd name="connsiteX2151" fmla="*/ 502236 w 11701760"/>
              <a:gd name="connsiteY2151" fmla="*/ 3484330 h 6407421"/>
              <a:gd name="connsiteX2152" fmla="*/ 236037 w 11701760"/>
              <a:gd name="connsiteY2152" fmla="*/ 3454727 h 6407421"/>
              <a:gd name="connsiteX2153" fmla="*/ 265640 w 11701760"/>
              <a:gd name="connsiteY2153" fmla="*/ 3454727 h 6407421"/>
              <a:gd name="connsiteX2154" fmla="*/ 265640 w 11701760"/>
              <a:gd name="connsiteY2154" fmla="*/ 3484330 h 6407421"/>
              <a:gd name="connsiteX2155" fmla="*/ 236037 w 11701760"/>
              <a:gd name="connsiteY2155" fmla="*/ 3484330 h 6407421"/>
              <a:gd name="connsiteX2156" fmla="*/ 1 w 11701760"/>
              <a:gd name="connsiteY2156" fmla="*/ 3454727 h 6407421"/>
              <a:gd name="connsiteX2157" fmla="*/ 29603 w 11701760"/>
              <a:gd name="connsiteY2157" fmla="*/ 3454727 h 6407421"/>
              <a:gd name="connsiteX2158" fmla="*/ 29603 w 11701760"/>
              <a:gd name="connsiteY2158" fmla="*/ 3484330 h 6407421"/>
              <a:gd name="connsiteX2159" fmla="*/ 1 w 11701760"/>
              <a:gd name="connsiteY2159" fmla="*/ 3484330 h 6407421"/>
              <a:gd name="connsiteX2160" fmla="*/ 11672158 w 11701760"/>
              <a:gd name="connsiteY2160" fmla="*/ 3189089 h 6407421"/>
              <a:gd name="connsiteX2161" fmla="*/ 11701760 w 11701760"/>
              <a:gd name="connsiteY2161" fmla="*/ 3189089 h 6407421"/>
              <a:gd name="connsiteX2162" fmla="*/ 11701760 w 11701760"/>
              <a:gd name="connsiteY2162" fmla="*/ 3218566 h 6407421"/>
              <a:gd name="connsiteX2163" fmla="*/ 11672158 w 11701760"/>
              <a:gd name="connsiteY2163" fmla="*/ 3218566 h 6407421"/>
              <a:gd name="connsiteX2164" fmla="*/ 11405961 w 11701760"/>
              <a:gd name="connsiteY2164" fmla="*/ 3189089 h 6407421"/>
              <a:gd name="connsiteX2165" fmla="*/ 11435563 w 11701760"/>
              <a:gd name="connsiteY2165" fmla="*/ 3189089 h 6407421"/>
              <a:gd name="connsiteX2166" fmla="*/ 11435563 w 11701760"/>
              <a:gd name="connsiteY2166" fmla="*/ 3218566 h 6407421"/>
              <a:gd name="connsiteX2167" fmla="*/ 11405961 w 11701760"/>
              <a:gd name="connsiteY2167" fmla="*/ 3218566 h 6407421"/>
              <a:gd name="connsiteX2168" fmla="*/ 5825310 w 11701760"/>
              <a:gd name="connsiteY2168" fmla="*/ 3189089 h 6407421"/>
              <a:gd name="connsiteX2169" fmla="*/ 5854913 w 11701760"/>
              <a:gd name="connsiteY2169" fmla="*/ 3189089 h 6407421"/>
              <a:gd name="connsiteX2170" fmla="*/ 5854913 w 11701760"/>
              <a:gd name="connsiteY2170" fmla="*/ 3218566 h 6407421"/>
              <a:gd name="connsiteX2171" fmla="*/ 5825310 w 11701760"/>
              <a:gd name="connsiteY2171" fmla="*/ 3218566 h 6407421"/>
              <a:gd name="connsiteX2172" fmla="*/ 5559113 w 11701760"/>
              <a:gd name="connsiteY2172" fmla="*/ 3189089 h 6407421"/>
              <a:gd name="connsiteX2173" fmla="*/ 5588715 w 11701760"/>
              <a:gd name="connsiteY2173" fmla="*/ 3189089 h 6407421"/>
              <a:gd name="connsiteX2174" fmla="*/ 5588715 w 11701760"/>
              <a:gd name="connsiteY2174" fmla="*/ 3218566 h 6407421"/>
              <a:gd name="connsiteX2175" fmla="*/ 5559113 w 11701760"/>
              <a:gd name="connsiteY2175" fmla="*/ 3218566 h 6407421"/>
              <a:gd name="connsiteX2176" fmla="*/ 11139872 w 11701760"/>
              <a:gd name="connsiteY2176" fmla="*/ 3189087 h 6407421"/>
              <a:gd name="connsiteX2177" fmla="*/ 11169474 w 11701760"/>
              <a:gd name="connsiteY2177" fmla="*/ 3189087 h 6407421"/>
              <a:gd name="connsiteX2178" fmla="*/ 11169474 w 11701760"/>
              <a:gd name="connsiteY2178" fmla="*/ 3218566 h 6407421"/>
              <a:gd name="connsiteX2179" fmla="*/ 11139872 w 11701760"/>
              <a:gd name="connsiteY2179" fmla="*/ 3218566 h 6407421"/>
              <a:gd name="connsiteX2180" fmla="*/ 10873675 w 11701760"/>
              <a:gd name="connsiteY2180" fmla="*/ 3189087 h 6407421"/>
              <a:gd name="connsiteX2181" fmla="*/ 10903277 w 11701760"/>
              <a:gd name="connsiteY2181" fmla="*/ 3189087 h 6407421"/>
              <a:gd name="connsiteX2182" fmla="*/ 10903277 w 11701760"/>
              <a:gd name="connsiteY2182" fmla="*/ 3218566 h 6407421"/>
              <a:gd name="connsiteX2183" fmla="*/ 10873675 w 11701760"/>
              <a:gd name="connsiteY2183" fmla="*/ 3218566 h 6407421"/>
              <a:gd name="connsiteX2184" fmla="*/ 5293024 w 11701760"/>
              <a:gd name="connsiteY2184" fmla="*/ 3189087 h 6407421"/>
              <a:gd name="connsiteX2185" fmla="*/ 5322626 w 11701760"/>
              <a:gd name="connsiteY2185" fmla="*/ 3189087 h 6407421"/>
              <a:gd name="connsiteX2186" fmla="*/ 5322626 w 11701760"/>
              <a:gd name="connsiteY2186" fmla="*/ 3218566 h 6407421"/>
              <a:gd name="connsiteX2187" fmla="*/ 5293024 w 11701760"/>
              <a:gd name="connsiteY2187" fmla="*/ 3218566 h 6407421"/>
              <a:gd name="connsiteX2188" fmla="*/ 5026827 w 11701760"/>
              <a:gd name="connsiteY2188" fmla="*/ 3189087 h 6407421"/>
              <a:gd name="connsiteX2189" fmla="*/ 5056429 w 11701760"/>
              <a:gd name="connsiteY2189" fmla="*/ 3189087 h 6407421"/>
              <a:gd name="connsiteX2190" fmla="*/ 5056429 w 11701760"/>
              <a:gd name="connsiteY2190" fmla="*/ 3218566 h 6407421"/>
              <a:gd name="connsiteX2191" fmla="*/ 5026827 w 11701760"/>
              <a:gd name="connsiteY2191" fmla="*/ 3218566 h 6407421"/>
              <a:gd name="connsiteX2192" fmla="*/ 10607478 w 11701760"/>
              <a:gd name="connsiteY2192" fmla="*/ 3189086 h 6407421"/>
              <a:gd name="connsiteX2193" fmla="*/ 10637188 w 11701760"/>
              <a:gd name="connsiteY2193" fmla="*/ 3189086 h 6407421"/>
              <a:gd name="connsiteX2194" fmla="*/ 10637188 w 11701760"/>
              <a:gd name="connsiteY2194" fmla="*/ 3218566 h 6407421"/>
              <a:gd name="connsiteX2195" fmla="*/ 10607478 w 11701760"/>
              <a:gd name="connsiteY2195" fmla="*/ 3218566 h 6407421"/>
              <a:gd name="connsiteX2196" fmla="*/ 4760630 w 11701760"/>
              <a:gd name="connsiteY2196" fmla="*/ 3189086 h 6407421"/>
              <a:gd name="connsiteX2197" fmla="*/ 4790340 w 11701760"/>
              <a:gd name="connsiteY2197" fmla="*/ 3189086 h 6407421"/>
              <a:gd name="connsiteX2198" fmla="*/ 4790340 w 11701760"/>
              <a:gd name="connsiteY2198" fmla="*/ 3218566 h 6407421"/>
              <a:gd name="connsiteX2199" fmla="*/ 4760630 w 11701760"/>
              <a:gd name="connsiteY2199" fmla="*/ 3218566 h 6407421"/>
              <a:gd name="connsiteX2200" fmla="*/ 10341389 w 11701760"/>
              <a:gd name="connsiteY2200" fmla="*/ 3189085 h 6407421"/>
              <a:gd name="connsiteX2201" fmla="*/ 10370992 w 11701760"/>
              <a:gd name="connsiteY2201" fmla="*/ 3189085 h 6407421"/>
              <a:gd name="connsiteX2202" fmla="*/ 10370992 w 11701760"/>
              <a:gd name="connsiteY2202" fmla="*/ 3218566 h 6407421"/>
              <a:gd name="connsiteX2203" fmla="*/ 10341389 w 11701760"/>
              <a:gd name="connsiteY2203" fmla="*/ 3218566 h 6407421"/>
              <a:gd name="connsiteX2204" fmla="*/ 4494541 w 11701760"/>
              <a:gd name="connsiteY2204" fmla="*/ 3189085 h 6407421"/>
              <a:gd name="connsiteX2205" fmla="*/ 4524144 w 11701760"/>
              <a:gd name="connsiteY2205" fmla="*/ 3189085 h 6407421"/>
              <a:gd name="connsiteX2206" fmla="*/ 4524144 w 11701760"/>
              <a:gd name="connsiteY2206" fmla="*/ 3218566 h 6407421"/>
              <a:gd name="connsiteX2207" fmla="*/ 4494541 w 11701760"/>
              <a:gd name="connsiteY2207" fmla="*/ 3218566 h 6407421"/>
              <a:gd name="connsiteX2208" fmla="*/ 10075192 w 11701760"/>
              <a:gd name="connsiteY2208" fmla="*/ 3189084 h 6407421"/>
              <a:gd name="connsiteX2209" fmla="*/ 10104794 w 11701760"/>
              <a:gd name="connsiteY2209" fmla="*/ 3189084 h 6407421"/>
              <a:gd name="connsiteX2210" fmla="*/ 10104794 w 11701760"/>
              <a:gd name="connsiteY2210" fmla="*/ 3218566 h 6407421"/>
              <a:gd name="connsiteX2211" fmla="*/ 10075192 w 11701760"/>
              <a:gd name="connsiteY2211" fmla="*/ 3218566 h 6407421"/>
              <a:gd name="connsiteX2212" fmla="*/ 4228344 w 11701760"/>
              <a:gd name="connsiteY2212" fmla="*/ 3189084 h 6407421"/>
              <a:gd name="connsiteX2213" fmla="*/ 4257946 w 11701760"/>
              <a:gd name="connsiteY2213" fmla="*/ 3189084 h 6407421"/>
              <a:gd name="connsiteX2214" fmla="*/ 4257946 w 11701760"/>
              <a:gd name="connsiteY2214" fmla="*/ 3218566 h 6407421"/>
              <a:gd name="connsiteX2215" fmla="*/ 4228344 w 11701760"/>
              <a:gd name="connsiteY2215" fmla="*/ 3218566 h 6407421"/>
              <a:gd name="connsiteX2216" fmla="*/ 9809103 w 11701760"/>
              <a:gd name="connsiteY2216" fmla="*/ 3189083 h 6407421"/>
              <a:gd name="connsiteX2217" fmla="*/ 9838705 w 11701760"/>
              <a:gd name="connsiteY2217" fmla="*/ 3189083 h 6407421"/>
              <a:gd name="connsiteX2218" fmla="*/ 9838705 w 11701760"/>
              <a:gd name="connsiteY2218" fmla="*/ 3218566 h 6407421"/>
              <a:gd name="connsiteX2219" fmla="*/ 9809103 w 11701760"/>
              <a:gd name="connsiteY2219" fmla="*/ 3218566 h 6407421"/>
              <a:gd name="connsiteX2220" fmla="*/ 3962255 w 11701760"/>
              <a:gd name="connsiteY2220" fmla="*/ 3189083 h 6407421"/>
              <a:gd name="connsiteX2221" fmla="*/ 3991857 w 11701760"/>
              <a:gd name="connsiteY2221" fmla="*/ 3189083 h 6407421"/>
              <a:gd name="connsiteX2222" fmla="*/ 3991857 w 11701760"/>
              <a:gd name="connsiteY2222" fmla="*/ 3218566 h 6407421"/>
              <a:gd name="connsiteX2223" fmla="*/ 3962255 w 11701760"/>
              <a:gd name="connsiteY2223" fmla="*/ 3218566 h 6407421"/>
              <a:gd name="connsiteX2224" fmla="*/ 9542906 w 11701760"/>
              <a:gd name="connsiteY2224" fmla="*/ 3189082 h 6407421"/>
              <a:gd name="connsiteX2225" fmla="*/ 9572509 w 11701760"/>
              <a:gd name="connsiteY2225" fmla="*/ 3189082 h 6407421"/>
              <a:gd name="connsiteX2226" fmla="*/ 9572509 w 11701760"/>
              <a:gd name="connsiteY2226" fmla="*/ 3218566 h 6407421"/>
              <a:gd name="connsiteX2227" fmla="*/ 9542906 w 11701760"/>
              <a:gd name="connsiteY2227" fmla="*/ 3218566 h 6407421"/>
              <a:gd name="connsiteX2228" fmla="*/ 3696058 w 11701760"/>
              <a:gd name="connsiteY2228" fmla="*/ 3189082 h 6407421"/>
              <a:gd name="connsiteX2229" fmla="*/ 3725661 w 11701760"/>
              <a:gd name="connsiteY2229" fmla="*/ 3189082 h 6407421"/>
              <a:gd name="connsiteX2230" fmla="*/ 3725661 w 11701760"/>
              <a:gd name="connsiteY2230" fmla="*/ 3218566 h 6407421"/>
              <a:gd name="connsiteX2231" fmla="*/ 3696058 w 11701760"/>
              <a:gd name="connsiteY2231" fmla="*/ 3218566 h 6407421"/>
              <a:gd name="connsiteX2232" fmla="*/ 9276817 w 11701760"/>
              <a:gd name="connsiteY2232" fmla="*/ 3189081 h 6407421"/>
              <a:gd name="connsiteX2233" fmla="*/ 9306420 w 11701760"/>
              <a:gd name="connsiteY2233" fmla="*/ 3189081 h 6407421"/>
              <a:gd name="connsiteX2234" fmla="*/ 9306420 w 11701760"/>
              <a:gd name="connsiteY2234" fmla="*/ 3218566 h 6407421"/>
              <a:gd name="connsiteX2235" fmla="*/ 9276817 w 11701760"/>
              <a:gd name="connsiteY2235" fmla="*/ 3218566 h 6407421"/>
              <a:gd name="connsiteX2236" fmla="*/ 9010620 w 11701760"/>
              <a:gd name="connsiteY2236" fmla="*/ 3189081 h 6407421"/>
              <a:gd name="connsiteX2237" fmla="*/ 9040222 w 11701760"/>
              <a:gd name="connsiteY2237" fmla="*/ 3189081 h 6407421"/>
              <a:gd name="connsiteX2238" fmla="*/ 9040222 w 11701760"/>
              <a:gd name="connsiteY2238" fmla="*/ 3218566 h 6407421"/>
              <a:gd name="connsiteX2239" fmla="*/ 9010620 w 11701760"/>
              <a:gd name="connsiteY2239" fmla="*/ 3218566 h 6407421"/>
              <a:gd name="connsiteX2240" fmla="*/ 3429969 w 11701760"/>
              <a:gd name="connsiteY2240" fmla="*/ 3189081 h 6407421"/>
              <a:gd name="connsiteX2241" fmla="*/ 3459572 w 11701760"/>
              <a:gd name="connsiteY2241" fmla="*/ 3189081 h 6407421"/>
              <a:gd name="connsiteX2242" fmla="*/ 3459572 w 11701760"/>
              <a:gd name="connsiteY2242" fmla="*/ 3218566 h 6407421"/>
              <a:gd name="connsiteX2243" fmla="*/ 3429969 w 11701760"/>
              <a:gd name="connsiteY2243" fmla="*/ 3218566 h 6407421"/>
              <a:gd name="connsiteX2244" fmla="*/ 3163772 w 11701760"/>
              <a:gd name="connsiteY2244" fmla="*/ 3189081 h 6407421"/>
              <a:gd name="connsiteX2245" fmla="*/ 3193374 w 11701760"/>
              <a:gd name="connsiteY2245" fmla="*/ 3189081 h 6407421"/>
              <a:gd name="connsiteX2246" fmla="*/ 3193374 w 11701760"/>
              <a:gd name="connsiteY2246" fmla="*/ 3218566 h 6407421"/>
              <a:gd name="connsiteX2247" fmla="*/ 3163772 w 11701760"/>
              <a:gd name="connsiteY2247" fmla="*/ 3218566 h 6407421"/>
              <a:gd name="connsiteX2248" fmla="*/ 8744423 w 11701760"/>
              <a:gd name="connsiteY2248" fmla="*/ 3189080 h 6407421"/>
              <a:gd name="connsiteX2249" fmla="*/ 8774026 w 11701760"/>
              <a:gd name="connsiteY2249" fmla="*/ 3189080 h 6407421"/>
              <a:gd name="connsiteX2250" fmla="*/ 8774026 w 11701760"/>
              <a:gd name="connsiteY2250" fmla="*/ 3218566 h 6407421"/>
              <a:gd name="connsiteX2251" fmla="*/ 8744423 w 11701760"/>
              <a:gd name="connsiteY2251" fmla="*/ 3218566 h 6407421"/>
              <a:gd name="connsiteX2252" fmla="*/ 2897575 w 11701760"/>
              <a:gd name="connsiteY2252" fmla="*/ 3189080 h 6407421"/>
              <a:gd name="connsiteX2253" fmla="*/ 2927178 w 11701760"/>
              <a:gd name="connsiteY2253" fmla="*/ 3189080 h 6407421"/>
              <a:gd name="connsiteX2254" fmla="*/ 2927178 w 11701760"/>
              <a:gd name="connsiteY2254" fmla="*/ 3218566 h 6407421"/>
              <a:gd name="connsiteX2255" fmla="*/ 2897575 w 11701760"/>
              <a:gd name="connsiteY2255" fmla="*/ 3218566 h 6407421"/>
              <a:gd name="connsiteX2256" fmla="*/ 8478226 w 11701760"/>
              <a:gd name="connsiteY2256" fmla="*/ 3189079 h 6407421"/>
              <a:gd name="connsiteX2257" fmla="*/ 8507828 w 11701760"/>
              <a:gd name="connsiteY2257" fmla="*/ 3189079 h 6407421"/>
              <a:gd name="connsiteX2258" fmla="*/ 8507828 w 11701760"/>
              <a:gd name="connsiteY2258" fmla="*/ 3218566 h 6407421"/>
              <a:gd name="connsiteX2259" fmla="*/ 8478226 w 11701760"/>
              <a:gd name="connsiteY2259" fmla="*/ 3218566 h 6407421"/>
              <a:gd name="connsiteX2260" fmla="*/ 2631378 w 11701760"/>
              <a:gd name="connsiteY2260" fmla="*/ 3189079 h 6407421"/>
              <a:gd name="connsiteX2261" fmla="*/ 2660980 w 11701760"/>
              <a:gd name="connsiteY2261" fmla="*/ 3189079 h 6407421"/>
              <a:gd name="connsiteX2262" fmla="*/ 2660980 w 11701760"/>
              <a:gd name="connsiteY2262" fmla="*/ 3218566 h 6407421"/>
              <a:gd name="connsiteX2263" fmla="*/ 2631378 w 11701760"/>
              <a:gd name="connsiteY2263" fmla="*/ 3218566 h 6407421"/>
              <a:gd name="connsiteX2264" fmla="*/ 8212137 w 11701760"/>
              <a:gd name="connsiteY2264" fmla="*/ 3189078 h 6407421"/>
              <a:gd name="connsiteX2265" fmla="*/ 8241740 w 11701760"/>
              <a:gd name="connsiteY2265" fmla="*/ 3189078 h 6407421"/>
              <a:gd name="connsiteX2266" fmla="*/ 8241740 w 11701760"/>
              <a:gd name="connsiteY2266" fmla="*/ 3218566 h 6407421"/>
              <a:gd name="connsiteX2267" fmla="*/ 8212137 w 11701760"/>
              <a:gd name="connsiteY2267" fmla="*/ 3218566 h 6407421"/>
              <a:gd name="connsiteX2268" fmla="*/ 2365289 w 11701760"/>
              <a:gd name="connsiteY2268" fmla="*/ 3189078 h 6407421"/>
              <a:gd name="connsiteX2269" fmla="*/ 2394892 w 11701760"/>
              <a:gd name="connsiteY2269" fmla="*/ 3189078 h 6407421"/>
              <a:gd name="connsiteX2270" fmla="*/ 2394892 w 11701760"/>
              <a:gd name="connsiteY2270" fmla="*/ 3218566 h 6407421"/>
              <a:gd name="connsiteX2271" fmla="*/ 2365289 w 11701760"/>
              <a:gd name="connsiteY2271" fmla="*/ 3218566 h 6407421"/>
              <a:gd name="connsiteX2272" fmla="*/ 7945940 w 11701760"/>
              <a:gd name="connsiteY2272" fmla="*/ 3189077 h 6407421"/>
              <a:gd name="connsiteX2273" fmla="*/ 7975543 w 11701760"/>
              <a:gd name="connsiteY2273" fmla="*/ 3189077 h 6407421"/>
              <a:gd name="connsiteX2274" fmla="*/ 7975543 w 11701760"/>
              <a:gd name="connsiteY2274" fmla="*/ 3218566 h 6407421"/>
              <a:gd name="connsiteX2275" fmla="*/ 7945940 w 11701760"/>
              <a:gd name="connsiteY2275" fmla="*/ 3218566 h 6407421"/>
              <a:gd name="connsiteX2276" fmla="*/ 2099092 w 11701760"/>
              <a:gd name="connsiteY2276" fmla="*/ 3189077 h 6407421"/>
              <a:gd name="connsiteX2277" fmla="*/ 2128695 w 11701760"/>
              <a:gd name="connsiteY2277" fmla="*/ 3189077 h 6407421"/>
              <a:gd name="connsiteX2278" fmla="*/ 2128695 w 11701760"/>
              <a:gd name="connsiteY2278" fmla="*/ 3218566 h 6407421"/>
              <a:gd name="connsiteX2279" fmla="*/ 2099092 w 11701760"/>
              <a:gd name="connsiteY2279" fmla="*/ 3218566 h 6407421"/>
              <a:gd name="connsiteX2280" fmla="*/ 7679743 w 11701760"/>
              <a:gd name="connsiteY2280" fmla="*/ 3189076 h 6407421"/>
              <a:gd name="connsiteX2281" fmla="*/ 7709346 w 11701760"/>
              <a:gd name="connsiteY2281" fmla="*/ 3189076 h 6407421"/>
              <a:gd name="connsiteX2282" fmla="*/ 7709346 w 11701760"/>
              <a:gd name="connsiteY2282" fmla="*/ 3218566 h 6407421"/>
              <a:gd name="connsiteX2283" fmla="*/ 7679743 w 11701760"/>
              <a:gd name="connsiteY2283" fmla="*/ 3218566 h 6407421"/>
              <a:gd name="connsiteX2284" fmla="*/ 7413653 w 11701760"/>
              <a:gd name="connsiteY2284" fmla="*/ 3189076 h 6407421"/>
              <a:gd name="connsiteX2285" fmla="*/ 7443256 w 11701760"/>
              <a:gd name="connsiteY2285" fmla="*/ 3189076 h 6407421"/>
              <a:gd name="connsiteX2286" fmla="*/ 7443256 w 11701760"/>
              <a:gd name="connsiteY2286" fmla="*/ 3218566 h 6407421"/>
              <a:gd name="connsiteX2287" fmla="*/ 7413653 w 11701760"/>
              <a:gd name="connsiteY2287" fmla="*/ 3218566 h 6407421"/>
              <a:gd name="connsiteX2288" fmla="*/ 1832898 w 11701760"/>
              <a:gd name="connsiteY2288" fmla="*/ 3189076 h 6407421"/>
              <a:gd name="connsiteX2289" fmla="*/ 1862498 w 11701760"/>
              <a:gd name="connsiteY2289" fmla="*/ 3189076 h 6407421"/>
              <a:gd name="connsiteX2290" fmla="*/ 1862498 w 11701760"/>
              <a:gd name="connsiteY2290" fmla="*/ 3218566 h 6407421"/>
              <a:gd name="connsiteX2291" fmla="*/ 1832898 w 11701760"/>
              <a:gd name="connsiteY2291" fmla="*/ 3218566 h 6407421"/>
              <a:gd name="connsiteX2292" fmla="*/ 1566808 w 11701760"/>
              <a:gd name="connsiteY2292" fmla="*/ 3189076 h 6407421"/>
              <a:gd name="connsiteX2293" fmla="*/ 1596409 w 11701760"/>
              <a:gd name="connsiteY2293" fmla="*/ 3189076 h 6407421"/>
              <a:gd name="connsiteX2294" fmla="*/ 1596409 w 11701760"/>
              <a:gd name="connsiteY2294" fmla="*/ 3218566 h 6407421"/>
              <a:gd name="connsiteX2295" fmla="*/ 1566808 w 11701760"/>
              <a:gd name="connsiteY2295" fmla="*/ 3218566 h 6407421"/>
              <a:gd name="connsiteX2296" fmla="*/ 7147456 w 11701760"/>
              <a:gd name="connsiteY2296" fmla="*/ 3189075 h 6407421"/>
              <a:gd name="connsiteX2297" fmla="*/ 7177058 w 11701760"/>
              <a:gd name="connsiteY2297" fmla="*/ 3189075 h 6407421"/>
              <a:gd name="connsiteX2298" fmla="*/ 7177058 w 11701760"/>
              <a:gd name="connsiteY2298" fmla="*/ 3218566 h 6407421"/>
              <a:gd name="connsiteX2299" fmla="*/ 7147456 w 11701760"/>
              <a:gd name="connsiteY2299" fmla="*/ 3218566 h 6407421"/>
              <a:gd name="connsiteX2300" fmla="*/ 1300611 w 11701760"/>
              <a:gd name="connsiteY2300" fmla="*/ 3189075 h 6407421"/>
              <a:gd name="connsiteX2301" fmla="*/ 1330213 w 11701760"/>
              <a:gd name="connsiteY2301" fmla="*/ 3189075 h 6407421"/>
              <a:gd name="connsiteX2302" fmla="*/ 1330213 w 11701760"/>
              <a:gd name="connsiteY2302" fmla="*/ 3218566 h 6407421"/>
              <a:gd name="connsiteX2303" fmla="*/ 1300611 w 11701760"/>
              <a:gd name="connsiteY2303" fmla="*/ 3218566 h 6407421"/>
              <a:gd name="connsiteX2304" fmla="*/ 6881367 w 11701760"/>
              <a:gd name="connsiteY2304" fmla="*/ 3189074 h 6407421"/>
              <a:gd name="connsiteX2305" fmla="*/ 6910970 w 11701760"/>
              <a:gd name="connsiteY2305" fmla="*/ 3189074 h 6407421"/>
              <a:gd name="connsiteX2306" fmla="*/ 6910970 w 11701760"/>
              <a:gd name="connsiteY2306" fmla="*/ 3218566 h 6407421"/>
              <a:gd name="connsiteX2307" fmla="*/ 6881367 w 11701760"/>
              <a:gd name="connsiteY2307" fmla="*/ 3218566 h 6407421"/>
              <a:gd name="connsiteX2308" fmla="*/ 1034520 w 11701760"/>
              <a:gd name="connsiteY2308" fmla="*/ 3189074 h 6407421"/>
              <a:gd name="connsiteX2309" fmla="*/ 1064123 w 11701760"/>
              <a:gd name="connsiteY2309" fmla="*/ 3189074 h 6407421"/>
              <a:gd name="connsiteX2310" fmla="*/ 1064123 w 11701760"/>
              <a:gd name="connsiteY2310" fmla="*/ 3218566 h 6407421"/>
              <a:gd name="connsiteX2311" fmla="*/ 1034520 w 11701760"/>
              <a:gd name="connsiteY2311" fmla="*/ 3218566 h 6407421"/>
              <a:gd name="connsiteX2312" fmla="*/ 6615170 w 11701760"/>
              <a:gd name="connsiteY2312" fmla="*/ 3189073 h 6407421"/>
              <a:gd name="connsiteX2313" fmla="*/ 6644773 w 11701760"/>
              <a:gd name="connsiteY2313" fmla="*/ 3189073 h 6407421"/>
              <a:gd name="connsiteX2314" fmla="*/ 6644773 w 11701760"/>
              <a:gd name="connsiteY2314" fmla="*/ 3218566 h 6407421"/>
              <a:gd name="connsiteX2315" fmla="*/ 6615170 w 11701760"/>
              <a:gd name="connsiteY2315" fmla="*/ 3218566 h 6407421"/>
              <a:gd name="connsiteX2316" fmla="*/ 768327 w 11701760"/>
              <a:gd name="connsiteY2316" fmla="*/ 3189073 h 6407421"/>
              <a:gd name="connsiteX2317" fmla="*/ 797926 w 11701760"/>
              <a:gd name="connsiteY2317" fmla="*/ 3189073 h 6407421"/>
              <a:gd name="connsiteX2318" fmla="*/ 797926 w 11701760"/>
              <a:gd name="connsiteY2318" fmla="*/ 3218566 h 6407421"/>
              <a:gd name="connsiteX2319" fmla="*/ 768327 w 11701760"/>
              <a:gd name="connsiteY2319" fmla="*/ 3218566 h 6407421"/>
              <a:gd name="connsiteX2320" fmla="*/ 6349081 w 11701760"/>
              <a:gd name="connsiteY2320" fmla="*/ 3189072 h 6407421"/>
              <a:gd name="connsiteX2321" fmla="*/ 6378683 w 11701760"/>
              <a:gd name="connsiteY2321" fmla="*/ 3189072 h 6407421"/>
              <a:gd name="connsiteX2322" fmla="*/ 6378683 w 11701760"/>
              <a:gd name="connsiteY2322" fmla="*/ 3218566 h 6407421"/>
              <a:gd name="connsiteX2323" fmla="*/ 6349081 w 11701760"/>
              <a:gd name="connsiteY2323" fmla="*/ 3218566 h 6407421"/>
              <a:gd name="connsiteX2324" fmla="*/ 502236 w 11701760"/>
              <a:gd name="connsiteY2324" fmla="*/ 3189072 h 6407421"/>
              <a:gd name="connsiteX2325" fmla="*/ 531839 w 11701760"/>
              <a:gd name="connsiteY2325" fmla="*/ 3189072 h 6407421"/>
              <a:gd name="connsiteX2326" fmla="*/ 531839 w 11701760"/>
              <a:gd name="connsiteY2326" fmla="*/ 3218566 h 6407421"/>
              <a:gd name="connsiteX2327" fmla="*/ 502236 w 11701760"/>
              <a:gd name="connsiteY2327" fmla="*/ 3218566 h 6407421"/>
              <a:gd name="connsiteX2328" fmla="*/ 6082884 w 11701760"/>
              <a:gd name="connsiteY2328" fmla="*/ 3189071 h 6407421"/>
              <a:gd name="connsiteX2329" fmla="*/ 6112486 w 11701760"/>
              <a:gd name="connsiteY2329" fmla="*/ 3189071 h 6407421"/>
              <a:gd name="connsiteX2330" fmla="*/ 6112486 w 11701760"/>
              <a:gd name="connsiteY2330" fmla="*/ 3218566 h 6407421"/>
              <a:gd name="connsiteX2331" fmla="*/ 6082884 w 11701760"/>
              <a:gd name="connsiteY2331" fmla="*/ 3218566 h 6407421"/>
              <a:gd name="connsiteX2332" fmla="*/ 236037 w 11701760"/>
              <a:gd name="connsiteY2332" fmla="*/ 3189071 h 6407421"/>
              <a:gd name="connsiteX2333" fmla="*/ 265639 w 11701760"/>
              <a:gd name="connsiteY2333" fmla="*/ 3189071 h 6407421"/>
              <a:gd name="connsiteX2334" fmla="*/ 265639 w 11701760"/>
              <a:gd name="connsiteY2334" fmla="*/ 3218566 h 6407421"/>
              <a:gd name="connsiteX2335" fmla="*/ 236037 w 11701760"/>
              <a:gd name="connsiteY2335" fmla="*/ 3218566 h 6407421"/>
              <a:gd name="connsiteX2336" fmla="*/ 1 w 11701760"/>
              <a:gd name="connsiteY2336" fmla="*/ 3189071 h 6407421"/>
              <a:gd name="connsiteX2337" fmla="*/ 29603 w 11701760"/>
              <a:gd name="connsiteY2337" fmla="*/ 3189071 h 6407421"/>
              <a:gd name="connsiteX2338" fmla="*/ 29603 w 11701760"/>
              <a:gd name="connsiteY2338" fmla="*/ 3218566 h 6407421"/>
              <a:gd name="connsiteX2339" fmla="*/ 1 w 11701760"/>
              <a:gd name="connsiteY2339" fmla="*/ 3218566 h 6407421"/>
              <a:gd name="connsiteX2340" fmla="*/ 11672158 w 11701760"/>
              <a:gd name="connsiteY2340" fmla="*/ 2923329 h 6407421"/>
              <a:gd name="connsiteX2341" fmla="*/ 11701760 w 11701760"/>
              <a:gd name="connsiteY2341" fmla="*/ 2923329 h 6407421"/>
              <a:gd name="connsiteX2342" fmla="*/ 11701760 w 11701760"/>
              <a:gd name="connsiteY2342" fmla="*/ 2952824 h 6407421"/>
              <a:gd name="connsiteX2343" fmla="*/ 11672158 w 11701760"/>
              <a:gd name="connsiteY2343" fmla="*/ 2952824 h 6407421"/>
              <a:gd name="connsiteX2344" fmla="*/ 5825310 w 11701760"/>
              <a:gd name="connsiteY2344" fmla="*/ 2923329 h 6407421"/>
              <a:gd name="connsiteX2345" fmla="*/ 5854913 w 11701760"/>
              <a:gd name="connsiteY2345" fmla="*/ 2923329 h 6407421"/>
              <a:gd name="connsiteX2346" fmla="*/ 5854913 w 11701760"/>
              <a:gd name="connsiteY2346" fmla="*/ 2952824 h 6407421"/>
              <a:gd name="connsiteX2347" fmla="*/ 5825310 w 11701760"/>
              <a:gd name="connsiteY2347" fmla="*/ 2952824 h 6407421"/>
              <a:gd name="connsiteX2348" fmla="*/ 11405961 w 11701760"/>
              <a:gd name="connsiteY2348" fmla="*/ 2923328 h 6407421"/>
              <a:gd name="connsiteX2349" fmla="*/ 11435563 w 11701760"/>
              <a:gd name="connsiteY2349" fmla="*/ 2923328 h 6407421"/>
              <a:gd name="connsiteX2350" fmla="*/ 11435563 w 11701760"/>
              <a:gd name="connsiteY2350" fmla="*/ 2952823 h 6407421"/>
              <a:gd name="connsiteX2351" fmla="*/ 11405961 w 11701760"/>
              <a:gd name="connsiteY2351" fmla="*/ 2952823 h 6407421"/>
              <a:gd name="connsiteX2352" fmla="*/ 5559113 w 11701760"/>
              <a:gd name="connsiteY2352" fmla="*/ 2923328 h 6407421"/>
              <a:gd name="connsiteX2353" fmla="*/ 5588715 w 11701760"/>
              <a:gd name="connsiteY2353" fmla="*/ 2923328 h 6407421"/>
              <a:gd name="connsiteX2354" fmla="*/ 5588715 w 11701760"/>
              <a:gd name="connsiteY2354" fmla="*/ 2952823 h 6407421"/>
              <a:gd name="connsiteX2355" fmla="*/ 5559113 w 11701760"/>
              <a:gd name="connsiteY2355" fmla="*/ 2952823 h 6407421"/>
              <a:gd name="connsiteX2356" fmla="*/ 11139872 w 11701760"/>
              <a:gd name="connsiteY2356" fmla="*/ 2923327 h 6407421"/>
              <a:gd name="connsiteX2357" fmla="*/ 11169474 w 11701760"/>
              <a:gd name="connsiteY2357" fmla="*/ 2923327 h 6407421"/>
              <a:gd name="connsiteX2358" fmla="*/ 11169474 w 11701760"/>
              <a:gd name="connsiteY2358" fmla="*/ 2952822 h 6407421"/>
              <a:gd name="connsiteX2359" fmla="*/ 11139872 w 11701760"/>
              <a:gd name="connsiteY2359" fmla="*/ 2952822 h 6407421"/>
              <a:gd name="connsiteX2360" fmla="*/ 5293024 w 11701760"/>
              <a:gd name="connsiteY2360" fmla="*/ 2923327 h 6407421"/>
              <a:gd name="connsiteX2361" fmla="*/ 5322626 w 11701760"/>
              <a:gd name="connsiteY2361" fmla="*/ 2923327 h 6407421"/>
              <a:gd name="connsiteX2362" fmla="*/ 5322626 w 11701760"/>
              <a:gd name="connsiteY2362" fmla="*/ 2952822 h 6407421"/>
              <a:gd name="connsiteX2363" fmla="*/ 5293024 w 11701760"/>
              <a:gd name="connsiteY2363" fmla="*/ 2952822 h 6407421"/>
              <a:gd name="connsiteX2364" fmla="*/ 10873675 w 11701760"/>
              <a:gd name="connsiteY2364" fmla="*/ 2923326 h 6407421"/>
              <a:gd name="connsiteX2365" fmla="*/ 10903277 w 11701760"/>
              <a:gd name="connsiteY2365" fmla="*/ 2923326 h 6407421"/>
              <a:gd name="connsiteX2366" fmla="*/ 10903277 w 11701760"/>
              <a:gd name="connsiteY2366" fmla="*/ 2952821 h 6407421"/>
              <a:gd name="connsiteX2367" fmla="*/ 10873675 w 11701760"/>
              <a:gd name="connsiteY2367" fmla="*/ 2952821 h 6407421"/>
              <a:gd name="connsiteX2368" fmla="*/ 5026827 w 11701760"/>
              <a:gd name="connsiteY2368" fmla="*/ 2923326 h 6407421"/>
              <a:gd name="connsiteX2369" fmla="*/ 5056429 w 11701760"/>
              <a:gd name="connsiteY2369" fmla="*/ 2923326 h 6407421"/>
              <a:gd name="connsiteX2370" fmla="*/ 5056429 w 11701760"/>
              <a:gd name="connsiteY2370" fmla="*/ 2952821 h 6407421"/>
              <a:gd name="connsiteX2371" fmla="*/ 5026827 w 11701760"/>
              <a:gd name="connsiteY2371" fmla="*/ 2952821 h 6407421"/>
              <a:gd name="connsiteX2372" fmla="*/ 10607478 w 11701760"/>
              <a:gd name="connsiteY2372" fmla="*/ 2923325 h 6407421"/>
              <a:gd name="connsiteX2373" fmla="*/ 10637188 w 11701760"/>
              <a:gd name="connsiteY2373" fmla="*/ 2923325 h 6407421"/>
              <a:gd name="connsiteX2374" fmla="*/ 10637188 w 11701760"/>
              <a:gd name="connsiteY2374" fmla="*/ 2952820 h 6407421"/>
              <a:gd name="connsiteX2375" fmla="*/ 10607478 w 11701760"/>
              <a:gd name="connsiteY2375" fmla="*/ 2952820 h 6407421"/>
              <a:gd name="connsiteX2376" fmla="*/ 4760630 w 11701760"/>
              <a:gd name="connsiteY2376" fmla="*/ 2923325 h 6407421"/>
              <a:gd name="connsiteX2377" fmla="*/ 4790340 w 11701760"/>
              <a:gd name="connsiteY2377" fmla="*/ 2923325 h 6407421"/>
              <a:gd name="connsiteX2378" fmla="*/ 4790340 w 11701760"/>
              <a:gd name="connsiteY2378" fmla="*/ 2952820 h 6407421"/>
              <a:gd name="connsiteX2379" fmla="*/ 4760630 w 11701760"/>
              <a:gd name="connsiteY2379" fmla="*/ 2952820 h 6407421"/>
              <a:gd name="connsiteX2380" fmla="*/ 10341389 w 11701760"/>
              <a:gd name="connsiteY2380" fmla="*/ 2923323 h 6407421"/>
              <a:gd name="connsiteX2381" fmla="*/ 10370992 w 11701760"/>
              <a:gd name="connsiteY2381" fmla="*/ 2923323 h 6407421"/>
              <a:gd name="connsiteX2382" fmla="*/ 10370992 w 11701760"/>
              <a:gd name="connsiteY2382" fmla="*/ 2952819 h 6407421"/>
              <a:gd name="connsiteX2383" fmla="*/ 10341389 w 11701760"/>
              <a:gd name="connsiteY2383" fmla="*/ 2952819 h 6407421"/>
              <a:gd name="connsiteX2384" fmla="*/ 4494541 w 11701760"/>
              <a:gd name="connsiteY2384" fmla="*/ 2923323 h 6407421"/>
              <a:gd name="connsiteX2385" fmla="*/ 4524144 w 11701760"/>
              <a:gd name="connsiteY2385" fmla="*/ 2923323 h 6407421"/>
              <a:gd name="connsiteX2386" fmla="*/ 4524144 w 11701760"/>
              <a:gd name="connsiteY2386" fmla="*/ 2952819 h 6407421"/>
              <a:gd name="connsiteX2387" fmla="*/ 4494541 w 11701760"/>
              <a:gd name="connsiteY2387" fmla="*/ 2952819 h 6407421"/>
              <a:gd name="connsiteX2388" fmla="*/ 10075192 w 11701760"/>
              <a:gd name="connsiteY2388" fmla="*/ 2923322 h 6407421"/>
              <a:gd name="connsiteX2389" fmla="*/ 10104794 w 11701760"/>
              <a:gd name="connsiteY2389" fmla="*/ 2923322 h 6407421"/>
              <a:gd name="connsiteX2390" fmla="*/ 10104794 w 11701760"/>
              <a:gd name="connsiteY2390" fmla="*/ 2952818 h 6407421"/>
              <a:gd name="connsiteX2391" fmla="*/ 10075192 w 11701760"/>
              <a:gd name="connsiteY2391" fmla="*/ 2952818 h 6407421"/>
              <a:gd name="connsiteX2392" fmla="*/ 4228344 w 11701760"/>
              <a:gd name="connsiteY2392" fmla="*/ 2923322 h 6407421"/>
              <a:gd name="connsiteX2393" fmla="*/ 4257946 w 11701760"/>
              <a:gd name="connsiteY2393" fmla="*/ 2923322 h 6407421"/>
              <a:gd name="connsiteX2394" fmla="*/ 4257946 w 11701760"/>
              <a:gd name="connsiteY2394" fmla="*/ 2952818 h 6407421"/>
              <a:gd name="connsiteX2395" fmla="*/ 4228344 w 11701760"/>
              <a:gd name="connsiteY2395" fmla="*/ 2952818 h 6407421"/>
              <a:gd name="connsiteX2396" fmla="*/ 9809103 w 11701760"/>
              <a:gd name="connsiteY2396" fmla="*/ 2923321 h 6407421"/>
              <a:gd name="connsiteX2397" fmla="*/ 9838705 w 11701760"/>
              <a:gd name="connsiteY2397" fmla="*/ 2923321 h 6407421"/>
              <a:gd name="connsiteX2398" fmla="*/ 9838705 w 11701760"/>
              <a:gd name="connsiteY2398" fmla="*/ 2952817 h 6407421"/>
              <a:gd name="connsiteX2399" fmla="*/ 9809103 w 11701760"/>
              <a:gd name="connsiteY2399" fmla="*/ 2952817 h 6407421"/>
              <a:gd name="connsiteX2400" fmla="*/ 3962255 w 11701760"/>
              <a:gd name="connsiteY2400" fmla="*/ 2923321 h 6407421"/>
              <a:gd name="connsiteX2401" fmla="*/ 3991857 w 11701760"/>
              <a:gd name="connsiteY2401" fmla="*/ 2923321 h 6407421"/>
              <a:gd name="connsiteX2402" fmla="*/ 3991857 w 11701760"/>
              <a:gd name="connsiteY2402" fmla="*/ 2952817 h 6407421"/>
              <a:gd name="connsiteX2403" fmla="*/ 3962255 w 11701760"/>
              <a:gd name="connsiteY2403" fmla="*/ 2952817 h 6407421"/>
              <a:gd name="connsiteX2404" fmla="*/ 9542906 w 11701760"/>
              <a:gd name="connsiteY2404" fmla="*/ 2923320 h 6407421"/>
              <a:gd name="connsiteX2405" fmla="*/ 9572509 w 11701760"/>
              <a:gd name="connsiteY2405" fmla="*/ 2923320 h 6407421"/>
              <a:gd name="connsiteX2406" fmla="*/ 9572509 w 11701760"/>
              <a:gd name="connsiteY2406" fmla="*/ 2952815 h 6407421"/>
              <a:gd name="connsiteX2407" fmla="*/ 9542906 w 11701760"/>
              <a:gd name="connsiteY2407" fmla="*/ 2952815 h 6407421"/>
              <a:gd name="connsiteX2408" fmla="*/ 3696058 w 11701760"/>
              <a:gd name="connsiteY2408" fmla="*/ 2923320 h 6407421"/>
              <a:gd name="connsiteX2409" fmla="*/ 3725661 w 11701760"/>
              <a:gd name="connsiteY2409" fmla="*/ 2923320 h 6407421"/>
              <a:gd name="connsiteX2410" fmla="*/ 3725661 w 11701760"/>
              <a:gd name="connsiteY2410" fmla="*/ 2952815 h 6407421"/>
              <a:gd name="connsiteX2411" fmla="*/ 3696058 w 11701760"/>
              <a:gd name="connsiteY2411" fmla="*/ 2952815 h 6407421"/>
              <a:gd name="connsiteX2412" fmla="*/ 9276817 w 11701760"/>
              <a:gd name="connsiteY2412" fmla="*/ 2923319 h 6407421"/>
              <a:gd name="connsiteX2413" fmla="*/ 9306420 w 11701760"/>
              <a:gd name="connsiteY2413" fmla="*/ 2923319 h 6407421"/>
              <a:gd name="connsiteX2414" fmla="*/ 9306420 w 11701760"/>
              <a:gd name="connsiteY2414" fmla="*/ 2952814 h 6407421"/>
              <a:gd name="connsiteX2415" fmla="*/ 9276817 w 11701760"/>
              <a:gd name="connsiteY2415" fmla="*/ 2952814 h 6407421"/>
              <a:gd name="connsiteX2416" fmla="*/ 3429969 w 11701760"/>
              <a:gd name="connsiteY2416" fmla="*/ 2923319 h 6407421"/>
              <a:gd name="connsiteX2417" fmla="*/ 3459572 w 11701760"/>
              <a:gd name="connsiteY2417" fmla="*/ 2923319 h 6407421"/>
              <a:gd name="connsiteX2418" fmla="*/ 3459572 w 11701760"/>
              <a:gd name="connsiteY2418" fmla="*/ 2952814 h 6407421"/>
              <a:gd name="connsiteX2419" fmla="*/ 3429969 w 11701760"/>
              <a:gd name="connsiteY2419" fmla="*/ 2952814 h 6407421"/>
              <a:gd name="connsiteX2420" fmla="*/ 9010620 w 11701760"/>
              <a:gd name="connsiteY2420" fmla="*/ 2923318 h 6407421"/>
              <a:gd name="connsiteX2421" fmla="*/ 9040222 w 11701760"/>
              <a:gd name="connsiteY2421" fmla="*/ 2923318 h 6407421"/>
              <a:gd name="connsiteX2422" fmla="*/ 9040222 w 11701760"/>
              <a:gd name="connsiteY2422" fmla="*/ 2952813 h 6407421"/>
              <a:gd name="connsiteX2423" fmla="*/ 9010620 w 11701760"/>
              <a:gd name="connsiteY2423" fmla="*/ 2952813 h 6407421"/>
              <a:gd name="connsiteX2424" fmla="*/ 3163772 w 11701760"/>
              <a:gd name="connsiteY2424" fmla="*/ 2923318 h 6407421"/>
              <a:gd name="connsiteX2425" fmla="*/ 3193374 w 11701760"/>
              <a:gd name="connsiteY2425" fmla="*/ 2923318 h 6407421"/>
              <a:gd name="connsiteX2426" fmla="*/ 3193374 w 11701760"/>
              <a:gd name="connsiteY2426" fmla="*/ 2952813 h 6407421"/>
              <a:gd name="connsiteX2427" fmla="*/ 3163772 w 11701760"/>
              <a:gd name="connsiteY2427" fmla="*/ 2952813 h 6407421"/>
              <a:gd name="connsiteX2428" fmla="*/ 8744423 w 11701760"/>
              <a:gd name="connsiteY2428" fmla="*/ 2923317 h 6407421"/>
              <a:gd name="connsiteX2429" fmla="*/ 8774026 w 11701760"/>
              <a:gd name="connsiteY2429" fmla="*/ 2923317 h 6407421"/>
              <a:gd name="connsiteX2430" fmla="*/ 8774026 w 11701760"/>
              <a:gd name="connsiteY2430" fmla="*/ 2952812 h 6407421"/>
              <a:gd name="connsiteX2431" fmla="*/ 8744423 w 11701760"/>
              <a:gd name="connsiteY2431" fmla="*/ 2952812 h 6407421"/>
              <a:gd name="connsiteX2432" fmla="*/ 2897575 w 11701760"/>
              <a:gd name="connsiteY2432" fmla="*/ 2923317 h 6407421"/>
              <a:gd name="connsiteX2433" fmla="*/ 2927178 w 11701760"/>
              <a:gd name="connsiteY2433" fmla="*/ 2923317 h 6407421"/>
              <a:gd name="connsiteX2434" fmla="*/ 2927178 w 11701760"/>
              <a:gd name="connsiteY2434" fmla="*/ 2952812 h 6407421"/>
              <a:gd name="connsiteX2435" fmla="*/ 2897575 w 11701760"/>
              <a:gd name="connsiteY2435" fmla="*/ 2952812 h 6407421"/>
              <a:gd name="connsiteX2436" fmla="*/ 8478226 w 11701760"/>
              <a:gd name="connsiteY2436" fmla="*/ 2923316 h 6407421"/>
              <a:gd name="connsiteX2437" fmla="*/ 8507828 w 11701760"/>
              <a:gd name="connsiteY2437" fmla="*/ 2923316 h 6407421"/>
              <a:gd name="connsiteX2438" fmla="*/ 8507828 w 11701760"/>
              <a:gd name="connsiteY2438" fmla="*/ 2952811 h 6407421"/>
              <a:gd name="connsiteX2439" fmla="*/ 8478226 w 11701760"/>
              <a:gd name="connsiteY2439" fmla="*/ 2952811 h 6407421"/>
              <a:gd name="connsiteX2440" fmla="*/ 2631378 w 11701760"/>
              <a:gd name="connsiteY2440" fmla="*/ 2923316 h 6407421"/>
              <a:gd name="connsiteX2441" fmla="*/ 2660980 w 11701760"/>
              <a:gd name="connsiteY2441" fmla="*/ 2923316 h 6407421"/>
              <a:gd name="connsiteX2442" fmla="*/ 2660980 w 11701760"/>
              <a:gd name="connsiteY2442" fmla="*/ 2952811 h 6407421"/>
              <a:gd name="connsiteX2443" fmla="*/ 2631378 w 11701760"/>
              <a:gd name="connsiteY2443" fmla="*/ 2952811 h 6407421"/>
              <a:gd name="connsiteX2444" fmla="*/ 8212137 w 11701760"/>
              <a:gd name="connsiteY2444" fmla="*/ 2923315 h 6407421"/>
              <a:gd name="connsiteX2445" fmla="*/ 8241740 w 11701760"/>
              <a:gd name="connsiteY2445" fmla="*/ 2923315 h 6407421"/>
              <a:gd name="connsiteX2446" fmla="*/ 8241740 w 11701760"/>
              <a:gd name="connsiteY2446" fmla="*/ 2952810 h 6407421"/>
              <a:gd name="connsiteX2447" fmla="*/ 8212137 w 11701760"/>
              <a:gd name="connsiteY2447" fmla="*/ 2952810 h 6407421"/>
              <a:gd name="connsiteX2448" fmla="*/ 2365289 w 11701760"/>
              <a:gd name="connsiteY2448" fmla="*/ 2923315 h 6407421"/>
              <a:gd name="connsiteX2449" fmla="*/ 2394892 w 11701760"/>
              <a:gd name="connsiteY2449" fmla="*/ 2923315 h 6407421"/>
              <a:gd name="connsiteX2450" fmla="*/ 2394892 w 11701760"/>
              <a:gd name="connsiteY2450" fmla="*/ 2952810 h 6407421"/>
              <a:gd name="connsiteX2451" fmla="*/ 2365289 w 11701760"/>
              <a:gd name="connsiteY2451" fmla="*/ 2952810 h 6407421"/>
              <a:gd name="connsiteX2452" fmla="*/ 7945940 w 11701760"/>
              <a:gd name="connsiteY2452" fmla="*/ 2923314 h 6407421"/>
              <a:gd name="connsiteX2453" fmla="*/ 7975543 w 11701760"/>
              <a:gd name="connsiteY2453" fmla="*/ 2923314 h 6407421"/>
              <a:gd name="connsiteX2454" fmla="*/ 7975543 w 11701760"/>
              <a:gd name="connsiteY2454" fmla="*/ 2952809 h 6407421"/>
              <a:gd name="connsiteX2455" fmla="*/ 7945940 w 11701760"/>
              <a:gd name="connsiteY2455" fmla="*/ 2952809 h 6407421"/>
              <a:gd name="connsiteX2456" fmla="*/ 2099092 w 11701760"/>
              <a:gd name="connsiteY2456" fmla="*/ 2923314 h 6407421"/>
              <a:gd name="connsiteX2457" fmla="*/ 2128695 w 11701760"/>
              <a:gd name="connsiteY2457" fmla="*/ 2923314 h 6407421"/>
              <a:gd name="connsiteX2458" fmla="*/ 2128695 w 11701760"/>
              <a:gd name="connsiteY2458" fmla="*/ 2952809 h 6407421"/>
              <a:gd name="connsiteX2459" fmla="*/ 2099092 w 11701760"/>
              <a:gd name="connsiteY2459" fmla="*/ 2952809 h 6407421"/>
              <a:gd name="connsiteX2460" fmla="*/ 7679743 w 11701760"/>
              <a:gd name="connsiteY2460" fmla="*/ 2923313 h 6407421"/>
              <a:gd name="connsiteX2461" fmla="*/ 7709346 w 11701760"/>
              <a:gd name="connsiteY2461" fmla="*/ 2923313 h 6407421"/>
              <a:gd name="connsiteX2462" fmla="*/ 7709346 w 11701760"/>
              <a:gd name="connsiteY2462" fmla="*/ 2952808 h 6407421"/>
              <a:gd name="connsiteX2463" fmla="*/ 7679743 w 11701760"/>
              <a:gd name="connsiteY2463" fmla="*/ 2952808 h 6407421"/>
              <a:gd name="connsiteX2464" fmla="*/ 1832898 w 11701760"/>
              <a:gd name="connsiteY2464" fmla="*/ 2923313 h 6407421"/>
              <a:gd name="connsiteX2465" fmla="*/ 1862498 w 11701760"/>
              <a:gd name="connsiteY2465" fmla="*/ 2923313 h 6407421"/>
              <a:gd name="connsiteX2466" fmla="*/ 1862498 w 11701760"/>
              <a:gd name="connsiteY2466" fmla="*/ 2952808 h 6407421"/>
              <a:gd name="connsiteX2467" fmla="*/ 1832898 w 11701760"/>
              <a:gd name="connsiteY2467" fmla="*/ 2952808 h 6407421"/>
              <a:gd name="connsiteX2468" fmla="*/ 7413653 w 11701760"/>
              <a:gd name="connsiteY2468" fmla="*/ 2923312 h 6407421"/>
              <a:gd name="connsiteX2469" fmla="*/ 7443256 w 11701760"/>
              <a:gd name="connsiteY2469" fmla="*/ 2923312 h 6407421"/>
              <a:gd name="connsiteX2470" fmla="*/ 7443256 w 11701760"/>
              <a:gd name="connsiteY2470" fmla="*/ 2952807 h 6407421"/>
              <a:gd name="connsiteX2471" fmla="*/ 7413653 w 11701760"/>
              <a:gd name="connsiteY2471" fmla="*/ 2952807 h 6407421"/>
              <a:gd name="connsiteX2472" fmla="*/ 1566808 w 11701760"/>
              <a:gd name="connsiteY2472" fmla="*/ 2923312 h 6407421"/>
              <a:gd name="connsiteX2473" fmla="*/ 1596409 w 11701760"/>
              <a:gd name="connsiteY2473" fmla="*/ 2923312 h 6407421"/>
              <a:gd name="connsiteX2474" fmla="*/ 1596409 w 11701760"/>
              <a:gd name="connsiteY2474" fmla="*/ 2952807 h 6407421"/>
              <a:gd name="connsiteX2475" fmla="*/ 1566808 w 11701760"/>
              <a:gd name="connsiteY2475" fmla="*/ 2952807 h 6407421"/>
              <a:gd name="connsiteX2476" fmla="*/ 7147456 w 11701760"/>
              <a:gd name="connsiteY2476" fmla="*/ 2923311 h 6407421"/>
              <a:gd name="connsiteX2477" fmla="*/ 7177058 w 11701760"/>
              <a:gd name="connsiteY2477" fmla="*/ 2923311 h 6407421"/>
              <a:gd name="connsiteX2478" fmla="*/ 7177058 w 11701760"/>
              <a:gd name="connsiteY2478" fmla="*/ 2952806 h 6407421"/>
              <a:gd name="connsiteX2479" fmla="*/ 7147456 w 11701760"/>
              <a:gd name="connsiteY2479" fmla="*/ 2952806 h 6407421"/>
              <a:gd name="connsiteX2480" fmla="*/ 1300611 w 11701760"/>
              <a:gd name="connsiteY2480" fmla="*/ 2923311 h 6407421"/>
              <a:gd name="connsiteX2481" fmla="*/ 1330213 w 11701760"/>
              <a:gd name="connsiteY2481" fmla="*/ 2923311 h 6407421"/>
              <a:gd name="connsiteX2482" fmla="*/ 1330213 w 11701760"/>
              <a:gd name="connsiteY2482" fmla="*/ 2952806 h 6407421"/>
              <a:gd name="connsiteX2483" fmla="*/ 1300611 w 11701760"/>
              <a:gd name="connsiteY2483" fmla="*/ 2952806 h 6407421"/>
              <a:gd name="connsiteX2484" fmla="*/ 6881367 w 11701760"/>
              <a:gd name="connsiteY2484" fmla="*/ 2923310 h 6407421"/>
              <a:gd name="connsiteX2485" fmla="*/ 6910970 w 11701760"/>
              <a:gd name="connsiteY2485" fmla="*/ 2923310 h 6407421"/>
              <a:gd name="connsiteX2486" fmla="*/ 6910970 w 11701760"/>
              <a:gd name="connsiteY2486" fmla="*/ 2952805 h 6407421"/>
              <a:gd name="connsiteX2487" fmla="*/ 6881367 w 11701760"/>
              <a:gd name="connsiteY2487" fmla="*/ 2952805 h 6407421"/>
              <a:gd name="connsiteX2488" fmla="*/ 1034520 w 11701760"/>
              <a:gd name="connsiteY2488" fmla="*/ 2923310 h 6407421"/>
              <a:gd name="connsiteX2489" fmla="*/ 1064123 w 11701760"/>
              <a:gd name="connsiteY2489" fmla="*/ 2923310 h 6407421"/>
              <a:gd name="connsiteX2490" fmla="*/ 1064123 w 11701760"/>
              <a:gd name="connsiteY2490" fmla="*/ 2952805 h 6407421"/>
              <a:gd name="connsiteX2491" fmla="*/ 1034520 w 11701760"/>
              <a:gd name="connsiteY2491" fmla="*/ 2952805 h 6407421"/>
              <a:gd name="connsiteX2492" fmla="*/ 6615170 w 11701760"/>
              <a:gd name="connsiteY2492" fmla="*/ 2923309 h 6407421"/>
              <a:gd name="connsiteX2493" fmla="*/ 6644773 w 11701760"/>
              <a:gd name="connsiteY2493" fmla="*/ 2923309 h 6407421"/>
              <a:gd name="connsiteX2494" fmla="*/ 6644773 w 11701760"/>
              <a:gd name="connsiteY2494" fmla="*/ 2952804 h 6407421"/>
              <a:gd name="connsiteX2495" fmla="*/ 6615170 w 11701760"/>
              <a:gd name="connsiteY2495" fmla="*/ 2952804 h 6407421"/>
              <a:gd name="connsiteX2496" fmla="*/ 768327 w 11701760"/>
              <a:gd name="connsiteY2496" fmla="*/ 2923309 h 6407421"/>
              <a:gd name="connsiteX2497" fmla="*/ 797926 w 11701760"/>
              <a:gd name="connsiteY2497" fmla="*/ 2923309 h 6407421"/>
              <a:gd name="connsiteX2498" fmla="*/ 797926 w 11701760"/>
              <a:gd name="connsiteY2498" fmla="*/ 2952804 h 6407421"/>
              <a:gd name="connsiteX2499" fmla="*/ 768327 w 11701760"/>
              <a:gd name="connsiteY2499" fmla="*/ 2952804 h 6407421"/>
              <a:gd name="connsiteX2500" fmla="*/ 6349081 w 11701760"/>
              <a:gd name="connsiteY2500" fmla="*/ 2923308 h 6407421"/>
              <a:gd name="connsiteX2501" fmla="*/ 6378683 w 11701760"/>
              <a:gd name="connsiteY2501" fmla="*/ 2923308 h 6407421"/>
              <a:gd name="connsiteX2502" fmla="*/ 6378683 w 11701760"/>
              <a:gd name="connsiteY2502" fmla="*/ 2952803 h 6407421"/>
              <a:gd name="connsiteX2503" fmla="*/ 6349081 w 11701760"/>
              <a:gd name="connsiteY2503" fmla="*/ 2952803 h 6407421"/>
              <a:gd name="connsiteX2504" fmla="*/ 502236 w 11701760"/>
              <a:gd name="connsiteY2504" fmla="*/ 2923308 h 6407421"/>
              <a:gd name="connsiteX2505" fmla="*/ 531838 w 11701760"/>
              <a:gd name="connsiteY2505" fmla="*/ 2923308 h 6407421"/>
              <a:gd name="connsiteX2506" fmla="*/ 531838 w 11701760"/>
              <a:gd name="connsiteY2506" fmla="*/ 2952803 h 6407421"/>
              <a:gd name="connsiteX2507" fmla="*/ 502236 w 11701760"/>
              <a:gd name="connsiteY2507" fmla="*/ 2952803 h 6407421"/>
              <a:gd name="connsiteX2508" fmla="*/ 6082884 w 11701760"/>
              <a:gd name="connsiteY2508" fmla="*/ 2923307 h 6407421"/>
              <a:gd name="connsiteX2509" fmla="*/ 6112486 w 11701760"/>
              <a:gd name="connsiteY2509" fmla="*/ 2923307 h 6407421"/>
              <a:gd name="connsiteX2510" fmla="*/ 6112486 w 11701760"/>
              <a:gd name="connsiteY2510" fmla="*/ 2952802 h 6407421"/>
              <a:gd name="connsiteX2511" fmla="*/ 6082884 w 11701760"/>
              <a:gd name="connsiteY2511" fmla="*/ 2952802 h 6407421"/>
              <a:gd name="connsiteX2512" fmla="*/ 236037 w 11701760"/>
              <a:gd name="connsiteY2512" fmla="*/ 2923307 h 6407421"/>
              <a:gd name="connsiteX2513" fmla="*/ 265639 w 11701760"/>
              <a:gd name="connsiteY2513" fmla="*/ 2923307 h 6407421"/>
              <a:gd name="connsiteX2514" fmla="*/ 265639 w 11701760"/>
              <a:gd name="connsiteY2514" fmla="*/ 2952802 h 6407421"/>
              <a:gd name="connsiteX2515" fmla="*/ 236037 w 11701760"/>
              <a:gd name="connsiteY2515" fmla="*/ 2952802 h 6407421"/>
              <a:gd name="connsiteX2516" fmla="*/ 1 w 11701760"/>
              <a:gd name="connsiteY2516" fmla="*/ 2923307 h 6407421"/>
              <a:gd name="connsiteX2517" fmla="*/ 29603 w 11701760"/>
              <a:gd name="connsiteY2517" fmla="*/ 2923307 h 6407421"/>
              <a:gd name="connsiteX2518" fmla="*/ 29603 w 11701760"/>
              <a:gd name="connsiteY2518" fmla="*/ 2952802 h 6407421"/>
              <a:gd name="connsiteX2519" fmla="*/ 1 w 11701760"/>
              <a:gd name="connsiteY2519" fmla="*/ 2952802 h 6407421"/>
              <a:gd name="connsiteX2520" fmla="*/ 11672158 w 11701760"/>
              <a:gd name="connsiteY2520" fmla="*/ 2657500 h 6407421"/>
              <a:gd name="connsiteX2521" fmla="*/ 11701760 w 11701760"/>
              <a:gd name="connsiteY2521" fmla="*/ 2657500 h 6407421"/>
              <a:gd name="connsiteX2522" fmla="*/ 11701760 w 11701760"/>
              <a:gd name="connsiteY2522" fmla="*/ 2687101 h 6407421"/>
              <a:gd name="connsiteX2523" fmla="*/ 11672158 w 11701760"/>
              <a:gd name="connsiteY2523" fmla="*/ 2687101 h 6407421"/>
              <a:gd name="connsiteX2524" fmla="*/ 5825310 w 11701760"/>
              <a:gd name="connsiteY2524" fmla="*/ 2657500 h 6407421"/>
              <a:gd name="connsiteX2525" fmla="*/ 5854913 w 11701760"/>
              <a:gd name="connsiteY2525" fmla="*/ 2657500 h 6407421"/>
              <a:gd name="connsiteX2526" fmla="*/ 5854913 w 11701760"/>
              <a:gd name="connsiteY2526" fmla="*/ 2687101 h 6407421"/>
              <a:gd name="connsiteX2527" fmla="*/ 5825310 w 11701760"/>
              <a:gd name="connsiteY2527" fmla="*/ 2687101 h 6407421"/>
              <a:gd name="connsiteX2528" fmla="*/ 11405961 w 11701760"/>
              <a:gd name="connsiteY2528" fmla="*/ 2657497 h 6407421"/>
              <a:gd name="connsiteX2529" fmla="*/ 11435563 w 11701760"/>
              <a:gd name="connsiteY2529" fmla="*/ 2657497 h 6407421"/>
              <a:gd name="connsiteX2530" fmla="*/ 11435563 w 11701760"/>
              <a:gd name="connsiteY2530" fmla="*/ 2687099 h 6407421"/>
              <a:gd name="connsiteX2531" fmla="*/ 11405961 w 11701760"/>
              <a:gd name="connsiteY2531" fmla="*/ 2687099 h 6407421"/>
              <a:gd name="connsiteX2532" fmla="*/ 5559113 w 11701760"/>
              <a:gd name="connsiteY2532" fmla="*/ 2657497 h 6407421"/>
              <a:gd name="connsiteX2533" fmla="*/ 5588715 w 11701760"/>
              <a:gd name="connsiteY2533" fmla="*/ 2657497 h 6407421"/>
              <a:gd name="connsiteX2534" fmla="*/ 5588715 w 11701760"/>
              <a:gd name="connsiteY2534" fmla="*/ 2687099 h 6407421"/>
              <a:gd name="connsiteX2535" fmla="*/ 5559113 w 11701760"/>
              <a:gd name="connsiteY2535" fmla="*/ 2687099 h 6407421"/>
              <a:gd name="connsiteX2536" fmla="*/ 11139872 w 11701760"/>
              <a:gd name="connsiteY2536" fmla="*/ 2657494 h 6407421"/>
              <a:gd name="connsiteX2537" fmla="*/ 11169474 w 11701760"/>
              <a:gd name="connsiteY2537" fmla="*/ 2657494 h 6407421"/>
              <a:gd name="connsiteX2538" fmla="*/ 11169474 w 11701760"/>
              <a:gd name="connsiteY2538" fmla="*/ 2687096 h 6407421"/>
              <a:gd name="connsiteX2539" fmla="*/ 11139872 w 11701760"/>
              <a:gd name="connsiteY2539" fmla="*/ 2687096 h 6407421"/>
              <a:gd name="connsiteX2540" fmla="*/ 5293024 w 11701760"/>
              <a:gd name="connsiteY2540" fmla="*/ 2657494 h 6407421"/>
              <a:gd name="connsiteX2541" fmla="*/ 5322626 w 11701760"/>
              <a:gd name="connsiteY2541" fmla="*/ 2657494 h 6407421"/>
              <a:gd name="connsiteX2542" fmla="*/ 5322626 w 11701760"/>
              <a:gd name="connsiteY2542" fmla="*/ 2687096 h 6407421"/>
              <a:gd name="connsiteX2543" fmla="*/ 5293024 w 11701760"/>
              <a:gd name="connsiteY2543" fmla="*/ 2687096 h 6407421"/>
              <a:gd name="connsiteX2544" fmla="*/ 10873675 w 11701760"/>
              <a:gd name="connsiteY2544" fmla="*/ 2657491 h 6407421"/>
              <a:gd name="connsiteX2545" fmla="*/ 10903277 w 11701760"/>
              <a:gd name="connsiteY2545" fmla="*/ 2657491 h 6407421"/>
              <a:gd name="connsiteX2546" fmla="*/ 10903277 w 11701760"/>
              <a:gd name="connsiteY2546" fmla="*/ 2687093 h 6407421"/>
              <a:gd name="connsiteX2547" fmla="*/ 10873675 w 11701760"/>
              <a:gd name="connsiteY2547" fmla="*/ 2687093 h 6407421"/>
              <a:gd name="connsiteX2548" fmla="*/ 5026827 w 11701760"/>
              <a:gd name="connsiteY2548" fmla="*/ 2657491 h 6407421"/>
              <a:gd name="connsiteX2549" fmla="*/ 5056429 w 11701760"/>
              <a:gd name="connsiteY2549" fmla="*/ 2657491 h 6407421"/>
              <a:gd name="connsiteX2550" fmla="*/ 5056429 w 11701760"/>
              <a:gd name="connsiteY2550" fmla="*/ 2687093 h 6407421"/>
              <a:gd name="connsiteX2551" fmla="*/ 5026827 w 11701760"/>
              <a:gd name="connsiteY2551" fmla="*/ 2687093 h 6407421"/>
              <a:gd name="connsiteX2552" fmla="*/ 10607478 w 11701760"/>
              <a:gd name="connsiteY2552" fmla="*/ 2657488 h 6407421"/>
              <a:gd name="connsiteX2553" fmla="*/ 10637188 w 11701760"/>
              <a:gd name="connsiteY2553" fmla="*/ 2657488 h 6407421"/>
              <a:gd name="connsiteX2554" fmla="*/ 10637188 w 11701760"/>
              <a:gd name="connsiteY2554" fmla="*/ 2687090 h 6407421"/>
              <a:gd name="connsiteX2555" fmla="*/ 10607478 w 11701760"/>
              <a:gd name="connsiteY2555" fmla="*/ 2687090 h 6407421"/>
              <a:gd name="connsiteX2556" fmla="*/ 4760630 w 11701760"/>
              <a:gd name="connsiteY2556" fmla="*/ 2657488 h 6407421"/>
              <a:gd name="connsiteX2557" fmla="*/ 4790340 w 11701760"/>
              <a:gd name="connsiteY2557" fmla="*/ 2657488 h 6407421"/>
              <a:gd name="connsiteX2558" fmla="*/ 4790340 w 11701760"/>
              <a:gd name="connsiteY2558" fmla="*/ 2687090 h 6407421"/>
              <a:gd name="connsiteX2559" fmla="*/ 4760630 w 11701760"/>
              <a:gd name="connsiteY2559" fmla="*/ 2687090 h 6407421"/>
              <a:gd name="connsiteX2560" fmla="*/ 10341389 w 11701760"/>
              <a:gd name="connsiteY2560" fmla="*/ 2657485 h 6407421"/>
              <a:gd name="connsiteX2561" fmla="*/ 10370992 w 11701760"/>
              <a:gd name="connsiteY2561" fmla="*/ 2657485 h 6407421"/>
              <a:gd name="connsiteX2562" fmla="*/ 10370992 w 11701760"/>
              <a:gd name="connsiteY2562" fmla="*/ 2687087 h 6407421"/>
              <a:gd name="connsiteX2563" fmla="*/ 10341389 w 11701760"/>
              <a:gd name="connsiteY2563" fmla="*/ 2687087 h 6407421"/>
              <a:gd name="connsiteX2564" fmla="*/ 4494541 w 11701760"/>
              <a:gd name="connsiteY2564" fmla="*/ 2657485 h 6407421"/>
              <a:gd name="connsiteX2565" fmla="*/ 4524144 w 11701760"/>
              <a:gd name="connsiteY2565" fmla="*/ 2657485 h 6407421"/>
              <a:gd name="connsiteX2566" fmla="*/ 4524144 w 11701760"/>
              <a:gd name="connsiteY2566" fmla="*/ 2687087 h 6407421"/>
              <a:gd name="connsiteX2567" fmla="*/ 4494541 w 11701760"/>
              <a:gd name="connsiteY2567" fmla="*/ 2687087 h 6407421"/>
              <a:gd name="connsiteX2568" fmla="*/ 10075192 w 11701760"/>
              <a:gd name="connsiteY2568" fmla="*/ 2657482 h 6407421"/>
              <a:gd name="connsiteX2569" fmla="*/ 10104794 w 11701760"/>
              <a:gd name="connsiteY2569" fmla="*/ 2657482 h 6407421"/>
              <a:gd name="connsiteX2570" fmla="*/ 10104794 w 11701760"/>
              <a:gd name="connsiteY2570" fmla="*/ 2687083 h 6407421"/>
              <a:gd name="connsiteX2571" fmla="*/ 10075192 w 11701760"/>
              <a:gd name="connsiteY2571" fmla="*/ 2687083 h 6407421"/>
              <a:gd name="connsiteX2572" fmla="*/ 4228344 w 11701760"/>
              <a:gd name="connsiteY2572" fmla="*/ 2657482 h 6407421"/>
              <a:gd name="connsiteX2573" fmla="*/ 4257946 w 11701760"/>
              <a:gd name="connsiteY2573" fmla="*/ 2657482 h 6407421"/>
              <a:gd name="connsiteX2574" fmla="*/ 4257946 w 11701760"/>
              <a:gd name="connsiteY2574" fmla="*/ 2687083 h 6407421"/>
              <a:gd name="connsiteX2575" fmla="*/ 4228344 w 11701760"/>
              <a:gd name="connsiteY2575" fmla="*/ 2687083 h 6407421"/>
              <a:gd name="connsiteX2576" fmla="*/ 9809103 w 11701760"/>
              <a:gd name="connsiteY2576" fmla="*/ 2657478 h 6407421"/>
              <a:gd name="connsiteX2577" fmla="*/ 9838705 w 11701760"/>
              <a:gd name="connsiteY2577" fmla="*/ 2657478 h 6407421"/>
              <a:gd name="connsiteX2578" fmla="*/ 9838705 w 11701760"/>
              <a:gd name="connsiteY2578" fmla="*/ 2687080 h 6407421"/>
              <a:gd name="connsiteX2579" fmla="*/ 9809103 w 11701760"/>
              <a:gd name="connsiteY2579" fmla="*/ 2687080 h 6407421"/>
              <a:gd name="connsiteX2580" fmla="*/ 3962255 w 11701760"/>
              <a:gd name="connsiteY2580" fmla="*/ 2657478 h 6407421"/>
              <a:gd name="connsiteX2581" fmla="*/ 3991857 w 11701760"/>
              <a:gd name="connsiteY2581" fmla="*/ 2657478 h 6407421"/>
              <a:gd name="connsiteX2582" fmla="*/ 3991857 w 11701760"/>
              <a:gd name="connsiteY2582" fmla="*/ 2687080 h 6407421"/>
              <a:gd name="connsiteX2583" fmla="*/ 3962255 w 11701760"/>
              <a:gd name="connsiteY2583" fmla="*/ 2687080 h 6407421"/>
              <a:gd name="connsiteX2584" fmla="*/ 9542906 w 11701760"/>
              <a:gd name="connsiteY2584" fmla="*/ 2657475 h 6407421"/>
              <a:gd name="connsiteX2585" fmla="*/ 9572509 w 11701760"/>
              <a:gd name="connsiteY2585" fmla="*/ 2657475 h 6407421"/>
              <a:gd name="connsiteX2586" fmla="*/ 9572509 w 11701760"/>
              <a:gd name="connsiteY2586" fmla="*/ 2687077 h 6407421"/>
              <a:gd name="connsiteX2587" fmla="*/ 9542906 w 11701760"/>
              <a:gd name="connsiteY2587" fmla="*/ 2687077 h 6407421"/>
              <a:gd name="connsiteX2588" fmla="*/ 3696058 w 11701760"/>
              <a:gd name="connsiteY2588" fmla="*/ 2657475 h 6407421"/>
              <a:gd name="connsiteX2589" fmla="*/ 3725661 w 11701760"/>
              <a:gd name="connsiteY2589" fmla="*/ 2657475 h 6407421"/>
              <a:gd name="connsiteX2590" fmla="*/ 3725661 w 11701760"/>
              <a:gd name="connsiteY2590" fmla="*/ 2687077 h 6407421"/>
              <a:gd name="connsiteX2591" fmla="*/ 3696058 w 11701760"/>
              <a:gd name="connsiteY2591" fmla="*/ 2687077 h 6407421"/>
              <a:gd name="connsiteX2592" fmla="*/ 9276817 w 11701760"/>
              <a:gd name="connsiteY2592" fmla="*/ 2657472 h 6407421"/>
              <a:gd name="connsiteX2593" fmla="*/ 9306420 w 11701760"/>
              <a:gd name="connsiteY2593" fmla="*/ 2657472 h 6407421"/>
              <a:gd name="connsiteX2594" fmla="*/ 9306420 w 11701760"/>
              <a:gd name="connsiteY2594" fmla="*/ 2687074 h 6407421"/>
              <a:gd name="connsiteX2595" fmla="*/ 9276817 w 11701760"/>
              <a:gd name="connsiteY2595" fmla="*/ 2687074 h 6407421"/>
              <a:gd name="connsiteX2596" fmla="*/ 3429969 w 11701760"/>
              <a:gd name="connsiteY2596" fmla="*/ 2657472 h 6407421"/>
              <a:gd name="connsiteX2597" fmla="*/ 3459572 w 11701760"/>
              <a:gd name="connsiteY2597" fmla="*/ 2657472 h 6407421"/>
              <a:gd name="connsiteX2598" fmla="*/ 3459572 w 11701760"/>
              <a:gd name="connsiteY2598" fmla="*/ 2687074 h 6407421"/>
              <a:gd name="connsiteX2599" fmla="*/ 3429969 w 11701760"/>
              <a:gd name="connsiteY2599" fmla="*/ 2687074 h 6407421"/>
              <a:gd name="connsiteX2600" fmla="*/ 9010620 w 11701760"/>
              <a:gd name="connsiteY2600" fmla="*/ 2657469 h 6407421"/>
              <a:gd name="connsiteX2601" fmla="*/ 9040222 w 11701760"/>
              <a:gd name="connsiteY2601" fmla="*/ 2657469 h 6407421"/>
              <a:gd name="connsiteX2602" fmla="*/ 9040222 w 11701760"/>
              <a:gd name="connsiteY2602" fmla="*/ 2687071 h 6407421"/>
              <a:gd name="connsiteX2603" fmla="*/ 9010620 w 11701760"/>
              <a:gd name="connsiteY2603" fmla="*/ 2687071 h 6407421"/>
              <a:gd name="connsiteX2604" fmla="*/ 3163772 w 11701760"/>
              <a:gd name="connsiteY2604" fmla="*/ 2657469 h 6407421"/>
              <a:gd name="connsiteX2605" fmla="*/ 3193374 w 11701760"/>
              <a:gd name="connsiteY2605" fmla="*/ 2657469 h 6407421"/>
              <a:gd name="connsiteX2606" fmla="*/ 3193374 w 11701760"/>
              <a:gd name="connsiteY2606" fmla="*/ 2687071 h 6407421"/>
              <a:gd name="connsiteX2607" fmla="*/ 3163772 w 11701760"/>
              <a:gd name="connsiteY2607" fmla="*/ 2687071 h 6407421"/>
              <a:gd name="connsiteX2608" fmla="*/ 8744423 w 11701760"/>
              <a:gd name="connsiteY2608" fmla="*/ 2657466 h 6407421"/>
              <a:gd name="connsiteX2609" fmla="*/ 8774026 w 11701760"/>
              <a:gd name="connsiteY2609" fmla="*/ 2657466 h 6407421"/>
              <a:gd name="connsiteX2610" fmla="*/ 8774026 w 11701760"/>
              <a:gd name="connsiteY2610" fmla="*/ 2687068 h 6407421"/>
              <a:gd name="connsiteX2611" fmla="*/ 8744423 w 11701760"/>
              <a:gd name="connsiteY2611" fmla="*/ 2687068 h 6407421"/>
              <a:gd name="connsiteX2612" fmla="*/ 2897575 w 11701760"/>
              <a:gd name="connsiteY2612" fmla="*/ 2657466 h 6407421"/>
              <a:gd name="connsiteX2613" fmla="*/ 2927178 w 11701760"/>
              <a:gd name="connsiteY2613" fmla="*/ 2657466 h 6407421"/>
              <a:gd name="connsiteX2614" fmla="*/ 2927178 w 11701760"/>
              <a:gd name="connsiteY2614" fmla="*/ 2687068 h 6407421"/>
              <a:gd name="connsiteX2615" fmla="*/ 2897575 w 11701760"/>
              <a:gd name="connsiteY2615" fmla="*/ 2687068 h 6407421"/>
              <a:gd name="connsiteX2616" fmla="*/ 8478226 w 11701760"/>
              <a:gd name="connsiteY2616" fmla="*/ 2657462 h 6407421"/>
              <a:gd name="connsiteX2617" fmla="*/ 8507828 w 11701760"/>
              <a:gd name="connsiteY2617" fmla="*/ 2657462 h 6407421"/>
              <a:gd name="connsiteX2618" fmla="*/ 8507828 w 11701760"/>
              <a:gd name="connsiteY2618" fmla="*/ 2687064 h 6407421"/>
              <a:gd name="connsiteX2619" fmla="*/ 8478226 w 11701760"/>
              <a:gd name="connsiteY2619" fmla="*/ 2687064 h 6407421"/>
              <a:gd name="connsiteX2620" fmla="*/ 2631378 w 11701760"/>
              <a:gd name="connsiteY2620" fmla="*/ 2657462 h 6407421"/>
              <a:gd name="connsiteX2621" fmla="*/ 2660980 w 11701760"/>
              <a:gd name="connsiteY2621" fmla="*/ 2657462 h 6407421"/>
              <a:gd name="connsiteX2622" fmla="*/ 2660980 w 11701760"/>
              <a:gd name="connsiteY2622" fmla="*/ 2687064 h 6407421"/>
              <a:gd name="connsiteX2623" fmla="*/ 2631378 w 11701760"/>
              <a:gd name="connsiteY2623" fmla="*/ 2687064 h 6407421"/>
              <a:gd name="connsiteX2624" fmla="*/ 8212137 w 11701760"/>
              <a:gd name="connsiteY2624" fmla="*/ 2657459 h 6407421"/>
              <a:gd name="connsiteX2625" fmla="*/ 8241740 w 11701760"/>
              <a:gd name="connsiteY2625" fmla="*/ 2657459 h 6407421"/>
              <a:gd name="connsiteX2626" fmla="*/ 8241740 w 11701760"/>
              <a:gd name="connsiteY2626" fmla="*/ 2687061 h 6407421"/>
              <a:gd name="connsiteX2627" fmla="*/ 8212137 w 11701760"/>
              <a:gd name="connsiteY2627" fmla="*/ 2687061 h 6407421"/>
              <a:gd name="connsiteX2628" fmla="*/ 2365289 w 11701760"/>
              <a:gd name="connsiteY2628" fmla="*/ 2657459 h 6407421"/>
              <a:gd name="connsiteX2629" fmla="*/ 2394892 w 11701760"/>
              <a:gd name="connsiteY2629" fmla="*/ 2657459 h 6407421"/>
              <a:gd name="connsiteX2630" fmla="*/ 2394892 w 11701760"/>
              <a:gd name="connsiteY2630" fmla="*/ 2687061 h 6407421"/>
              <a:gd name="connsiteX2631" fmla="*/ 2365289 w 11701760"/>
              <a:gd name="connsiteY2631" fmla="*/ 2687061 h 6407421"/>
              <a:gd name="connsiteX2632" fmla="*/ 7945940 w 11701760"/>
              <a:gd name="connsiteY2632" fmla="*/ 2657456 h 6407421"/>
              <a:gd name="connsiteX2633" fmla="*/ 7975543 w 11701760"/>
              <a:gd name="connsiteY2633" fmla="*/ 2657456 h 6407421"/>
              <a:gd name="connsiteX2634" fmla="*/ 7975543 w 11701760"/>
              <a:gd name="connsiteY2634" fmla="*/ 2687058 h 6407421"/>
              <a:gd name="connsiteX2635" fmla="*/ 7945940 w 11701760"/>
              <a:gd name="connsiteY2635" fmla="*/ 2687058 h 6407421"/>
              <a:gd name="connsiteX2636" fmla="*/ 2099092 w 11701760"/>
              <a:gd name="connsiteY2636" fmla="*/ 2657456 h 6407421"/>
              <a:gd name="connsiteX2637" fmla="*/ 2128695 w 11701760"/>
              <a:gd name="connsiteY2637" fmla="*/ 2657456 h 6407421"/>
              <a:gd name="connsiteX2638" fmla="*/ 2128695 w 11701760"/>
              <a:gd name="connsiteY2638" fmla="*/ 2687058 h 6407421"/>
              <a:gd name="connsiteX2639" fmla="*/ 2099092 w 11701760"/>
              <a:gd name="connsiteY2639" fmla="*/ 2687058 h 6407421"/>
              <a:gd name="connsiteX2640" fmla="*/ 7679743 w 11701760"/>
              <a:gd name="connsiteY2640" fmla="*/ 2657453 h 6407421"/>
              <a:gd name="connsiteX2641" fmla="*/ 7709346 w 11701760"/>
              <a:gd name="connsiteY2641" fmla="*/ 2657453 h 6407421"/>
              <a:gd name="connsiteX2642" fmla="*/ 7709346 w 11701760"/>
              <a:gd name="connsiteY2642" fmla="*/ 2687055 h 6407421"/>
              <a:gd name="connsiteX2643" fmla="*/ 7679743 w 11701760"/>
              <a:gd name="connsiteY2643" fmla="*/ 2687055 h 6407421"/>
              <a:gd name="connsiteX2644" fmla="*/ 1832898 w 11701760"/>
              <a:gd name="connsiteY2644" fmla="*/ 2657453 h 6407421"/>
              <a:gd name="connsiteX2645" fmla="*/ 1862498 w 11701760"/>
              <a:gd name="connsiteY2645" fmla="*/ 2657453 h 6407421"/>
              <a:gd name="connsiteX2646" fmla="*/ 1862498 w 11701760"/>
              <a:gd name="connsiteY2646" fmla="*/ 2687055 h 6407421"/>
              <a:gd name="connsiteX2647" fmla="*/ 1832898 w 11701760"/>
              <a:gd name="connsiteY2647" fmla="*/ 2687055 h 6407421"/>
              <a:gd name="connsiteX2648" fmla="*/ 7413653 w 11701760"/>
              <a:gd name="connsiteY2648" fmla="*/ 2657450 h 6407421"/>
              <a:gd name="connsiteX2649" fmla="*/ 7443256 w 11701760"/>
              <a:gd name="connsiteY2649" fmla="*/ 2657450 h 6407421"/>
              <a:gd name="connsiteX2650" fmla="*/ 7443256 w 11701760"/>
              <a:gd name="connsiteY2650" fmla="*/ 2687052 h 6407421"/>
              <a:gd name="connsiteX2651" fmla="*/ 7413653 w 11701760"/>
              <a:gd name="connsiteY2651" fmla="*/ 2687052 h 6407421"/>
              <a:gd name="connsiteX2652" fmla="*/ 1566808 w 11701760"/>
              <a:gd name="connsiteY2652" fmla="*/ 2657450 h 6407421"/>
              <a:gd name="connsiteX2653" fmla="*/ 1596409 w 11701760"/>
              <a:gd name="connsiteY2653" fmla="*/ 2657450 h 6407421"/>
              <a:gd name="connsiteX2654" fmla="*/ 1596409 w 11701760"/>
              <a:gd name="connsiteY2654" fmla="*/ 2687052 h 6407421"/>
              <a:gd name="connsiteX2655" fmla="*/ 1566808 w 11701760"/>
              <a:gd name="connsiteY2655" fmla="*/ 2687052 h 6407421"/>
              <a:gd name="connsiteX2656" fmla="*/ 7147456 w 11701760"/>
              <a:gd name="connsiteY2656" fmla="*/ 2657447 h 6407421"/>
              <a:gd name="connsiteX2657" fmla="*/ 7177058 w 11701760"/>
              <a:gd name="connsiteY2657" fmla="*/ 2657447 h 6407421"/>
              <a:gd name="connsiteX2658" fmla="*/ 7177058 w 11701760"/>
              <a:gd name="connsiteY2658" fmla="*/ 2687049 h 6407421"/>
              <a:gd name="connsiteX2659" fmla="*/ 7147456 w 11701760"/>
              <a:gd name="connsiteY2659" fmla="*/ 2687049 h 6407421"/>
              <a:gd name="connsiteX2660" fmla="*/ 1300611 w 11701760"/>
              <a:gd name="connsiteY2660" fmla="*/ 2657447 h 6407421"/>
              <a:gd name="connsiteX2661" fmla="*/ 1330213 w 11701760"/>
              <a:gd name="connsiteY2661" fmla="*/ 2657447 h 6407421"/>
              <a:gd name="connsiteX2662" fmla="*/ 1330213 w 11701760"/>
              <a:gd name="connsiteY2662" fmla="*/ 2687049 h 6407421"/>
              <a:gd name="connsiteX2663" fmla="*/ 1300611 w 11701760"/>
              <a:gd name="connsiteY2663" fmla="*/ 2687049 h 6407421"/>
              <a:gd name="connsiteX2664" fmla="*/ 6881367 w 11701760"/>
              <a:gd name="connsiteY2664" fmla="*/ 2657443 h 6407421"/>
              <a:gd name="connsiteX2665" fmla="*/ 6910970 w 11701760"/>
              <a:gd name="connsiteY2665" fmla="*/ 2657443 h 6407421"/>
              <a:gd name="connsiteX2666" fmla="*/ 6910970 w 11701760"/>
              <a:gd name="connsiteY2666" fmla="*/ 2687045 h 6407421"/>
              <a:gd name="connsiteX2667" fmla="*/ 6881367 w 11701760"/>
              <a:gd name="connsiteY2667" fmla="*/ 2687045 h 6407421"/>
              <a:gd name="connsiteX2668" fmla="*/ 1034520 w 11701760"/>
              <a:gd name="connsiteY2668" fmla="*/ 2657443 h 6407421"/>
              <a:gd name="connsiteX2669" fmla="*/ 1064123 w 11701760"/>
              <a:gd name="connsiteY2669" fmla="*/ 2657443 h 6407421"/>
              <a:gd name="connsiteX2670" fmla="*/ 1064123 w 11701760"/>
              <a:gd name="connsiteY2670" fmla="*/ 2687045 h 6407421"/>
              <a:gd name="connsiteX2671" fmla="*/ 1034520 w 11701760"/>
              <a:gd name="connsiteY2671" fmla="*/ 2687045 h 6407421"/>
              <a:gd name="connsiteX2672" fmla="*/ 6615170 w 11701760"/>
              <a:gd name="connsiteY2672" fmla="*/ 2657440 h 6407421"/>
              <a:gd name="connsiteX2673" fmla="*/ 6644773 w 11701760"/>
              <a:gd name="connsiteY2673" fmla="*/ 2657440 h 6407421"/>
              <a:gd name="connsiteX2674" fmla="*/ 6644773 w 11701760"/>
              <a:gd name="connsiteY2674" fmla="*/ 2687042 h 6407421"/>
              <a:gd name="connsiteX2675" fmla="*/ 6615170 w 11701760"/>
              <a:gd name="connsiteY2675" fmla="*/ 2687042 h 6407421"/>
              <a:gd name="connsiteX2676" fmla="*/ 768327 w 11701760"/>
              <a:gd name="connsiteY2676" fmla="*/ 2657440 h 6407421"/>
              <a:gd name="connsiteX2677" fmla="*/ 797926 w 11701760"/>
              <a:gd name="connsiteY2677" fmla="*/ 2657440 h 6407421"/>
              <a:gd name="connsiteX2678" fmla="*/ 797926 w 11701760"/>
              <a:gd name="connsiteY2678" fmla="*/ 2687042 h 6407421"/>
              <a:gd name="connsiteX2679" fmla="*/ 768327 w 11701760"/>
              <a:gd name="connsiteY2679" fmla="*/ 2687042 h 6407421"/>
              <a:gd name="connsiteX2680" fmla="*/ 6349081 w 11701760"/>
              <a:gd name="connsiteY2680" fmla="*/ 2657437 h 6407421"/>
              <a:gd name="connsiteX2681" fmla="*/ 6378683 w 11701760"/>
              <a:gd name="connsiteY2681" fmla="*/ 2657437 h 6407421"/>
              <a:gd name="connsiteX2682" fmla="*/ 6378683 w 11701760"/>
              <a:gd name="connsiteY2682" fmla="*/ 2687039 h 6407421"/>
              <a:gd name="connsiteX2683" fmla="*/ 6349081 w 11701760"/>
              <a:gd name="connsiteY2683" fmla="*/ 2687039 h 6407421"/>
              <a:gd name="connsiteX2684" fmla="*/ 502236 w 11701760"/>
              <a:gd name="connsiteY2684" fmla="*/ 2657437 h 6407421"/>
              <a:gd name="connsiteX2685" fmla="*/ 531838 w 11701760"/>
              <a:gd name="connsiteY2685" fmla="*/ 2657437 h 6407421"/>
              <a:gd name="connsiteX2686" fmla="*/ 531838 w 11701760"/>
              <a:gd name="connsiteY2686" fmla="*/ 2687039 h 6407421"/>
              <a:gd name="connsiteX2687" fmla="*/ 502236 w 11701760"/>
              <a:gd name="connsiteY2687" fmla="*/ 2687039 h 6407421"/>
              <a:gd name="connsiteX2688" fmla="*/ 6082884 w 11701760"/>
              <a:gd name="connsiteY2688" fmla="*/ 2657434 h 6407421"/>
              <a:gd name="connsiteX2689" fmla="*/ 6112486 w 11701760"/>
              <a:gd name="connsiteY2689" fmla="*/ 2657434 h 6407421"/>
              <a:gd name="connsiteX2690" fmla="*/ 6112486 w 11701760"/>
              <a:gd name="connsiteY2690" fmla="*/ 2687036 h 6407421"/>
              <a:gd name="connsiteX2691" fmla="*/ 6082884 w 11701760"/>
              <a:gd name="connsiteY2691" fmla="*/ 2687036 h 6407421"/>
              <a:gd name="connsiteX2692" fmla="*/ 236037 w 11701760"/>
              <a:gd name="connsiteY2692" fmla="*/ 2657434 h 6407421"/>
              <a:gd name="connsiteX2693" fmla="*/ 265639 w 11701760"/>
              <a:gd name="connsiteY2693" fmla="*/ 2657434 h 6407421"/>
              <a:gd name="connsiteX2694" fmla="*/ 265639 w 11701760"/>
              <a:gd name="connsiteY2694" fmla="*/ 2687036 h 6407421"/>
              <a:gd name="connsiteX2695" fmla="*/ 236037 w 11701760"/>
              <a:gd name="connsiteY2695" fmla="*/ 2687036 h 6407421"/>
              <a:gd name="connsiteX2696" fmla="*/ 1 w 11701760"/>
              <a:gd name="connsiteY2696" fmla="*/ 2657434 h 6407421"/>
              <a:gd name="connsiteX2697" fmla="*/ 29603 w 11701760"/>
              <a:gd name="connsiteY2697" fmla="*/ 2657434 h 6407421"/>
              <a:gd name="connsiteX2698" fmla="*/ 29603 w 11701760"/>
              <a:gd name="connsiteY2698" fmla="*/ 2687036 h 6407421"/>
              <a:gd name="connsiteX2699" fmla="*/ 1 w 11701760"/>
              <a:gd name="connsiteY2699" fmla="*/ 2687036 h 6407421"/>
              <a:gd name="connsiteX2700" fmla="*/ 11672158 w 11701760"/>
              <a:gd name="connsiteY2700" fmla="*/ 2391735 h 6407421"/>
              <a:gd name="connsiteX2701" fmla="*/ 11701760 w 11701760"/>
              <a:gd name="connsiteY2701" fmla="*/ 2391735 h 6407421"/>
              <a:gd name="connsiteX2702" fmla="*/ 11701760 w 11701760"/>
              <a:gd name="connsiteY2702" fmla="*/ 2421368 h 6407421"/>
              <a:gd name="connsiteX2703" fmla="*/ 11672158 w 11701760"/>
              <a:gd name="connsiteY2703" fmla="*/ 2421368 h 6407421"/>
              <a:gd name="connsiteX2704" fmla="*/ 5825310 w 11701760"/>
              <a:gd name="connsiteY2704" fmla="*/ 2391735 h 6407421"/>
              <a:gd name="connsiteX2705" fmla="*/ 5854913 w 11701760"/>
              <a:gd name="connsiteY2705" fmla="*/ 2391735 h 6407421"/>
              <a:gd name="connsiteX2706" fmla="*/ 5854913 w 11701760"/>
              <a:gd name="connsiteY2706" fmla="*/ 2421368 h 6407421"/>
              <a:gd name="connsiteX2707" fmla="*/ 5825310 w 11701760"/>
              <a:gd name="connsiteY2707" fmla="*/ 2421368 h 6407421"/>
              <a:gd name="connsiteX2708" fmla="*/ 11405961 w 11701760"/>
              <a:gd name="connsiteY2708" fmla="*/ 2391732 h 6407421"/>
              <a:gd name="connsiteX2709" fmla="*/ 11435563 w 11701760"/>
              <a:gd name="connsiteY2709" fmla="*/ 2391732 h 6407421"/>
              <a:gd name="connsiteX2710" fmla="*/ 11435563 w 11701760"/>
              <a:gd name="connsiteY2710" fmla="*/ 2421368 h 6407421"/>
              <a:gd name="connsiteX2711" fmla="*/ 11405961 w 11701760"/>
              <a:gd name="connsiteY2711" fmla="*/ 2421368 h 6407421"/>
              <a:gd name="connsiteX2712" fmla="*/ 5559113 w 11701760"/>
              <a:gd name="connsiteY2712" fmla="*/ 2391732 h 6407421"/>
              <a:gd name="connsiteX2713" fmla="*/ 5588715 w 11701760"/>
              <a:gd name="connsiteY2713" fmla="*/ 2391732 h 6407421"/>
              <a:gd name="connsiteX2714" fmla="*/ 5588715 w 11701760"/>
              <a:gd name="connsiteY2714" fmla="*/ 2421368 h 6407421"/>
              <a:gd name="connsiteX2715" fmla="*/ 5559113 w 11701760"/>
              <a:gd name="connsiteY2715" fmla="*/ 2421368 h 6407421"/>
              <a:gd name="connsiteX2716" fmla="*/ 11139872 w 11701760"/>
              <a:gd name="connsiteY2716" fmla="*/ 2391729 h 6407421"/>
              <a:gd name="connsiteX2717" fmla="*/ 11169474 w 11701760"/>
              <a:gd name="connsiteY2717" fmla="*/ 2391729 h 6407421"/>
              <a:gd name="connsiteX2718" fmla="*/ 11169474 w 11701760"/>
              <a:gd name="connsiteY2718" fmla="*/ 2421364 h 6407421"/>
              <a:gd name="connsiteX2719" fmla="*/ 11139872 w 11701760"/>
              <a:gd name="connsiteY2719" fmla="*/ 2421364 h 6407421"/>
              <a:gd name="connsiteX2720" fmla="*/ 5293024 w 11701760"/>
              <a:gd name="connsiteY2720" fmla="*/ 2391729 h 6407421"/>
              <a:gd name="connsiteX2721" fmla="*/ 5322626 w 11701760"/>
              <a:gd name="connsiteY2721" fmla="*/ 2391729 h 6407421"/>
              <a:gd name="connsiteX2722" fmla="*/ 5322626 w 11701760"/>
              <a:gd name="connsiteY2722" fmla="*/ 2421364 h 6407421"/>
              <a:gd name="connsiteX2723" fmla="*/ 5293024 w 11701760"/>
              <a:gd name="connsiteY2723" fmla="*/ 2421364 h 6407421"/>
              <a:gd name="connsiteX2724" fmla="*/ 10873675 w 11701760"/>
              <a:gd name="connsiteY2724" fmla="*/ 2391726 h 6407421"/>
              <a:gd name="connsiteX2725" fmla="*/ 10903277 w 11701760"/>
              <a:gd name="connsiteY2725" fmla="*/ 2391726 h 6407421"/>
              <a:gd name="connsiteX2726" fmla="*/ 10903277 w 11701760"/>
              <a:gd name="connsiteY2726" fmla="*/ 2421359 h 6407421"/>
              <a:gd name="connsiteX2727" fmla="*/ 10873675 w 11701760"/>
              <a:gd name="connsiteY2727" fmla="*/ 2421359 h 6407421"/>
              <a:gd name="connsiteX2728" fmla="*/ 5026827 w 11701760"/>
              <a:gd name="connsiteY2728" fmla="*/ 2391726 h 6407421"/>
              <a:gd name="connsiteX2729" fmla="*/ 5056429 w 11701760"/>
              <a:gd name="connsiteY2729" fmla="*/ 2391726 h 6407421"/>
              <a:gd name="connsiteX2730" fmla="*/ 5056429 w 11701760"/>
              <a:gd name="connsiteY2730" fmla="*/ 2421359 h 6407421"/>
              <a:gd name="connsiteX2731" fmla="*/ 5026827 w 11701760"/>
              <a:gd name="connsiteY2731" fmla="*/ 2421359 h 6407421"/>
              <a:gd name="connsiteX2732" fmla="*/ 10607478 w 11701760"/>
              <a:gd name="connsiteY2732" fmla="*/ 2391725 h 6407421"/>
              <a:gd name="connsiteX2733" fmla="*/ 10637188 w 11701760"/>
              <a:gd name="connsiteY2733" fmla="*/ 2391725 h 6407421"/>
              <a:gd name="connsiteX2734" fmla="*/ 10637188 w 11701760"/>
              <a:gd name="connsiteY2734" fmla="*/ 2421354 h 6407421"/>
              <a:gd name="connsiteX2735" fmla="*/ 10607478 w 11701760"/>
              <a:gd name="connsiteY2735" fmla="*/ 2421354 h 6407421"/>
              <a:gd name="connsiteX2736" fmla="*/ 4760630 w 11701760"/>
              <a:gd name="connsiteY2736" fmla="*/ 2391725 h 6407421"/>
              <a:gd name="connsiteX2737" fmla="*/ 4790340 w 11701760"/>
              <a:gd name="connsiteY2737" fmla="*/ 2391725 h 6407421"/>
              <a:gd name="connsiteX2738" fmla="*/ 4790340 w 11701760"/>
              <a:gd name="connsiteY2738" fmla="*/ 2421354 h 6407421"/>
              <a:gd name="connsiteX2739" fmla="*/ 4760630 w 11701760"/>
              <a:gd name="connsiteY2739" fmla="*/ 2421354 h 6407421"/>
              <a:gd name="connsiteX2740" fmla="*/ 10341389 w 11701760"/>
              <a:gd name="connsiteY2740" fmla="*/ 2391720 h 6407421"/>
              <a:gd name="connsiteX2741" fmla="*/ 10370992 w 11701760"/>
              <a:gd name="connsiteY2741" fmla="*/ 2391720 h 6407421"/>
              <a:gd name="connsiteX2742" fmla="*/ 10370992 w 11701760"/>
              <a:gd name="connsiteY2742" fmla="*/ 2421349 h 6407421"/>
              <a:gd name="connsiteX2743" fmla="*/ 10341389 w 11701760"/>
              <a:gd name="connsiteY2743" fmla="*/ 2421349 h 6407421"/>
              <a:gd name="connsiteX2744" fmla="*/ 4494541 w 11701760"/>
              <a:gd name="connsiteY2744" fmla="*/ 2391720 h 6407421"/>
              <a:gd name="connsiteX2745" fmla="*/ 4524144 w 11701760"/>
              <a:gd name="connsiteY2745" fmla="*/ 2391720 h 6407421"/>
              <a:gd name="connsiteX2746" fmla="*/ 4524144 w 11701760"/>
              <a:gd name="connsiteY2746" fmla="*/ 2421349 h 6407421"/>
              <a:gd name="connsiteX2747" fmla="*/ 4494541 w 11701760"/>
              <a:gd name="connsiteY2747" fmla="*/ 2421349 h 6407421"/>
              <a:gd name="connsiteX2748" fmla="*/ 10075192 w 11701760"/>
              <a:gd name="connsiteY2748" fmla="*/ 2391716 h 6407421"/>
              <a:gd name="connsiteX2749" fmla="*/ 10104794 w 11701760"/>
              <a:gd name="connsiteY2749" fmla="*/ 2391716 h 6407421"/>
              <a:gd name="connsiteX2750" fmla="*/ 10104794 w 11701760"/>
              <a:gd name="connsiteY2750" fmla="*/ 2421345 h 6407421"/>
              <a:gd name="connsiteX2751" fmla="*/ 10075192 w 11701760"/>
              <a:gd name="connsiteY2751" fmla="*/ 2421345 h 6407421"/>
              <a:gd name="connsiteX2752" fmla="*/ 4228344 w 11701760"/>
              <a:gd name="connsiteY2752" fmla="*/ 2391716 h 6407421"/>
              <a:gd name="connsiteX2753" fmla="*/ 4257946 w 11701760"/>
              <a:gd name="connsiteY2753" fmla="*/ 2391716 h 6407421"/>
              <a:gd name="connsiteX2754" fmla="*/ 4257946 w 11701760"/>
              <a:gd name="connsiteY2754" fmla="*/ 2421345 h 6407421"/>
              <a:gd name="connsiteX2755" fmla="*/ 4228344 w 11701760"/>
              <a:gd name="connsiteY2755" fmla="*/ 2421345 h 6407421"/>
              <a:gd name="connsiteX2756" fmla="*/ 9809103 w 11701760"/>
              <a:gd name="connsiteY2756" fmla="*/ 2391713 h 6407421"/>
              <a:gd name="connsiteX2757" fmla="*/ 9838705 w 11701760"/>
              <a:gd name="connsiteY2757" fmla="*/ 2391713 h 6407421"/>
              <a:gd name="connsiteX2758" fmla="*/ 9838705 w 11701760"/>
              <a:gd name="connsiteY2758" fmla="*/ 2421340 h 6407421"/>
              <a:gd name="connsiteX2759" fmla="*/ 9809103 w 11701760"/>
              <a:gd name="connsiteY2759" fmla="*/ 2421340 h 6407421"/>
              <a:gd name="connsiteX2760" fmla="*/ 3962255 w 11701760"/>
              <a:gd name="connsiteY2760" fmla="*/ 2391713 h 6407421"/>
              <a:gd name="connsiteX2761" fmla="*/ 3991857 w 11701760"/>
              <a:gd name="connsiteY2761" fmla="*/ 2391713 h 6407421"/>
              <a:gd name="connsiteX2762" fmla="*/ 3991857 w 11701760"/>
              <a:gd name="connsiteY2762" fmla="*/ 2421340 h 6407421"/>
              <a:gd name="connsiteX2763" fmla="*/ 3962255 w 11701760"/>
              <a:gd name="connsiteY2763" fmla="*/ 2421340 h 6407421"/>
              <a:gd name="connsiteX2764" fmla="*/ 9542906 w 11701760"/>
              <a:gd name="connsiteY2764" fmla="*/ 2391710 h 6407421"/>
              <a:gd name="connsiteX2765" fmla="*/ 9572509 w 11701760"/>
              <a:gd name="connsiteY2765" fmla="*/ 2391710 h 6407421"/>
              <a:gd name="connsiteX2766" fmla="*/ 9572509 w 11701760"/>
              <a:gd name="connsiteY2766" fmla="*/ 2421336 h 6407421"/>
              <a:gd name="connsiteX2767" fmla="*/ 9542906 w 11701760"/>
              <a:gd name="connsiteY2767" fmla="*/ 2421336 h 6407421"/>
              <a:gd name="connsiteX2768" fmla="*/ 3696058 w 11701760"/>
              <a:gd name="connsiteY2768" fmla="*/ 2391710 h 6407421"/>
              <a:gd name="connsiteX2769" fmla="*/ 3725661 w 11701760"/>
              <a:gd name="connsiteY2769" fmla="*/ 2391710 h 6407421"/>
              <a:gd name="connsiteX2770" fmla="*/ 3725661 w 11701760"/>
              <a:gd name="connsiteY2770" fmla="*/ 2421336 h 6407421"/>
              <a:gd name="connsiteX2771" fmla="*/ 3696058 w 11701760"/>
              <a:gd name="connsiteY2771" fmla="*/ 2421336 h 6407421"/>
              <a:gd name="connsiteX2772" fmla="*/ 9276817 w 11701760"/>
              <a:gd name="connsiteY2772" fmla="*/ 2391707 h 6407421"/>
              <a:gd name="connsiteX2773" fmla="*/ 9306420 w 11701760"/>
              <a:gd name="connsiteY2773" fmla="*/ 2391707 h 6407421"/>
              <a:gd name="connsiteX2774" fmla="*/ 9306420 w 11701760"/>
              <a:gd name="connsiteY2774" fmla="*/ 2421331 h 6407421"/>
              <a:gd name="connsiteX2775" fmla="*/ 9276817 w 11701760"/>
              <a:gd name="connsiteY2775" fmla="*/ 2421331 h 6407421"/>
              <a:gd name="connsiteX2776" fmla="*/ 3429969 w 11701760"/>
              <a:gd name="connsiteY2776" fmla="*/ 2391707 h 6407421"/>
              <a:gd name="connsiteX2777" fmla="*/ 3459572 w 11701760"/>
              <a:gd name="connsiteY2777" fmla="*/ 2391707 h 6407421"/>
              <a:gd name="connsiteX2778" fmla="*/ 3459572 w 11701760"/>
              <a:gd name="connsiteY2778" fmla="*/ 2421331 h 6407421"/>
              <a:gd name="connsiteX2779" fmla="*/ 3429969 w 11701760"/>
              <a:gd name="connsiteY2779" fmla="*/ 2421331 h 6407421"/>
              <a:gd name="connsiteX2780" fmla="*/ 9010620 w 11701760"/>
              <a:gd name="connsiteY2780" fmla="*/ 2391706 h 6407421"/>
              <a:gd name="connsiteX2781" fmla="*/ 9040222 w 11701760"/>
              <a:gd name="connsiteY2781" fmla="*/ 2391706 h 6407421"/>
              <a:gd name="connsiteX2782" fmla="*/ 9040222 w 11701760"/>
              <a:gd name="connsiteY2782" fmla="*/ 2421326 h 6407421"/>
              <a:gd name="connsiteX2783" fmla="*/ 9010620 w 11701760"/>
              <a:gd name="connsiteY2783" fmla="*/ 2421326 h 6407421"/>
              <a:gd name="connsiteX2784" fmla="*/ 3163772 w 11701760"/>
              <a:gd name="connsiteY2784" fmla="*/ 2391706 h 6407421"/>
              <a:gd name="connsiteX2785" fmla="*/ 3193374 w 11701760"/>
              <a:gd name="connsiteY2785" fmla="*/ 2391706 h 6407421"/>
              <a:gd name="connsiteX2786" fmla="*/ 3193374 w 11701760"/>
              <a:gd name="connsiteY2786" fmla="*/ 2421326 h 6407421"/>
              <a:gd name="connsiteX2787" fmla="*/ 3163772 w 11701760"/>
              <a:gd name="connsiteY2787" fmla="*/ 2421326 h 6407421"/>
              <a:gd name="connsiteX2788" fmla="*/ 8744423 w 11701760"/>
              <a:gd name="connsiteY2788" fmla="*/ 2391701 h 6407421"/>
              <a:gd name="connsiteX2789" fmla="*/ 8774026 w 11701760"/>
              <a:gd name="connsiteY2789" fmla="*/ 2391701 h 6407421"/>
              <a:gd name="connsiteX2790" fmla="*/ 8774026 w 11701760"/>
              <a:gd name="connsiteY2790" fmla="*/ 2421321 h 6407421"/>
              <a:gd name="connsiteX2791" fmla="*/ 8744423 w 11701760"/>
              <a:gd name="connsiteY2791" fmla="*/ 2421321 h 6407421"/>
              <a:gd name="connsiteX2792" fmla="*/ 2897575 w 11701760"/>
              <a:gd name="connsiteY2792" fmla="*/ 2391701 h 6407421"/>
              <a:gd name="connsiteX2793" fmla="*/ 2927178 w 11701760"/>
              <a:gd name="connsiteY2793" fmla="*/ 2391701 h 6407421"/>
              <a:gd name="connsiteX2794" fmla="*/ 2927178 w 11701760"/>
              <a:gd name="connsiteY2794" fmla="*/ 2421321 h 6407421"/>
              <a:gd name="connsiteX2795" fmla="*/ 2897575 w 11701760"/>
              <a:gd name="connsiteY2795" fmla="*/ 2421321 h 6407421"/>
              <a:gd name="connsiteX2796" fmla="*/ 8478226 w 11701760"/>
              <a:gd name="connsiteY2796" fmla="*/ 2391697 h 6407421"/>
              <a:gd name="connsiteX2797" fmla="*/ 8507828 w 11701760"/>
              <a:gd name="connsiteY2797" fmla="*/ 2391697 h 6407421"/>
              <a:gd name="connsiteX2798" fmla="*/ 8507828 w 11701760"/>
              <a:gd name="connsiteY2798" fmla="*/ 2421317 h 6407421"/>
              <a:gd name="connsiteX2799" fmla="*/ 8478226 w 11701760"/>
              <a:gd name="connsiteY2799" fmla="*/ 2421317 h 6407421"/>
              <a:gd name="connsiteX2800" fmla="*/ 2631378 w 11701760"/>
              <a:gd name="connsiteY2800" fmla="*/ 2391697 h 6407421"/>
              <a:gd name="connsiteX2801" fmla="*/ 2660980 w 11701760"/>
              <a:gd name="connsiteY2801" fmla="*/ 2391697 h 6407421"/>
              <a:gd name="connsiteX2802" fmla="*/ 2660980 w 11701760"/>
              <a:gd name="connsiteY2802" fmla="*/ 2421317 h 6407421"/>
              <a:gd name="connsiteX2803" fmla="*/ 2631378 w 11701760"/>
              <a:gd name="connsiteY2803" fmla="*/ 2421317 h 6407421"/>
              <a:gd name="connsiteX2804" fmla="*/ 8212137 w 11701760"/>
              <a:gd name="connsiteY2804" fmla="*/ 2391694 h 6407421"/>
              <a:gd name="connsiteX2805" fmla="*/ 8241740 w 11701760"/>
              <a:gd name="connsiteY2805" fmla="*/ 2391694 h 6407421"/>
              <a:gd name="connsiteX2806" fmla="*/ 8241740 w 11701760"/>
              <a:gd name="connsiteY2806" fmla="*/ 2421312 h 6407421"/>
              <a:gd name="connsiteX2807" fmla="*/ 8212137 w 11701760"/>
              <a:gd name="connsiteY2807" fmla="*/ 2421312 h 6407421"/>
              <a:gd name="connsiteX2808" fmla="*/ 2365289 w 11701760"/>
              <a:gd name="connsiteY2808" fmla="*/ 2391694 h 6407421"/>
              <a:gd name="connsiteX2809" fmla="*/ 2394892 w 11701760"/>
              <a:gd name="connsiteY2809" fmla="*/ 2391694 h 6407421"/>
              <a:gd name="connsiteX2810" fmla="*/ 2394892 w 11701760"/>
              <a:gd name="connsiteY2810" fmla="*/ 2421312 h 6407421"/>
              <a:gd name="connsiteX2811" fmla="*/ 2365289 w 11701760"/>
              <a:gd name="connsiteY2811" fmla="*/ 2421312 h 6407421"/>
              <a:gd name="connsiteX2812" fmla="*/ 7945940 w 11701760"/>
              <a:gd name="connsiteY2812" fmla="*/ 2391691 h 6407421"/>
              <a:gd name="connsiteX2813" fmla="*/ 7975543 w 11701760"/>
              <a:gd name="connsiteY2813" fmla="*/ 2391691 h 6407421"/>
              <a:gd name="connsiteX2814" fmla="*/ 7975543 w 11701760"/>
              <a:gd name="connsiteY2814" fmla="*/ 2421307 h 6407421"/>
              <a:gd name="connsiteX2815" fmla="*/ 7945940 w 11701760"/>
              <a:gd name="connsiteY2815" fmla="*/ 2421307 h 6407421"/>
              <a:gd name="connsiteX2816" fmla="*/ 2099092 w 11701760"/>
              <a:gd name="connsiteY2816" fmla="*/ 2391691 h 6407421"/>
              <a:gd name="connsiteX2817" fmla="*/ 2128695 w 11701760"/>
              <a:gd name="connsiteY2817" fmla="*/ 2391691 h 6407421"/>
              <a:gd name="connsiteX2818" fmla="*/ 2128695 w 11701760"/>
              <a:gd name="connsiteY2818" fmla="*/ 2421307 h 6407421"/>
              <a:gd name="connsiteX2819" fmla="*/ 2099092 w 11701760"/>
              <a:gd name="connsiteY2819" fmla="*/ 2421307 h 6407421"/>
              <a:gd name="connsiteX2820" fmla="*/ 7679743 w 11701760"/>
              <a:gd name="connsiteY2820" fmla="*/ 2391688 h 6407421"/>
              <a:gd name="connsiteX2821" fmla="*/ 7709346 w 11701760"/>
              <a:gd name="connsiteY2821" fmla="*/ 2391688 h 6407421"/>
              <a:gd name="connsiteX2822" fmla="*/ 7709346 w 11701760"/>
              <a:gd name="connsiteY2822" fmla="*/ 2421302 h 6407421"/>
              <a:gd name="connsiteX2823" fmla="*/ 7679743 w 11701760"/>
              <a:gd name="connsiteY2823" fmla="*/ 2421302 h 6407421"/>
              <a:gd name="connsiteX2824" fmla="*/ 1832898 w 11701760"/>
              <a:gd name="connsiteY2824" fmla="*/ 2391688 h 6407421"/>
              <a:gd name="connsiteX2825" fmla="*/ 1862498 w 11701760"/>
              <a:gd name="connsiteY2825" fmla="*/ 2391688 h 6407421"/>
              <a:gd name="connsiteX2826" fmla="*/ 1862498 w 11701760"/>
              <a:gd name="connsiteY2826" fmla="*/ 2421302 h 6407421"/>
              <a:gd name="connsiteX2827" fmla="*/ 1832898 w 11701760"/>
              <a:gd name="connsiteY2827" fmla="*/ 2421302 h 6407421"/>
              <a:gd name="connsiteX2828" fmla="*/ 7413653 w 11701760"/>
              <a:gd name="connsiteY2828" fmla="*/ 2391687 h 6407421"/>
              <a:gd name="connsiteX2829" fmla="*/ 7443256 w 11701760"/>
              <a:gd name="connsiteY2829" fmla="*/ 2391687 h 6407421"/>
              <a:gd name="connsiteX2830" fmla="*/ 7443256 w 11701760"/>
              <a:gd name="connsiteY2830" fmla="*/ 2421298 h 6407421"/>
              <a:gd name="connsiteX2831" fmla="*/ 7413653 w 11701760"/>
              <a:gd name="connsiteY2831" fmla="*/ 2421298 h 6407421"/>
              <a:gd name="connsiteX2832" fmla="*/ 1566808 w 11701760"/>
              <a:gd name="connsiteY2832" fmla="*/ 2391687 h 6407421"/>
              <a:gd name="connsiteX2833" fmla="*/ 1596409 w 11701760"/>
              <a:gd name="connsiteY2833" fmla="*/ 2391687 h 6407421"/>
              <a:gd name="connsiteX2834" fmla="*/ 1596409 w 11701760"/>
              <a:gd name="connsiteY2834" fmla="*/ 2421298 h 6407421"/>
              <a:gd name="connsiteX2835" fmla="*/ 1566808 w 11701760"/>
              <a:gd name="connsiteY2835" fmla="*/ 2421298 h 6407421"/>
              <a:gd name="connsiteX2836" fmla="*/ 7147456 w 11701760"/>
              <a:gd name="connsiteY2836" fmla="*/ 2391682 h 6407421"/>
              <a:gd name="connsiteX2837" fmla="*/ 7177058 w 11701760"/>
              <a:gd name="connsiteY2837" fmla="*/ 2391682 h 6407421"/>
              <a:gd name="connsiteX2838" fmla="*/ 7177058 w 11701760"/>
              <a:gd name="connsiteY2838" fmla="*/ 2421293 h 6407421"/>
              <a:gd name="connsiteX2839" fmla="*/ 7147456 w 11701760"/>
              <a:gd name="connsiteY2839" fmla="*/ 2421293 h 6407421"/>
              <a:gd name="connsiteX2840" fmla="*/ 1300611 w 11701760"/>
              <a:gd name="connsiteY2840" fmla="*/ 2391682 h 6407421"/>
              <a:gd name="connsiteX2841" fmla="*/ 1330213 w 11701760"/>
              <a:gd name="connsiteY2841" fmla="*/ 2391682 h 6407421"/>
              <a:gd name="connsiteX2842" fmla="*/ 1330213 w 11701760"/>
              <a:gd name="connsiteY2842" fmla="*/ 2421293 h 6407421"/>
              <a:gd name="connsiteX2843" fmla="*/ 1300611 w 11701760"/>
              <a:gd name="connsiteY2843" fmla="*/ 2421293 h 6407421"/>
              <a:gd name="connsiteX2844" fmla="*/ 6881367 w 11701760"/>
              <a:gd name="connsiteY2844" fmla="*/ 2391678 h 6407421"/>
              <a:gd name="connsiteX2845" fmla="*/ 6910970 w 11701760"/>
              <a:gd name="connsiteY2845" fmla="*/ 2391678 h 6407421"/>
              <a:gd name="connsiteX2846" fmla="*/ 6910970 w 11701760"/>
              <a:gd name="connsiteY2846" fmla="*/ 2421288 h 6407421"/>
              <a:gd name="connsiteX2847" fmla="*/ 6881367 w 11701760"/>
              <a:gd name="connsiteY2847" fmla="*/ 2421288 h 6407421"/>
              <a:gd name="connsiteX2848" fmla="*/ 1034520 w 11701760"/>
              <a:gd name="connsiteY2848" fmla="*/ 2391678 h 6407421"/>
              <a:gd name="connsiteX2849" fmla="*/ 1064123 w 11701760"/>
              <a:gd name="connsiteY2849" fmla="*/ 2391678 h 6407421"/>
              <a:gd name="connsiteX2850" fmla="*/ 1064123 w 11701760"/>
              <a:gd name="connsiteY2850" fmla="*/ 2421288 h 6407421"/>
              <a:gd name="connsiteX2851" fmla="*/ 1034520 w 11701760"/>
              <a:gd name="connsiteY2851" fmla="*/ 2421288 h 6407421"/>
              <a:gd name="connsiteX2852" fmla="*/ 6615170 w 11701760"/>
              <a:gd name="connsiteY2852" fmla="*/ 2391675 h 6407421"/>
              <a:gd name="connsiteX2853" fmla="*/ 6644773 w 11701760"/>
              <a:gd name="connsiteY2853" fmla="*/ 2391675 h 6407421"/>
              <a:gd name="connsiteX2854" fmla="*/ 6644773 w 11701760"/>
              <a:gd name="connsiteY2854" fmla="*/ 2421283 h 6407421"/>
              <a:gd name="connsiteX2855" fmla="*/ 6615170 w 11701760"/>
              <a:gd name="connsiteY2855" fmla="*/ 2421283 h 6407421"/>
              <a:gd name="connsiteX2856" fmla="*/ 768327 w 11701760"/>
              <a:gd name="connsiteY2856" fmla="*/ 2391675 h 6407421"/>
              <a:gd name="connsiteX2857" fmla="*/ 797926 w 11701760"/>
              <a:gd name="connsiteY2857" fmla="*/ 2391675 h 6407421"/>
              <a:gd name="connsiteX2858" fmla="*/ 797926 w 11701760"/>
              <a:gd name="connsiteY2858" fmla="*/ 2421283 h 6407421"/>
              <a:gd name="connsiteX2859" fmla="*/ 768327 w 11701760"/>
              <a:gd name="connsiteY2859" fmla="*/ 2421283 h 6407421"/>
              <a:gd name="connsiteX2860" fmla="*/ 6349081 w 11701760"/>
              <a:gd name="connsiteY2860" fmla="*/ 2391672 h 6407421"/>
              <a:gd name="connsiteX2861" fmla="*/ 6378683 w 11701760"/>
              <a:gd name="connsiteY2861" fmla="*/ 2391672 h 6407421"/>
              <a:gd name="connsiteX2862" fmla="*/ 6378683 w 11701760"/>
              <a:gd name="connsiteY2862" fmla="*/ 2421278 h 6407421"/>
              <a:gd name="connsiteX2863" fmla="*/ 6349081 w 11701760"/>
              <a:gd name="connsiteY2863" fmla="*/ 2421278 h 6407421"/>
              <a:gd name="connsiteX2864" fmla="*/ 502236 w 11701760"/>
              <a:gd name="connsiteY2864" fmla="*/ 2391672 h 6407421"/>
              <a:gd name="connsiteX2865" fmla="*/ 531838 w 11701760"/>
              <a:gd name="connsiteY2865" fmla="*/ 2391672 h 6407421"/>
              <a:gd name="connsiteX2866" fmla="*/ 531838 w 11701760"/>
              <a:gd name="connsiteY2866" fmla="*/ 2421278 h 6407421"/>
              <a:gd name="connsiteX2867" fmla="*/ 502236 w 11701760"/>
              <a:gd name="connsiteY2867" fmla="*/ 2421278 h 6407421"/>
              <a:gd name="connsiteX2868" fmla="*/ 6082884 w 11701760"/>
              <a:gd name="connsiteY2868" fmla="*/ 2391669 h 6407421"/>
              <a:gd name="connsiteX2869" fmla="*/ 6112486 w 11701760"/>
              <a:gd name="connsiteY2869" fmla="*/ 2391669 h 6407421"/>
              <a:gd name="connsiteX2870" fmla="*/ 6112486 w 11701760"/>
              <a:gd name="connsiteY2870" fmla="*/ 2421272 h 6407421"/>
              <a:gd name="connsiteX2871" fmla="*/ 6082884 w 11701760"/>
              <a:gd name="connsiteY2871" fmla="*/ 2421272 h 6407421"/>
              <a:gd name="connsiteX2872" fmla="*/ 236037 w 11701760"/>
              <a:gd name="connsiteY2872" fmla="*/ 2391669 h 6407421"/>
              <a:gd name="connsiteX2873" fmla="*/ 265639 w 11701760"/>
              <a:gd name="connsiteY2873" fmla="*/ 2391669 h 6407421"/>
              <a:gd name="connsiteX2874" fmla="*/ 265639 w 11701760"/>
              <a:gd name="connsiteY2874" fmla="*/ 2421272 h 6407421"/>
              <a:gd name="connsiteX2875" fmla="*/ 236037 w 11701760"/>
              <a:gd name="connsiteY2875" fmla="*/ 2421272 h 6407421"/>
              <a:gd name="connsiteX2876" fmla="*/ 1 w 11701760"/>
              <a:gd name="connsiteY2876" fmla="*/ 2391669 h 6407421"/>
              <a:gd name="connsiteX2877" fmla="*/ 29603 w 11701760"/>
              <a:gd name="connsiteY2877" fmla="*/ 2391669 h 6407421"/>
              <a:gd name="connsiteX2878" fmla="*/ 29603 w 11701760"/>
              <a:gd name="connsiteY2878" fmla="*/ 2421272 h 6407421"/>
              <a:gd name="connsiteX2879" fmla="*/ 1 w 11701760"/>
              <a:gd name="connsiteY2879" fmla="*/ 2421272 h 6407421"/>
              <a:gd name="connsiteX2880" fmla="*/ 11672158 w 11701760"/>
              <a:gd name="connsiteY2880" fmla="*/ 2126064 h 6407421"/>
              <a:gd name="connsiteX2881" fmla="*/ 11701760 w 11701760"/>
              <a:gd name="connsiteY2881" fmla="*/ 2126064 h 6407421"/>
              <a:gd name="connsiteX2882" fmla="*/ 11701760 w 11701760"/>
              <a:gd name="connsiteY2882" fmla="*/ 2155577 h 6407421"/>
              <a:gd name="connsiteX2883" fmla="*/ 11672158 w 11701760"/>
              <a:gd name="connsiteY2883" fmla="*/ 2155577 h 6407421"/>
              <a:gd name="connsiteX2884" fmla="*/ 5825310 w 11701760"/>
              <a:gd name="connsiteY2884" fmla="*/ 2126064 h 6407421"/>
              <a:gd name="connsiteX2885" fmla="*/ 5854913 w 11701760"/>
              <a:gd name="connsiteY2885" fmla="*/ 2126064 h 6407421"/>
              <a:gd name="connsiteX2886" fmla="*/ 5854913 w 11701760"/>
              <a:gd name="connsiteY2886" fmla="*/ 2155577 h 6407421"/>
              <a:gd name="connsiteX2887" fmla="*/ 5825310 w 11701760"/>
              <a:gd name="connsiteY2887" fmla="*/ 2155577 h 6407421"/>
              <a:gd name="connsiteX2888" fmla="*/ 11405961 w 11701760"/>
              <a:gd name="connsiteY2888" fmla="*/ 2126062 h 6407421"/>
              <a:gd name="connsiteX2889" fmla="*/ 11435563 w 11701760"/>
              <a:gd name="connsiteY2889" fmla="*/ 2126062 h 6407421"/>
              <a:gd name="connsiteX2890" fmla="*/ 11435563 w 11701760"/>
              <a:gd name="connsiteY2890" fmla="*/ 2155575 h 6407421"/>
              <a:gd name="connsiteX2891" fmla="*/ 11405961 w 11701760"/>
              <a:gd name="connsiteY2891" fmla="*/ 2155575 h 6407421"/>
              <a:gd name="connsiteX2892" fmla="*/ 5559113 w 11701760"/>
              <a:gd name="connsiteY2892" fmla="*/ 2126062 h 6407421"/>
              <a:gd name="connsiteX2893" fmla="*/ 5588715 w 11701760"/>
              <a:gd name="connsiteY2893" fmla="*/ 2126062 h 6407421"/>
              <a:gd name="connsiteX2894" fmla="*/ 5588715 w 11701760"/>
              <a:gd name="connsiteY2894" fmla="*/ 2155575 h 6407421"/>
              <a:gd name="connsiteX2895" fmla="*/ 5559113 w 11701760"/>
              <a:gd name="connsiteY2895" fmla="*/ 2155575 h 6407421"/>
              <a:gd name="connsiteX2896" fmla="*/ 11139872 w 11701760"/>
              <a:gd name="connsiteY2896" fmla="*/ 2126061 h 6407421"/>
              <a:gd name="connsiteX2897" fmla="*/ 11169474 w 11701760"/>
              <a:gd name="connsiteY2897" fmla="*/ 2126061 h 6407421"/>
              <a:gd name="connsiteX2898" fmla="*/ 11169474 w 11701760"/>
              <a:gd name="connsiteY2898" fmla="*/ 2155572 h 6407421"/>
              <a:gd name="connsiteX2899" fmla="*/ 11139872 w 11701760"/>
              <a:gd name="connsiteY2899" fmla="*/ 2155572 h 6407421"/>
              <a:gd name="connsiteX2900" fmla="*/ 5293024 w 11701760"/>
              <a:gd name="connsiteY2900" fmla="*/ 2126061 h 6407421"/>
              <a:gd name="connsiteX2901" fmla="*/ 5322626 w 11701760"/>
              <a:gd name="connsiteY2901" fmla="*/ 2126061 h 6407421"/>
              <a:gd name="connsiteX2902" fmla="*/ 5322626 w 11701760"/>
              <a:gd name="connsiteY2902" fmla="*/ 2155572 h 6407421"/>
              <a:gd name="connsiteX2903" fmla="*/ 5293024 w 11701760"/>
              <a:gd name="connsiteY2903" fmla="*/ 2155572 h 6407421"/>
              <a:gd name="connsiteX2904" fmla="*/ 10873675 w 11701760"/>
              <a:gd name="connsiteY2904" fmla="*/ 2126058 h 6407421"/>
              <a:gd name="connsiteX2905" fmla="*/ 10903277 w 11701760"/>
              <a:gd name="connsiteY2905" fmla="*/ 2126058 h 6407421"/>
              <a:gd name="connsiteX2906" fmla="*/ 10903277 w 11701760"/>
              <a:gd name="connsiteY2906" fmla="*/ 2155569 h 6407421"/>
              <a:gd name="connsiteX2907" fmla="*/ 10873675 w 11701760"/>
              <a:gd name="connsiteY2907" fmla="*/ 2155569 h 6407421"/>
              <a:gd name="connsiteX2908" fmla="*/ 5026827 w 11701760"/>
              <a:gd name="connsiteY2908" fmla="*/ 2126058 h 6407421"/>
              <a:gd name="connsiteX2909" fmla="*/ 5056429 w 11701760"/>
              <a:gd name="connsiteY2909" fmla="*/ 2126058 h 6407421"/>
              <a:gd name="connsiteX2910" fmla="*/ 5056429 w 11701760"/>
              <a:gd name="connsiteY2910" fmla="*/ 2155569 h 6407421"/>
              <a:gd name="connsiteX2911" fmla="*/ 5026827 w 11701760"/>
              <a:gd name="connsiteY2911" fmla="*/ 2155569 h 6407421"/>
              <a:gd name="connsiteX2912" fmla="*/ 10607478 w 11701760"/>
              <a:gd name="connsiteY2912" fmla="*/ 2126055 h 6407421"/>
              <a:gd name="connsiteX2913" fmla="*/ 10637188 w 11701760"/>
              <a:gd name="connsiteY2913" fmla="*/ 2126055 h 6407421"/>
              <a:gd name="connsiteX2914" fmla="*/ 10637188 w 11701760"/>
              <a:gd name="connsiteY2914" fmla="*/ 2155565 h 6407421"/>
              <a:gd name="connsiteX2915" fmla="*/ 10607478 w 11701760"/>
              <a:gd name="connsiteY2915" fmla="*/ 2155565 h 6407421"/>
              <a:gd name="connsiteX2916" fmla="*/ 4760630 w 11701760"/>
              <a:gd name="connsiteY2916" fmla="*/ 2126055 h 6407421"/>
              <a:gd name="connsiteX2917" fmla="*/ 4790340 w 11701760"/>
              <a:gd name="connsiteY2917" fmla="*/ 2126055 h 6407421"/>
              <a:gd name="connsiteX2918" fmla="*/ 4790340 w 11701760"/>
              <a:gd name="connsiteY2918" fmla="*/ 2155565 h 6407421"/>
              <a:gd name="connsiteX2919" fmla="*/ 4760630 w 11701760"/>
              <a:gd name="connsiteY2919" fmla="*/ 2155565 h 6407421"/>
              <a:gd name="connsiteX2920" fmla="*/ 10341389 w 11701760"/>
              <a:gd name="connsiteY2920" fmla="*/ 2126052 h 6407421"/>
              <a:gd name="connsiteX2921" fmla="*/ 10370992 w 11701760"/>
              <a:gd name="connsiteY2921" fmla="*/ 2126052 h 6407421"/>
              <a:gd name="connsiteX2922" fmla="*/ 10370992 w 11701760"/>
              <a:gd name="connsiteY2922" fmla="*/ 2155561 h 6407421"/>
              <a:gd name="connsiteX2923" fmla="*/ 10341389 w 11701760"/>
              <a:gd name="connsiteY2923" fmla="*/ 2155561 h 6407421"/>
              <a:gd name="connsiteX2924" fmla="*/ 4494541 w 11701760"/>
              <a:gd name="connsiteY2924" fmla="*/ 2126052 h 6407421"/>
              <a:gd name="connsiteX2925" fmla="*/ 4524144 w 11701760"/>
              <a:gd name="connsiteY2925" fmla="*/ 2126052 h 6407421"/>
              <a:gd name="connsiteX2926" fmla="*/ 4524144 w 11701760"/>
              <a:gd name="connsiteY2926" fmla="*/ 2155561 h 6407421"/>
              <a:gd name="connsiteX2927" fmla="*/ 4494541 w 11701760"/>
              <a:gd name="connsiteY2927" fmla="*/ 2155561 h 6407421"/>
              <a:gd name="connsiteX2928" fmla="*/ 10075192 w 11701760"/>
              <a:gd name="connsiteY2928" fmla="*/ 2126049 h 6407421"/>
              <a:gd name="connsiteX2929" fmla="*/ 10104794 w 11701760"/>
              <a:gd name="connsiteY2929" fmla="*/ 2126049 h 6407421"/>
              <a:gd name="connsiteX2930" fmla="*/ 10104794 w 11701760"/>
              <a:gd name="connsiteY2930" fmla="*/ 2155558 h 6407421"/>
              <a:gd name="connsiteX2931" fmla="*/ 10075192 w 11701760"/>
              <a:gd name="connsiteY2931" fmla="*/ 2155558 h 6407421"/>
              <a:gd name="connsiteX2932" fmla="*/ 4228344 w 11701760"/>
              <a:gd name="connsiteY2932" fmla="*/ 2126049 h 6407421"/>
              <a:gd name="connsiteX2933" fmla="*/ 4257946 w 11701760"/>
              <a:gd name="connsiteY2933" fmla="*/ 2126049 h 6407421"/>
              <a:gd name="connsiteX2934" fmla="*/ 4257946 w 11701760"/>
              <a:gd name="connsiteY2934" fmla="*/ 2155558 h 6407421"/>
              <a:gd name="connsiteX2935" fmla="*/ 4228344 w 11701760"/>
              <a:gd name="connsiteY2935" fmla="*/ 2155558 h 6407421"/>
              <a:gd name="connsiteX2936" fmla="*/ 9809103 w 11701760"/>
              <a:gd name="connsiteY2936" fmla="*/ 2126047 h 6407421"/>
              <a:gd name="connsiteX2937" fmla="*/ 9838705 w 11701760"/>
              <a:gd name="connsiteY2937" fmla="*/ 2126047 h 6407421"/>
              <a:gd name="connsiteX2938" fmla="*/ 9838705 w 11701760"/>
              <a:gd name="connsiteY2938" fmla="*/ 2155554 h 6407421"/>
              <a:gd name="connsiteX2939" fmla="*/ 9809103 w 11701760"/>
              <a:gd name="connsiteY2939" fmla="*/ 2155554 h 6407421"/>
              <a:gd name="connsiteX2940" fmla="*/ 3962255 w 11701760"/>
              <a:gd name="connsiteY2940" fmla="*/ 2126047 h 6407421"/>
              <a:gd name="connsiteX2941" fmla="*/ 3991857 w 11701760"/>
              <a:gd name="connsiteY2941" fmla="*/ 2126047 h 6407421"/>
              <a:gd name="connsiteX2942" fmla="*/ 3991857 w 11701760"/>
              <a:gd name="connsiteY2942" fmla="*/ 2155554 h 6407421"/>
              <a:gd name="connsiteX2943" fmla="*/ 3962255 w 11701760"/>
              <a:gd name="connsiteY2943" fmla="*/ 2155554 h 6407421"/>
              <a:gd name="connsiteX2944" fmla="*/ 9542906 w 11701760"/>
              <a:gd name="connsiteY2944" fmla="*/ 2126044 h 6407421"/>
              <a:gd name="connsiteX2945" fmla="*/ 9572509 w 11701760"/>
              <a:gd name="connsiteY2945" fmla="*/ 2126044 h 6407421"/>
              <a:gd name="connsiteX2946" fmla="*/ 9572509 w 11701760"/>
              <a:gd name="connsiteY2946" fmla="*/ 2155551 h 6407421"/>
              <a:gd name="connsiteX2947" fmla="*/ 9542906 w 11701760"/>
              <a:gd name="connsiteY2947" fmla="*/ 2155551 h 6407421"/>
              <a:gd name="connsiteX2948" fmla="*/ 3696058 w 11701760"/>
              <a:gd name="connsiteY2948" fmla="*/ 2126044 h 6407421"/>
              <a:gd name="connsiteX2949" fmla="*/ 3725661 w 11701760"/>
              <a:gd name="connsiteY2949" fmla="*/ 2126044 h 6407421"/>
              <a:gd name="connsiteX2950" fmla="*/ 3725661 w 11701760"/>
              <a:gd name="connsiteY2950" fmla="*/ 2155551 h 6407421"/>
              <a:gd name="connsiteX2951" fmla="*/ 3696058 w 11701760"/>
              <a:gd name="connsiteY2951" fmla="*/ 2155551 h 6407421"/>
              <a:gd name="connsiteX2952" fmla="*/ 9276817 w 11701760"/>
              <a:gd name="connsiteY2952" fmla="*/ 2126042 h 6407421"/>
              <a:gd name="connsiteX2953" fmla="*/ 9306420 w 11701760"/>
              <a:gd name="connsiteY2953" fmla="*/ 2126042 h 6407421"/>
              <a:gd name="connsiteX2954" fmla="*/ 9306420 w 11701760"/>
              <a:gd name="connsiteY2954" fmla="*/ 2155548 h 6407421"/>
              <a:gd name="connsiteX2955" fmla="*/ 9276817 w 11701760"/>
              <a:gd name="connsiteY2955" fmla="*/ 2155548 h 6407421"/>
              <a:gd name="connsiteX2956" fmla="*/ 3429969 w 11701760"/>
              <a:gd name="connsiteY2956" fmla="*/ 2126042 h 6407421"/>
              <a:gd name="connsiteX2957" fmla="*/ 3459572 w 11701760"/>
              <a:gd name="connsiteY2957" fmla="*/ 2126042 h 6407421"/>
              <a:gd name="connsiteX2958" fmla="*/ 3459572 w 11701760"/>
              <a:gd name="connsiteY2958" fmla="*/ 2155548 h 6407421"/>
              <a:gd name="connsiteX2959" fmla="*/ 3429969 w 11701760"/>
              <a:gd name="connsiteY2959" fmla="*/ 2155548 h 6407421"/>
              <a:gd name="connsiteX2960" fmla="*/ 9010620 w 11701760"/>
              <a:gd name="connsiteY2960" fmla="*/ 2126039 h 6407421"/>
              <a:gd name="connsiteX2961" fmla="*/ 9040222 w 11701760"/>
              <a:gd name="connsiteY2961" fmla="*/ 2126039 h 6407421"/>
              <a:gd name="connsiteX2962" fmla="*/ 9040222 w 11701760"/>
              <a:gd name="connsiteY2962" fmla="*/ 2155544 h 6407421"/>
              <a:gd name="connsiteX2963" fmla="*/ 9010620 w 11701760"/>
              <a:gd name="connsiteY2963" fmla="*/ 2155544 h 6407421"/>
              <a:gd name="connsiteX2964" fmla="*/ 3163772 w 11701760"/>
              <a:gd name="connsiteY2964" fmla="*/ 2126039 h 6407421"/>
              <a:gd name="connsiteX2965" fmla="*/ 3193374 w 11701760"/>
              <a:gd name="connsiteY2965" fmla="*/ 2126039 h 6407421"/>
              <a:gd name="connsiteX2966" fmla="*/ 3193374 w 11701760"/>
              <a:gd name="connsiteY2966" fmla="*/ 2155544 h 6407421"/>
              <a:gd name="connsiteX2967" fmla="*/ 3163772 w 11701760"/>
              <a:gd name="connsiteY2967" fmla="*/ 2155544 h 6407421"/>
              <a:gd name="connsiteX2968" fmla="*/ 8744423 w 11701760"/>
              <a:gd name="connsiteY2968" fmla="*/ 2126036 h 6407421"/>
              <a:gd name="connsiteX2969" fmla="*/ 8774026 w 11701760"/>
              <a:gd name="connsiteY2969" fmla="*/ 2126036 h 6407421"/>
              <a:gd name="connsiteX2970" fmla="*/ 8774026 w 11701760"/>
              <a:gd name="connsiteY2970" fmla="*/ 2155541 h 6407421"/>
              <a:gd name="connsiteX2971" fmla="*/ 8744423 w 11701760"/>
              <a:gd name="connsiteY2971" fmla="*/ 2155541 h 6407421"/>
              <a:gd name="connsiteX2972" fmla="*/ 2897575 w 11701760"/>
              <a:gd name="connsiteY2972" fmla="*/ 2126036 h 6407421"/>
              <a:gd name="connsiteX2973" fmla="*/ 2927178 w 11701760"/>
              <a:gd name="connsiteY2973" fmla="*/ 2126036 h 6407421"/>
              <a:gd name="connsiteX2974" fmla="*/ 2927178 w 11701760"/>
              <a:gd name="connsiteY2974" fmla="*/ 2155541 h 6407421"/>
              <a:gd name="connsiteX2975" fmla="*/ 2897575 w 11701760"/>
              <a:gd name="connsiteY2975" fmla="*/ 2155541 h 6407421"/>
              <a:gd name="connsiteX2976" fmla="*/ 8478226 w 11701760"/>
              <a:gd name="connsiteY2976" fmla="*/ 2126033 h 6407421"/>
              <a:gd name="connsiteX2977" fmla="*/ 8507828 w 11701760"/>
              <a:gd name="connsiteY2977" fmla="*/ 2126033 h 6407421"/>
              <a:gd name="connsiteX2978" fmla="*/ 8507828 w 11701760"/>
              <a:gd name="connsiteY2978" fmla="*/ 2155537 h 6407421"/>
              <a:gd name="connsiteX2979" fmla="*/ 8478226 w 11701760"/>
              <a:gd name="connsiteY2979" fmla="*/ 2155537 h 6407421"/>
              <a:gd name="connsiteX2980" fmla="*/ 2631378 w 11701760"/>
              <a:gd name="connsiteY2980" fmla="*/ 2126033 h 6407421"/>
              <a:gd name="connsiteX2981" fmla="*/ 2660980 w 11701760"/>
              <a:gd name="connsiteY2981" fmla="*/ 2126033 h 6407421"/>
              <a:gd name="connsiteX2982" fmla="*/ 2660980 w 11701760"/>
              <a:gd name="connsiteY2982" fmla="*/ 2155537 h 6407421"/>
              <a:gd name="connsiteX2983" fmla="*/ 2631378 w 11701760"/>
              <a:gd name="connsiteY2983" fmla="*/ 2155537 h 6407421"/>
              <a:gd name="connsiteX2984" fmla="*/ 8212137 w 11701760"/>
              <a:gd name="connsiteY2984" fmla="*/ 2126031 h 6407421"/>
              <a:gd name="connsiteX2985" fmla="*/ 8241740 w 11701760"/>
              <a:gd name="connsiteY2985" fmla="*/ 2126031 h 6407421"/>
              <a:gd name="connsiteX2986" fmla="*/ 8241740 w 11701760"/>
              <a:gd name="connsiteY2986" fmla="*/ 2155534 h 6407421"/>
              <a:gd name="connsiteX2987" fmla="*/ 8212137 w 11701760"/>
              <a:gd name="connsiteY2987" fmla="*/ 2155534 h 6407421"/>
              <a:gd name="connsiteX2988" fmla="*/ 2365289 w 11701760"/>
              <a:gd name="connsiteY2988" fmla="*/ 2126031 h 6407421"/>
              <a:gd name="connsiteX2989" fmla="*/ 2394892 w 11701760"/>
              <a:gd name="connsiteY2989" fmla="*/ 2126031 h 6407421"/>
              <a:gd name="connsiteX2990" fmla="*/ 2394892 w 11701760"/>
              <a:gd name="connsiteY2990" fmla="*/ 2155534 h 6407421"/>
              <a:gd name="connsiteX2991" fmla="*/ 2365289 w 11701760"/>
              <a:gd name="connsiteY2991" fmla="*/ 2155534 h 6407421"/>
              <a:gd name="connsiteX2992" fmla="*/ 7945940 w 11701760"/>
              <a:gd name="connsiteY2992" fmla="*/ 2126030 h 6407421"/>
              <a:gd name="connsiteX2993" fmla="*/ 7975543 w 11701760"/>
              <a:gd name="connsiteY2993" fmla="*/ 2126030 h 6407421"/>
              <a:gd name="connsiteX2994" fmla="*/ 7975543 w 11701760"/>
              <a:gd name="connsiteY2994" fmla="*/ 2155531 h 6407421"/>
              <a:gd name="connsiteX2995" fmla="*/ 7945940 w 11701760"/>
              <a:gd name="connsiteY2995" fmla="*/ 2155531 h 6407421"/>
              <a:gd name="connsiteX2996" fmla="*/ 2099092 w 11701760"/>
              <a:gd name="connsiteY2996" fmla="*/ 2126030 h 6407421"/>
              <a:gd name="connsiteX2997" fmla="*/ 2128695 w 11701760"/>
              <a:gd name="connsiteY2997" fmla="*/ 2126030 h 6407421"/>
              <a:gd name="connsiteX2998" fmla="*/ 2128695 w 11701760"/>
              <a:gd name="connsiteY2998" fmla="*/ 2155531 h 6407421"/>
              <a:gd name="connsiteX2999" fmla="*/ 2099092 w 11701760"/>
              <a:gd name="connsiteY2999" fmla="*/ 2155531 h 6407421"/>
              <a:gd name="connsiteX3000" fmla="*/ 7679743 w 11701760"/>
              <a:gd name="connsiteY3000" fmla="*/ 2126028 h 6407421"/>
              <a:gd name="connsiteX3001" fmla="*/ 7709346 w 11701760"/>
              <a:gd name="connsiteY3001" fmla="*/ 2126028 h 6407421"/>
              <a:gd name="connsiteX3002" fmla="*/ 7709346 w 11701760"/>
              <a:gd name="connsiteY3002" fmla="*/ 2155527 h 6407421"/>
              <a:gd name="connsiteX3003" fmla="*/ 7679743 w 11701760"/>
              <a:gd name="connsiteY3003" fmla="*/ 2155527 h 6407421"/>
              <a:gd name="connsiteX3004" fmla="*/ 1832898 w 11701760"/>
              <a:gd name="connsiteY3004" fmla="*/ 2126028 h 6407421"/>
              <a:gd name="connsiteX3005" fmla="*/ 1862498 w 11701760"/>
              <a:gd name="connsiteY3005" fmla="*/ 2126028 h 6407421"/>
              <a:gd name="connsiteX3006" fmla="*/ 1862498 w 11701760"/>
              <a:gd name="connsiteY3006" fmla="*/ 2155527 h 6407421"/>
              <a:gd name="connsiteX3007" fmla="*/ 1832898 w 11701760"/>
              <a:gd name="connsiteY3007" fmla="*/ 2155527 h 6407421"/>
              <a:gd name="connsiteX3008" fmla="*/ 7413653 w 11701760"/>
              <a:gd name="connsiteY3008" fmla="*/ 2126025 h 6407421"/>
              <a:gd name="connsiteX3009" fmla="*/ 7443256 w 11701760"/>
              <a:gd name="connsiteY3009" fmla="*/ 2126025 h 6407421"/>
              <a:gd name="connsiteX3010" fmla="*/ 7443256 w 11701760"/>
              <a:gd name="connsiteY3010" fmla="*/ 2155523 h 6407421"/>
              <a:gd name="connsiteX3011" fmla="*/ 7413653 w 11701760"/>
              <a:gd name="connsiteY3011" fmla="*/ 2155523 h 6407421"/>
              <a:gd name="connsiteX3012" fmla="*/ 1566808 w 11701760"/>
              <a:gd name="connsiteY3012" fmla="*/ 2126025 h 6407421"/>
              <a:gd name="connsiteX3013" fmla="*/ 1596409 w 11701760"/>
              <a:gd name="connsiteY3013" fmla="*/ 2126025 h 6407421"/>
              <a:gd name="connsiteX3014" fmla="*/ 1596409 w 11701760"/>
              <a:gd name="connsiteY3014" fmla="*/ 2155523 h 6407421"/>
              <a:gd name="connsiteX3015" fmla="*/ 1566808 w 11701760"/>
              <a:gd name="connsiteY3015" fmla="*/ 2155523 h 6407421"/>
              <a:gd name="connsiteX3016" fmla="*/ 7147456 w 11701760"/>
              <a:gd name="connsiteY3016" fmla="*/ 2126023 h 6407421"/>
              <a:gd name="connsiteX3017" fmla="*/ 7177058 w 11701760"/>
              <a:gd name="connsiteY3017" fmla="*/ 2126023 h 6407421"/>
              <a:gd name="connsiteX3018" fmla="*/ 7177058 w 11701760"/>
              <a:gd name="connsiteY3018" fmla="*/ 2155520 h 6407421"/>
              <a:gd name="connsiteX3019" fmla="*/ 7147456 w 11701760"/>
              <a:gd name="connsiteY3019" fmla="*/ 2155520 h 6407421"/>
              <a:gd name="connsiteX3020" fmla="*/ 1300611 w 11701760"/>
              <a:gd name="connsiteY3020" fmla="*/ 2126023 h 6407421"/>
              <a:gd name="connsiteX3021" fmla="*/ 1330213 w 11701760"/>
              <a:gd name="connsiteY3021" fmla="*/ 2126023 h 6407421"/>
              <a:gd name="connsiteX3022" fmla="*/ 1330213 w 11701760"/>
              <a:gd name="connsiteY3022" fmla="*/ 2155520 h 6407421"/>
              <a:gd name="connsiteX3023" fmla="*/ 1300611 w 11701760"/>
              <a:gd name="connsiteY3023" fmla="*/ 2155520 h 6407421"/>
              <a:gd name="connsiteX3024" fmla="*/ 6881367 w 11701760"/>
              <a:gd name="connsiteY3024" fmla="*/ 2126020 h 6407421"/>
              <a:gd name="connsiteX3025" fmla="*/ 6910970 w 11701760"/>
              <a:gd name="connsiteY3025" fmla="*/ 2126020 h 6407421"/>
              <a:gd name="connsiteX3026" fmla="*/ 6910970 w 11701760"/>
              <a:gd name="connsiteY3026" fmla="*/ 2155517 h 6407421"/>
              <a:gd name="connsiteX3027" fmla="*/ 6881367 w 11701760"/>
              <a:gd name="connsiteY3027" fmla="*/ 2155517 h 6407421"/>
              <a:gd name="connsiteX3028" fmla="*/ 1034520 w 11701760"/>
              <a:gd name="connsiteY3028" fmla="*/ 2126020 h 6407421"/>
              <a:gd name="connsiteX3029" fmla="*/ 1064123 w 11701760"/>
              <a:gd name="connsiteY3029" fmla="*/ 2126020 h 6407421"/>
              <a:gd name="connsiteX3030" fmla="*/ 1064123 w 11701760"/>
              <a:gd name="connsiteY3030" fmla="*/ 2155517 h 6407421"/>
              <a:gd name="connsiteX3031" fmla="*/ 1034520 w 11701760"/>
              <a:gd name="connsiteY3031" fmla="*/ 2155517 h 6407421"/>
              <a:gd name="connsiteX3032" fmla="*/ 6615170 w 11701760"/>
              <a:gd name="connsiteY3032" fmla="*/ 2126017 h 6407421"/>
              <a:gd name="connsiteX3033" fmla="*/ 6644773 w 11701760"/>
              <a:gd name="connsiteY3033" fmla="*/ 2126017 h 6407421"/>
              <a:gd name="connsiteX3034" fmla="*/ 6644773 w 11701760"/>
              <a:gd name="connsiteY3034" fmla="*/ 2155513 h 6407421"/>
              <a:gd name="connsiteX3035" fmla="*/ 6615170 w 11701760"/>
              <a:gd name="connsiteY3035" fmla="*/ 2155513 h 6407421"/>
              <a:gd name="connsiteX3036" fmla="*/ 768327 w 11701760"/>
              <a:gd name="connsiteY3036" fmla="*/ 2126017 h 6407421"/>
              <a:gd name="connsiteX3037" fmla="*/ 797926 w 11701760"/>
              <a:gd name="connsiteY3037" fmla="*/ 2126017 h 6407421"/>
              <a:gd name="connsiteX3038" fmla="*/ 797926 w 11701760"/>
              <a:gd name="connsiteY3038" fmla="*/ 2155513 h 6407421"/>
              <a:gd name="connsiteX3039" fmla="*/ 768327 w 11701760"/>
              <a:gd name="connsiteY3039" fmla="*/ 2155513 h 6407421"/>
              <a:gd name="connsiteX3040" fmla="*/ 6349081 w 11701760"/>
              <a:gd name="connsiteY3040" fmla="*/ 2126014 h 6407421"/>
              <a:gd name="connsiteX3041" fmla="*/ 6378683 w 11701760"/>
              <a:gd name="connsiteY3041" fmla="*/ 2126014 h 6407421"/>
              <a:gd name="connsiteX3042" fmla="*/ 6378683 w 11701760"/>
              <a:gd name="connsiteY3042" fmla="*/ 2155510 h 6407421"/>
              <a:gd name="connsiteX3043" fmla="*/ 6349081 w 11701760"/>
              <a:gd name="connsiteY3043" fmla="*/ 2155510 h 6407421"/>
              <a:gd name="connsiteX3044" fmla="*/ 502236 w 11701760"/>
              <a:gd name="connsiteY3044" fmla="*/ 2126014 h 6407421"/>
              <a:gd name="connsiteX3045" fmla="*/ 531838 w 11701760"/>
              <a:gd name="connsiteY3045" fmla="*/ 2126014 h 6407421"/>
              <a:gd name="connsiteX3046" fmla="*/ 531838 w 11701760"/>
              <a:gd name="connsiteY3046" fmla="*/ 2155510 h 6407421"/>
              <a:gd name="connsiteX3047" fmla="*/ 502236 w 11701760"/>
              <a:gd name="connsiteY3047" fmla="*/ 2155510 h 6407421"/>
              <a:gd name="connsiteX3048" fmla="*/ 6082884 w 11701760"/>
              <a:gd name="connsiteY3048" fmla="*/ 2126012 h 6407421"/>
              <a:gd name="connsiteX3049" fmla="*/ 6112486 w 11701760"/>
              <a:gd name="connsiteY3049" fmla="*/ 2126012 h 6407421"/>
              <a:gd name="connsiteX3050" fmla="*/ 6112486 w 11701760"/>
              <a:gd name="connsiteY3050" fmla="*/ 2155506 h 6407421"/>
              <a:gd name="connsiteX3051" fmla="*/ 6082884 w 11701760"/>
              <a:gd name="connsiteY3051" fmla="*/ 2155506 h 6407421"/>
              <a:gd name="connsiteX3052" fmla="*/ 236037 w 11701760"/>
              <a:gd name="connsiteY3052" fmla="*/ 2126012 h 6407421"/>
              <a:gd name="connsiteX3053" fmla="*/ 265639 w 11701760"/>
              <a:gd name="connsiteY3053" fmla="*/ 2126012 h 6407421"/>
              <a:gd name="connsiteX3054" fmla="*/ 265639 w 11701760"/>
              <a:gd name="connsiteY3054" fmla="*/ 2155506 h 6407421"/>
              <a:gd name="connsiteX3055" fmla="*/ 236037 w 11701760"/>
              <a:gd name="connsiteY3055" fmla="*/ 2155506 h 6407421"/>
              <a:gd name="connsiteX3056" fmla="*/ 1 w 11701760"/>
              <a:gd name="connsiteY3056" fmla="*/ 2126012 h 6407421"/>
              <a:gd name="connsiteX3057" fmla="*/ 29603 w 11701760"/>
              <a:gd name="connsiteY3057" fmla="*/ 2126012 h 6407421"/>
              <a:gd name="connsiteX3058" fmla="*/ 29603 w 11701760"/>
              <a:gd name="connsiteY3058" fmla="*/ 2155506 h 6407421"/>
              <a:gd name="connsiteX3059" fmla="*/ 1 w 11701760"/>
              <a:gd name="connsiteY3059" fmla="*/ 2155506 h 6407421"/>
              <a:gd name="connsiteX3060" fmla="*/ 11672158 w 11701760"/>
              <a:gd name="connsiteY3060" fmla="*/ 1860298 h 6407421"/>
              <a:gd name="connsiteX3061" fmla="*/ 11701760 w 11701760"/>
              <a:gd name="connsiteY3061" fmla="*/ 1860298 h 6407421"/>
              <a:gd name="connsiteX3062" fmla="*/ 11701760 w 11701760"/>
              <a:gd name="connsiteY3062" fmla="*/ 1889774 h 6407421"/>
              <a:gd name="connsiteX3063" fmla="*/ 11672158 w 11701760"/>
              <a:gd name="connsiteY3063" fmla="*/ 1889774 h 6407421"/>
              <a:gd name="connsiteX3064" fmla="*/ 5825310 w 11701760"/>
              <a:gd name="connsiteY3064" fmla="*/ 1860298 h 6407421"/>
              <a:gd name="connsiteX3065" fmla="*/ 5854913 w 11701760"/>
              <a:gd name="connsiteY3065" fmla="*/ 1860298 h 6407421"/>
              <a:gd name="connsiteX3066" fmla="*/ 5854913 w 11701760"/>
              <a:gd name="connsiteY3066" fmla="*/ 1889774 h 6407421"/>
              <a:gd name="connsiteX3067" fmla="*/ 5825310 w 11701760"/>
              <a:gd name="connsiteY3067" fmla="*/ 1889774 h 6407421"/>
              <a:gd name="connsiteX3068" fmla="*/ 11405961 w 11701760"/>
              <a:gd name="connsiteY3068" fmla="*/ 1860296 h 6407421"/>
              <a:gd name="connsiteX3069" fmla="*/ 11435563 w 11701760"/>
              <a:gd name="connsiteY3069" fmla="*/ 1860296 h 6407421"/>
              <a:gd name="connsiteX3070" fmla="*/ 11435563 w 11701760"/>
              <a:gd name="connsiteY3070" fmla="*/ 1889774 h 6407421"/>
              <a:gd name="connsiteX3071" fmla="*/ 11405961 w 11701760"/>
              <a:gd name="connsiteY3071" fmla="*/ 1889774 h 6407421"/>
              <a:gd name="connsiteX3072" fmla="*/ 5559113 w 11701760"/>
              <a:gd name="connsiteY3072" fmla="*/ 1860296 h 6407421"/>
              <a:gd name="connsiteX3073" fmla="*/ 5588715 w 11701760"/>
              <a:gd name="connsiteY3073" fmla="*/ 1860296 h 6407421"/>
              <a:gd name="connsiteX3074" fmla="*/ 5588715 w 11701760"/>
              <a:gd name="connsiteY3074" fmla="*/ 1889774 h 6407421"/>
              <a:gd name="connsiteX3075" fmla="*/ 5559113 w 11701760"/>
              <a:gd name="connsiteY3075" fmla="*/ 1889774 h 6407421"/>
              <a:gd name="connsiteX3076" fmla="*/ 11139872 w 11701760"/>
              <a:gd name="connsiteY3076" fmla="*/ 1860293 h 6407421"/>
              <a:gd name="connsiteX3077" fmla="*/ 11169474 w 11701760"/>
              <a:gd name="connsiteY3077" fmla="*/ 1860293 h 6407421"/>
              <a:gd name="connsiteX3078" fmla="*/ 11169474 w 11701760"/>
              <a:gd name="connsiteY3078" fmla="*/ 1889772 h 6407421"/>
              <a:gd name="connsiteX3079" fmla="*/ 11139872 w 11701760"/>
              <a:gd name="connsiteY3079" fmla="*/ 1889772 h 6407421"/>
              <a:gd name="connsiteX3080" fmla="*/ 5293024 w 11701760"/>
              <a:gd name="connsiteY3080" fmla="*/ 1860293 h 6407421"/>
              <a:gd name="connsiteX3081" fmla="*/ 5322626 w 11701760"/>
              <a:gd name="connsiteY3081" fmla="*/ 1860293 h 6407421"/>
              <a:gd name="connsiteX3082" fmla="*/ 5322626 w 11701760"/>
              <a:gd name="connsiteY3082" fmla="*/ 1889772 h 6407421"/>
              <a:gd name="connsiteX3083" fmla="*/ 5293024 w 11701760"/>
              <a:gd name="connsiteY3083" fmla="*/ 1889772 h 6407421"/>
              <a:gd name="connsiteX3084" fmla="*/ 10873675 w 11701760"/>
              <a:gd name="connsiteY3084" fmla="*/ 1860291 h 6407421"/>
              <a:gd name="connsiteX3085" fmla="*/ 10903277 w 11701760"/>
              <a:gd name="connsiteY3085" fmla="*/ 1860291 h 6407421"/>
              <a:gd name="connsiteX3086" fmla="*/ 10903277 w 11701760"/>
              <a:gd name="connsiteY3086" fmla="*/ 1889770 h 6407421"/>
              <a:gd name="connsiteX3087" fmla="*/ 10873675 w 11701760"/>
              <a:gd name="connsiteY3087" fmla="*/ 1889770 h 6407421"/>
              <a:gd name="connsiteX3088" fmla="*/ 5026827 w 11701760"/>
              <a:gd name="connsiteY3088" fmla="*/ 1860291 h 6407421"/>
              <a:gd name="connsiteX3089" fmla="*/ 5056429 w 11701760"/>
              <a:gd name="connsiteY3089" fmla="*/ 1860291 h 6407421"/>
              <a:gd name="connsiteX3090" fmla="*/ 5056429 w 11701760"/>
              <a:gd name="connsiteY3090" fmla="*/ 1889770 h 6407421"/>
              <a:gd name="connsiteX3091" fmla="*/ 5026827 w 11701760"/>
              <a:gd name="connsiteY3091" fmla="*/ 1889770 h 6407421"/>
              <a:gd name="connsiteX3092" fmla="*/ 10607478 w 11701760"/>
              <a:gd name="connsiteY3092" fmla="*/ 1860288 h 6407421"/>
              <a:gd name="connsiteX3093" fmla="*/ 10637188 w 11701760"/>
              <a:gd name="connsiteY3093" fmla="*/ 1860288 h 6407421"/>
              <a:gd name="connsiteX3094" fmla="*/ 10637188 w 11701760"/>
              <a:gd name="connsiteY3094" fmla="*/ 1889769 h 6407421"/>
              <a:gd name="connsiteX3095" fmla="*/ 10607478 w 11701760"/>
              <a:gd name="connsiteY3095" fmla="*/ 1889769 h 6407421"/>
              <a:gd name="connsiteX3096" fmla="*/ 4760630 w 11701760"/>
              <a:gd name="connsiteY3096" fmla="*/ 1860288 h 6407421"/>
              <a:gd name="connsiteX3097" fmla="*/ 4790340 w 11701760"/>
              <a:gd name="connsiteY3097" fmla="*/ 1860288 h 6407421"/>
              <a:gd name="connsiteX3098" fmla="*/ 4790340 w 11701760"/>
              <a:gd name="connsiteY3098" fmla="*/ 1889769 h 6407421"/>
              <a:gd name="connsiteX3099" fmla="*/ 4760630 w 11701760"/>
              <a:gd name="connsiteY3099" fmla="*/ 1889769 h 6407421"/>
              <a:gd name="connsiteX3100" fmla="*/ 10341389 w 11701760"/>
              <a:gd name="connsiteY3100" fmla="*/ 1860286 h 6407421"/>
              <a:gd name="connsiteX3101" fmla="*/ 10370992 w 11701760"/>
              <a:gd name="connsiteY3101" fmla="*/ 1860286 h 6407421"/>
              <a:gd name="connsiteX3102" fmla="*/ 10370992 w 11701760"/>
              <a:gd name="connsiteY3102" fmla="*/ 1889767 h 6407421"/>
              <a:gd name="connsiteX3103" fmla="*/ 10341389 w 11701760"/>
              <a:gd name="connsiteY3103" fmla="*/ 1889767 h 6407421"/>
              <a:gd name="connsiteX3104" fmla="*/ 4494541 w 11701760"/>
              <a:gd name="connsiteY3104" fmla="*/ 1860286 h 6407421"/>
              <a:gd name="connsiteX3105" fmla="*/ 4524144 w 11701760"/>
              <a:gd name="connsiteY3105" fmla="*/ 1860286 h 6407421"/>
              <a:gd name="connsiteX3106" fmla="*/ 4524144 w 11701760"/>
              <a:gd name="connsiteY3106" fmla="*/ 1889767 h 6407421"/>
              <a:gd name="connsiteX3107" fmla="*/ 4494541 w 11701760"/>
              <a:gd name="connsiteY3107" fmla="*/ 1889767 h 6407421"/>
              <a:gd name="connsiteX3108" fmla="*/ 10075192 w 11701760"/>
              <a:gd name="connsiteY3108" fmla="*/ 1860283 h 6407421"/>
              <a:gd name="connsiteX3109" fmla="*/ 10104794 w 11701760"/>
              <a:gd name="connsiteY3109" fmla="*/ 1860283 h 6407421"/>
              <a:gd name="connsiteX3110" fmla="*/ 10104794 w 11701760"/>
              <a:gd name="connsiteY3110" fmla="*/ 1889766 h 6407421"/>
              <a:gd name="connsiteX3111" fmla="*/ 10075192 w 11701760"/>
              <a:gd name="connsiteY3111" fmla="*/ 1889766 h 6407421"/>
              <a:gd name="connsiteX3112" fmla="*/ 4228344 w 11701760"/>
              <a:gd name="connsiteY3112" fmla="*/ 1860283 h 6407421"/>
              <a:gd name="connsiteX3113" fmla="*/ 4257946 w 11701760"/>
              <a:gd name="connsiteY3113" fmla="*/ 1860283 h 6407421"/>
              <a:gd name="connsiteX3114" fmla="*/ 4257946 w 11701760"/>
              <a:gd name="connsiteY3114" fmla="*/ 1889766 h 6407421"/>
              <a:gd name="connsiteX3115" fmla="*/ 4228344 w 11701760"/>
              <a:gd name="connsiteY3115" fmla="*/ 1889766 h 6407421"/>
              <a:gd name="connsiteX3116" fmla="*/ 9809103 w 11701760"/>
              <a:gd name="connsiteY3116" fmla="*/ 1860281 h 6407421"/>
              <a:gd name="connsiteX3117" fmla="*/ 9838705 w 11701760"/>
              <a:gd name="connsiteY3117" fmla="*/ 1860281 h 6407421"/>
              <a:gd name="connsiteX3118" fmla="*/ 9838705 w 11701760"/>
              <a:gd name="connsiteY3118" fmla="*/ 1889764 h 6407421"/>
              <a:gd name="connsiteX3119" fmla="*/ 9809103 w 11701760"/>
              <a:gd name="connsiteY3119" fmla="*/ 1889764 h 6407421"/>
              <a:gd name="connsiteX3120" fmla="*/ 3962255 w 11701760"/>
              <a:gd name="connsiteY3120" fmla="*/ 1860281 h 6407421"/>
              <a:gd name="connsiteX3121" fmla="*/ 3991857 w 11701760"/>
              <a:gd name="connsiteY3121" fmla="*/ 1860281 h 6407421"/>
              <a:gd name="connsiteX3122" fmla="*/ 3991857 w 11701760"/>
              <a:gd name="connsiteY3122" fmla="*/ 1889764 h 6407421"/>
              <a:gd name="connsiteX3123" fmla="*/ 3962255 w 11701760"/>
              <a:gd name="connsiteY3123" fmla="*/ 1889764 h 6407421"/>
              <a:gd name="connsiteX3124" fmla="*/ 9542906 w 11701760"/>
              <a:gd name="connsiteY3124" fmla="*/ 1860278 h 6407421"/>
              <a:gd name="connsiteX3125" fmla="*/ 9572509 w 11701760"/>
              <a:gd name="connsiteY3125" fmla="*/ 1860278 h 6407421"/>
              <a:gd name="connsiteX3126" fmla="*/ 9572509 w 11701760"/>
              <a:gd name="connsiteY3126" fmla="*/ 1889763 h 6407421"/>
              <a:gd name="connsiteX3127" fmla="*/ 9542906 w 11701760"/>
              <a:gd name="connsiteY3127" fmla="*/ 1889763 h 6407421"/>
              <a:gd name="connsiteX3128" fmla="*/ 3696058 w 11701760"/>
              <a:gd name="connsiteY3128" fmla="*/ 1860278 h 6407421"/>
              <a:gd name="connsiteX3129" fmla="*/ 3725661 w 11701760"/>
              <a:gd name="connsiteY3129" fmla="*/ 1860278 h 6407421"/>
              <a:gd name="connsiteX3130" fmla="*/ 3725661 w 11701760"/>
              <a:gd name="connsiteY3130" fmla="*/ 1889763 h 6407421"/>
              <a:gd name="connsiteX3131" fmla="*/ 3696058 w 11701760"/>
              <a:gd name="connsiteY3131" fmla="*/ 1889763 h 6407421"/>
              <a:gd name="connsiteX3132" fmla="*/ 9276817 w 11701760"/>
              <a:gd name="connsiteY3132" fmla="*/ 1860276 h 6407421"/>
              <a:gd name="connsiteX3133" fmla="*/ 9306420 w 11701760"/>
              <a:gd name="connsiteY3133" fmla="*/ 1860276 h 6407421"/>
              <a:gd name="connsiteX3134" fmla="*/ 9306420 w 11701760"/>
              <a:gd name="connsiteY3134" fmla="*/ 1889762 h 6407421"/>
              <a:gd name="connsiteX3135" fmla="*/ 9276817 w 11701760"/>
              <a:gd name="connsiteY3135" fmla="*/ 1889762 h 6407421"/>
              <a:gd name="connsiteX3136" fmla="*/ 3429969 w 11701760"/>
              <a:gd name="connsiteY3136" fmla="*/ 1860276 h 6407421"/>
              <a:gd name="connsiteX3137" fmla="*/ 3459572 w 11701760"/>
              <a:gd name="connsiteY3137" fmla="*/ 1860276 h 6407421"/>
              <a:gd name="connsiteX3138" fmla="*/ 3459572 w 11701760"/>
              <a:gd name="connsiteY3138" fmla="*/ 1889762 h 6407421"/>
              <a:gd name="connsiteX3139" fmla="*/ 3429969 w 11701760"/>
              <a:gd name="connsiteY3139" fmla="*/ 1889762 h 6407421"/>
              <a:gd name="connsiteX3140" fmla="*/ 9010620 w 11701760"/>
              <a:gd name="connsiteY3140" fmla="*/ 1860273 h 6407421"/>
              <a:gd name="connsiteX3141" fmla="*/ 9040222 w 11701760"/>
              <a:gd name="connsiteY3141" fmla="*/ 1860273 h 6407421"/>
              <a:gd name="connsiteX3142" fmla="*/ 9040222 w 11701760"/>
              <a:gd name="connsiteY3142" fmla="*/ 1889761 h 6407421"/>
              <a:gd name="connsiteX3143" fmla="*/ 9010620 w 11701760"/>
              <a:gd name="connsiteY3143" fmla="*/ 1889761 h 6407421"/>
              <a:gd name="connsiteX3144" fmla="*/ 3163772 w 11701760"/>
              <a:gd name="connsiteY3144" fmla="*/ 1860273 h 6407421"/>
              <a:gd name="connsiteX3145" fmla="*/ 3193374 w 11701760"/>
              <a:gd name="connsiteY3145" fmla="*/ 1860273 h 6407421"/>
              <a:gd name="connsiteX3146" fmla="*/ 3193374 w 11701760"/>
              <a:gd name="connsiteY3146" fmla="*/ 1889761 h 6407421"/>
              <a:gd name="connsiteX3147" fmla="*/ 3163772 w 11701760"/>
              <a:gd name="connsiteY3147" fmla="*/ 1889761 h 6407421"/>
              <a:gd name="connsiteX3148" fmla="*/ 8744423 w 11701760"/>
              <a:gd name="connsiteY3148" fmla="*/ 1860271 h 6407421"/>
              <a:gd name="connsiteX3149" fmla="*/ 8774026 w 11701760"/>
              <a:gd name="connsiteY3149" fmla="*/ 1860271 h 6407421"/>
              <a:gd name="connsiteX3150" fmla="*/ 8774026 w 11701760"/>
              <a:gd name="connsiteY3150" fmla="*/ 1889759 h 6407421"/>
              <a:gd name="connsiteX3151" fmla="*/ 8744423 w 11701760"/>
              <a:gd name="connsiteY3151" fmla="*/ 1889759 h 6407421"/>
              <a:gd name="connsiteX3152" fmla="*/ 2897575 w 11701760"/>
              <a:gd name="connsiteY3152" fmla="*/ 1860271 h 6407421"/>
              <a:gd name="connsiteX3153" fmla="*/ 2927178 w 11701760"/>
              <a:gd name="connsiteY3153" fmla="*/ 1860271 h 6407421"/>
              <a:gd name="connsiteX3154" fmla="*/ 2927178 w 11701760"/>
              <a:gd name="connsiteY3154" fmla="*/ 1889759 h 6407421"/>
              <a:gd name="connsiteX3155" fmla="*/ 2897575 w 11701760"/>
              <a:gd name="connsiteY3155" fmla="*/ 1889759 h 6407421"/>
              <a:gd name="connsiteX3156" fmla="*/ 8478226 w 11701760"/>
              <a:gd name="connsiteY3156" fmla="*/ 1860268 h 6407421"/>
              <a:gd name="connsiteX3157" fmla="*/ 8507828 w 11701760"/>
              <a:gd name="connsiteY3157" fmla="*/ 1860268 h 6407421"/>
              <a:gd name="connsiteX3158" fmla="*/ 8507828 w 11701760"/>
              <a:gd name="connsiteY3158" fmla="*/ 1889757 h 6407421"/>
              <a:gd name="connsiteX3159" fmla="*/ 8478226 w 11701760"/>
              <a:gd name="connsiteY3159" fmla="*/ 1889757 h 6407421"/>
              <a:gd name="connsiteX3160" fmla="*/ 2631378 w 11701760"/>
              <a:gd name="connsiteY3160" fmla="*/ 1860268 h 6407421"/>
              <a:gd name="connsiteX3161" fmla="*/ 2660980 w 11701760"/>
              <a:gd name="connsiteY3161" fmla="*/ 1860268 h 6407421"/>
              <a:gd name="connsiteX3162" fmla="*/ 2660980 w 11701760"/>
              <a:gd name="connsiteY3162" fmla="*/ 1889757 h 6407421"/>
              <a:gd name="connsiteX3163" fmla="*/ 2631378 w 11701760"/>
              <a:gd name="connsiteY3163" fmla="*/ 1889757 h 6407421"/>
              <a:gd name="connsiteX3164" fmla="*/ 8212137 w 11701760"/>
              <a:gd name="connsiteY3164" fmla="*/ 1860266 h 6407421"/>
              <a:gd name="connsiteX3165" fmla="*/ 8241740 w 11701760"/>
              <a:gd name="connsiteY3165" fmla="*/ 1860266 h 6407421"/>
              <a:gd name="connsiteX3166" fmla="*/ 8241740 w 11701760"/>
              <a:gd name="connsiteY3166" fmla="*/ 1889755 h 6407421"/>
              <a:gd name="connsiteX3167" fmla="*/ 8212137 w 11701760"/>
              <a:gd name="connsiteY3167" fmla="*/ 1889755 h 6407421"/>
              <a:gd name="connsiteX3168" fmla="*/ 2365289 w 11701760"/>
              <a:gd name="connsiteY3168" fmla="*/ 1860266 h 6407421"/>
              <a:gd name="connsiteX3169" fmla="*/ 2394892 w 11701760"/>
              <a:gd name="connsiteY3169" fmla="*/ 1860266 h 6407421"/>
              <a:gd name="connsiteX3170" fmla="*/ 2394892 w 11701760"/>
              <a:gd name="connsiteY3170" fmla="*/ 1889755 h 6407421"/>
              <a:gd name="connsiteX3171" fmla="*/ 2365289 w 11701760"/>
              <a:gd name="connsiteY3171" fmla="*/ 1889755 h 6407421"/>
              <a:gd name="connsiteX3172" fmla="*/ 7945940 w 11701760"/>
              <a:gd name="connsiteY3172" fmla="*/ 1860264 h 6407421"/>
              <a:gd name="connsiteX3173" fmla="*/ 7975543 w 11701760"/>
              <a:gd name="connsiteY3173" fmla="*/ 1860264 h 6407421"/>
              <a:gd name="connsiteX3174" fmla="*/ 7975543 w 11701760"/>
              <a:gd name="connsiteY3174" fmla="*/ 1889753 h 6407421"/>
              <a:gd name="connsiteX3175" fmla="*/ 7945940 w 11701760"/>
              <a:gd name="connsiteY3175" fmla="*/ 1889753 h 6407421"/>
              <a:gd name="connsiteX3176" fmla="*/ 2099092 w 11701760"/>
              <a:gd name="connsiteY3176" fmla="*/ 1860264 h 6407421"/>
              <a:gd name="connsiteX3177" fmla="*/ 2128695 w 11701760"/>
              <a:gd name="connsiteY3177" fmla="*/ 1860264 h 6407421"/>
              <a:gd name="connsiteX3178" fmla="*/ 2128695 w 11701760"/>
              <a:gd name="connsiteY3178" fmla="*/ 1889753 h 6407421"/>
              <a:gd name="connsiteX3179" fmla="*/ 2099092 w 11701760"/>
              <a:gd name="connsiteY3179" fmla="*/ 1889753 h 6407421"/>
              <a:gd name="connsiteX3180" fmla="*/ 7679743 w 11701760"/>
              <a:gd name="connsiteY3180" fmla="*/ 1860261 h 6407421"/>
              <a:gd name="connsiteX3181" fmla="*/ 7709346 w 11701760"/>
              <a:gd name="connsiteY3181" fmla="*/ 1860261 h 6407421"/>
              <a:gd name="connsiteX3182" fmla="*/ 7709346 w 11701760"/>
              <a:gd name="connsiteY3182" fmla="*/ 1889751 h 6407421"/>
              <a:gd name="connsiteX3183" fmla="*/ 7679743 w 11701760"/>
              <a:gd name="connsiteY3183" fmla="*/ 1889751 h 6407421"/>
              <a:gd name="connsiteX3184" fmla="*/ 1832898 w 11701760"/>
              <a:gd name="connsiteY3184" fmla="*/ 1860261 h 6407421"/>
              <a:gd name="connsiteX3185" fmla="*/ 1862498 w 11701760"/>
              <a:gd name="connsiteY3185" fmla="*/ 1860261 h 6407421"/>
              <a:gd name="connsiteX3186" fmla="*/ 1862498 w 11701760"/>
              <a:gd name="connsiteY3186" fmla="*/ 1889751 h 6407421"/>
              <a:gd name="connsiteX3187" fmla="*/ 1832898 w 11701760"/>
              <a:gd name="connsiteY3187" fmla="*/ 1889751 h 6407421"/>
              <a:gd name="connsiteX3188" fmla="*/ 7413653 w 11701760"/>
              <a:gd name="connsiteY3188" fmla="*/ 1860259 h 6407421"/>
              <a:gd name="connsiteX3189" fmla="*/ 7443256 w 11701760"/>
              <a:gd name="connsiteY3189" fmla="*/ 1860259 h 6407421"/>
              <a:gd name="connsiteX3190" fmla="*/ 7443256 w 11701760"/>
              <a:gd name="connsiteY3190" fmla="*/ 1889750 h 6407421"/>
              <a:gd name="connsiteX3191" fmla="*/ 7413653 w 11701760"/>
              <a:gd name="connsiteY3191" fmla="*/ 1889750 h 6407421"/>
              <a:gd name="connsiteX3192" fmla="*/ 1566808 w 11701760"/>
              <a:gd name="connsiteY3192" fmla="*/ 1860259 h 6407421"/>
              <a:gd name="connsiteX3193" fmla="*/ 1596409 w 11701760"/>
              <a:gd name="connsiteY3193" fmla="*/ 1860259 h 6407421"/>
              <a:gd name="connsiteX3194" fmla="*/ 1596409 w 11701760"/>
              <a:gd name="connsiteY3194" fmla="*/ 1889750 h 6407421"/>
              <a:gd name="connsiteX3195" fmla="*/ 1566808 w 11701760"/>
              <a:gd name="connsiteY3195" fmla="*/ 1889750 h 6407421"/>
              <a:gd name="connsiteX3196" fmla="*/ 7147456 w 11701760"/>
              <a:gd name="connsiteY3196" fmla="*/ 1860256 h 6407421"/>
              <a:gd name="connsiteX3197" fmla="*/ 7177058 w 11701760"/>
              <a:gd name="connsiteY3197" fmla="*/ 1860256 h 6407421"/>
              <a:gd name="connsiteX3198" fmla="*/ 7177058 w 11701760"/>
              <a:gd name="connsiteY3198" fmla="*/ 1889748 h 6407421"/>
              <a:gd name="connsiteX3199" fmla="*/ 7147456 w 11701760"/>
              <a:gd name="connsiteY3199" fmla="*/ 1889748 h 6407421"/>
              <a:gd name="connsiteX3200" fmla="*/ 1300611 w 11701760"/>
              <a:gd name="connsiteY3200" fmla="*/ 1860256 h 6407421"/>
              <a:gd name="connsiteX3201" fmla="*/ 1330213 w 11701760"/>
              <a:gd name="connsiteY3201" fmla="*/ 1860256 h 6407421"/>
              <a:gd name="connsiteX3202" fmla="*/ 1330213 w 11701760"/>
              <a:gd name="connsiteY3202" fmla="*/ 1889748 h 6407421"/>
              <a:gd name="connsiteX3203" fmla="*/ 1300611 w 11701760"/>
              <a:gd name="connsiteY3203" fmla="*/ 1889748 h 6407421"/>
              <a:gd name="connsiteX3204" fmla="*/ 6881367 w 11701760"/>
              <a:gd name="connsiteY3204" fmla="*/ 1860254 h 6407421"/>
              <a:gd name="connsiteX3205" fmla="*/ 6910970 w 11701760"/>
              <a:gd name="connsiteY3205" fmla="*/ 1860254 h 6407421"/>
              <a:gd name="connsiteX3206" fmla="*/ 6910970 w 11701760"/>
              <a:gd name="connsiteY3206" fmla="*/ 1889747 h 6407421"/>
              <a:gd name="connsiteX3207" fmla="*/ 6881367 w 11701760"/>
              <a:gd name="connsiteY3207" fmla="*/ 1889747 h 6407421"/>
              <a:gd name="connsiteX3208" fmla="*/ 1034520 w 11701760"/>
              <a:gd name="connsiteY3208" fmla="*/ 1860254 h 6407421"/>
              <a:gd name="connsiteX3209" fmla="*/ 1064123 w 11701760"/>
              <a:gd name="connsiteY3209" fmla="*/ 1860254 h 6407421"/>
              <a:gd name="connsiteX3210" fmla="*/ 1064123 w 11701760"/>
              <a:gd name="connsiteY3210" fmla="*/ 1889747 h 6407421"/>
              <a:gd name="connsiteX3211" fmla="*/ 1034520 w 11701760"/>
              <a:gd name="connsiteY3211" fmla="*/ 1889747 h 6407421"/>
              <a:gd name="connsiteX3212" fmla="*/ 6615170 w 11701760"/>
              <a:gd name="connsiteY3212" fmla="*/ 1860252 h 6407421"/>
              <a:gd name="connsiteX3213" fmla="*/ 6644773 w 11701760"/>
              <a:gd name="connsiteY3213" fmla="*/ 1860252 h 6407421"/>
              <a:gd name="connsiteX3214" fmla="*/ 6644773 w 11701760"/>
              <a:gd name="connsiteY3214" fmla="*/ 1889745 h 6407421"/>
              <a:gd name="connsiteX3215" fmla="*/ 6615170 w 11701760"/>
              <a:gd name="connsiteY3215" fmla="*/ 1889745 h 6407421"/>
              <a:gd name="connsiteX3216" fmla="*/ 768327 w 11701760"/>
              <a:gd name="connsiteY3216" fmla="*/ 1860252 h 6407421"/>
              <a:gd name="connsiteX3217" fmla="*/ 797926 w 11701760"/>
              <a:gd name="connsiteY3217" fmla="*/ 1860252 h 6407421"/>
              <a:gd name="connsiteX3218" fmla="*/ 797926 w 11701760"/>
              <a:gd name="connsiteY3218" fmla="*/ 1889745 h 6407421"/>
              <a:gd name="connsiteX3219" fmla="*/ 768327 w 11701760"/>
              <a:gd name="connsiteY3219" fmla="*/ 1889745 h 6407421"/>
              <a:gd name="connsiteX3220" fmla="*/ 6349081 w 11701760"/>
              <a:gd name="connsiteY3220" fmla="*/ 1860249 h 6407421"/>
              <a:gd name="connsiteX3221" fmla="*/ 6378683 w 11701760"/>
              <a:gd name="connsiteY3221" fmla="*/ 1860249 h 6407421"/>
              <a:gd name="connsiteX3222" fmla="*/ 6378683 w 11701760"/>
              <a:gd name="connsiteY3222" fmla="*/ 1889744 h 6407421"/>
              <a:gd name="connsiteX3223" fmla="*/ 6349081 w 11701760"/>
              <a:gd name="connsiteY3223" fmla="*/ 1889744 h 6407421"/>
              <a:gd name="connsiteX3224" fmla="*/ 502236 w 11701760"/>
              <a:gd name="connsiteY3224" fmla="*/ 1860249 h 6407421"/>
              <a:gd name="connsiteX3225" fmla="*/ 531838 w 11701760"/>
              <a:gd name="connsiteY3225" fmla="*/ 1860249 h 6407421"/>
              <a:gd name="connsiteX3226" fmla="*/ 531838 w 11701760"/>
              <a:gd name="connsiteY3226" fmla="*/ 1889744 h 6407421"/>
              <a:gd name="connsiteX3227" fmla="*/ 502236 w 11701760"/>
              <a:gd name="connsiteY3227" fmla="*/ 1889744 h 6407421"/>
              <a:gd name="connsiteX3228" fmla="*/ 6082884 w 11701760"/>
              <a:gd name="connsiteY3228" fmla="*/ 1860247 h 6407421"/>
              <a:gd name="connsiteX3229" fmla="*/ 6112486 w 11701760"/>
              <a:gd name="connsiteY3229" fmla="*/ 1860247 h 6407421"/>
              <a:gd name="connsiteX3230" fmla="*/ 6112486 w 11701760"/>
              <a:gd name="connsiteY3230" fmla="*/ 1889742 h 6407421"/>
              <a:gd name="connsiteX3231" fmla="*/ 6082884 w 11701760"/>
              <a:gd name="connsiteY3231" fmla="*/ 1889742 h 6407421"/>
              <a:gd name="connsiteX3232" fmla="*/ 236037 w 11701760"/>
              <a:gd name="connsiteY3232" fmla="*/ 1860247 h 6407421"/>
              <a:gd name="connsiteX3233" fmla="*/ 265639 w 11701760"/>
              <a:gd name="connsiteY3233" fmla="*/ 1860247 h 6407421"/>
              <a:gd name="connsiteX3234" fmla="*/ 265639 w 11701760"/>
              <a:gd name="connsiteY3234" fmla="*/ 1889742 h 6407421"/>
              <a:gd name="connsiteX3235" fmla="*/ 236037 w 11701760"/>
              <a:gd name="connsiteY3235" fmla="*/ 1889742 h 6407421"/>
              <a:gd name="connsiteX3236" fmla="*/ 1 w 11701760"/>
              <a:gd name="connsiteY3236" fmla="*/ 1860247 h 6407421"/>
              <a:gd name="connsiteX3237" fmla="*/ 29603 w 11701760"/>
              <a:gd name="connsiteY3237" fmla="*/ 1860247 h 6407421"/>
              <a:gd name="connsiteX3238" fmla="*/ 29603 w 11701760"/>
              <a:gd name="connsiteY3238" fmla="*/ 1889742 h 6407421"/>
              <a:gd name="connsiteX3239" fmla="*/ 1 w 11701760"/>
              <a:gd name="connsiteY3239" fmla="*/ 1889742 h 6407421"/>
              <a:gd name="connsiteX3240" fmla="*/ 11672158 w 11701760"/>
              <a:gd name="connsiteY3240" fmla="*/ 1594533 h 6407421"/>
              <a:gd name="connsiteX3241" fmla="*/ 11701760 w 11701760"/>
              <a:gd name="connsiteY3241" fmla="*/ 1594533 h 6407421"/>
              <a:gd name="connsiteX3242" fmla="*/ 11701760 w 11701760"/>
              <a:gd name="connsiteY3242" fmla="*/ 1624136 h 6407421"/>
              <a:gd name="connsiteX3243" fmla="*/ 11672158 w 11701760"/>
              <a:gd name="connsiteY3243" fmla="*/ 1624136 h 6407421"/>
              <a:gd name="connsiteX3244" fmla="*/ 5825310 w 11701760"/>
              <a:gd name="connsiteY3244" fmla="*/ 1594533 h 6407421"/>
              <a:gd name="connsiteX3245" fmla="*/ 5854913 w 11701760"/>
              <a:gd name="connsiteY3245" fmla="*/ 1594533 h 6407421"/>
              <a:gd name="connsiteX3246" fmla="*/ 5854913 w 11701760"/>
              <a:gd name="connsiteY3246" fmla="*/ 1624136 h 6407421"/>
              <a:gd name="connsiteX3247" fmla="*/ 5825310 w 11701760"/>
              <a:gd name="connsiteY3247" fmla="*/ 1624136 h 6407421"/>
              <a:gd name="connsiteX3248" fmla="*/ 11405961 w 11701760"/>
              <a:gd name="connsiteY3248" fmla="*/ 1594531 h 6407421"/>
              <a:gd name="connsiteX3249" fmla="*/ 11435563 w 11701760"/>
              <a:gd name="connsiteY3249" fmla="*/ 1594531 h 6407421"/>
              <a:gd name="connsiteX3250" fmla="*/ 11435563 w 11701760"/>
              <a:gd name="connsiteY3250" fmla="*/ 1624134 h 6407421"/>
              <a:gd name="connsiteX3251" fmla="*/ 11405961 w 11701760"/>
              <a:gd name="connsiteY3251" fmla="*/ 1624134 h 6407421"/>
              <a:gd name="connsiteX3252" fmla="*/ 5559113 w 11701760"/>
              <a:gd name="connsiteY3252" fmla="*/ 1594531 h 6407421"/>
              <a:gd name="connsiteX3253" fmla="*/ 5588715 w 11701760"/>
              <a:gd name="connsiteY3253" fmla="*/ 1594531 h 6407421"/>
              <a:gd name="connsiteX3254" fmla="*/ 5588715 w 11701760"/>
              <a:gd name="connsiteY3254" fmla="*/ 1624134 h 6407421"/>
              <a:gd name="connsiteX3255" fmla="*/ 5559113 w 11701760"/>
              <a:gd name="connsiteY3255" fmla="*/ 1624134 h 6407421"/>
              <a:gd name="connsiteX3256" fmla="*/ 11139872 w 11701760"/>
              <a:gd name="connsiteY3256" fmla="*/ 1594528 h 6407421"/>
              <a:gd name="connsiteX3257" fmla="*/ 11169474 w 11701760"/>
              <a:gd name="connsiteY3257" fmla="*/ 1594528 h 6407421"/>
              <a:gd name="connsiteX3258" fmla="*/ 11169474 w 11701760"/>
              <a:gd name="connsiteY3258" fmla="*/ 1624131 h 6407421"/>
              <a:gd name="connsiteX3259" fmla="*/ 11139872 w 11701760"/>
              <a:gd name="connsiteY3259" fmla="*/ 1624131 h 6407421"/>
              <a:gd name="connsiteX3260" fmla="*/ 5293024 w 11701760"/>
              <a:gd name="connsiteY3260" fmla="*/ 1594528 h 6407421"/>
              <a:gd name="connsiteX3261" fmla="*/ 5322626 w 11701760"/>
              <a:gd name="connsiteY3261" fmla="*/ 1594528 h 6407421"/>
              <a:gd name="connsiteX3262" fmla="*/ 5322626 w 11701760"/>
              <a:gd name="connsiteY3262" fmla="*/ 1624131 h 6407421"/>
              <a:gd name="connsiteX3263" fmla="*/ 5293024 w 11701760"/>
              <a:gd name="connsiteY3263" fmla="*/ 1624131 h 6407421"/>
              <a:gd name="connsiteX3264" fmla="*/ 10873675 w 11701760"/>
              <a:gd name="connsiteY3264" fmla="*/ 1594526 h 6407421"/>
              <a:gd name="connsiteX3265" fmla="*/ 10903277 w 11701760"/>
              <a:gd name="connsiteY3265" fmla="*/ 1594526 h 6407421"/>
              <a:gd name="connsiteX3266" fmla="*/ 10903277 w 11701760"/>
              <a:gd name="connsiteY3266" fmla="*/ 1624129 h 6407421"/>
              <a:gd name="connsiteX3267" fmla="*/ 10873675 w 11701760"/>
              <a:gd name="connsiteY3267" fmla="*/ 1624129 h 6407421"/>
              <a:gd name="connsiteX3268" fmla="*/ 5026827 w 11701760"/>
              <a:gd name="connsiteY3268" fmla="*/ 1594526 h 6407421"/>
              <a:gd name="connsiteX3269" fmla="*/ 5056429 w 11701760"/>
              <a:gd name="connsiteY3269" fmla="*/ 1594526 h 6407421"/>
              <a:gd name="connsiteX3270" fmla="*/ 5056429 w 11701760"/>
              <a:gd name="connsiteY3270" fmla="*/ 1624129 h 6407421"/>
              <a:gd name="connsiteX3271" fmla="*/ 5026827 w 11701760"/>
              <a:gd name="connsiteY3271" fmla="*/ 1624129 h 6407421"/>
              <a:gd name="connsiteX3272" fmla="*/ 10607478 w 11701760"/>
              <a:gd name="connsiteY3272" fmla="*/ 1594523 h 6407421"/>
              <a:gd name="connsiteX3273" fmla="*/ 10637188 w 11701760"/>
              <a:gd name="connsiteY3273" fmla="*/ 1594523 h 6407421"/>
              <a:gd name="connsiteX3274" fmla="*/ 10637188 w 11701760"/>
              <a:gd name="connsiteY3274" fmla="*/ 1624127 h 6407421"/>
              <a:gd name="connsiteX3275" fmla="*/ 10607478 w 11701760"/>
              <a:gd name="connsiteY3275" fmla="*/ 1624127 h 6407421"/>
              <a:gd name="connsiteX3276" fmla="*/ 4760630 w 11701760"/>
              <a:gd name="connsiteY3276" fmla="*/ 1594523 h 6407421"/>
              <a:gd name="connsiteX3277" fmla="*/ 4790340 w 11701760"/>
              <a:gd name="connsiteY3277" fmla="*/ 1594523 h 6407421"/>
              <a:gd name="connsiteX3278" fmla="*/ 4790340 w 11701760"/>
              <a:gd name="connsiteY3278" fmla="*/ 1624127 h 6407421"/>
              <a:gd name="connsiteX3279" fmla="*/ 4760630 w 11701760"/>
              <a:gd name="connsiteY3279" fmla="*/ 1624127 h 6407421"/>
              <a:gd name="connsiteX3280" fmla="*/ 10341389 w 11701760"/>
              <a:gd name="connsiteY3280" fmla="*/ 1594521 h 6407421"/>
              <a:gd name="connsiteX3281" fmla="*/ 10370992 w 11701760"/>
              <a:gd name="connsiteY3281" fmla="*/ 1594521 h 6407421"/>
              <a:gd name="connsiteX3282" fmla="*/ 10370992 w 11701760"/>
              <a:gd name="connsiteY3282" fmla="*/ 1624124 h 6407421"/>
              <a:gd name="connsiteX3283" fmla="*/ 10341389 w 11701760"/>
              <a:gd name="connsiteY3283" fmla="*/ 1624124 h 6407421"/>
              <a:gd name="connsiteX3284" fmla="*/ 4494541 w 11701760"/>
              <a:gd name="connsiteY3284" fmla="*/ 1594521 h 6407421"/>
              <a:gd name="connsiteX3285" fmla="*/ 4524144 w 11701760"/>
              <a:gd name="connsiteY3285" fmla="*/ 1594521 h 6407421"/>
              <a:gd name="connsiteX3286" fmla="*/ 4524144 w 11701760"/>
              <a:gd name="connsiteY3286" fmla="*/ 1624124 h 6407421"/>
              <a:gd name="connsiteX3287" fmla="*/ 4494541 w 11701760"/>
              <a:gd name="connsiteY3287" fmla="*/ 1624124 h 6407421"/>
              <a:gd name="connsiteX3288" fmla="*/ 10075192 w 11701760"/>
              <a:gd name="connsiteY3288" fmla="*/ 1594518 h 6407421"/>
              <a:gd name="connsiteX3289" fmla="*/ 10104794 w 11701760"/>
              <a:gd name="connsiteY3289" fmla="*/ 1594518 h 6407421"/>
              <a:gd name="connsiteX3290" fmla="*/ 10104794 w 11701760"/>
              <a:gd name="connsiteY3290" fmla="*/ 1624122 h 6407421"/>
              <a:gd name="connsiteX3291" fmla="*/ 10075192 w 11701760"/>
              <a:gd name="connsiteY3291" fmla="*/ 1624122 h 6407421"/>
              <a:gd name="connsiteX3292" fmla="*/ 4228344 w 11701760"/>
              <a:gd name="connsiteY3292" fmla="*/ 1594518 h 6407421"/>
              <a:gd name="connsiteX3293" fmla="*/ 4257946 w 11701760"/>
              <a:gd name="connsiteY3293" fmla="*/ 1594518 h 6407421"/>
              <a:gd name="connsiteX3294" fmla="*/ 4257946 w 11701760"/>
              <a:gd name="connsiteY3294" fmla="*/ 1624122 h 6407421"/>
              <a:gd name="connsiteX3295" fmla="*/ 4228344 w 11701760"/>
              <a:gd name="connsiteY3295" fmla="*/ 1624122 h 6407421"/>
              <a:gd name="connsiteX3296" fmla="*/ 9809103 w 11701760"/>
              <a:gd name="connsiteY3296" fmla="*/ 1594516 h 6407421"/>
              <a:gd name="connsiteX3297" fmla="*/ 9838705 w 11701760"/>
              <a:gd name="connsiteY3297" fmla="*/ 1594516 h 6407421"/>
              <a:gd name="connsiteX3298" fmla="*/ 9838705 w 11701760"/>
              <a:gd name="connsiteY3298" fmla="*/ 1624120 h 6407421"/>
              <a:gd name="connsiteX3299" fmla="*/ 9809103 w 11701760"/>
              <a:gd name="connsiteY3299" fmla="*/ 1624120 h 6407421"/>
              <a:gd name="connsiteX3300" fmla="*/ 3962255 w 11701760"/>
              <a:gd name="connsiteY3300" fmla="*/ 1594516 h 6407421"/>
              <a:gd name="connsiteX3301" fmla="*/ 3991857 w 11701760"/>
              <a:gd name="connsiteY3301" fmla="*/ 1594516 h 6407421"/>
              <a:gd name="connsiteX3302" fmla="*/ 3991857 w 11701760"/>
              <a:gd name="connsiteY3302" fmla="*/ 1624120 h 6407421"/>
              <a:gd name="connsiteX3303" fmla="*/ 3962255 w 11701760"/>
              <a:gd name="connsiteY3303" fmla="*/ 1624120 h 6407421"/>
              <a:gd name="connsiteX3304" fmla="*/ 9542906 w 11701760"/>
              <a:gd name="connsiteY3304" fmla="*/ 1594514 h 6407421"/>
              <a:gd name="connsiteX3305" fmla="*/ 9572509 w 11701760"/>
              <a:gd name="connsiteY3305" fmla="*/ 1594514 h 6407421"/>
              <a:gd name="connsiteX3306" fmla="*/ 9572509 w 11701760"/>
              <a:gd name="connsiteY3306" fmla="*/ 1624117 h 6407421"/>
              <a:gd name="connsiteX3307" fmla="*/ 9542906 w 11701760"/>
              <a:gd name="connsiteY3307" fmla="*/ 1624117 h 6407421"/>
              <a:gd name="connsiteX3308" fmla="*/ 3696058 w 11701760"/>
              <a:gd name="connsiteY3308" fmla="*/ 1594514 h 6407421"/>
              <a:gd name="connsiteX3309" fmla="*/ 3725661 w 11701760"/>
              <a:gd name="connsiteY3309" fmla="*/ 1594514 h 6407421"/>
              <a:gd name="connsiteX3310" fmla="*/ 3725661 w 11701760"/>
              <a:gd name="connsiteY3310" fmla="*/ 1624117 h 6407421"/>
              <a:gd name="connsiteX3311" fmla="*/ 3696058 w 11701760"/>
              <a:gd name="connsiteY3311" fmla="*/ 1624117 h 6407421"/>
              <a:gd name="connsiteX3312" fmla="*/ 9276817 w 11701760"/>
              <a:gd name="connsiteY3312" fmla="*/ 1594511 h 6407421"/>
              <a:gd name="connsiteX3313" fmla="*/ 9306420 w 11701760"/>
              <a:gd name="connsiteY3313" fmla="*/ 1594511 h 6407421"/>
              <a:gd name="connsiteX3314" fmla="*/ 9306420 w 11701760"/>
              <a:gd name="connsiteY3314" fmla="*/ 1624114 h 6407421"/>
              <a:gd name="connsiteX3315" fmla="*/ 9276817 w 11701760"/>
              <a:gd name="connsiteY3315" fmla="*/ 1624114 h 6407421"/>
              <a:gd name="connsiteX3316" fmla="*/ 3429969 w 11701760"/>
              <a:gd name="connsiteY3316" fmla="*/ 1594511 h 6407421"/>
              <a:gd name="connsiteX3317" fmla="*/ 3459572 w 11701760"/>
              <a:gd name="connsiteY3317" fmla="*/ 1594511 h 6407421"/>
              <a:gd name="connsiteX3318" fmla="*/ 3459572 w 11701760"/>
              <a:gd name="connsiteY3318" fmla="*/ 1624114 h 6407421"/>
              <a:gd name="connsiteX3319" fmla="*/ 3429969 w 11701760"/>
              <a:gd name="connsiteY3319" fmla="*/ 1624114 h 6407421"/>
              <a:gd name="connsiteX3320" fmla="*/ 9010620 w 11701760"/>
              <a:gd name="connsiteY3320" fmla="*/ 1594509 h 6407421"/>
              <a:gd name="connsiteX3321" fmla="*/ 9040222 w 11701760"/>
              <a:gd name="connsiteY3321" fmla="*/ 1594509 h 6407421"/>
              <a:gd name="connsiteX3322" fmla="*/ 9040222 w 11701760"/>
              <a:gd name="connsiteY3322" fmla="*/ 1624112 h 6407421"/>
              <a:gd name="connsiteX3323" fmla="*/ 9010620 w 11701760"/>
              <a:gd name="connsiteY3323" fmla="*/ 1624112 h 6407421"/>
              <a:gd name="connsiteX3324" fmla="*/ 3163772 w 11701760"/>
              <a:gd name="connsiteY3324" fmla="*/ 1594509 h 6407421"/>
              <a:gd name="connsiteX3325" fmla="*/ 3193374 w 11701760"/>
              <a:gd name="connsiteY3325" fmla="*/ 1594509 h 6407421"/>
              <a:gd name="connsiteX3326" fmla="*/ 3193374 w 11701760"/>
              <a:gd name="connsiteY3326" fmla="*/ 1624112 h 6407421"/>
              <a:gd name="connsiteX3327" fmla="*/ 3163772 w 11701760"/>
              <a:gd name="connsiteY3327" fmla="*/ 1624112 h 6407421"/>
              <a:gd name="connsiteX3328" fmla="*/ 8744423 w 11701760"/>
              <a:gd name="connsiteY3328" fmla="*/ 1594506 h 6407421"/>
              <a:gd name="connsiteX3329" fmla="*/ 8774026 w 11701760"/>
              <a:gd name="connsiteY3329" fmla="*/ 1594506 h 6407421"/>
              <a:gd name="connsiteX3330" fmla="*/ 8774026 w 11701760"/>
              <a:gd name="connsiteY3330" fmla="*/ 1624110 h 6407421"/>
              <a:gd name="connsiteX3331" fmla="*/ 8744423 w 11701760"/>
              <a:gd name="connsiteY3331" fmla="*/ 1624110 h 6407421"/>
              <a:gd name="connsiteX3332" fmla="*/ 2897575 w 11701760"/>
              <a:gd name="connsiteY3332" fmla="*/ 1594506 h 6407421"/>
              <a:gd name="connsiteX3333" fmla="*/ 2927178 w 11701760"/>
              <a:gd name="connsiteY3333" fmla="*/ 1594506 h 6407421"/>
              <a:gd name="connsiteX3334" fmla="*/ 2927178 w 11701760"/>
              <a:gd name="connsiteY3334" fmla="*/ 1624110 h 6407421"/>
              <a:gd name="connsiteX3335" fmla="*/ 2897575 w 11701760"/>
              <a:gd name="connsiteY3335" fmla="*/ 1624110 h 6407421"/>
              <a:gd name="connsiteX3336" fmla="*/ 8478226 w 11701760"/>
              <a:gd name="connsiteY3336" fmla="*/ 1594504 h 6407421"/>
              <a:gd name="connsiteX3337" fmla="*/ 8507828 w 11701760"/>
              <a:gd name="connsiteY3337" fmla="*/ 1594504 h 6407421"/>
              <a:gd name="connsiteX3338" fmla="*/ 8507828 w 11701760"/>
              <a:gd name="connsiteY3338" fmla="*/ 1624107 h 6407421"/>
              <a:gd name="connsiteX3339" fmla="*/ 8478226 w 11701760"/>
              <a:gd name="connsiteY3339" fmla="*/ 1624107 h 6407421"/>
              <a:gd name="connsiteX3340" fmla="*/ 2631378 w 11701760"/>
              <a:gd name="connsiteY3340" fmla="*/ 1594504 h 6407421"/>
              <a:gd name="connsiteX3341" fmla="*/ 2660980 w 11701760"/>
              <a:gd name="connsiteY3341" fmla="*/ 1594504 h 6407421"/>
              <a:gd name="connsiteX3342" fmla="*/ 2660980 w 11701760"/>
              <a:gd name="connsiteY3342" fmla="*/ 1624107 h 6407421"/>
              <a:gd name="connsiteX3343" fmla="*/ 2631378 w 11701760"/>
              <a:gd name="connsiteY3343" fmla="*/ 1624107 h 6407421"/>
              <a:gd name="connsiteX3344" fmla="*/ 8212137 w 11701760"/>
              <a:gd name="connsiteY3344" fmla="*/ 1594502 h 6407421"/>
              <a:gd name="connsiteX3345" fmla="*/ 8241740 w 11701760"/>
              <a:gd name="connsiteY3345" fmla="*/ 1594502 h 6407421"/>
              <a:gd name="connsiteX3346" fmla="*/ 8241740 w 11701760"/>
              <a:gd name="connsiteY3346" fmla="*/ 1624105 h 6407421"/>
              <a:gd name="connsiteX3347" fmla="*/ 8212137 w 11701760"/>
              <a:gd name="connsiteY3347" fmla="*/ 1624105 h 6407421"/>
              <a:gd name="connsiteX3348" fmla="*/ 2365289 w 11701760"/>
              <a:gd name="connsiteY3348" fmla="*/ 1594502 h 6407421"/>
              <a:gd name="connsiteX3349" fmla="*/ 2394892 w 11701760"/>
              <a:gd name="connsiteY3349" fmla="*/ 1594502 h 6407421"/>
              <a:gd name="connsiteX3350" fmla="*/ 2394892 w 11701760"/>
              <a:gd name="connsiteY3350" fmla="*/ 1624105 h 6407421"/>
              <a:gd name="connsiteX3351" fmla="*/ 2365289 w 11701760"/>
              <a:gd name="connsiteY3351" fmla="*/ 1624105 h 6407421"/>
              <a:gd name="connsiteX3352" fmla="*/ 7945940 w 11701760"/>
              <a:gd name="connsiteY3352" fmla="*/ 1594499 h 6407421"/>
              <a:gd name="connsiteX3353" fmla="*/ 7975543 w 11701760"/>
              <a:gd name="connsiteY3353" fmla="*/ 1594499 h 6407421"/>
              <a:gd name="connsiteX3354" fmla="*/ 7975543 w 11701760"/>
              <a:gd name="connsiteY3354" fmla="*/ 1624102 h 6407421"/>
              <a:gd name="connsiteX3355" fmla="*/ 7945940 w 11701760"/>
              <a:gd name="connsiteY3355" fmla="*/ 1624102 h 6407421"/>
              <a:gd name="connsiteX3356" fmla="*/ 2099092 w 11701760"/>
              <a:gd name="connsiteY3356" fmla="*/ 1594499 h 6407421"/>
              <a:gd name="connsiteX3357" fmla="*/ 2128695 w 11701760"/>
              <a:gd name="connsiteY3357" fmla="*/ 1594499 h 6407421"/>
              <a:gd name="connsiteX3358" fmla="*/ 2128695 w 11701760"/>
              <a:gd name="connsiteY3358" fmla="*/ 1624102 h 6407421"/>
              <a:gd name="connsiteX3359" fmla="*/ 2099092 w 11701760"/>
              <a:gd name="connsiteY3359" fmla="*/ 1624102 h 6407421"/>
              <a:gd name="connsiteX3360" fmla="*/ 7679743 w 11701760"/>
              <a:gd name="connsiteY3360" fmla="*/ 1594496 h 6407421"/>
              <a:gd name="connsiteX3361" fmla="*/ 7709346 w 11701760"/>
              <a:gd name="connsiteY3361" fmla="*/ 1594496 h 6407421"/>
              <a:gd name="connsiteX3362" fmla="*/ 7709346 w 11701760"/>
              <a:gd name="connsiteY3362" fmla="*/ 1624100 h 6407421"/>
              <a:gd name="connsiteX3363" fmla="*/ 7679743 w 11701760"/>
              <a:gd name="connsiteY3363" fmla="*/ 1624100 h 6407421"/>
              <a:gd name="connsiteX3364" fmla="*/ 1832898 w 11701760"/>
              <a:gd name="connsiteY3364" fmla="*/ 1594496 h 6407421"/>
              <a:gd name="connsiteX3365" fmla="*/ 1862498 w 11701760"/>
              <a:gd name="connsiteY3365" fmla="*/ 1594496 h 6407421"/>
              <a:gd name="connsiteX3366" fmla="*/ 1862498 w 11701760"/>
              <a:gd name="connsiteY3366" fmla="*/ 1624100 h 6407421"/>
              <a:gd name="connsiteX3367" fmla="*/ 1832898 w 11701760"/>
              <a:gd name="connsiteY3367" fmla="*/ 1624100 h 6407421"/>
              <a:gd name="connsiteX3368" fmla="*/ 7413653 w 11701760"/>
              <a:gd name="connsiteY3368" fmla="*/ 1594494 h 6407421"/>
              <a:gd name="connsiteX3369" fmla="*/ 7443256 w 11701760"/>
              <a:gd name="connsiteY3369" fmla="*/ 1594494 h 6407421"/>
              <a:gd name="connsiteX3370" fmla="*/ 7443256 w 11701760"/>
              <a:gd name="connsiteY3370" fmla="*/ 1624097 h 6407421"/>
              <a:gd name="connsiteX3371" fmla="*/ 7413653 w 11701760"/>
              <a:gd name="connsiteY3371" fmla="*/ 1624097 h 6407421"/>
              <a:gd name="connsiteX3372" fmla="*/ 1566808 w 11701760"/>
              <a:gd name="connsiteY3372" fmla="*/ 1594494 h 6407421"/>
              <a:gd name="connsiteX3373" fmla="*/ 1596409 w 11701760"/>
              <a:gd name="connsiteY3373" fmla="*/ 1594494 h 6407421"/>
              <a:gd name="connsiteX3374" fmla="*/ 1596409 w 11701760"/>
              <a:gd name="connsiteY3374" fmla="*/ 1624097 h 6407421"/>
              <a:gd name="connsiteX3375" fmla="*/ 1566808 w 11701760"/>
              <a:gd name="connsiteY3375" fmla="*/ 1624097 h 6407421"/>
              <a:gd name="connsiteX3376" fmla="*/ 7147456 w 11701760"/>
              <a:gd name="connsiteY3376" fmla="*/ 1594491 h 6407421"/>
              <a:gd name="connsiteX3377" fmla="*/ 7177058 w 11701760"/>
              <a:gd name="connsiteY3377" fmla="*/ 1594491 h 6407421"/>
              <a:gd name="connsiteX3378" fmla="*/ 7177058 w 11701760"/>
              <a:gd name="connsiteY3378" fmla="*/ 1624095 h 6407421"/>
              <a:gd name="connsiteX3379" fmla="*/ 7147456 w 11701760"/>
              <a:gd name="connsiteY3379" fmla="*/ 1624095 h 6407421"/>
              <a:gd name="connsiteX3380" fmla="*/ 1300611 w 11701760"/>
              <a:gd name="connsiteY3380" fmla="*/ 1594491 h 6407421"/>
              <a:gd name="connsiteX3381" fmla="*/ 1330213 w 11701760"/>
              <a:gd name="connsiteY3381" fmla="*/ 1594491 h 6407421"/>
              <a:gd name="connsiteX3382" fmla="*/ 1330213 w 11701760"/>
              <a:gd name="connsiteY3382" fmla="*/ 1624095 h 6407421"/>
              <a:gd name="connsiteX3383" fmla="*/ 1300611 w 11701760"/>
              <a:gd name="connsiteY3383" fmla="*/ 1624095 h 6407421"/>
              <a:gd name="connsiteX3384" fmla="*/ 6881367 w 11701760"/>
              <a:gd name="connsiteY3384" fmla="*/ 1594489 h 6407421"/>
              <a:gd name="connsiteX3385" fmla="*/ 6910970 w 11701760"/>
              <a:gd name="connsiteY3385" fmla="*/ 1594489 h 6407421"/>
              <a:gd name="connsiteX3386" fmla="*/ 6910970 w 11701760"/>
              <a:gd name="connsiteY3386" fmla="*/ 1624092 h 6407421"/>
              <a:gd name="connsiteX3387" fmla="*/ 6881367 w 11701760"/>
              <a:gd name="connsiteY3387" fmla="*/ 1624092 h 6407421"/>
              <a:gd name="connsiteX3388" fmla="*/ 1034520 w 11701760"/>
              <a:gd name="connsiteY3388" fmla="*/ 1594489 h 6407421"/>
              <a:gd name="connsiteX3389" fmla="*/ 1064123 w 11701760"/>
              <a:gd name="connsiteY3389" fmla="*/ 1594489 h 6407421"/>
              <a:gd name="connsiteX3390" fmla="*/ 1064123 w 11701760"/>
              <a:gd name="connsiteY3390" fmla="*/ 1624092 h 6407421"/>
              <a:gd name="connsiteX3391" fmla="*/ 1034520 w 11701760"/>
              <a:gd name="connsiteY3391" fmla="*/ 1624092 h 6407421"/>
              <a:gd name="connsiteX3392" fmla="*/ 6615170 w 11701760"/>
              <a:gd name="connsiteY3392" fmla="*/ 1594486 h 6407421"/>
              <a:gd name="connsiteX3393" fmla="*/ 6644773 w 11701760"/>
              <a:gd name="connsiteY3393" fmla="*/ 1594486 h 6407421"/>
              <a:gd name="connsiteX3394" fmla="*/ 6644773 w 11701760"/>
              <a:gd name="connsiteY3394" fmla="*/ 1624090 h 6407421"/>
              <a:gd name="connsiteX3395" fmla="*/ 6615170 w 11701760"/>
              <a:gd name="connsiteY3395" fmla="*/ 1624090 h 6407421"/>
              <a:gd name="connsiteX3396" fmla="*/ 768327 w 11701760"/>
              <a:gd name="connsiteY3396" fmla="*/ 1594486 h 6407421"/>
              <a:gd name="connsiteX3397" fmla="*/ 797926 w 11701760"/>
              <a:gd name="connsiteY3397" fmla="*/ 1594486 h 6407421"/>
              <a:gd name="connsiteX3398" fmla="*/ 797926 w 11701760"/>
              <a:gd name="connsiteY3398" fmla="*/ 1624090 h 6407421"/>
              <a:gd name="connsiteX3399" fmla="*/ 768327 w 11701760"/>
              <a:gd name="connsiteY3399" fmla="*/ 1624090 h 6407421"/>
              <a:gd name="connsiteX3400" fmla="*/ 6349081 w 11701760"/>
              <a:gd name="connsiteY3400" fmla="*/ 1594484 h 6407421"/>
              <a:gd name="connsiteX3401" fmla="*/ 6378683 w 11701760"/>
              <a:gd name="connsiteY3401" fmla="*/ 1594484 h 6407421"/>
              <a:gd name="connsiteX3402" fmla="*/ 6378683 w 11701760"/>
              <a:gd name="connsiteY3402" fmla="*/ 1624087 h 6407421"/>
              <a:gd name="connsiteX3403" fmla="*/ 6349081 w 11701760"/>
              <a:gd name="connsiteY3403" fmla="*/ 1624087 h 6407421"/>
              <a:gd name="connsiteX3404" fmla="*/ 502236 w 11701760"/>
              <a:gd name="connsiteY3404" fmla="*/ 1594484 h 6407421"/>
              <a:gd name="connsiteX3405" fmla="*/ 531838 w 11701760"/>
              <a:gd name="connsiteY3405" fmla="*/ 1594484 h 6407421"/>
              <a:gd name="connsiteX3406" fmla="*/ 531838 w 11701760"/>
              <a:gd name="connsiteY3406" fmla="*/ 1624087 h 6407421"/>
              <a:gd name="connsiteX3407" fmla="*/ 502236 w 11701760"/>
              <a:gd name="connsiteY3407" fmla="*/ 1624087 h 6407421"/>
              <a:gd name="connsiteX3408" fmla="*/ 6082884 w 11701760"/>
              <a:gd name="connsiteY3408" fmla="*/ 1594482 h 6407421"/>
              <a:gd name="connsiteX3409" fmla="*/ 6112486 w 11701760"/>
              <a:gd name="connsiteY3409" fmla="*/ 1594482 h 6407421"/>
              <a:gd name="connsiteX3410" fmla="*/ 6112486 w 11701760"/>
              <a:gd name="connsiteY3410" fmla="*/ 1624085 h 6407421"/>
              <a:gd name="connsiteX3411" fmla="*/ 6082884 w 11701760"/>
              <a:gd name="connsiteY3411" fmla="*/ 1624085 h 6407421"/>
              <a:gd name="connsiteX3412" fmla="*/ 236037 w 11701760"/>
              <a:gd name="connsiteY3412" fmla="*/ 1594482 h 6407421"/>
              <a:gd name="connsiteX3413" fmla="*/ 265639 w 11701760"/>
              <a:gd name="connsiteY3413" fmla="*/ 1594482 h 6407421"/>
              <a:gd name="connsiteX3414" fmla="*/ 265639 w 11701760"/>
              <a:gd name="connsiteY3414" fmla="*/ 1624085 h 6407421"/>
              <a:gd name="connsiteX3415" fmla="*/ 236037 w 11701760"/>
              <a:gd name="connsiteY3415" fmla="*/ 1624085 h 6407421"/>
              <a:gd name="connsiteX3416" fmla="*/ 1 w 11701760"/>
              <a:gd name="connsiteY3416" fmla="*/ 1594482 h 6407421"/>
              <a:gd name="connsiteX3417" fmla="*/ 29603 w 11701760"/>
              <a:gd name="connsiteY3417" fmla="*/ 1594482 h 6407421"/>
              <a:gd name="connsiteX3418" fmla="*/ 29603 w 11701760"/>
              <a:gd name="connsiteY3418" fmla="*/ 1624085 h 6407421"/>
              <a:gd name="connsiteX3419" fmla="*/ 1 w 11701760"/>
              <a:gd name="connsiteY3419" fmla="*/ 1624085 h 6407421"/>
              <a:gd name="connsiteX3420" fmla="*/ 11672158 w 11701760"/>
              <a:gd name="connsiteY3420" fmla="*/ 1328772 h 6407421"/>
              <a:gd name="connsiteX3421" fmla="*/ 11701760 w 11701760"/>
              <a:gd name="connsiteY3421" fmla="*/ 1328772 h 6407421"/>
              <a:gd name="connsiteX3422" fmla="*/ 11701760 w 11701760"/>
              <a:gd name="connsiteY3422" fmla="*/ 1358375 h 6407421"/>
              <a:gd name="connsiteX3423" fmla="*/ 11672158 w 11701760"/>
              <a:gd name="connsiteY3423" fmla="*/ 1358375 h 6407421"/>
              <a:gd name="connsiteX3424" fmla="*/ 5825310 w 11701760"/>
              <a:gd name="connsiteY3424" fmla="*/ 1328772 h 6407421"/>
              <a:gd name="connsiteX3425" fmla="*/ 5854913 w 11701760"/>
              <a:gd name="connsiteY3425" fmla="*/ 1328772 h 6407421"/>
              <a:gd name="connsiteX3426" fmla="*/ 5854913 w 11701760"/>
              <a:gd name="connsiteY3426" fmla="*/ 1358375 h 6407421"/>
              <a:gd name="connsiteX3427" fmla="*/ 5825310 w 11701760"/>
              <a:gd name="connsiteY3427" fmla="*/ 1358375 h 6407421"/>
              <a:gd name="connsiteX3428" fmla="*/ 11405961 w 11701760"/>
              <a:gd name="connsiteY3428" fmla="*/ 1328769 h 6407421"/>
              <a:gd name="connsiteX3429" fmla="*/ 11435563 w 11701760"/>
              <a:gd name="connsiteY3429" fmla="*/ 1328769 h 6407421"/>
              <a:gd name="connsiteX3430" fmla="*/ 11435563 w 11701760"/>
              <a:gd name="connsiteY3430" fmla="*/ 1358372 h 6407421"/>
              <a:gd name="connsiteX3431" fmla="*/ 11405961 w 11701760"/>
              <a:gd name="connsiteY3431" fmla="*/ 1358372 h 6407421"/>
              <a:gd name="connsiteX3432" fmla="*/ 5559113 w 11701760"/>
              <a:gd name="connsiteY3432" fmla="*/ 1328769 h 6407421"/>
              <a:gd name="connsiteX3433" fmla="*/ 5588715 w 11701760"/>
              <a:gd name="connsiteY3433" fmla="*/ 1328769 h 6407421"/>
              <a:gd name="connsiteX3434" fmla="*/ 5588715 w 11701760"/>
              <a:gd name="connsiteY3434" fmla="*/ 1358372 h 6407421"/>
              <a:gd name="connsiteX3435" fmla="*/ 5559113 w 11701760"/>
              <a:gd name="connsiteY3435" fmla="*/ 1358372 h 6407421"/>
              <a:gd name="connsiteX3436" fmla="*/ 11139872 w 11701760"/>
              <a:gd name="connsiteY3436" fmla="*/ 1328766 h 6407421"/>
              <a:gd name="connsiteX3437" fmla="*/ 11169474 w 11701760"/>
              <a:gd name="connsiteY3437" fmla="*/ 1328766 h 6407421"/>
              <a:gd name="connsiteX3438" fmla="*/ 11169474 w 11701760"/>
              <a:gd name="connsiteY3438" fmla="*/ 1358370 h 6407421"/>
              <a:gd name="connsiteX3439" fmla="*/ 11139872 w 11701760"/>
              <a:gd name="connsiteY3439" fmla="*/ 1358370 h 6407421"/>
              <a:gd name="connsiteX3440" fmla="*/ 5293024 w 11701760"/>
              <a:gd name="connsiteY3440" fmla="*/ 1328766 h 6407421"/>
              <a:gd name="connsiteX3441" fmla="*/ 5322626 w 11701760"/>
              <a:gd name="connsiteY3441" fmla="*/ 1328766 h 6407421"/>
              <a:gd name="connsiteX3442" fmla="*/ 5322626 w 11701760"/>
              <a:gd name="connsiteY3442" fmla="*/ 1358370 h 6407421"/>
              <a:gd name="connsiteX3443" fmla="*/ 5293024 w 11701760"/>
              <a:gd name="connsiteY3443" fmla="*/ 1358370 h 6407421"/>
              <a:gd name="connsiteX3444" fmla="*/ 10873675 w 11701760"/>
              <a:gd name="connsiteY3444" fmla="*/ 1328764 h 6407421"/>
              <a:gd name="connsiteX3445" fmla="*/ 10903277 w 11701760"/>
              <a:gd name="connsiteY3445" fmla="*/ 1328764 h 6407421"/>
              <a:gd name="connsiteX3446" fmla="*/ 10903277 w 11701760"/>
              <a:gd name="connsiteY3446" fmla="*/ 1358367 h 6407421"/>
              <a:gd name="connsiteX3447" fmla="*/ 10873675 w 11701760"/>
              <a:gd name="connsiteY3447" fmla="*/ 1358367 h 6407421"/>
              <a:gd name="connsiteX3448" fmla="*/ 5026827 w 11701760"/>
              <a:gd name="connsiteY3448" fmla="*/ 1328764 h 6407421"/>
              <a:gd name="connsiteX3449" fmla="*/ 5056429 w 11701760"/>
              <a:gd name="connsiteY3449" fmla="*/ 1328764 h 6407421"/>
              <a:gd name="connsiteX3450" fmla="*/ 5056429 w 11701760"/>
              <a:gd name="connsiteY3450" fmla="*/ 1358367 h 6407421"/>
              <a:gd name="connsiteX3451" fmla="*/ 5026827 w 11701760"/>
              <a:gd name="connsiteY3451" fmla="*/ 1358367 h 6407421"/>
              <a:gd name="connsiteX3452" fmla="*/ 10607478 w 11701760"/>
              <a:gd name="connsiteY3452" fmla="*/ 1328761 h 6407421"/>
              <a:gd name="connsiteX3453" fmla="*/ 10637188 w 11701760"/>
              <a:gd name="connsiteY3453" fmla="*/ 1328761 h 6407421"/>
              <a:gd name="connsiteX3454" fmla="*/ 10637188 w 11701760"/>
              <a:gd name="connsiteY3454" fmla="*/ 1358365 h 6407421"/>
              <a:gd name="connsiteX3455" fmla="*/ 10607478 w 11701760"/>
              <a:gd name="connsiteY3455" fmla="*/ 1358365 h 6407421"/>
              <a:gd name="connsiteX3456" fmla="*/ 4760630 w 11701760"/>
              <a:gd name="connsiteY3456" fmla="*/ 1328761 h 6407421"/>
              <a:gd name="connsiteX3457" fmla="*/ 4790340 w 11701760"/>
              <a:gd name="connsiteY3457" fmla="*/ 1328761 h 6407421"/>
              <a:gd name="connsiteX3458" fmla="*/ 4790340 w 11701760"/>
              <a:gd name="connsiteY3458" fmla="*/ 1358365 h 6407421"/>
              <a:gd name="connsiteX3459" fmla="*/ 4760630 w 11701760"/>
              <a:gd name="connsiteY3459" fmla="*/ 1358365 h 6407421"/>
              <a:gd name="connsiteX3460" fmla="*/ 10341389 w 11701760"/>
              <a:gd name="connsiteY3460" fmla="*/ 1328759 h 6407421"/>
              <a:gd name="connsiteX3461" fmla="*/ 10370992 w 11701760"/>
              <a:gd name="connsiteY3461" fmla="*/ 1328759 h 6407421"/>
              <a:gd name="connsiteX3462" fmla="*/ 10370992 w 11701760"/>
              <a:gd name="connsiteY3462" fmla="*/ 1358362 h 6407421"/>
              <a:gd name="connsiteX3463" fmla="*/ 10341389 w 11701760"/>
              <a:gd name="connsiteY3463" fmla="*/ 1358362 h 6407421"/>
              <a:gd name="connsiteX3464" fmla="*/ 4494541 w 11701760"/>
              <a:gd name="connsiteY3464" fmla="*/ 1328759 h 6407421"/>
              <a:gd name="connsiteX3465" fmla="*/ 4524144 w 11701760"/>
              <a:gd name="connsiteY3465" fmla="*/ 1328759 h 6407421"/>
              <a:gd name="connsiteX3466" fmla="*/ 4524144 w 11701760"/>
              <a:gd name="connsiteY3466" fmla="*/ 1358362 h 6407421"/>
              <a:gd name="connsiteX3467" fmla="*/ 4494541 w 11701760"/>
              <a:gd name="connsiteY3467" fmla="*/ 1358362 h 6407421"/>
              <a:gd name="connsiteX3468" fmla="*/ 10075192 w 11701760"/>
              <a:gd name="connsiteY3468" fmla="*/ 1328756 h 6407421"/>
              <a:gd name="connsiteX3469" fmla="*/ 10104794 w 11701760"/>
              <a:gd name="connsiteY3469" fmla="*/ 1328756 h 6407421"/>
              <a:gd name="connsiteX3470" fmla="*/ 10104794 w 11701760"/>
              <a:gd name="connsiteY3470" fmla="*/ 1358359 h 6407421"/>
              <a:gd name="connsiteX3471" fmla="*/ 10075192 w 11701760"/>
              <a:gd name="connsiteY3471" fmla="*/ 1358359 h 6407421"/>
              <a:gd name="connsiteX3472" fmla="*/ 4228344 w 11701760"/>
              <a:gd name="connsiteY3472" fmla="*/ 1328756 h 6407421"/>
              <a:gd name="connsiteX3473" fmla="*/ 4257946 w 11701760"/>
              <a:gd name="connsiteY3473" fmla="*/ 1328756 h 6407421"/>
              <a:gd name="connsiteX3474" fmla="*/ 4257946 w 11701760"/>
              <a:gd name="connsiteY3474" fmla="*/ 1358359 h 6407421"/>
              <a:gd name="connsiteX3475" fmla="*/ 4228344 w 11701760"/>
              <a:gd name="connsiteY3475" fmla="*/ 1358359 h 6407421"/>
              <a:gd name="connsiteX3476" fmla="*/ 9809103 w 11701760"/>
              <a:gd name="connsiteY3476" fmla="*/ 1328753 h 6407421"/>
              <a:gd name="connsiteX3477" fmla="*/ 9838705 w 11701760"/>
              <a:gd name="connsiteY3477" fmla="*/ 1328753 h 6407421"/>
              <a:gd name="connsiteX3478" fmla="*/ 9838705 w 11701760"/>
              <a:gd name="connsiteY3478" fmla="*/ 1358357 h 6407421"/>
              <a:gd name="connsiteX3479" fmla="*/ 9809103 w 11701760"/>
              <a:gd name="connsiteY3479" fmla="*/ 1358357 h 6407421"/>
              <a:gd name="connsiteX3480" fmla="*/ 3962255 w 11701760"/>
              <a:gd name="connsiteY3480" fmla="*/ 1328753 h 6407421"/>
              <a:gd name="connsiteX3481" fmla="*/ 3991857 w 11701760"/>
              <a:gd name="connsiteY3481" fmla="*/ 1328753 h 6407421"/>
              <a:gd name="connsiteX3482" fmla="*/ 3991857 w 11701760"/>
              <a:gd name="connsiteY3482" fmla="*/ 1358357 h 6407421"/>
              <a:gd name="connsiteX3483" fmla="*/ 3962255 w 11701760"/>
              <a:gd name="connsiteY3483" fmla="*/ 1358357 h 6407421"/>
              <a:gd name="connsiteX3484" fmla="*/ 9542906 w 11701760"/>
              <a:gd name="connsiteY3484" fmla="*/ 1328751 h 6407421"/>
              <a:gd name="connsiteX3485" fmla="*/ 9572509 w 11701760"/>
              <a:gd name="connsiteY3485" fmla="*/ 1328751 h 6407421"/>
              <a:gd name="connsiteX3486" fmla="*/ 9572509 w 11701760"/>
              <a:gd name="connsiteY3486" fmla="*/ 1358354 h 6407421"/>
              <a:gd name="connsiteX3487" fmla="*/ 9542906 w 11701760"/>
              <a:gd name="connsiteY3487" fmla="*/ 1358354 h 6407421"/>
              <a:gd name="connsiteX3488" fmla="*/ 3696058 w 11701760"/>
              <a:gd name="connsiteY3488" fmla="*/ 1328751 h 6407421"/>
              <a:gd name="connsiteX3489" fmla="*/ 3725661 w 11701760"/>
              <a:gd name="connsiteY3489" fmla="*/ 1328751 h 6407421"/>
              <a:gd name="connsiteX3490" fmla="*/ 3725661 w 11701760"/>
              <a:gd name="connsiteY3490" fmla="*/ 1358354 h 6407421"/>
              <a:gd name="connsiteX3491" fmla="*/ 3696058 w 11701760"/>
              <a:gd name="connsiteY3491" fmla="*/ 1358354 h 6407421"/>
              <a:gd name="connsiteX3492" fmla="*/ 9276817 w 11701760"/>
              <a:gd name="connsiteY3492" fmla="*/ 1328748 h 6407421"/>
              <a:gd name="connsiteX3493" fmla="*/ 9306420 w 11701760"/>
              <a:gd name="connsiteY3493" fmla="*/ 1328748 h 6407421"/>
              <a:gd name="connsiteX3494" fmla="*/ 9306420 w 11701760"/>
              <a:gd name="connsiteY3494" fmla="*/ 1358351 h 6407421"/>
              <a:gd name="connsiteX3495" fmla="*/ 9276817 w 11701760"/>
              <a:gd name="connsiteY3495" fmla="*/ 1358351 h 6407421"/>
              <a:gd name="connsiteX3496" fmla="*/ 3429969 w 11701760"/>
              <a:gd name="connsiteY3496" fmla="*/ 1328748 h 6407421"/>
              <a:gd name="connsiteX3497" fmla="*/ 3459572 w 11701760"/>
              <a:gd name="connsiteY3497" fmla="*/ 1328748 h 6407421"/>
              <a:gd name="connsiteX3498" fmla="*/ 3459572 w 11701760"/>
              <a:gd name="connsiteY3498" fmla="*/ 1358351 h 6407421"/>
              <a:gd name="connsiteX3499" fmla="*/ 3429969 w 11701760"/>
              <a:gd name="connsiteY3499" fmla="*/ 1358351 h 6407421"/>
              <a:gd name="connsiteX3500" fmla="*/ 9010620 w 11701760"/>
              <a:gd name="connsiteY3500" fmla="*/ 1328745 h 6407421"/>
              <a:gd name="connsiteX3501" fmla="*/ 9040222 w 11701760"/>
              <a:gd name="connsiteY3501" fmla="*/ 1328745 h 6407421"/>
              <a:gd name="connsiteX3502" fmla="*/ 9040222 w 11701760"/>
              <a:gd name="connsiteY3502" fmla="*/ 1358349 h 6407421"/>
              <a:gd name="connsiteX3503" fmla="*/ 9010620 w 11701760"/>
              <a:gd name="connsiteY3503" fmla="*/ 1358349 h 6407421"/>
              <a:gd name="connsiteX3504" fmla="*/ 3163772 w 11701760"/>
              <a:gd name="connsiteY3504" fmla="*/ 1328745 h 6407421"/>
              <a:gd name="connsiteX3505" fmla="*/ 3193374 w 11701760"/>
              <a:gd name="connsiteY3505" fmla="*/ 1328745 h 6407421"/>
              <a:gd name="connsiteX3506" fmla="*/ 3193374 w 11701760"/>
              <a:gd name="connsiteY3506" fmla="*/ 1358349 h 6407421"/>
              <a:gd name="connsiteX3507" fmla="*/ 3163772 w 11701760"/>
              <a:gd name="connsiteY3507" fmla="*/ 1358349 h 6407421"/>
              <a:gd name="connsiteX3508" fmla="*/ 8744423 w 11701760"/>
              <a:gd name="connsiteY3508" fmla="*/ 1328743 h 6407421"/>
              <a:gd name="connsiteX3509" fmla="*/ 8774026 w 11701760"/>
              <a:gd name="connsiteY3509" fmla="*/ 1328743 h 6407421"/>
              <a:gd name="connsiteX3510" fmla="*/ 8774026 w 11701760"/>
              <a:gd name="connsiteY3510" fmla="*/ 1358346 h 6407421"/>
              <a:gd name="connsiteX3511" fmla="*/ 8744423 w 11701760"/>
              <a:gd name="connsiteY3511" fmla="*/ 1358346 h 6407421"/>
              <a:gd name="connsiteX3512" fmla="*/ 2897575 w 11701760"/>
              <a:gd name="connsiteY3512" fmla="*/ 1328743 h 6407421"/>
              <a:gd name="connsiteX3513" fmla="*/ 2927178 w 11701760"/>
              <a:gd name="connsiteY3513" fmla="*/ 1328743 h 6407421"/>
              <a:gd name="connsiteX3514" fmla="*/ 2927178 w 11701760"/>
              <a:gd name="connsiteY3514" fmla="*/ 1358346 h 6407421"/>
              <a:gd name="connsiteX3515" fmla="*/ 2897575 w 11701760"/>
              <a:gd name="connsiteY3515" fmla="*/ 1358346 h 6407421"/>
              <a:gd name="connsiteX3516" fmla="*/ 8478226 w 11701760"/>
              <a:gd name="connsiteY3516" fmla="*/ 1328740 h 6407421"/>
              <a:gd name="connsiteX3517" fmla="*/ 8507828 w 11701760"/>
              <a:gd name="connsiteY3517" fmla="*/ 1328740 h 6407421"/>
              <a:gd name="connsiteX3518" fmla="*/ 8507828 w 11701760"/>
              <a:gd name="connsiteY3518" fmla="*/ 1358344 h 6407421"/>
              <a:gd name="connsiteX3519" fmla="*/ 8478226 w 11701760"/>
              <a:gd name="connsiteY3519" fmla="*/ 1358344 h 6407421"/>
              <a:gd name="connsiteX3520" fmla="*/ 2631378 w 11701760"/>
              <a:gd name="connsiteY3520" fmla="*/ 1328740 h 6407421"/>
              <a:gd name="connsiteX3521" fmla="*/ 2660980 w 11701760"/>
              <a:gd name="connsiteY3521" fmla="*/ 1328740 h 6407421"/>
              <a:gd name="connsiteX3522" fmla="*/ 2660980 w 11701760"/>
              <a:gd name="connsiteY3522" fmla="*/ 1358344 h 6407421"/>
              <a:gd name="connsiteX3523" fmla="*/ 2631378 w 11701760"/>
              <a:gd name="connsiteY3523" fmla="*/ 1358344 h 6407421"/>
              <a:gd name="connsiteX3524" fmla="*/ 8212137 w 11701760"/>
              <a:gd name="connsiteY3524" fmla="*/ 1328738 h 6407421"/>
              <a:gd name="connsiteX3525" fmla="*/ 8241740 w 11701760"/>
              <a:gd name="connsiteY3525" fmla="*/ 1328738 h 6407421"/>
              <a:gd name="connsiteX3526" fmla="*/ 8241740 w 11701760"/>
              <a:gd name="connsiteY3526" fmla="*/ 1358341 h 6407421"/>
              <a:gd name="connsiteX3527" fmla="*/ 8212137 w 11701760"/>
              <a:gd name="connsiteY3527" fmla="*/ 1358341 h 6407421"/>
              <a:gd name="connsiteX3528" fmla="*/ 2365289 w 11701760"/>
              <a:gd name="connsiteY3528" fmla="*/ 1328738 h 6407421"/>
              <a:gd name="connsiteX3529" fmla="*/ 2394892 w 11701760"/>
              <a:gd name="connsiteY3529" fmla="*/ 1328738 h 6407421"/>
              <a:gd name="connsiteX3530" fmla="*/ 2394892 w 11701760"/>
              <a:gd name="connsiteY3530" fmla="*/ 1358341 h 6407421"/>
              <a:gd name="connsiteX3531" fmla="*/ 2365289 w 11701760"/>
              <a:gd name="connsiteY3531" fmla="*/ 1358341 h 6407421"/>
              <a:gd name="connsiteX3532" fmla="*/ 7945940 w 11701760"/>
              <a:gd name="connsiteY3532" fmla="*/ 1328735 h 6407421"/>
              <a:gd name="connsiteX3533" fmla="*/ 7975543 w 11701760"/>
              <a:gd name="connsiteY3533" fmla="*/ 1328735 h 6407421"/>
              <a:gd name="connsiteX3534" fmla="*/ 7975543 w 11701760"/>
              <a:gd name="connsiteY3534" fmla="*/ 1358338 h 6407421"/>
              <a:gd name="connsiteX3535" fmla="*/ 7945940 w 11701760"/>
              <a:gd name="connsiteY3535" fmla="*/ 1358338 h 6407421"/>
              <a:gd name="connsiteX3536" fmla="*/ 2099092 w 11701760"/>
              <a:gd name="connsiteY3536" fmla="*/ 1328735 h 6407421"/>
              <a:gd name="connsiteX3537" fmla="*/ 2128695 w 11701760"/>
              <a:gd name="connsiteY3537" fmla="*/ 1328735 h 6407421"/>
              <a:gd name="connsiteX3538" fmla="*/ 2128695 w 11701760"/>
              <a:gd name="connsiteY3538" fmla="*/ 1358338 h 6407421"/>
              <a:gd name="connsiteX3539" fmla="*/ 2099092 w 11701760"/>
              <a:gd name="connsiteY3539" fmla="*/ 1358338 h 6407421"/>
              <a:gd name="connsiteX3540" fmla="*/ 7679743 w 11701760"/>
              <a:gd name="connsiteY3540" fmla="*/ 1328732 h 6407421"/>
              <a:gd name="connsiteX3541" fmla="*/ 7709346 w 11701760"/>
              <a:gd name="connsiteY3541" fmla="*/ 1328732 h 6407421"/>
              <a:gd name="connsiteX3542" fmla="*/ 7709346 w 11701760"/>
              <a:gd name="connsiteY3542" fmla="*/ 1358336 h 6407421"/>
              <a:gd name="connsiteX3543" fmla="*/ 7679743 w 11701760"/>
              <a:gd name="connsiteY3543" fmla="*/ 1358336 h 6407421"/>
              <a:gd name="connsiteX3544" fmla="*/ 1832898 w 11701760"/>
              <a:gd name="connsiteY3544" fmla="*/ 1328732 h 6407421"/>
              <a:gd name="connsiteX3545" fmla="*/ 1862498 w 11701760"/>
              <a:gd name="connsiteY3545" fmla="*/ 1328732 h 6407421"/>
              <a:gd name="connsiteX3546" fmla="*/ 1862498 w 11701760"/>
              <a:gd name="connsiteY3546" fmla="*/ 1358336 h 6407421"/>
              <a:gd name="connsiteX3547" fmla="*/ 1832898 w 11701760"/>
              <a:gd name="connsiteY3547" fmla="*/ 1358336 h 6407421"/>
              <a:gd name="connsiteX3548" fmla="*/ 7413653 w 11701760"/>
              <a:gd name="connsiteY3548" fmla="*/ 1328730 h 6407421"/>
              <a:gd name="connsiteX3549" fmla="*/ 7443256 w 11701760"/>
              <a:gd name="connsiteY3549" fmla="*/ 1328730 h 6407421"/>
              <a:gd name="connsiteX3550" fmla="*/ 7443256 w 11701760"/>
              <a:gd name="connsiteY3550" fmla="*/ 1358333 h 6407421"/>
              <a:gd name="connsiteX3551" fmla="*/ 7413653 w 11701760"/>
              <a:gd name="connsiteY3551" fmla="*/ 1358333 h 6407421"/>
              <a:gd name="connsiteX3552" fmla="*/ 1566808 w 11701760"/>
              <a:gd name="connsiteY3552" fmla="*/ 1328730 h 6407421"/>
              <a:gd name="connsiteX3553" fmla="*/ 1596409 w 11701760"/>
              <a:gd name="connsiteY3553" fmla="*/ 1328730 h 6407421"/>
              <a:gd name="connsiteX3554" fmla="*/ 1596409 w 11701760"/>
              <a:gd name="connsiteY3554" fmla="*/ 1358333 h 6407421"/>
              <a:gd name="connsiteX3555" fmla="*/ 1566808 w 11701760"/>
              <a:gd name="connsiteY3555" fmla="*/ 1358333 h 6407421"/>
              <a:gd name="connsiteX3556" fmla="*/ 7147456 w 11701760"/>
              <a:gd name="connsiteY3556" fmla="*/ 1328727 h 6407421"/>
              <a:gd name="connsiteX3557" fmla="*/ 7177058 w 11701760"/>
              <a:gd name="connsiteY3557" fmla="*/ 1328727 h 6407421"/>
              <a:gd name="connsiteX3558" fmla="*/ 7177058 w 11701760"/>
              <a:gd name="connsiteY3558" fmla="*/ 1358330 h 6407421"/>
              <a:gd name="connsiteX3559" fmla="*/ 7147456 w 11701760"/>
              <a:gd name="connsiteY3559" fmla="*/ 1358330 h 6407421"/>
              <a:gd name="connsiteX3560" fmla="*/ 1300611 w 11701760"/>
              <a:gd name="connsiteY3560" fmla="*/ 1328727 h 6407421"/>
              <a:gd name="connsiteX3561" fmla="*/ 1330213 w 11701760"/>
              <a:gd name="connsiteY3561" fmla="*/ 1328727 h 6407421"/>
              <a:gd name="connsiteX3562" fmla="*/ 1330213 w 11701760"/>
              <a:gd name="connsiteY3562" fmla="*/ 1358330 h 6407421"/>
              <a:gd name="connsiteX3563" fmla="*/ 1300611 w 11701760"/>
              <a:gd name="connsiteY3563" fmla="*/ 1358330 h 6407421"/>
              <a:gd name="connsiteX3564" fmla="*/ 6881367 w 11701760"/>
              <a:gd name="connsiteY3564" fmla="*/ 1328724 h 6407421"/>
              <a:gd name="connsiteX3565" fmla="*/ 6910970 w 11701760"/>
              <a:gd name="connsiteY3565" fmla="*/ 1328724 h 6407421"/>
              <a:gd name="connsiteX3566" fmla="*/ 6910970 w 11701760"/>
              <a:gd name="connsiteY3566" fmla="*/ 1358328 h 6407421"/>
              <a:gd name="connsiteX3567" fmla="*/ 6881367 w 11701760"/>
              <a:gd name="connsiteY3567" fmla="*/ 1358328 h 6407421"/>
              <a:gd name="connsiteX3568" fmla="*/ 1034520 w 11701760"/>
              <a:gd name="connsiteY3568" fmla="*/ 1328724 h 6407421"/>
              <a:gd name="connsiteX3569" fmla="*/ 1064123 w 11701760"/>
              <a:gd name="connsiteY3569" fmla="*/ 1328724 h 6407421"/>
              <a:gd name="connsiteX3570" fmla="*/ 1064123 w 11701760"/>
              <a:gd name="connsiteY3570" fmla="*/ 1358328 h 6407421"/>
              <a:gd name="connsiteX3571" fmla="*/ 1034520 w 11701760"/>
              <a:gd name="connsiteY3571" fmla="*/ 1358328 h 6407421"/>
              <a:gd name="connsiteX3572" fmla="*/ 6615170 w 11701760"/>
              <a:gd name="connsiteY3572" fmla="*/ 1328722 h 6407421"/>
              <a:gd name="connsiteX3573" fmla="*/ 6644773 w 11701760"/>
              <a:gd name="connsiteY3573" fmla="*/ 1328722 h 6407421"/>
              <a:gd name="connsiteX3574" fmla="*/ 6644773 w 11701760"/>
              <a:gd name="connsiteY3574" fmla="*/ 1358325 h 6407421"/>
              <a:gd name="connsiteX3575" fmla="*/ 6615170 w 11701760"/>
              <a:gd name="connsiteY3575" fmla="*/ 1358325 h 6407421"/>
              <a:gd name="connsiteX3576" fmla="*/ 768327 w 11701760"/>
              <a:gd name="connsiteY3576" fmla="*/ 1328722 h 6407421"/>
              <a:gd name="connsiteX3577" fmla="*/ 797926 w 11701760"/>
              <a:gd name="connsiteY3577" fmla="*/ 1328722 h 6407421"/>
              <a:gd name="connsiteX3578" fmla="*/ 797926 w 11701760"/>
              <a:gd name="connsiteY3578" fmla="*/ 1358325 h 6407421"/>
              <a:gd name="connsiteX3579" fmla="*/ 768327 w 11701760"/>
              <a:gd name="connsiteY3579" fmla="*/ 1358325 h 6407421"/>
              <a:gd name="connsiteX3580" fmla="*/ 6349081 w 11701760"/>
              <a:gd name="connsiteY3580" fmla="*/ 1328719 h 6407421"/>
              <a:gd name="connsiteX3581" fmla="*/ 6378683 w 11701760"/>
              <a:gd name="connsiteY3581" fmla="*/ 1328719 h 6407421"/>
              <a:gd name="connsiteX3582" fmla="*/ 6378683 w 11701760"/>
              <a:gd name="connsiteY3582" fmla="*/ 1358323 h 6407421"/>
              <a:gd name="connsiteX3583" fmla="*/ 6349081 w 11701760"/>
              <a:gd name="connsiteY3583" fmla="*/ 1358323 h 6407421"/>
              <a:gd name="connsiteX3584" fmla="*/ 502236 w 11701760"/>
              <a:gd name="connsiteY3584" fmla="*/ 1328719 h 6407421"/>
              <a:gd name="connsiteX3585" fmla="*/ 531838 w 11701760"/>
              <a:gd name="connsiteY3585" fmla="*/ 1328719 h 6407421"/>
              <a:gd name="connsiteX3586" fmla="*/ 531838 w 11701760"/>
              <a:gd name="connsiteY3586" fmla="*/ 1358323 h 6407421"/>
              <a:gd name="connsiteX3587" fmla="*/ 502236 w 11701760"/>
              <a:gd name="connsiteY3587" fmla="*/ 1358323 h 6407421"/>
              <a:gd name="connsiteX3588" fmla="*/ 6082884 w 11701760"/>
              <a:gd name="connsiteY3588" fmla="*/ 1328717 h 6407421"/>
              <a:gd name="connsiteX3589" fmla="*/ 6112486 w 11701760"/>
              <a:gd name="connsiteY3589" fmla="*/ 1328717 h 6407421"/>
              <a:gd name="connsiteX3590" fmla="*/ 6112486 w 11701760"/>
              <a:gd name="connsiteY3590" fmla="*/ 1358320 h 6407421"/>
              <a:gd name="connsiteX3591" fmla="*/ 6082884 w 11701760"/>
              <a:gd name="connsiteY3591" fmla="*/ 1358320 h 6407421"/>
              <a:gd name="connsiteX3592" fmla="*/ 236036 w 11701760"/>
              <a:gd name="connsiteY3592" fmla="*/ 1328717 h 6407421"/>
              <a:gd name="connsiteX3593" fmla="*/ 265639 w 11701760"/>
              <a:gd name="connsiteY3593" fmla="*/ 1328717 h 6407421"/>
              <a:gd name="connsiteX3594" fmla="*/ 265639 w 11701760"/>
              <a:gd name="connsiteY3594" fmla="*/ 1358320 h 6407421"/>
              <a:gd name="connsiteX3595" fmla="*/ 236036 w 11701760"/>
              <a:gd name="connsiteY3595" fmla="*/ 1358320 h 6407421"/>
              <a:gd name="connsiteX3596" fmla="*/ 1 w 11701760"/>
              <a:gd name="connsiteY3596" fmla="*/ 1328717 h 6407421"/>
              <a:gd name="connsiteX3597" fmla="*/ 29602 w 11701760"/>
              <a:gd name="connsiteY3597" fmla="*/ 1328717 h 6407421"/>
              <a:gd name="connsiteX3598" fmla="*/ 29602 w 11701760"/>
              <a:gd name="connsiteY3598" fmla="*/ 1358320 h 6407421"/>
              <a:gd name="connsiteX3599" fmla="*/ 1 w 11701760"/>
              <a:gd name="connsiteY3599" fmla="*/ 1358320 h 6407421"/>
              <a:gd name="connsiteX3600" fmla="*/ 11672158 w 11701760"/>
              <a:gd name="connsiteY3600" fmla="*/ 1063123 h 6407421"/>
              <a:gd name="connsiteX3601" fmla="*/ 11701760 w 11701760"/>
              <a:gd name="connsiteY3601" fmla="*/ 1063123 h 6407421"/>
              <a:gd name="connsiteX3602" fmla="*/ 11701760 w 11701760"/>
              <a:gd name="connsiteY3602" fmla="*/ 1092617 h 6407421"/>
              <a:gd name="connsiteX3603" fmla="*/ 11672158 w 11701760"/>
              <a:gd name="connsiteY3603" fmla="*/ 1092617 h 6407421"/>
              <a:gd name="connsiteX3604" fmla="*/ 5825310 w 11701760"/>
              <a:gd name="connsiteY3604" fmla="*/ 1063123 h 6407421"/>
              <a:gd name="connsiteX3605" fmla="*/ 5854913 w 11701760"/>
              <a:gd name="connsiteY3605" fmla="*/ 1063123 h 6407421"/>
              <a:gd name="connsiteX3606" fmla="*/ 5854913 w 11701760"/>
              <a:gd name="connsiteY3606" fmla="*/ 1092617 h 6407421"/>
              <a:gd name="connsiteX3607" fmla="*/ 5825310 w 11701760"/>
              <a:gd name="connsiteY3607" fmla="*/ 1092617 h 6407421"/>
              <a:gd name="connsiteX3608" fmla="*/ 11405961 w 11701760"/>
              <a:gd name="connsiteY3608" fmla="*/ 1063120 h 6407421"/>
              <a:gd name="connsiteX3609" fmla="*/ 11435563 w 11701760"/>
              <a:gd name="connsiteY3609" fmla="*/ 1063120 h 6407421"/>
              <a:gd name="connsiteX3610" fmla="*/ 11435563 w 11701760"/>
              <a:gd name="connsiteY3610" fmla="*/ 1092615 h 6407421"/>
              <a:gd name="connsiteX3611" fmla="*/ 11405961 w 11701760"/>
              <a:gd name="connsiteY3611" fmla="*/ 1092615 h 6407421"/>
              <a:gd name="connsiteX3612" fmla="*/ 5559113 w 11701760"/>
              <a:gd name="connsiteY3612" fmla="*/ 1063120 h 6407421"/>
              <a:gd name="connsiteX3613" fmla="*/ 5588715 w 11701760"/>
              <a:gd name="connsiteY3613" fmla="*/ 1063120 h 6407421"/>
              <a:gd name="connsiteX3614" fmla="*/ 5588715 w 11701760"/>
              <a:gd name="connsiteY3614" fmla="*/ 1092615 h 6407421"/>
              <a:gd name="connsiteX3615" fmla="*/ 5559113 w 11701760"/>
              <a:gd name="connsiteY3615" fmla="*/ 1092615 h 6407421"/>
              <a:gd name="connsiteX3616" fmla="*/ 11139872 w 11701760"/>
              <a:gd name="connsiteY3616" fmla="*/ 1063117 h 6407421"/>
              <a:gd name="connsiteX3617" fmla="*/ 11169474 w 11701760"/>
              <a:gd name="connsiteY3617" fmla="*/ 1063117 h 6407421"/>
              <a:gd name="connsiteX3618" fmla="*/ 11169474 w 11701760"/>
              <a:gd name="connsiteY3618" fmla="*/ 1092612 h 6407421"/>
              <a:gd name="connsiteX3619" fmla="*/ 11139872 w 11701760"/>
              <a:gd name="connsiteY3619" fmla="*/ 1092612 h 6407421"/>
              <a:gd name="connsiteX3620" fmla="*/ 5293024 w 11701760"/>
              <a:gd name="connsiteY3620" fmla="*/ 1063117 h 6407421"/>
              <a:gd name="connsiteX3621" fmla="*/ 5322626 w 11701760"/>
              <a:gd name="connsiteY3621" fmla="*/ 1063117 h 6407421"/>
              <a:gd name="connsiteX3622" fmla="*/ 5322626 w 11701760"/>
              <a:gd name="connsiteY3622" fmla="*/ 1092612 h 6407421"/>
              <a:gd name="connsiteX3623" fmla="*/ 5293024 w 11701760"/>
              <a:gd name="connsiteY3623" fmla="*/ 1092612 h 6407421"/>
              <a:gd name="connsiteX3624" fmla="*/ 10873675 w 11701760"/>
              <a:gd name="connsiteY3624" fmla="*/ 1063114 h 6407421"/>
              <a:gd name="connsiteX3625" fmla="*/ 10903277 w 11701760"/>
              <a:gd name="connsiteY3625" fmla="*/ 1063114 h 6407421"/>
              <a:gd name="connsiteX3626" fmla="*/ 10903277 w 11701760"/>
              <a:gd name="connsiteY3626" fmla="*/ 1092608 h 6407421"/>
              <a:gd name="connsiteX3627" fmla="*/ 10873675 w 11701760"/>
              <a:gd name="connsiteY3627" fmla="*/ 1092608 h 6407421"/>
              <a:gd name="connsiteX3628" fmla="*/ 5026827 w 11701760"/>
              <a:gd name="connsiteY3628" fmla="*/ 1063114 h 6407421"/>
              <a:gd name="connsiteX3629" fmla="*/ 5056429 w 11701760"/>
              <a:gd name="connsiteY3629" fmla="*/ 1063114 h 6407421"/>
              <a:gd name="connsiteX3630" fmla="*/ 5056429 w 11701760"/>
              <a:gd name="connsiteY3630" fmla="*/ 1092608 h 6407421"/>
              <a:gd name="connsiteX3631" fmla="*/ 5026827 w 11701760"/>
              <a:gd name="connsiteY3631" fmla="*/ 1092608 h 6407421"/>
              <a:gd name="connsiteX3632" fmla="*/ 10607478 w 11701760"/>
              <a:gd name="connsiteY3632" fmla="*/ 1063111 h 6407421"/>
              <a:gd name="connsiteX3633" fmla="*/ 10637188 w 11701760"/>
              <a:gd name="connsiteY3633" fmla="*/ 1063111 h 6407421"/>
              <a:gd name="connsiteX3634" fmla="*/ 10637188 w 11701760"/>
              <a:gd name="connsiteY3634" fmla="*/ 1092605 h 6407421"/>
              <a:gd name="connsiteX3635" fmla="*/ 10607478 w 11701760"/>
              <a:gd name="connsiteY3635" fmla="*/ 1092605 h 6407421"/>
              <a:gd name="connsiteX3636" fmla="*/ 4760630 w 11701760"/>
              <a:gd name="connsiteY3636" fmla="*/ 1063111 h 6407421"/>
              <a:gd name="connsiteX3637" fmla="*/ 4790340 w 11701760"/>
              <a:gd name="connsiteY3637" fmla="*/ 1063111 h 6407421"/>
              <a:gd name="connsiteX3638" fmla="*/ 4790340 w 11701760"/>
              <a:gd name="connsiteY3638" fmla="*/ 1092605 h 6407421"/>
              <a:gd name="connsiteX3639" fmla="*/ 4760630 w 11701760"/>
              <a:gd name="connsiteY3639" fmla="*/ 1092605 h 6407421"/>
              <a:gd name="connsiteX3640" fmla="*/ 10341389 w 11701760"/>
              <a:gd name="connsiteY3640" fmla="*/ 1063108 h 6407421"/>
              <a:gd name="connsiteX3641" fmla="*/ 10370992 w 11701760"/>
              <a:gd name="connsiteY3641" fmla="*/ 1063108 h 6407421"/>
              <a:gd name="connsiteX3642" fmla="*/ 10370992 w 11701760"/>
              <a:gd name="connsiteY3642" fmla="*/ 1092602 h 6407421"/>
              <a:gd name="connsiteX3643" fmla="*/ 10341389 w 11701760"/>
              <a:gd name="connsiteY3643" fmla="*/ 1092602 h 6407421"/>
              <a:gd name="connsiteX3644" fmla="*/ 4494541 w 11701760"/>
              <a:gd name="connsiteY3644" fmla="*/ 1063108 h 6407421"/>
              <a:gd name="connsiteX3645" fmla="*/ 4524144 w 11701760"/>
              <a:gd name="connsiteY3645" fmla="*/ 1063108 h 6407421"/>
              <a:gd name="connsiteX3646" fmla="*/ 4524144 w 11701760"/>
              <a:gd name="connsiteY3646" fmla="*/ 1092602 h 6407421"/>
              <a:gd name="connsiteX3647" fmla="*/ 4494541 w 11701760"/>
              <a:gd name="connsiteY3647" fmla="*/ 1092602 h 6407421"/>
              <a:gd name="connsiteX3648" fmla="*/ 10075192 w 11701760"/>
              <a:gd name="connsiteY3648" fmla="*/ 1063105 h 6407421"/>
              <a:gd name="connsiteX3649" fmla="*/ 10104794 w 11701760"/>
              <a:gd name="connsiteY3649" fmla="*/ 1063105 h 6407421"/>
              <a:gd name="connsiteX3650" fmla="*/ 10104794 w 11701760"/>
              <a:gd name="connsiteY3650" fmla="*/ 1092599 h 6407421"/>
              <a:gd name="connsiteX3651" fmla="*/ 10075192 w 11701760"/>
              <a:gd name="connsiteY3651" fmla="*/ 1092599 h 6407421"/>
              <a:gd name="connsiteX3652" fmla="*/ 4228344 w 11701760"/>
              <a:gd name="connsiteY3652" fmla="*/ 1063105 h 6407421"/>
              <a:gd name="connsiteX3653" fmla="*/ 4257946 w 11701760"/>
              <a:gd name="connsiteY3653" fmla="*/ 1063105 h 6407421"/>
              <a:gd name="connsiteX3654" fmla="*/ 4257946 w 11701760"/>
              <a:gd name="connsiteY3654" fmla="*/ 1092599 h 6407421"/>
              <a:gd name="connsiteX3655" fmla="*/ 4228344 w 11701760"/>
              <a:gd name="connsiteY3655" fmla="*/ 1092599 h 6407421"/>
              <a:gd name="connsiteX3656" fmla="*/ 9809103 w 11701760"/>
              <a:gd name="connsiteY3656" fmla="*/ 1063102 h 6407421"/>
              <a:gd name="connsiteX3657" fmla="*/ 9838705 w 11701760"/>
              <a:gd name="connsiteY3657" fmla="*/ 1063102 h 6407421"/>
              <a:gd name="connsiteX3658" fmla="*/ 9838705 w 11701760"/>
              <a:gd name="connsiteY3658" fmla="*/ 1092596 h 6407421"/>
              <a:gd name="connsiteX3659" fmla="*/ 9809103 w 11701760"/>
              <a:gd name="connsiteY3659" fmla="*/ 1092596 h 6407421"/>
              <a:gd name="connsiteX3660" fmla="*/ 3962255 w 11701760"/>
              <a:gd name="connsiteY3660" fmla="*/ 1063102 h 6407421"/>
              <a:gd name="connsiteX3661" fmla="*/ 3991857 w 11701760"/>
              <a:gd name="connsiteY3661" fmla="*/ 1063102 h 6407421"/>
              <a:gd name="connsiteX3662" fmla="*/ 3991857 w 11701760"/>
              <a:gd name="connsiteY3662" fmla="*/ 1092596 h 6407421"/>
              <a:gd name="connsiteX3663" fmla="*/ 3962255 w 11701760"/>
              <a:gd name="connsiteY3663" fmla="*/ 1092596 h 6407421"/>
              <a:gd name="connsiteX3664" fmla="*/ 9542906 w 11701760"/>
              <a:gd name="connsiteY3664" fmla="*/ 1063099 h 6407421"/>
              <a:gd name="connsiteX3665" fmla="*/ 9572509 w 11701760"/>
              <a:gd name="connsiteY3665" fmla="*/ 1063099 h 6407421"/>
              <a:gd name="connsiteX3666" fmla="*/ 9572509 w 11701760"/>
              <a:gd name="connsiteY3666" fmla="*/ 1092593 h 6407421"/>
              <a:gd name="connsiteX3667" fmla="*/ 9542906 w 11701760"/>
              <a:gd name="connsiteY3667" fmla="*/ 1092593 h 6407421"/>
              <a:gd name="connsiteX3668" fmla="*/ 3696058 w 11701760"/>
              <a:gd name="connsiteY3668" fmla="*/ 1063099 h 6407421"/>
              <a:gd name="connsiteX3669" fmla="*/ 3725661 w 11701760"/>
              <a:gd name="connsiteY3669" fmla="*/ 1063099 h 6407421"/>
              <a:gd name="connsiteX3670" fmla="*/ 3725661 w 11701760"/>
              <a:gd name="connsiteY3670" fmla="*/ 1092593 h 6407421"/>
              <a:gd name="connsiteX3671" fmla="*/ 3696058 w 11701760"/>
              <a:gd name="connsiteY3671" fmla="*/ 1092593 h 6407421"/>
              <a:gd name="connsiteX3672" fmla="*/ 9276817 w 11701760"/>
              <a:gd name="connsiteY3672" fmla="*/ 1063096 h 6407421"/>
              <a:gd name="connsiteX3673" fmla="*/ 9306420 w 11701760"/>
              <a:gd name="connsiteY3673" fmla="*/ 1063096 h 6407421"/>
              <a:gd name="connsiteX3674" fmla="*/ 9306420 w 11701760"/>
              <a:gd name="connsiteY3674" fmla="*/ 1092590 h 6407421"/>
              <a:gd name="connsiteX3675" fmla="*/ 9276817 w 11701760"/>
              <a:gd name="connsiteY3675" fmla="*/ 1092590 h 6407421"/>
              <a:gd name="connsiteX3676" fmla="*/ 3429969 w 11701760"/>
              <a:gd name="connsiteY3676" fmla="*/ 1063096 h 6407421"/>
              <a:gd name="connsiteX3677" fmla="*/ 3459572 w 11701760"/>
              <a:gd name="connsiteY3677" fmla="*/ 1063096 h 6407421"/>
              <a:gd name="connsiteX3678" fmla="*/ 3459572 w 11701760"/>
              <a:gd name="connsiteY3678" fmla="*/ 1092590 h 6407421"/>
              <a:gd name="connsiteX3679" fmla="*/ 3429969 w 11701760"/>
              <a:gd name="connsiteY3679" fmla="*/ 1092590 h 6407421"/>
              <a:gd name="connsiteX3680" fmla="*/ 9010620 w 11701760"/>
              <a:gd name="connsiteY3680" fmla="*/ 1063093 h 6407421"/>
              <a:gd name="connsiteX3681" fmla="*/ 9040222 w 11701760"/>
              <a:gd name="connsiteY3681" fmla="*/ 1063093 h 6407421"/>
              <a:gd name="connsiteX3682" fmla="*/ 9040222 w 11701760"/>
              <a:gd name="connsiteY3682" fmla="*/ 1092587 h 6407421"/>
              <a:gd name="connsiteX3683" fmla="*/ 9010620 w 11701760"/>
              <a:gd name="connsiteY3683" fmla="*/ 1092587 h 6407421"/>
              <a:gd name="connsiteX3684" fmla="*/ 3163772 w 11701760"/>
              <a:gd name="connsiteY3684" fmla="*/ 1063093 h 6407421"/>
              <a:gd name="connsiteX3685" fmla="*/ 3193374 w 11701760"/>
              <a:gd name="connsiteY3685" fmla="*/ 1063093 h 6407421"/>
              <a:gd name="connsiteX3686" fmla="*/ 3193374 w 11701760"/>
              <a:gd name="connsiteY3686" fmla="*/ 1092587 h 6407421"/>
              <a:gd name="connsiteX3687" fmla="*/ 3163772 w 11701760"/>
              <a:gd name="connsiteY3687" fmla="*/ 1092587 h 6407421"/>
              <a:gd name="connsiteX3688" fmla="*/ 8744423 w 11701760"/>
              <a:gd name="connsiteY3688" fmla="*/ 1063090 h 6407421"/>
              <a:gd name="connsiteX3689" fmla="*/ 8774026 w 11701760"/>
              <a:gd name="connsiteY3689" fmla="*/ 1063090 h 6407421"/>
              <a:gd name="connsiteX3690" fmla="*/ 8774026 w 11701760"/>
              <a:gd name="connsiteY3690" fmla="*/ 1092584 h 6407421"/>
              <a:gd name="connsiteX3691" fmla="*/ 8744423 w 11701760"/>
              <a:gd name="connsiteY3691" fmla="*/ 1092584 h 6407421"/>
              <a:gd name="connsiteX3692" fmla="*/ 2897575 w 11701760"/>
              <a:gd name="connsiteY3692" fmla="*/ 1063090 h 6407421"/>
              <a:gd name="connsiteX3693" fmla="*/ 2927178 w 11701760"/>
              <a:gd name="connsiteY3693" fmla="*/ 1063090 h 6407421"/>
              <a:gd name="connsiteX3694" fmla="*/ 2927178 w 11701760"/>
              <a:gd name="connsiteY3694" fmla="*/ 1092584 h 6407421"/>
              <a:gd name="connsiteX3695" fmla="*/ 2897575 w 11701760"/>
              <a:gd name="connsiteY3695" fmla="*/ 1092584 h 6407421"/>
              <a:gd name="connsiteX3696" fmla="*/ 8478226 w 11701760"/>
              <a:gd name="connsiteY3696" fmla="*/ 1063087 h 6407421"/>
              <a:gd name="connsiteX3697" fmla="*/ 8507828 w 11701760"/>
              <a:gd name="connsiteY3697" fmla="*/ 1063087 h 6407421"/>
              <a:gd name="connsiteX3698" fmla="*/ 8507828 w 11701760"/>
              <a:gd name="connsiteY3698" fmla="*/ 1092581 h 6407421"/>
              <a:gd name="connsiteX3699" fmla="*/ 8478226 w 11701760"/>
              <a:gd name="connsiteY3699" fmla="*/ 1092581 h 6407421"/>
              <a:gd name="connsiteX3700" fmla="*/ 2631378 w 11701760"/>
              <a:gd name="connsiteY3700" fmla="*/ 1063087 h 6407421"/>
              <a:gd name="connsiteX3701" fmla="*/ 2660980 w 11701760"/>
              <a:gd name="connsiteY3701" fmla="*/ 1063087 h 6407421"/>
              <a:gd name="connsiteX3702" fmla="*/ 2660980 w 11701760"/>
              <a:gd name="connsiteY3702" fmla="*/ 1092581 h 6407421"/>
              <a:gd name="connsiteX3703" fmla="*/ 2631378 w 11701760"/>
              <a:gd name="connsiteY3703" fmla="*/ 1092581 h 6407421"/>
              <a:gd name="connsiteX3704" fmla="*/ 8212137 w 11701760"/>
              <a:gd name="connsiteY3704" fmla="*/ 1063084 h 6407421"/>
              <a:gd name="connsiteX3705" fmla="*/ 8241740 w 11701760"/>
              <a:gd name="connsiteY3705" fmla="*/ 1063084 h 6407421"/>
              <a:gd name="connsiteX3706" fmla="*/ 8241740 w 11701760"/>
              <a:gd name="connsiteY3706" fmla="*/ 1092578 h 6407421"/>
              <a:gd name="connsiteX3707" fmla="*/ 8212137 w 11701760"/>
              <a:gd name="connsiteY3707" fmla="*/ 1092578 h 6407421"/>
              <a:gd name="connsiteX3708" fmla="*/ 2365289 w 11701760"/>
              <a:gd name="connsiteY3708" fmla="*/ 1063084 h 6407421"/>
              <a:gd name="connsiteX3709" fmla="*/ 2394892 w 11701760"/>
              <a:gd name="connsiteY3709" fmla="*/ 1063084 h 6407421"/>
              <a:gd name="connsiteX3710" fmla="*/ 2394892 w 11701760"/>
              <a:gd name="connsiteY3710" fmla="*/ 1092578 h 6407421"/>
              <a:gd name="connsiteX3711" fmla="*/ 2365289 w 11701760"/>
              <a:gd name="connsiteY3711" fmla="*/ 1092578 h 6407421"/>
              <a:gd name="connsiteX3712" fmla="*/ 7945940 w 11701760"/>
              <a:gd name="connsiteY3712" fmla="*/ 1063081 h 6407421"/>
              <a:gd name="connsiteX3713" fmla="*/ 7975543 w 11701760"/>
              <a:gd name="connsiteY3713" fmla="*/ 1063081 h 6407421"/>
              <a:gd name="connsiteX3714" fmla="*/ 7975543 w 11701760"/>
              <a:gd name="connsiteY3714" fmla="*/ 1092575 h 6407421"/>
              <a:gd name="connsiteX3715" fmla="*/ 7945940 w 11701760"/>
              <a:gd name="connsiteY3715" fmla="*/ 1092575 h 6407421"/>
              <a:gd name="connsiteX3716" fmla="*/ 2099092 w 11701760"/>
              <a:gd name="connsiteY3716" fmla="*/ 1063081 h 6407421"/>
              <a:gd name="connsiteX3717" fmla="*/ 2128695 w 11701760"/>
              <a:gd name="connsiteY3717" fmla="*/ 1063081 h 6407421"/>
              <a:gd name="connsiteX3718" fmla="*/ 2128695 w 11701760"/>
              <a:gd name="connsiteY3718" fmla="*/ 1092575 h 6407421"/>
              <a:gd name="connsiteX3719" fmla="*/ 2099092 w 11701760"/>
              <a:gd name="connsiteY3719" fmla="*/ 1092575 h 6407421"/>
              <a:gd name="connsiteX3720" fmla="*/ 7679743 w 11701760"/>
              <a:gd name="connsiteY3720" fmla="*/ 1063078 h 6407421"/>
              <a:gd name="connsiteX3721" fmla="*/ 7709346 w 11701760"/>
              <a:gd name="connsiteY3721" fmla="*/ 1063078 h 6407421"/>
              <a:gd name="connsiteX3722" fmla="*/ 7709346 w 11701760"/>
              <a:gd name="connsiteY3722" fmla="*/ 1092572 h 6407421"/>
              <a:gd name="connsiteX3723" fmla="*/ 7679743 w 11701760"/>
              <a:gd name="connsiteY3723" fmla="*/ 1092572 h 6407421"/>
              <a:gd name="connsiteX3724" fmla="*/ 1832898 w 11701760"/>
              <a:gd name="connsiteY3724" fmla="*/ 1063078 h 6407421"/>
              <a:gd name="connsiteX3725" fmla="*/ 1862498 w 11701760"/>
              <a:gd name="connsiteY3725" fmla="*/ 1063078 h 6407421"/>
              <a:gd name="connsiteX3726" fmla="*/ 1862498 w 11701760"/>
              <a:gd name="connsiteY3726" fmla="*/ 1092572 h 6407421"/>
              <a:gd name="connsiteX3727" fmla="*/ 1832898 w 11701760"/>
              <a:gd name="connsiteY3727" fmla="*/ 1092572 h 6407421"/>
              <a:gd name="connsiteX3728" fmla="*/ 7413653 w 11701760"/>
              <a:gd name="connsiteY3728" fmla="*/ 1063075 h 6407421"/>
              <a:gd name="connsiteX3729" fmla="*/ 7443256 w 11701760"/>
              <a:gd name="connsiteY3729" fmla="*/ 1063075 h 6407421"/>
              <a:gd name="connsiteX3730" fmla="*/ 7443256 w 11701760"/>
              <a:gd name="connsiteY3730" fmla="*/ 1092569 h 6407421"/>
              <a:gd name="connsiteX3731" fmla="*/ 7413653 w 11701760"/>
              <a:gd name="connsiteY3731" fmla="*/ 1092569 h 6407421"/>
              <a:gd name="connsiteX3732" fmla="*/ 1566808 w 11701760"/>
              <a:gd name="connsiteY3732" fmla="*/ 1063075 h 6407421"/>
              <a:gd name="connsiteX3733" fmla="*/ 1596409 w 11701760"/>
              <a:gd name="connsiteY3733" fmla="*/ 1063075 h 6407421"/>
              <a:gd name="connsiteX3734" fmla="*/ 1596409 w 11701760"/>
              <a:gd name="connsiteY3734" fmla="*/ 1092569 h 6407421"/>
              <a:gd name="connsiteX3735" fmla="*/ 1566808 w 11701760"/>
              <a:gd name="connsiteY3735" fmla="*/ 1092569 h 6407421"/>
              <a:gd name="connsiteX3736" fmla="*/ 7147456 w 11701760"/>
              <a:gd name="connsiteY3736" fmla="*/ 1063072 h 6407421"/>
              <a:gd name="connsiteX3737" fmla="*/ 7177058 w 11701760"/>
              <a:gd name="connsiteY3737" fmla="*/ 1063072 h 6407421"/>
              <a:gd name="connsiteX3738" fmla="*/ 7177058 w 11701760"/>
              <a:gd name="connsiteY3738" fmla="*/ 1092566 h 6407421"/>
              <a:gd name="connsiteX3739" fmla="*/ 7147456 w 11701760"/>
              <a:gd name="connsiteY3739" fmla="*/ 1092566 h 6407421"/>
              <a:gd name="connsiteX3740" fmla="*/ 1300611 w 11701760"/>
              <a:gd name="connsiteY3740" fmla="*/ 1063072 h 6407421"/>
              <a:gd name="connsiteX3741" fmla="*/ 1330213 w 11701760"/>
              <a:gd name="connsiteY3741" fmla="*/ 1063072 h 6407421"/>
              <a:gd name="connsiteX3742" fmla="*/ 1330213 w 11701760"/>
              <a:gd name="connsiteY3742" fmla="*/ 1092566 h 6407421"/>
              <a:gd name="connsiteX3743" fmla="*/ 1300611 w 11701760"/>
              <a:gd name="connsiteY3743" fmla="*/ 1092566 h 6407421"/>
              <a:gd name="connsiteX3744" fmla="*/ 6881367 w 11701760"/>
              <a:gd name="connsiteY3744" fmla="*/ 1063069 h 6407421"/>
              <a:gd name="connsiteX3745" fmla="*/ 6910970 w 11701760"/>
              <a:gd name="connsiteY3745" fmla="*/ 1063069 h 6407421"/>
              <a:gd name="connsiteX3746" fmla="*/ 6910970 w 11701760"/>
              <a:gd name="connsiteY3746" fmla="*/ 1092563 h 6407421"/>
              <a:gd name="connsiteX3747" fmla="*/ 6881367 w 11701760"/>
              <a:gd name="connsiteY3747" fmla="*/ 1092563 h 6407421"/>
              <a:gd name="connsiteX3748" fmla="*/ 1034520 w 11701760"/>
              <a:gd name="connsiteY3748" fmla="*/ 1063069 h 6407421"/>
              <a:gd name="connsiteX3749" fmla="*/ 1064123 w 11701760"/>
              <a:gd name="connsiteY3749" fmla="*/ 1063069 h 6407421"/>
              <a:gd name="connsiteX3750" fmla="*/ 1064123 w 11701760"/>
              <a:gd name="connsiteY3750" fmla="*/ 1092563 h 6407421"/>
              <a:gd name="connsiteX3751" fmla="*/ 1034520 w 11701760"/>
              <a:gd name="connsiteY3751" fmla="*/ 1092563 h 6407421"/>
              <a:gd name="connsiteX3752" fmla="*/ 6615170 w 11701760"/>
              <a:gd name="connsiteY3752" fmla="*/ 1063066 h 6407421"/>
              <a:gd name="connsiteX3753" fmla="*/ 6644773 w 11701760"/>
              <a:gd name="connsiteY3753" fmla="*/ 1063066 h 6407421"/>
              <a:gd name="connsiteX3754" fmla="*/ 6644773 w 11701760"/>
              <a:gd name="connsiteY3754" fmla="*/ 1092560 h 6407421"/>
              <a:gd name="connsiteX3755" fmla="*/ 6615170 w 11701760"/>
              <a:gd name="connsiteY3755" fmla="*/ 1092560 h 6407421"/>
              <a:gd name="connsiteX3756" fmla="*/ 768326 w 11701760"/>
              <a:gd name="connsiteY3756" fmla="*/ 1063066 h 6407421"/>
              <a:gd name="connsiteX3757" fmla="*/ 797926 w 11701760"/>
              <a:gd name="connsiteY3757" fmla="*/ 1063066 h 6407421"/>
              <a:gd name="connsiteX3758" fmla="*/ 797926 w 11701760"/>
              <a:gd name="connsiteY3758" fmla="*/ 1092560 h 6407421"/>
              <a:gd name="connsiteX3759" fmla="*/ 768326 w 11701760"/>
              <a:gd name="connsiteY3759" fmla="*/ 1092560 h 6407421"/>
              <a:gd name="connsiteX3760" fmla="*/ 6349081 w 11701760"/>
              <a:gd name="connsiteY3760" fmla="*/ 1063063 h 6407421"/>
              <a:gd name="connsiteX3761" fmla="*/ 6378683 w 11701760"/>
              <a:gd name="connsiteY3761" fmla="*/ 1063063 h 6407421"/>
              <a:gd name="connsiteX3762" fmla="*/ 6378683 w 11701760"/>
              <a:gd name="connsiteY3762" fmla="*/ 1092557 h 6407421"/>
              <a:gd name="connsiteX3763" fmla="*/ 6349081 w 11701760"/>
              <a:gd name="connsiteY3763" fmla="*/ 1092557 h 6407421"/>
              <a:gd name="connsiteX3764" fmla="*/ 502235 w 11701760"/>
              <a:gd name="connsiteY3764" fmla="*/ 1063063 h 6407421"/>
              <a:gd name="connsiteX3765" fmla="*/ 531838 w 11701760"/>
              <a:gd name="connsiteY3765" fmla="*/ 1063063 h 6407421"/>
              <a:gd name="connsiteX3766" fmla="*/ 531838 w 11701760"/>
              <a:gd name="connsiteY3766" fmla="*/ 1092557 h 6407421"/>
              <a:gd name="connsiteX3767" fmla="*/ 502235 w 11701760"/>
              <a:gd name="connsiteY3767" fmla="*/ 1092557 h 6407421"/>
              <a:gd name="connsiteX3768" fmla="*/ 6082884 w 11701760"/>
              <a:gd name="connsiteY3768" fmla="*/ 1063059 h 6407421"/>
              <a:gd name="connsiteX3769" fmla="*/ 6112486 w 11701760"/>
              <a:gd name="connsiteY3769" fmla="*/ 1063059 h 6407421"/>
              <a:gd name="connsiteX3770" fmla="*/ 6112486 w 11701760"/>
              <a:gd name="connsiteY3770" fmla="*/ 1092554 h 6407421"/>
              <a:gd name="connsiteX3771" fmla="*/ 6082884 w 11701760"/>
              <a:gd name="connsiteY3771" fmla="*/ 1092554 h 6407421"/>
              <a:gd name="connsiteX3772" fmla="*/ 236036 w 11701760"/>
              <a:gd name="connsiteY3772" fmla="*/ 1063059 h 6407421"/>
              <a:gd name="connsiteX3773" fmla="*/ 265639 w 11701760"/>
              <a:gd name="connsiteY3773" fmla="*/ 1063059 h 6407421"/>
              <a:gd name="connsiteX3774" fmla="*/ 265639 w 11701760"/>
              <a:gd name="connsiteY3774" fmla="*/ 1092554 h 6407421"/>
              <a:gd name="connsiteX3775" fmla="*/ 236036 w 11701760"/>
              <a:gd name="connsiteY3775" fmla="*/ 1092554 h 6407421"/>
              <a:gd name="connsiteX3776" fmla="*/ 0 w 11701760"/>
              <a:gd name="connsiteY3776" fmla="*/ 1063059 h 6407421"/>
              <a:gd name="connsiteX3777" fmla="*/ 29602 w 11701760"/>
              <a:gd name="connsiteY3777" fmla="*/ 1063059 h 6407421"/>
              <a:gd name="connsiteX3778" fmla="*/ 29602 w 11701760"/>
              <a:gd name="connsiteY3778" fmla="*/ 1092554 h 6407421"/>
              <a:gd name="connsiteX3779" fmla="*/ 0 w 11701760"/>
              <a:gd name="connsiteY3779" fmla="*/ 1092554 h 6407421"/>
              <a:gd name="connsiteX3780" fmla="*/ 11672158 w 11701760"/>
              <a:gd name="connsiteY3780" fmla="*/ 797337 h 6407421"/>
              <a:gd name="connsiteX3781" fmla="*/ 11701760 w 11701760"/>
              <a:gd name="connsiteY3781" fmla="*/ 797337 h 6407421"/>
              <a:gd name="connsiteX3782" fmla="*/ 11701760 w 11701760"/>
              <a:gd name="connsiteY3782" fmla="*/ 826844 h 6407421"/>
              <a:gd name="connsiteX3783" fmla="*/ 11672158 w 11701760"/>
              <a:gd name="connsiteY3783" fmla="*/ 826844 h 6407421"/>
              <a:gd name="connsiteX3784" fmla="*/ 5825310 w 11701760"/>
              <a:gd name="connsiteY3784" fmla="*/ 797337 h 6407421"/>
              <a:gd name="connsiteX3785" fmla="*/ 5854913 w 11701760"/>
              <a:gd name="connsiteY3785" fmla="*/ 797337 h 6407421"/>
              <a:gd name="connsiteX3786" fmla="*/ 5854913 w 11701760"/>
              <a:gd name="connsiteY3786" fmla="*/ 826844 h 6407421"/>
              <a:gd name="connsiteX3787" fmla="*/ 5825310 w 11701760"/>
              <a:gd name="connsiteY3787" fmla="*/ 826844 h 6407421"/>
              <a:gd name="connsiteX3788" fmla="*/ 11405961 w 11701760"/>
              <a:gd name="connsiteY3788" fmla="*/ 797335 h 6407421"/>
              <a:gd name="connsiteX3789" fmla="*/ 11435563 w 11701760"/>
              <a:gd name="connsiteY3789" fmla="*/ 797335 h 6407421"/>
              <a:gd name="connsiteX3790" fmla="*/ 11435563 w 11701760"/>
              <a:gd name="connsiteY3790" fmla="*/ 826841 h 6407421"/>
              <a:gd name="connsiteX3791" fmla="*/ 11405961 w 11701760"/>
              <a:gd name="connsiteY3791" fmla="*/ 826841 h 6407421"/>
              <a:gd name="connsiteX3792" fmla="*/ 5559113 w 11701760"/>
              <a:gd name="connsiteY3792" fmla="*/ 797335 h 6407421"/>
              <a:gd name="connsiteX3793" fmla="*/ 5588715 w 11701760"/>
              <a:gd name="connsiteY3793" fmla="*/ 797335 h 6407421"/>
              <a:gd name="connsiteX3794" fmla="*/ 5588715 w 11701760"/>
              <a:gd name="connsiteY3794" fmla="*/ 826841 h 6407421"/>
              <a:gd name="connsiteX3795" fmla="*/ 5559113 w 11701760"/>
              <a:gd name="connsiteY3795" fmla="*/ 826841 h 6407421"/>
              <a:gd name="connsiteX3796" fmla="*/ 11139872 w 11701760"/>
              <a:gd name="connsiteY3796" fmla="*/ 797333 h 6407421"/>
              <a:gd name="connsiteX3797" fmla="*/ 11169474 w 11701760"/>
              <a:gd name="connsiteY3797" fmla="*/ 797333 h 6407421"/>
              <a:gd name="connsiteX3798" fmla="*/ 11169474 w 11701760"/>
              <a:gd name="connsiteY3798" fmla="*/ 826839 h 6407421"/>
              <a:gd name="connsiteX3799" fmla="*/ 11139872 w 11701760"/>
              <a:gd name="connsiteY3799" fmla="*/ 826839 h 6407421"/>
              <a:gd name="connsiteX3800" fmla="*/ 5293024 w 11701760"/>
              <a:gd name="connsiteY3800" fmla="*/ 797333 h 6407421"/>
              <a:gd name="connsiteX3801" fmla="*/ 5322626 w 11701760"/>
              <a:gd name="connsiteY3801" fmla="*/ 797333 h 6407421"/>
              <a:gd name="connsiteX3802" fmla="*/ 5322626 w 11701760"/>
              <a:gd name="connsiteY3802" fmla="*/ 826839 h 6407421"/>
              <a:gd name="connsiteX3803" fmla="*/ 5293024 w 11701760"/>
              <a:gd name="connsiteY3803" fmla="*/ 826839 h 6407421"/>
              <a:gd name="connsiteX3804" fmla="*/ 10873675 w 11701760"/>
              <a:gd name="connsiteY3804" fmla="*/ 797331 h 6407421"/>
              <a:gd name="connsiteX3805" fmla="*/ 10903277 w 11701760"/>
              <a:gd name="connsiteY3805" fmla="*/ 797331 h 6407421"/>
              <a:gd name="connsiteX3806" fmla="*/ 10903277 w 11701760"/>
              <a:gd name="connsiteY3806" fmla="*/ 826836 h 6407421"/>
              <a:gd name="connsiteX3807" fmla="*/ 10873675 w 11701760"/>
              <a:gd name="connsiteY3807" fmla="*/ 826836 h 6407421"/>
              <a:gd name="connsiteX3808" fmla="*/ 5026827 w 11701760"/>
              <a:gd name="connsiteY3808" fmla="*/ 797331 h 6407421"/>
              <a:gd name="connsiteX3809" fmla="*/ 5056429 w 11701760"/>
              <a:gd name="connsiteY3809" fmla="*/ 797331 h 6407421"/>
              <a:gd name="connsiteX3810" fmla="*/ 5056429 w 11701760"/>
              <a:gd name="connsiteY3810" fmla="*/ 826836 h 6407421"/>
              <a:gd name="connsiteX3811" fmla="*/ 5026827 w 11701760"/>
              <a:gd name="connsiteY3811" fmla="*/ 826836 h 6407421"/>
              <a:gd name="connsiteX3812" fmla="*/ 10607478 w 11701760"/>
              <a:gd name="connsiteY3812" fmla="*/ 797329 h 6407421"/>
              <a:gd name="connsiteX3813" fmla="*/ 10637188 w 11701760"/>
              <a:gd name="connsiteY3813" fmla="*/ 797329 h 6407421"/>
              <a:gd name="connsiteX3814" fmla="*/ 10637188 w 11701760"/>
              <a:gd name="connsiteY3814" fmla="*/ 826833 h 6407421"/>
              <a:gd name="connsiteX3815" fmla="*/ 10607478 w 11701760"/>
              <a:gd name="connsiteY3815" fmla="*/ 826833 h 6407421"/>
              <a:gd name="connsiteX3816" fmla="*/ 4760630 w 11701760"/>
              <a:gd name="connsiteY3816" fmla="*/ 797329 h 6407421"/>
              <a:gd name="connsiteX3817" fmla="*/ 4790340 w 11701760"/>
              <a:gd name="connsiteY3817" fmla="*/ 797329 h 6407421"/>
              <a:gd name="connsiteX3818" fmla="*/ 4790340 w 11701760"/>
              <a:gd name="connsiteY3818" fmla="*/ 826833 h 6407421"/>
              <a:gd name="connsiteX3819" fmla="*/ 4760630 w 11701760"/>
              <a:gd name="connsiteY3819" fmla="*/ 826833 h 6407421"/>
              <a:gd name="connsiteX3820" fmla="*/ 10341389 w 11701760"/>
              <a:gd name="connsiteY3820" fmla="*/ 797327 h 6407421"/>
              <a:gd name="connsiteX3821" fmla="*/ 10370992 w 11701760"/>
              <a:gd name="connsiteY3821" fmla="*/ 797327 h 6407421"/>
              <a:gd name="connsiteX3822" fmla="*/ 10370992 w 11701760"/>
              <a:gd name="connsiteY3822" fmla="*/ 826831 h 6407421"/>
              <a:gd name="connsiteX3823" fmla="*/ 10341389 w 11701760"/>
              <a:gd name="connsiteY3823" fmla="*/ 826831 h 6407421"/>
              <a:gd name="connsiteX3824" fmla="*/ 4494541 w 11701760"/>
              <a:gd name="connsiteY3824" fmla="*/ 797327 h 6407421"/>
              <a:gd name="connsiteX3825" fmla="*/ 4524144 w 11701760"/>
              <a:gd name="connsiteY3825" fmla="*/ 797327 h 6407421"/>
              <a:gd name="connsiteX3826" fmla="*/ 4524144 w 11701760"/>
              <a:gd name="connsiteY3826" fmla="*/ 826831 h 6407421"/>
              <a:gd name="connsiteX3827" fmla="*/ 4494541 w 11701760"/>
              <a:gd name="connsiteY3827" fmla="*/ 826831 h 6407421"/>
              <a:gd name="connsiteX3828" fmla="*/ 10075192 w 11701760"/>
              <a:gd name="connsiteY3828" fmla="*/ 797325 h 6407421"/>
              <a:gd name="connsiteX3829" fmla="*/ 10104794 w 11701760"/>
              <a:gd name="connsiteY3829" fmla="*/ 797325 h 6407421"/>
              <a:gd name="connsiteX3830" fmla="*/ 10104794 w 11701760"/>
              <a:gd name="connsiteY3830" fmla="*/ 826828 h 6407421"/>
              <a:gd name="connsiteX3831" fmla="*/ 10075192 w 11701760"/>
              <a:gd name="connsiteY3831" fmla="*/ 826828 h 6407421"/>
              <a:gd name="connsiteX3832" fmla="*/ 4228344 w 11701760"/>
              <a:gd name="connsiteY3832" fmla="*/ 797325 h 6407421"/>
              <a:gd name="connsiteX3833" fmla="*/ 4257946 w 11701760"/>
              <a:gd name="connsiteY3833" fmla="*/ 797325 h 6407421"/>
              <a:gd name="connsiteX3834" fmla="*/ 4257946 w 11701760"/>
              <a:gd name="connsiteY3834" fmla="*/ 826828 h 6407421"/>
              <a:gd name="connsiteX3835" fmla="*/ 4228344 w 11701760"/>
              <a:gd name="connsiteY3835" fmla="*/ 826828 h 6407421"/>
              <a:gd name="connsiteX3836" fmla="*/ 9809103 w 11701760"/>
              <a:gd name="connsiteY3836" fmla="*/ 797323 h 6407421"/>
              <a:gd name="connsiteX3837" fmla="*/ 9838705 w 11701760"/>
              <a:gd name="connsiteY3837" fmla="*/ 797323 h 6407421"/>
              <a:gd name="connsiteX3838" fmla="*/ 9838705 w 11701760"/>
              <a:gd name="connsiteY3838" fmla="*/ 826826 h 6407421"/>
              <a:gd name="connsiteX3839" fmla="*/ 9809103 w 11701760"/>
              <a:gd name="connsiteY3839" fmla="*/ 826826 h 6407421"/>
              <a:gd name="connsiteX3840" fmla="*/ 3962255 w 11701760"/>
              <a:gd name="connsiteY3840" fmla="*/ 797323 h 6407421"/>
              <a:gd name="connsiteX3841" fmla="*/ 3991857 w 11701760"/>
              <a:gd name="connsiteY3841" fmla="*/ 797323 h 6407421"/>
              <a:gd name="connsiteX3842" fmla="*/ 3991857 w 11701760"/>
              <a:gd name="connsiteY3842" fmla="*/ 826826 h 6407421"/>
              <a:gd name="connsiteX3843" fmla="*/ 3962255 w 11701760"/>
              <a:gd name="connsiteY3843" fmla="*/ 826826 h 6407421"/>
              <a:gd name="connsiteX3844" fmla="*/ 9542906 w 11701760"/>
              <a:gd name="connsiteY3844" fmla="*/ 797321 h 6407421"/>
              <a:gd name="connsiteX3845" fmla="*/ 9572509 w 11701760"/>
              <a:gd name="connsiteY3845" fmla="*/ 797321 h 6407421"/>
              <a:gd name="connsiteX3846" fmla="*/ 9572509 w 11701760"/>
              <a:gd name="connsiteY3846" fmla="*/ 826823 h 6407421"/>
              <a:gd name="connsiteX3847" fmla="*/ 9542906 w 11701760"/>
              <a:gd name="connsiteY3847" fmla="*/ 826823 h 6407421"/>
              <a:gd name="connsiteX3848" fmla="*/ 3696058 w 11701760"/>
              <a:gd name="connsiteY3848" fmla="*/ 797321 h 6407421"/>
              <a:gd name="connsiteX3849" fmla="*/ 3725661 w 11701760"/>
              <a:gd name="connsiteY3849" fmla="*/ 797321 h 6407421"/>
              <a:gd name="connsiteX3850" fmla="*/ 3725661 w 11701760"/>
              <a:gd name="connsiteY3850" fmla="*/ 826823 h 6407421"/>
              <a:gd name="connsiteX3851" fmla="*/ 3696058 w 11701760"/>
              <a:gd name="connsiteY3851" fmla="*/ 826823 h 6407421"/>
              <a:gd name="connsiteX3852" fmla="*/ 9276817 w 11701760"/>
              <a:gd name="connsiteY3852" fmla="*/ 797319 h 6407421"/>
              <a:gd name="connsiteX3853" fmla="*/ 9306420 w 11701760"/>
              <a:gd name="connsiteY3853" fmla="*/ 797319 h 6407421"/>
              <a:gd name="connsiteX3854" fmla="*/ 9306420 w 11701760"/>
              <a:gd name="connsiteY3854" fmla="*/ 826820 h 6407421"/>
              <a:gd name="connsiteX3855" fmla="*/ 9276817 w 11701760"/>
              <a:gd name="connsiteY3855" fmla="*/ 826820 h 6407421"/>
              <a:gd name="connsiteX3856" fmla="*/ 3429969 w 11701760"/>
              <a:gd name="connsiteY3856" fmla="*/ 797319 h 6407421"/>
              <a:gd name="connsiteX3857" fmla="*/ 3459572 w 11701760"/>
              <a:gd name="connsiteY3857" fmla="*/ 797319 h 6407421"/>
              <a:gd name="connsiteX3858" fmla="*/ 3459572 w 11701760"/>
              <a:gd name="connsiteY3858" fmla="*/ 826820 h 6407421"/>
              <a:gd name="connsiteX3859" fmla="*/ 3429969 w 11701760"/>
              <a:gd name="connsiteY3859" fmla="*/ 826820 h 6407421"/>
              <a:gd name="connsiteX3860" fmla="*/ 9010620 w 11701760"/>
              <a:gd name="connsiteY3860" fmla="*/ 797317 h 6407421"/>
              <a:gd name="connsiteX3861" fmla="*/ 9040222 w 11701760"/>
              <a:gd name="connsiteY3861" fmla="*/ 797317 h 6407421"/>
              <a:gd name="connsiteX3862" fmla="*/ 9040222 w 11701760"/>
              <a:gd name="connsiteY3862" fmla="*/ 826818 h 6407421"/>
              <a:gd name="connsiteX3863" fmla="*/ 9010620 w 11701760"/>
              <a:gd name="connsiteY3863" fmla="*/ 826818 h 6407421"/>
              <a:gd name="connsiteX3864" fmla="*/ 3163772 w 11701760"/>
              <a:gd name="connsiteY3864" fmla="*/ 797317 h 6407421"/>
              <a:gd name="connsiteX3865" fmla="*/ 3193374 w 11701760"/>
              <a:gd name="connsiteY3865" fmla="*/ 797317 h 6407421"/>
              <a:gd name="connsiteX3866" fmla="*/ 3193374 w 11701760"/>
              <a:gd name="connsiteY3866" fmla="*/ 826818 h 6407421"/>
              <a:gd name="connsiteX3867" fmla="*/ 3163772 w 11701760"/>
              <a:gd name="connsiteY3867" fmla="*/ 826818 h 6407421"/>
              <a:gd name="connsiteX3868" fmla="*/ 8744423 w 11701760"/>
              <a:gd name="connsiteY3868" fmla="*/ 797315 h 6407421"/>
              <a:gd name="connsiteX3869" fmla="*/ 8774026 w 11701760"/>
              <a:gd name="connsiteY3869" fmla="*/ 797315 h 6407421"/>
              <a:gd name="connsiteX3870" fmla="*/ 8774026 w 11701760"/>
              <a:gd name="connsiteY3870" fmla="*/ 826815 h 6407421"/>
              <a:gd name="connsiteX3871" fmla="*/ 8744423 w 11701760"/>
              <a:gd name="connsiteY3871" fmla="*/ 826815 h 6407421"/>
              <a:gd name="connsiteX3872" fmla="*/ 2897575 w 11701760"/>
              <a:gd name="connsiteY3872" fmla="*/ 797315 h 6407421"/>
              <a:gd name="connsiteX3873" fmla="*/ 2927178 w 11701760"/>
              <a:gd name="connsiteY3873" fmla="*/ 797315 h 6407421"/>
              <a:gd name="connsiteX3874" fmla="*/ 2927178 w 11701760"/>
              <a:gd name="connsiteY3874" fmla="*/ 826815 h 6407421"/>
              <a:gd name="connsiteX3875" fmla="*/ 2897575 w 11701760"/>
              <a:gd name="connsiteY3875" fmla="*/ 826815 h 6407421"/>
              <a:gd name="connsiteX3876" fmla="*/ 8478226 w 11701760"/>
              <a:gd name="connsiteY3876" fmla="*/ 797312 h 6407421"/>
              <a:gd name="connsiteX3877" fmla="*/ 8507828 w 11701760"/>
              <a:gd name="connsiteY3877" fmla="*/ 797312 h 6407421"/>
              <a:gd name="connsiteX3878" fmla="*/ 8507828 w 11701760"/>
              <a:gd name="connsiteY3878" fmla="*/ 826812 h 6407421"/>
              <a:gd name="connsiteX3879" fmla="*/ 8478226 w 11701760"/>
              <a:gd name="connsiteY3879" fmla="*/ 826812 h 6407421"/>
              <a:gd name="connsiteX3880" fmla="*/ 2631378 w 11701760"/>
              <a:gd name="connsiteY3880" fmla="*/ 797312 h 6407421"/>
              <a:gd name="connsiteX3881" fmla="*/ 2660980 w 11701760"/>
              <a:gd name="connsiteY3881" fmla="*/ 797312 h 6407421"/>
              <a:gd name="connsiteX3882" fmla="*/ 2660980 w 11701760"/>
              <a:gd name="connsiteY3882" fmla="*/ 826812 h 6407421"/>
              <a:gd name="connsiteX3883" fmla="*/ 2631378 w 11701760"/>
              <a:gd name="connsiteY3883" fmla="*/ 826812 h 6407421"/>
              <a:gd name="connsiteX3884" fmla="*/ 8212137 w 11701760"/>
              <a:gd name="connsiteY3884" fmla="*/ 797310 h 6407421"/>
              <a:gd name="connsiteX3885" fmla="*/ 8241740 w 11701760"/>
              <a:gd name="connsiteY3885" fmla="*/ 797310 h 6407421"/>
              <a:gd name="connsiteX3886" fmla="*/ 8241740 w 11701760"/>
              <a:gd name="connsiteY3886" fmla="*/ 826810 h 6407421"/>
              <a:gd name="connsiteX3887" fmla="*/ 8212137 w 11701760"/>
              <a:gd name="connsiteY3887" fmla="*/ 826810 h 6407421"/>
              <a:gd name="connsiteX3888" fmla="*/ 2365289 w 11701760"/>
              <a:gd name="connsiteY3888" fmla="*/ 797310 h 6407421"/>
              <a:gd name="connsiteX3889" fmla="*/ 2394892 w 11701760"/>
              <a:gd name="connsiteY3889" fmla="*/ 797310 h 6407421"/>
              <a:gd name="connsiteX3890" fmla="*/ 2394892 w 11701760"/>
              <a:gd name="connsiteY3890" fmla="*/ 826810 h 6407421"/>
              <a:gd name="connsiteX3891" fmla="*/ 2365289 w 11701760"/>
              <a:gd name="connsiteY3891" fmla="*/ 826810 h 6407421"/>
              <a:gd name="connsiteX3892" fmla="*/ 7945940 w 11701760"/>
              <a:gd name="connsiteY3892" fmla="*/ 797308 h 6407421"/>
              <a:gd name="connsiteX3893" fmla="*/ 7975543 w 11701760"/>
              <a:gd name="connsiteY3893" fmla="*/ 797308 h 6407421"/>
              <a:gd name="connsiteX3894" fmla="*/ 7975543 w 11701760"/>
              <a:gd name="connsiteY3894" fmla="*/ 826807 h 6407421"/>
              <a:gd name="connsiteX3895" fmla="*/ 7945940 w 11701760"/>
              <a:gd name="connsiteY3895" fmla="*/ 826807 h 6407421"/>
              <a:gd name="connsiteX3896" fmla="*/ 2099092 w 11701760"/>
              <a:gd name="connsiteY3896" fmla="*/ 797308 h 6407421"/>
              <a:gd name="connsiteX3897" fmla="*/ 2128695 w 11701760"/>
              <a:gd name="connsiteY3897" fmla="*/ 797308 h 6407421"/>
              <a:gd name="connsiteX3898" fmla="*/ 2128695 w 11701760"/>
              <a:gd name="connsiteY3898" fmla="*/ 826807 h 6407421"/>
              <a:gd name="connsiteX3899" fmla="*/ 2099092 w 11701760"/>
              <a:gd name="connsiteY3899" fmla="*/ 826807 h 6407421"/>
              <a:gd name="connsiteX3900" fmla="*/ 7679743 w 11701760"/>
              <a:gd name="connsiteY3900" fmla="*/ 797306 h 6407421"/>
              <a:gd name="connsiteX3901" fmla="*/ 7709346 w 11701760"/>
              <a:gd name="connsiteY3901" fmla="*/ 797306 h 6407421"/>
              <a:gd name="connsiteX3902" fmla="*/ 7709346 w 11701760"/>
              <a:gd name="connsiteY3902" fmla="*/ 826805 h 6407421"/>
              <a:gd name="connsiteX3903" fmla="*/ 7679743 w 11701760"/>
              <a:gd name="connsiteY3903" fmla="*/ 826805 h 6407421"/>
              <a:gd name="connsiteX3904" fmla="*/ 1832898 w 11701760"/>
              <a:gd name="connsiteY3904" fmla="*/ 797306 h 6407421"/>
              <a:gd name="connsiteX3905" fmla="*/ 1862498 w 11701760"/>
              <a:gd name="connsiteY3905" fmla="*/ 797306 h 6407421"/>
              <a:gd name="connsiteX3906" fmla="*/ 1862498 w 11701760"/>
              <a:gd name="connsiteY3906" fmla="*/ 826805 h 6407421"/>
              <a:gd name="connsiteX3907" fmla="*/ 1832898 w 11701760"/>
              <a:gd name="connsiteY3907" fmla="*/ 826805 h 6407421"/>
              <a:gd name="connsiteX3908" fmla="*/ 7413653 w 11701760"/>
              <a:gd name="connsiteY3908" fmla="*/ 797304 h 6407421"/>
              <a:gd name="connsiteX3909" fmla="*/ 7443256 w 11701760"/>
              <a:gd name="connsiteY3909" fmla="*/ 797304 h 6407421"/>
              <a:gd name="connsiteX3910" fmla="*/ 7443256 w 11701760"/>
              <a:gd name="connsiteY3910" fmla="*/ 826802 h 6407421"/>
              <a:gd name="connsiteX3911" fmla="*/ 7413653 w 11701760"/>
              <a:gd name="connsiteY3911" fmla="*/ 826802 h 6407421"/>
              <a:gd name="connsiteX3912" fmla="*/ 1566808 w 11701760"/>
              <a:gd name="connsiteY3912" fmla="*/ 797304 h 6407421"/>
              <a:gd name="connsiteX3913" fmla="*/ 1596409 w 11701760"/>
              <a:gd name="connsiteY3913" fmla="*/ 797304 h 6407421"/>
              <a:gd name="connsiteX3914" fmla="*/ 1596409 w 11701760"/>
              <a:gd name="connsiteY3914" fmla="*/ 826802 h 6407421"/>
              <a:gd name="connsiteX3915" fmla="*/ 1566808 w 11701760"/>
              <a:gd name="connsiteY3915" fmla="*/ 826802 h 6407421"/>
              <a:gd name="connsiteX3916" fmla="*/ 7147456 w 11701760"/>
              <a:gd name="connsiteY3916" fmla="*/ 797302 h 6407421"/>
              <a:gd name="connsiteX3917" fmla="*/ 7177058 w 11701760"/>
              <a:gd name="connsiteY3917" fmla="*/ 797302 h 6407421"/>
              <a:gd name="connsiteX3918" fmla="*/ 7177058 w 11701760"/>
              <a:gd name="connsiteY3918" fmla="*/ 826799 h 6407421"/>
              <a:gd name="connsiteX3919" fmla="*/ 7147456 w 11701760"/>
              <a:gd name="connsiteY3919" fmla="*/ 826799 h 6407421"/>
              <a:gd name="connsiteX3920" fmla="*/ 1300611 w 11701760"/>
              <a:gd name="connsiteY3920" fmla="*/ 797302 h 6407421"/>
              <a:gd name="connsiteX3921" fmla="*/ 1330213 w 11701760"/>
              <a:gd name="connsiteY3921" fmla="*/ 797302 h 6407421"/>
              <a:gd name="connsiteX3922" fmla="*/ 1330213 w 11701760"/>
              <a:gd name="connsiteY3922" fmla="*/ 826799 h 6407421"/>
              <a:gd name="connsiteX3923" fmla="*/ 1300611 w 11701760"/>
              <a:gd name="connsiteY3923" fmla="*/ 826799 h 6407421"/>
              <a:gd name="connsiteX3924" fmla="*/ 6881367 w 11701760"/>
              <a:gd name="connsiteY3924" fmla="*/ 797300 h 6407421"/>
              <a:gd name="connsiteX3925" fmla="*/ 6910970 w 11701760"/>
              <a:gd name="connsiteY3925" fmla="*/ 797300 h 6407421"/>
              <a:gd name="connsiteX3926" fmla="*/ 6910970 w 11701760"/>
              <a:gd name="connsiteY3926" fmla="*/ 826797 h 6407421"/>
              <a:gd name="connsiteX3927" fmla="*/ 6881367 w 11701760"/>
              <a:gd name="connsiteY3927" fmla="*/ 826797 h 6407421"/>
              <a:gd name="connsiteX3928" fmla="*/ 1034520 w 11701760"/>
              <a:gd name="connsiteY3928" fmla="*/ 797300 h 6407421"/>
              <a:gd name="connsiteX3929" fmla="*/ 1064123 w 11701760"/>
              <a:gd name="connsiteY3929" fmla="*/ 797300 h 6407421"/>
              <a:gd name="connsiteX3930" fmla="*/ 1064123 w 11701760"/>
              <a:gd name="connsiteY3930" fmla="*/ 826797 h 6407421"/>
              <a:gd name="connsiteX3931" fmla="*/ 1034520 w 11701760"/>
              <a:gd name="connsiteY3931" fmla="*/ 826797 h 6407421"/>
              <a:gd name="connsiteX3932" fmla="*/ 6615170 w 11701760"/>
              <a:gd name="connsiteY3932" fmla="*/ 797298 h 6407421"/>
              <a:gd name="connsiteX3933" fmla="*/ 6644773 w 11701760"/>
              <a:gd name="connsiteY3933" fmla="*/ 797298 h 6407421"/>
              <a:gd name="connsiteX3934" fmla="*/ 6644773 w 11701760"/>
              <a:gd name="connsiteY3934" fmla="*/ 826794 h 6407421"/>
              <a:gd name="connsiteX3935" fmla="*/ 6615170 w 11701760"/>
              <a:gd name="connsiteY3935" fmla="*/ 826794 h 6407421"/>
              <a:gd name="connsiteX3936" fmla="*/ 768326 w 11701760"/>
              <a:gd name="connsiteY3936" fmla="*/ 797298 h 6407421"/>
              <a:gd name="connsiteX3937" fmla="*/ 797926 w 11701760"/>
              <a:gd name="connsiteY3937" fmla="*/ 797298 h 6407421"/>
              <a:gd name="connsiteX3938" fmla="*/ 797926 w 11701760"/>
              <a:gd name="connsiteY3938" fmla="*/ 826794 h 6407421"/>
              <a:gd name="connsiteX3939" fmla="*/ 768326 w 11701760"/>
              <a:gd name="connsiteY3939" fmla="*/ 826794 h 6407421"/>
              <a:gd name="connsiteX3940" fmla="*/ 6349081 w 11701760"/>
              <a:gd name="connsiteY3940" fmla="*/ 797296 h 6407421"/>
              <a:gd name="connsiteX3941" fmla="*/ 6378683 w 11701760"/>
              <a:gd name="connsiteY3941" fmla="*/ 797296 h 6407421"/>
              <a:gd name="connsiteX3942" fmla="*/ 6378683 w 11701760"/>
              <a:gd name="connsiteY3942" fmla="*/ 826792 h 6407421"/>
              <a:gd name="connsiteX3943" fmla="*/ 6349081 w 11701760"/>
              <a:gd name="connsiteY3943" fmla="*/ 826792 h 6407421"/>
              <a:gd name="connsiteX3944" fmla="*/ 502235 w 11701760"/>
              <a:gd name="connsiteY3944" fmla="*/ 797296 h 6407421"/>
              <a:gd name="connsiteX3945" fmla="*/ 531838 w 11701760"/>
              <a:gd name="connsiteY3945" fmla="*/ 797296 h 6407421"/>
              <a:gd name="connsiteX3946" fmla="*/ 531838 w 11701760"/>
              <a:gd name="connsiteY3946" fmla="*/ 826792 h 6407421"/>
              <a:gd name="connsiteX3947" fmla="*/ 502235 w 11701760"/>
              <a:gd name="connsiteY3947" fmla="*/ 826792 h 6407421"/>
              <a:gd name="connsiteX3948" fmla="*/ 6082884 w 11701760"/>
              <a:gd name="connsiteY3948" fmla="*/ 797294 h 6407421"/>
              <a:gd name="connsiteX3949" fmla="*/ 6112486 w 11701760"/>
              <a:gd name="connsiteY3949" fmla="*/ 797294 h 6407421"/>
              <a:gd name="connsiteX3950" fmla="*/ 6112486 w 11701760"/>
              <a:gd name="connsiteY3950" fmla="*/ 826789 h 6407421"/>
              <a:gd name="connsiteX3951" fmla="*/ 6082884 w 11701760"/>
              <a:gd name="connsiteY3951" fmla="*/ 826789 h 6407421"/>
              <a:gd name="connsiteX3952" fmla="*/ 236036 w 11701760"/>
              <a:gd name="connsiteY3952" fmla="*/ 797294 h 6407421"/>
              <a:gd name="connsiteX3953" fmla="*/ 265639 w 11701760"/>
              <a:gd name="connsiteY3953" fmla="*/ 797294 h 6407421"/>
              <a:gd name="connsiteX3954" fmla="*/ 265639 w 11701760"/>
              <a:gd name="connsiteY3954" fmla="*/ 826789 h 6407421"/>
              <a:gd name="connsiteX3955" fmla="*/ 236036 w 11701760"/>
              <a:gd name="connsiteY3955" fmla="*/ 826789 h 6407421"/>
              <a:gd name="connsiteX3956" fmla="*/ 0 w 11701760"/>
              <a:gd name="connsiteY3956" fmla="*/ 797294 h 6407421"/>
              <a:gd name="connsiteX3957" fmla="*/ 29602 w 11701760"/>
              <a:gd name="connsiteY3957" fmla="*/ 797294 h 6407421"/>
              <a:gd name="connsiteX3958" fmla="*/ 29602 w 11701760"/>
              <a:gd name="connsiteY3958" fmla="*/ 826789 h 6407421"/>
              <a:gd name="connsiteX3959" fmla="*/ 0 w 11701760"/>
              <a:gd name="connsiteY3959" fmla="*/ 826789 h 6407421"/>
              <a:gd name="connsiteX3960" fmla="*/ 11672158 w 11701760"/>
              <a:gd name="connsiteY3960" fmla="*/ 531575 h 6407421"/>
              <a:gd name="connsiteX3961" fmla="*/ 11701760 w 11701760"/>
              <a:gd name="connsiteY3961" fmla="*/ 531575 h 6407421"/>
              <a:gd name="connsiteX3962" fmla="*/ 11701760 w 11701760"/>
              <a:gd name="connsiteY3962" fmla="*/ 561177 h 6407421"/>
              <a:gd name="connsiteX3963" fmla="*/ 11672158 w 11701760"/>
              <a:gd name="connsiteY3963" fmla="*/ 561177 h 6407421"/>
              <a:gd name="connsiteX3964" fmla="*/ 5825310 w 11701760"/>
              <a:gd name="connsiteY3964" fmla="*/ 531575 h 6407421"/>
              <a:gd name="connsiteX3965" fmla="*/ 5854913 w 11701760"/>
              <a:gd name="connsiteY3965" fmla="*/ 531575 h 6407421"/>
              <a:gd name="connsiteX3966" fmla="*/ 5854913 w 11701760"/>
              <a:gd name="connsiteY3966" fmla="*/ 561177 h 6407421"/>
              <a:gd name="connsiteX3967" fmla="*/ 5825310 w 11701760"/>
              <a:gd name="connsiteY3967" fmla="*/ 561177 h 6407421"/>
              <a:gd name="connsiteX3968" fmla="*/ 11405961 w 11701760"/>
              <a:gd name="connsiteY3968" fmla="*/ 531573 h 6407421"/>
              <a:gd name="connsiteX3969" fmla="*/ 11435563 w 11701760"/>
              <a:gd name="connsiteY3969" fmla="*/ 531573 h 6407421"/>
              <a:gd name="connsiteX3970" fmla="*/ 11435563 w 11701760"/>
              <a:gd name="connsiteY3970" fmla="*/ 561175 h 6407421"/>
              <a:gd name="connsiteX3971" fmla="*/ 11405961 w 11701760"/>
              <a:gd name="connsiteY3971" fmla="*/ 561175 h 6407421"/>
              <a:gd name="connsiteX3972" fmla="*/ 5559113 w 11701760"/>
              <a:gd name="connsiteY3972" fmla="*/ 531573 h 6407421"/>
              <a:gd name="connsiteX3973" fmla="*/ 5588715 w 11701760"/>
              <a:gd name="connsiteY3973" fmla="*/ 531573 h 6407421"/>
              <a:gd name="connsiteX3974" fmla="*/ 5588715 w 11701760"/>
              <a:gd name="connsiteY3974" fmla="*/ 561175 h 6407421"/>
              <a:gd name="connsiteX3975" fmla="*/ 5559113 w 11701760"/>
              <a:gd name="connsiteY3975" fmla="*/ 561175 h 6407421"/>
              <a:gd name="connsiteX3976" fmla="*/ 11139872 w 11701760"/>
              <a:gd name="connsiteY3976" fmla="*/ 531571 h 6407421"/>
              <a:gd name="connsiteX3977" fmla="*/ 11169474 w 11701760"/>
              <a:gd name="connsiteY3977" fmla="*/ 531571 h 6407421"/>
              <a:gd name="connsiteX3978" fmla="*/ 11169474 w 11701760"/>
              <a:gd name="connsiteY3978" fmla="*/ 561173 h 6407421"/>
              <a:gd name="connsiteX3979" fmla="*/ 11139872 w 11701760"/>
              <a:gd name="connsiteY3979" fmla="*/ 561173 h 6407421"/>
              <a:gd name="connsiteX3980" fmla="*/ 5293024 w 11701760"/>
              <a:gd name="connsiteY3980" fmla="*/ 531571 h 6407421"/>
              <a:gd name="connsiteX3981" fmla="*/ 5322626 w 11701760"/>
              <a:gd name="connsiteY3981" fmla="*/ 531571 h 6407421"/>
              <a:gd name="connsiteX3982" fmla="*/ 5322626 w 11701760"/>
              <a:gd name="connsiteY3982" fmla="*/ 561173 h 6407421"/>
              <a:gd name="connsiteX3983" fmla="*/ 5293024 w 11701760"/>
              <a:gd name="connsiteY3983" fmla="*/ 561173 h 6407421"/>
              <a:gd name="connsiteX3984" fmla="*/ 10873675 w 11701760"/>
              <a:gd name="connsiteY3984" fmla="*/ 531568 h 6407421"/>
              <a:gd name="connsiteX3985" fmla="*/ 10903277 w 11701760"/>
              <a:gd name="connsiteY3985" fmla="*/ 531568 h 6407421"/>
              <a:gd name="connsiteX3986" fmla="*/ 10903277 w 11701760"/>
              <a:gd name="connsiteY3986" fmla="*/ 561170 h 6407421"/>
              <a:gd name="connsiteX3987" fmla="*/ 10873675 w 11701760"/>
              <a:gd name="connsiteY3987" fmla="*/ 561170 h 6407421"/>
              <a:gd name="connsiteX3988" fmla="*/ 5026827 w 11701760"/>
              <a:gd name="connsiteY3988" fmla="*/ 531568 h 6407421"/>
              <a:gd name="connsiteX3989" fmla="*/ 5056429 w 11701760"/>
              <a:gd name="connsiteY3989" fmla="*/ 531568 h 6407421"/>
              <a:gd name="connsiteX3990" fmla="*/ 5056429 w 11701760"/>
              <a:gd name="connsiteY3990" fmla="*/ 561170 h 6407421"/>
              <a:gd name="connsiteX3991" fmla="*/ 5026827 w 11701760"/>
              <a:gd name="connsiteY3991" fmla="*/ 561170 h 6407421"/>
              <a:gd name="connsiteX3992" fmla="*/ 10607478 w 11701760"/>
              <a:gd name="connsiteY3992" fmla="*/ 531566 h 6407421"/>
              <a:gd name="connsiteX3993" fmla="*/ 10637188 w 11701760"/>
              <a:gd name="connsiteY3993" fmla="*/ 531566 h 6407421"/>
              <a:gd name="connsiteX3994" fmla="*/ 10637188 w 11701760"/>
              <a:gd name="connsiteY3994" fmla="*/ 561168 h 6407421"/>
              <a:gd name="connsiteX3995" fmla="*/ 10607478 w 11701760"/>
              <a:gd name="connsiteY3995" fmla="*/ 561168 h 6407421"/>
              <a:gd name="connsiteX3996" fmla="*/ 4760630 w 11701760"/>
              <a:gd name="connsiteY3996" fmla="*/ 531566 h 6407421"/>
              <a:gd name="connsiteX3997" fmla="*/ 4790340 w 11701760"/>
              <a:gd name="connsiteY3997" fmla="*/ 531566 h 6407421"/>
              <a:gd name="connsiteX3998" fmla="*/ 4790340 w 11701760"/>
              <a:gd name="connsiteY3998" fmla="*/ 561168 h 6407421"/>
              <a:gd name="connsiteX3999" fmla="*/ 4760630 w 11701760"/>
              <a:gd name="connsiteY3999" fmla="*/ 561168 h 6407421"/>
              <a:gd name="connsiteX4000" fmla="*/ 10341389 w 11701760"/>
              <a:gd name="connsiteY4000" fmla="*/ 531564 h 6407421"/>
              <a:gd name="connsiteX4001" fmla="*/ 10370992 w 11701760"/>
              <a:gd name="connsiteY4001" fmla="*/ 531564 h 6407421"/>
              <a:gd name="connsiteX4002" fmla="*/ 10370992 w 11701760"/>
              <a:gd name="connsiteY4002" fmla="*/ 561166 h 6407421"/>
              <a:gd name="connsiteX4003" fmla="*/ 10341389 w 11701760"/>
              <a:gd name="connsiteY4003" fmla="*/ 561166 h 6407421"/>
              <a:gd name="connsiteX4004" fmla="*/ 4494541 w 11701760"/>
              <a:gd name="connsiteY4004" fmla="*/ 531564 h 6407421"/>
              <a:gd name="connsiteX4005" fmla="*/ 4524144 w 11701760"/>
              <a:gd name="connsiteY4005" fmla="*/ 531564 h 6407421"/>
              <a:gd name="connsiteX4006" fmla="*/ 4524144 w 11701760"/>
              <a:gd name="connsiteY4006" fmla="*/ 561166 h 6407421"/>
              <a:gd name="connsiteX4007" fmla="*/ 4494541 w 11701760"/>
              <a:gd name="connsiteY4007" fmla="*/ 561166 h 6407421"/>
              <a:gd name="connsiteX4008" fmla="*/ 10075192 w 11701760"/>
              <a:gd name="connsiteY4008" fmla="*/ 531562 h 6407421"/>
              <a:gd name="connsiteX4009" fmla="*/ 10104794 w 11701760"/>
              <a:gd name="connsiteY4009" fmla="*/ 531562 h 6407421"/>
              <a:gd name="connsiteX4010" fmla="*/ 10104794 w 11701760"/>
              <a:gd name="connsiteY4010" fmla="*/ 561164 h 6407421"/>
              <a:gd name="connsiteX4011" fmla="*/ 10075192 w 11701760"/>
              <a:gd name="connsiteY4011" fmla="*/ 561164 h 6407421"/>
              <a:gd name="connsiteX4012" fmla="*/ 4228344 w 11701760"/>
              <a:gd name="connsiteY4012" fmla="*/ 531562 h 6407421"/>
              <a:gd name="connsiteX4013" fmla="*/ 4257946 w 11701760"/>
              <a:gd name="connsiteY4013" fmla="*/ 531562 h 6407421"/>
              <a:gd name="connsiteX4014" fmla="*/ 4257946 w 11701760"/>
              <a:gd name="connsiteY4014" fmla="*/ 561164 h 6407421"/>
              <a:gd name="connsiteX4015" fmla="*/ 4228344 w 11701760"/>
              <a:gd name="connsiteY4015" fmla="*/ 561164 h 6407421"/>
              <a:gd name="connsiteX4016" fmla="*/ 9809103 w 11701760"/>
              <a:gd name="connsiteY4016" fmla="*/ 531560 h 6407421"/>
              <a:gd name="connsiteX4017" fmla="*/ 9838705 w 11701760"/>
              <a:gd name="connsiteY4017" fmla="*/ 531560 h 6407421"/>
              <a:gd name="connsiteX4018" fmla="*/ 9838705 w 11701760"/>
              <a:gd name="connsiteY4018" fmla="*/ 561162 h 6407421"/>
              <a:gd name="connsiteX4019" fmla="*/ 9809103 w 11701760"/>
              <a:gd name="connsiteY4019" fmla="*/ 561162 h 6407421"/>
              <a:gd name="connsiteX4020" fmla="*/ 3962255 w 11701760"/>
              <a:gd name="connsiteY4020" fmla="*/ 531560 h 6407421"/>
              <a:gd name="connsiteX4021" fmla="*/ 3991857 w 11701760"/>
              <a:gd name="connsiteY4021" fmla="*/ 531560 h 6407421"/>
              <a:gd name="connsiteX4022" fmla="*/ 3991857 w 11701760"/>
              <a:gd name="connsiteY4022" fmla="*/ 561162 h 6407421"/>
              <a:gd name="connsiteX4023" fmla="*/ 3962255 w 11701760"/>
              <a:gd name="connsiteY4023" fmla="*/ 561162 h 6407421"/>
              <a:gd name="connsiteX4024" fmla="*/ 9542906 w 11701760"/>
              <a:gd name="connsiteY4024" fmla="*/ 531558 h 6407421"/>
              <a:gd name="connsiteX4025" fmla="*/ 9572509 w 11701760"/>
              <a:gd name="connsiteY4025" fmla="*/ 531558 h 6407421"/>
              <a:gd name="connsiteX4026" fmla="*/ 9572509 w 11701760"/>
              <a:gd name="connsiteY4026" fmla="*/ 561160 h 6407421"/>
              <a:gd name="connsiteX4027" fmla="*/ 9542906 w 11701760"/>
              <a:gd name="connsiteY4027" fmla="*/ 561160 h 6407421"/>
              <a:gd name="connsiteX4028" fmla="*/ 3696058 w 11701760"/>
              <a:gd name="connsiteY4028" fmla="*/ 531558 h 6407421"/>
              <a:gd name="connsiteX4029" fmla="*/ 3725661 w 11701760"/>
              <a:gd name="connsiteY4029" fmla="*/ 531558 h 6407421"/>
              <a:gd name="connsiteX4030" fmla="*/ 3725661 w 11701760"/>
              <a:gd name="connsiteY4030" fmla="*/ 561160 h 6407421"/>
              <a:gd name="connsiteX4031" fmla="*/ 3696058 w 11701760"/>
              <a:gd name="connsiteY4031" fmla="*/ 561160 h 6407421"/>
              <a:gd name="connsiteX4032" fmla="*/ 9276817 w 11701760"/>
              <a:gd name="connsiteY4032" fmla="*/ 531556 h 6407421"/>
              <a:gd name="connsiteX4033" fmla="*/ 9306420 w 11701760"/>
              <a:gd name="connsiteY4033" fmla="*/ 531556 h 6407421"/>
              <a:gd name="connsiteX4034" fmla="*/ 9306420 w 11701760"/>
              <a:gd name="connsiteY4034" fmla="*/ 561158 h 6407421"/>
              <a:gd name="connsiteX4035" fmla="*/ 9276817 w 11701760"/>
              <a:gd name="connsiteY4035" fmla="*/ 561158 h 6407421"/>
              <a:gd name="connsiteX4036" fmla="*/ 3429969 w 11701760"/>
              <a:gd name="connsiteY4036" fmla="*/ 531556 h 6407421"/>
              <a:gd name="connsiteX4037" fmla="*/ 3459572 w 11701760"/>
              <a:gd name="connsiteY4037" fmla="*/ 531556 h 6407421"/>
              <a:gd name="connsiteX4038" fmla="*/ 3459572 w 11701760"/>
              <a:gd name="connsiteY4038" fmla="*/ 561158 h 6407421"/>
              <a:gd name="connsiteX4039" fmla="*/ 3429969 w 11701760"/>
              <a:gd name="connsiteY4039" fmla="*/ 561158 h 6407421"/>
              <a:gd name="connsiteX4040" fmla="*/ 9010620 w 11701760"/>
              <a:gd name="connsiteY4040" fmla="*/ 531554 h 6407421"/>
              <a:gd name="connsiteX4041" fmla="*/ 9040222 w 11701760"/>
              <a:gd name="connsiteY4041" fmla="*/ 531554 h 6407421"/>
              <a:gd name="connsiteX4042" fmla="*/ 9040222 w 11701760"/>
              <a:gd name="connsiteY4042" fmla="*/ 561156 h 6407421"/>
              <a:gd name="connsiteX4043" fmla="*/ 9010620 w 11701760"/>
              <a:gd name="connsiteY4043" fmla="*/ 561156 h 6407421"/>
              <a:gd name="connsiteX4044" fmla="*/ 3163772 w 11701760"/>
              <a:gd name="connsiteY4044" fmla="*/ 531554 h 6407421"/>
              <a:gd name="connsiteX4045" fmla="*/ 3193374 w 11701760"/>
              <a:gd name="connsiteY4045" fmla="*/ 531554 h 6407421"/>
              <a:gd name="connsiteX4046" fmla="*/ 3193374 w 11701760"/>
              <a:gd name="connsiteY4046" fmla="*/ 561156 h 6407421"/>
              <a:gd name="connsiteX4047" fmla="*/ 3163772 w 11701760"/>
              <a:gd name="connsiteY4047" fmla="*/ 561156 h 6407421"/>
              <a:gd name="connsiteX4048" fmla="*/ 8744423 w 11701760"/>
              <a:gd name="connsiteY4048" fmla="*/ 531551 h 6407421"/>
              <a:gd name="connsiteX4049" fmla="*/ 8774026 w 11701760"/>
              <a:gd name="connsiteY4049" fmla="*/ 531551 h 6407421"/>
              <a:gd name="connsiteX4050" fmla="*/ 8774026 w 11701760"/>
              <a:gd name="connsiteY4050" fmla="*/ 561154 h 6407421"/>
              <a:gd name="connsiteX4051" fmla="*/ 8744423 w 11701760"/>
              <a:gd name="connsiteY4051" fmla="*/ 561154 h 6407421"/>
              <a:gd name="connsiteX4052" fmla="*/ 2897575 w 11701760"/>
              <a:gd name="connsiteY4052" fmla="*/ 531551 h 6407421"/>
              <a:gd name="connsiteX4053" fmla="*/ 2927178 w 11701760"/>
              <a:gd name="connsiteY4053" fmla="*/ 531551 h 6407421"/>
              <a:gd name="connsiteX4054" fmla="*/ 2927178 w 11701760"/>
              <a:gd name="connsiteY4054" fmla="*/ 561154 h 6407421"/>
              <a:gd name="connsiteX4055" fmla="*/ 2897575 w 11701760"/>
              <a:gd name="connsiteY4055" fmla="*/ 561154 h 6407421"/>
              <a:gd name="connsiteX4056" fmla="*/ 8478226 w 11701760"/>
              <a:gd name="connsiteY4056" fmla="*/ 531549 h 6407421"/>
              <a:gd name="connsiteX4057" fmla="*/ 8507828 w 11701760"/>
              <a:gd name="connsiteY4057" fmla="*/ 531549 h 6407421"/>
              <a:gd name="connsiteX4058" fmla="*/ 8507828 w 11701760"/>
              <a:gd name="connsiteY4058" fmla="*/ 561152 h 6407421"/>
              <a:gd name="connsiteX4059" fmla="*/ 8478226 w 11701760"/>
              <a:gd name="connsiteY4059" fmla="*/ 561152 h 6407421"/>
              <a:gd name="connsiteX4060" fmla="*/ 2631378 w 11701760"/>
              <a:gd name="connsiteY4060" fmla="*/ 531549 h 6407421"/>
              <a:gd name="connsiteX4061" fmla="*/ 2660980 w 11701760"/>
              <a:gd name="connsiteY4061" fmla="*/ 531549 h 6407421"/>
              <a:gd name="connsiteX4062" fmla="*/ 2660980 w 11701760"/>
              <a:gd name="connsiteY4062" fmla="*/ 561152 h 6407421"/>
              <a:gd name="connsiteX4063" fmla="*/ 2631378 w 11701760"/>
              <a:gd name="connsiteY4063" fmla="*/ 561152 h 6407421"/>
              <a:gd name="connsiteX4064" fmla="*/ 8212137 w 11701760"/>
              <a:gd name="connsiteY4064" fmla="*/ 531547 h 6407421"/>
              <a:gd name="connsiteX4065" fmla="*/ 8241740 w 11701760"/>
              <a:gd name="connsiteY4065" fmla="*/ 531547 h 6407421"/>
              <a:gd name="connsiteX4066" fmla="*/ 8241740 w 11701760"/>
              <a:gd name="connsiteY4066" fmla="*/ 561149 h 6407421"/>
              <a:gd name="connsiteX4067" fmla="*/ 8212137 w 11701760"/>
              <a:gd name="connsiteY4067" fmla="*/ 561149 h 6407421"/>
              <a:gd name="connsiteX4068" fmla="*/ 2365289 w 11701760"/>
              <a:gd name="connsiteY4068" fmla="*/ 531547 h 6407421"/>
              <a:gd name="connsiteX4069" fmla="*/ 2394892 w 11701760"/>
              <a:gd name="connsiteY4069" fmla="*/ 531547 h 6407421"/>
              <a:gd name="connsiteX4070" fmla="*/ 2394892 w 11701760"/>
              <a:gd name="connsiteY4070" fmla="*/ 561149 h 6407421"/>
              <a:gd name="connsiteX4071" fmla="*/ 2365289 w 11701760"/>
              <a:gd name="connsiteY4071" fmla="*/ 561149 h 6407421"/>
              <a:gd name="connsiteX4072" fmla="*/ 7945940 w 11701760"/>
              <a:gd name="connsiteY4072" fmla="*/ 531545 h 6407421"/>
              <a:gd name="connsiteX4073" fmla="*/ 7975543 w 11701760"/>
              <a:gd name="connsiteY4073" fmla="*/ 531545 h 6407421"/>
              <a:gd name="connsiteX4074" fmla="*/ 7975543 w 11701760"/>
              <a:gd name="connsiteY4074" fmla="*/ 561147 h 6407421"/>
              <a:gd name="connsiteX4075" fmla="*/ 7945940 w 11701760"/>
              <a:gd name="connsiteY4075" fmla="*/ 561147 h 6407421"/>
              <a:gd name="connsiteX4076" fmla="*/ 2099092 w 11701760"/>
              <a:gd name="connsiteY4076" fmla="*/ 531545 h 6407421"/>
              <a:gd name="connsiteX4077" fmla="*/ 2128695 w 11701760"/>
              <a:gd name="connsiteY4077" fmla="*/ 531545 h 6407421"/>
              <a:gd name="connsiteX4078" fmla="*/ 2128695 w 11701760"/>
              <a:gd name="connsiteY4078" fmla="*/ 561147 h 6407421"/>
              <a:gd name="connsiteX4079" fmla="*/ 2099092 w 11701760"/>
              <a:gd name="connsiteY4079" fmla="*/ 561147 h 6407421"/>
              <a:gd name="connsiteX4080" fmla="*/ 7679743 w 11701760"/>
              <a:gd name="connsiteY4080" fmla="*/ 531543 h 6407421"/>
              <a:gd name="connsiteX4081" fmla="*/ 7709346 w 11701760"/>
              <a:gd name="connsiteY4081" fmla="*/ 531543 h 6407421"/>
              <a:gd name="connsiteX4082" fmla="*/ 7709346 w 11701760"/>
              <a:gd name="connsiteY4082" fmla="*/ 561145 h 6407421"/>
              <a:gd name="connsiteX4083" fmla="*/ 7679743 w 11701760"/>
              <a:gd name="connsiteY4083" fmla="*/ 561145 h 6407421"/>
              <a:gd name="connsiteX4084" fmla="*/ 1832898 w 11701760"/>
              <a:gd name="connsiteY4084" fmla="*/ 531543 h 6407421"/>
              <a:gd name="connsiteX4085" fmla="*/ 1862498 w 11701760"/>
              <a:gd name="connsiteY4085" fmla="*/ 531543 h 6407421"/>
              <a:gd name="connsiteX4086" fmla="*/ 1862498 w 11701760"/>
              <a:gd name="connsiteY4086" fmla="*/ 561145 h 6407421"/>
              <a:gd name="connsiteX4087" fmla="*/ 1832898 w 11701760"/>
              <a:gd name="connsiteY4087" fmla="*/ 561145 h 6407421"/>
              <a:gd name="connsiteX4088" fmla="*/ 7413653 w 11701760"/>
              <a:gd name="connsiteY4088" fmla="*/ 531541 h 6407421"/>
              <a:gd name="connsiteX4089" fmla="*/ 7443256 w 11701760"/>
              <a:gd name="connsiteY4089" fmla="*/ 531541 h 6407421"/>
              <a:gd name="connsiteX4090" fmla="*/ 7443256 w 11701760"/>
              <a:gd name="connsiteY4090" fmla="*/ 561143 h 6407421"/>
              <a:gd name="connsiteX4091" fmla="*/ 7413653 w 11701760"/>
              <a:gd name="connsiteY4091" fmla="*/ 561143 h 6407421"/>
              <a:gd name="connsiteX4092" fmla="*/ 1566808 w 11701760"/>
              <a:gd name="connsiteY4092" fmla="*/ 531541 h 6407421"/>
              <a:gd name="connsiteX4093" fmla="*/ 1596409 w 11701760"/>
              <a:gd name="connsiteY4093" fmla="*/ 531541 h 6407421"/>
              <a:gd name="connsiteX4094" fmla="*/ 1596409 w 11701760"/>
              <a:gd name="connsiteY4094" fmla="*/ 561143 h 6407421"/>
              <a:gd name="connsiteX4095" fmla="*/ 1566808 w 11701760"/>
              <a:gd name="connsiteY4095" fmla="*/ 561143 h 6407421"/>
              <a:gd name="connsiteX4096" fmla="*/ 7147456 w 11701760"/>
              <a:gd name="connsiteY4096" fmla="*/ 531539 h 6407421"/>
              <a:gd name="connsiteX4097" fmla="*/ 7177058 w 11701760"/>
              <a:gd name="connsiteY4097" fmla="*/ 531539 h 6407421"/>
              <a:gd name="connsiteX4098" fmla="*/ 7177058 w 11701760"/>
              <a:gd name="connsiteY4098" fmla="*/ 561141 h 6407421"/>
              <a:gd name="connsiteX4099" fmla="*/ 7147456 w 11701760"/>
              <a:gd name="connsiteY4099" fmla="*/ 561141 h 6407421"/>
              <a:gd name="connsiteX4100" fmla="*/ 1300611 w 11701760"/>
              <a:gd name="connsiteY4100" fmla="*/ 531539 h 6407421"/>
              <a:gd name="connsiteX4101" fmla="*/ 1330213 w 11701760"/>
              <a:gd name="connsiteY4101" fmla="*/ 531539 h 6407421"/>
              <a:gd name="connsiteX4102" fmla="*/ 1330213 w 11701760"/>
              <a:gd name="connsiteY4102" fmla="*/ 561141 h 6407421"/>
              <a:gd name="connsiteX4103" fmla="*/ 1300611 w 11701760"/>
              <a:gd name="connsiteY4103" fmla="*/ 561141 h 6407421"/>
              <a:gd name="connsiteX4104" fmla="*/ 6881367 w 11701760"/>
              <a:gd name="connsiteY4104" fmla="*/ 531537 h 6407421"/>
              <a:gd name="connsiteX4105" fmla="*/ 6910970 w 11701760"/>
              <a:gd name="connsiteY4105" fmla="*/ 531537 h 6407421"/>
              <a:gd name="connsiteX4106" fmla="*/ 6910970 w 11701760"/>
              <a:gd name="connsiteY4106" fmla="*/ 561139 h 6407421"/>
              <a:gd name="connsiteX4107" fmla="*/ 6881367 w 11701760"/>
              <a:gd name="connsiteY4107" fmla="*/ 561139 h 6407421"/>
              <a:gd name="connsiteX4108" fmla="*/ 1034520 w 11701760"/>
              <a:gd name="connsiteY4108" fmla="*/ 531537 h 6407421"/>
              <a:gd name="connsiteX4109" fmla="*/ 1064123 w 11701760"/>
              <a:gd name="connsiteY4109" fmla="*/ 531537 h 6407421"/>
              <a:gd name="connsiteX4110" fmla="*/ 1064123 w 11701760"/>
              <a:gd name="connsiteY4110" fmla="*/ 561139 h 6407421"/>
              <a:gd name="connsiteX4111" fmla="*/ 1034520 w 11701760"/>
              <a:gd name="connsiteY4111" fmla="*/ 561139 h 6407421"/>
              <a:gd name="connsiteX4112" fmla="*/ 6615170 w 11701760"/>
              <a:gd name="connsiteY4112" fmla="*/ 531534 h 6407421"/>
              <a:gd name="connsiteX4113" fmla="*/ 6644773 w 11701760"/>
              <a:gd name="connsiteY4113" fmla="*/ 531534 h 6407421"/>
              <a:gd name="connsiteX4114" fmla="*/ 6644773 w 11701760"/>
              <a:gd name="connsiteY4114" fmla="*/ 561137 h 6407421"/>
              <a:gd name="connsiteX4115" fmla="*/ 6615170 w 11701760"/>
              <a:gd name="connsiteY4115" fmla="*/ 561137 h 6407421"/>
              <a:gd name="connsiteX4116" fmla="*/ 768326 w 11701760"/>
              <a:gd name="connsiteY4116" fmla="*/ 531534 h 6407421"/>
              <a:gd name="connsiteX4117" fmla="*/ 797926 w 11701760"/>
              <a:gd name="connsiteY4117" fmla="*/ 531534 h 6407421"/>
              <a:gd name="connsiteX4118" fmla="*/ 797926 w 11701760"/>
              <a:gd name="connsiteY4118" fmla="*/ 561137 h 6407421"/>
              <a:gd name="connsiteX4119" fmla="*/ 768326 w 11701760"/>
              <a:gd name="connsiteY4119" fmla="*/ 561137 h 6407421"/>
              <a:gd name="connsiteX4120" fmla="*/ 6349081 w 11701760"/>
              <a:gd name="connsiteY4120" fmla="*/ 531532 h 6407421"/>
              <a:gd name="connsiteX4121" fmla="*/ 6378683 w 11701760"/>
              <a:gd name="connsiteY4121" fmla="*/ 531532 h 6407421"/>
              <a:gd name="connsiteX4122" fmla="*/ 6378683 w 11701760"/>
              <a:gd name="connsiteY4122" fmla="*/ 561135 h 6407421"/>
              <a:gd name="connsiteX4123" fmla="*/ 6349081 w 11701760"/>
              <a:gd name="connsiteY4123" fmla="*/ 561135 h 6407421"/>
              <a:gd name="connsiteX4124" fmla="*/ 502235 w 11701760"/>
              <a:gd name="connsiteY4124" fmla="*/ 531532 h 6407421"/>
              <a:gd name="connsiteX4125" fmla="*/ 531838 w 11701760"/>
              <a:gd name="connsiteY4125" fmla="*/ 531532 h 6407421"/>
              <a:gd name="connsiteX4126" fmla="*/ 531838 w 11701760"/>
              <a:gd name="connsiteY4126" fmla="*/ 561135 h 6407421"/>
              <a:gd name="connsiteX4127" fmla="*/ 502235 w 11701760"/>
              <a:gd name="connsiteY4127" fmla="*/ 561135 h 6407421"/>
              <a:gd name="connsiteX4128" fmla="*/ 6082884 w 11701760"/>
              <a:gd name="connsiteY4128" fmla="*/ 531530 h 6407421"/>
              <a:gd name="connsiteX4129" fmla="*/ 6112486 w 11701760"/>
              <a:gd name="connsiteY4129" fmla="*/ 531530 h 6407421"/>
              <a:gd name="connsiteX4130" fmla="*/ 6112486 w 11701760"/>
              <a:gd name="connsiteY4130" fmla="*/ 561133 h 6407421"/>
              <a:gd name="connsiteX4131" fmla="*/ 6082884 w 11701760"/>
              <a:gd name="connsiteY4131" fmla="*/ 561133 h 6407421"/>
              <a:gd name="connsiteX4132" fmla="*/ 236036 w 11701760"/>
              <a:gd name="connsiteY4132" fmla="*/ 531530 h 6407421"/>
              <a:gd name="connsiteX4133" fmla="*/ 265639 w 11701760"/>
              <a:gd name="connsiteY4133" fmla="*/ 531530 h 6407421"/>
              <a:gd name="connsiteX4134" fmla="*/ 265639 w 11701760"/>
              <a:gd name="connsiteY4134" fmla="*/ 561133 h 6407421"/>
              <a:gd name="connsiteX4135" fmla="*/ 236036 w 11701760"/>
              <a:gd name="connsiteY4135" fmla="*/ 561133 h 6407421"/>
              <a:gd name="connsiteX4136" fmla="*/ 0 w 11701760"/>
              <a:gd name="connsiteY4136" fmla="*/ 531530 h 6407421"/>
              <a:gd name="connsiteX4137" fmla="*/ 29602 w 11701760"/>
              <a:gd name="connsiteY4137" fmla="*/ 531530 h 6407421"/>
              <a:gd name="connsiteX4138" fmla="*/ 29602 w 11701760"/>
              <a:gd name="connsiteY4138" fmla="*/ 561133 h 6407421"/>
              <a:gd name="connsiteX4139" fmla="*/ 0 w 11701760"/>
              <a:gd name="connsiteY4139" fmla="*/ 561133 h 6407421"/>
              <a:gd name="connsiteX4140" fmla="*/ 11672158 w 11701760"/>
              <a:gd name="connsiteY4140" fmla="*/ 265811 h 6407421"/>
              <a:gd name="connsiteX4141" fmla="*/ 11701760 w 11701760"/>
              <a:gd name="connsiteY4141" fmla="*/ 265811 h 6407421"/>
              <a:gd name="connsiteX4142" fmla="*/ 11701760 w 11701760"/>
              <a:gd name="connsiteY4142" fmla="*/ 295414 h 6407421"/>
              <a:gd name="connsiteX4143" fmla="*/ 11672158 w 11701760"/>
              <a:gd name="connsiteY4143" fmla="*/ 295414 h 6407421"/>
              <a:gd name="connsiteX4144" fmla="*/ 5825310 w 11701760"/>
              <a:gd name="connsiteY4144" fmla="*/ 265811 h 6407421"/>
              <a:gd name="connsiteX4145" fmla="*/ 5854913 w 11701760"/>
              <a:gd name="connsiteY4145" fmla="*/ 265811 h 6407421"/>
              <a:gd name="connsiteX4146" fmla="*/ 5854913 w 11701760"/>
              <a:gd name="connsiteY4146" fmla="*/ 295414 h 6407421"/>
              <a:gd name="connsiteX4147" fmla="*/ 5825310 w 11701760"/>
              <a:gd name="connsiteY4147" fmla="*/ 295414 h 6407421"/>
              <a:gd name="connsiteX4148" fmla="*/ 11405961 w 11701760"/>
              <a:gd name="connsiteY4148" fmla="*/ 265809 h 6407421"/>
              <a:gd name="connsiteX4149" fmla="*/ 11435563 w 11701760"/>
              <a:gd name="connsiteY4149" fmla="*/ 265809 h 6407421"/>
              <a:gd name="connsiteX4150" fmla="*/ 11435563 w 11701760"/>
              <a:gd name="connsiteY4150" fmla="*/ 295412 h 6407421"/>
              <a:gd name="connsiteX4151" fmla="*/ 11405961 w 11701760"/>
              <a:gd name="connsiteY4151" fmla="*/ 295412 h 6407421"/>
              <a:gd name="connsiteX4152" fmla="*/ 5559113 w 11701760"/>
              <a:gd name="connsiteY4152" fmla="*/ 265809 h 6407421"/>
              <a:gd name="connsiteX4153" fmla="*/ 5588715 w 11701760"/>
              <a:gd name="connsiteY4153" fmla="*/ 265809 h 6407421"/>
              <a:gd name="connsiteX4154" fmla="*/ 5588715 w 11701760"/>
              <a:gd name="connsiteY4154" fmla="*/ 295412 h 6407421"/>
              <a:gd name="connsiteX4155" fmla="*/ 5559113 w 11701760"/>
              <a:gd name="connsiteY4155" fmla="*/ 295412 h 6407421"/>
              <a:gd name="connsiteX4156" fmla="*/ 11139872 w 11701760"/>
              <a:gd name="connsiteY4156" fmla="*/ 265807 h 6407421"/>
              <a:gd name="connsiteX4157" fmla="*/ 11169474 w 11701760"/>
              <a:gd name="connsiteY4157" fmla="*/ 265807 h 6407421"/>
              <a:gd name="connsiteX4158" fmla="*/ 11169474 w 11701760"/>
              <a:gd name="connsiteY4158" fmla="*/ 295409 h 6407421"/>
              <a:gd name="connsiteX4159" fmla="*/ 11139872 w 11701760"/>
              <a:gd name="connsiteY4159" fmla="*/ 295409 h 6407421"/>
              <a:gd name="connsiteX4160" fmla="*/ 5293024 w 11701760"/>
              <a:gd name="connsiteY4160" fmla="*/ 265807 h 6407421"/>
              <a:gd name="connsiteX4161" fmla="*/ 5322626 w 11701760"/>
              <a:gd name="connsiteY4161" fmla="*/ 265807 h 6407421"/>
              <a:gd name="connsiteX4162" fmla="*/ 5322626 w 11701760"/>
              <a:gd name="connsiteY4162" fmla="*/ 295409 h 6407421"/>
              <a:gd name="connsiteX4163" fmla="*/ 5293024 w 11701760"/>
              <a:gd name="connsiteY4163" fmla="*/ 295409 h 6407421"/>
              <a:gd name="connsiteX4164" fmla="*/ 10873675 w 11701760"/>
              <a:gd name="connsiteY4164" fmla="*/ 265805 h 6407421"/>
              <a:gd name="connsiteX4165" fmla="*/ 10903277 w 11701760"/>
              <a:gd name="connsiteY4165" fmla="*/ 265805 h 6407421"/>
              <a:gd name="connsiteX4166" fmla="*/ 10903277 w 11701760"/>
              <a:gd name="connsiteY4166" fmla="*/ 295407 h 6407421"/>
              <a:gd name="connsiteX4167" fmla="*/ 10873675 w 11701760"/>
              <a:gd name="connsiteY4167" fmla="*/ 295407 h 6407421"/>
              <a:gd name="connsiteX4168" fmla="*/ 5026827 w 11701760"/>
              <a:gd name="connsiteY4168" fmla="*/ 265805 h 6407421"/>
              <a:gd name="connsiteX4169" fmla="*/ 5056429 w 11701760"/>
              <a:gd name="connsiteY4169" fmla="*/ 265805 h 6407421"/>
              <a:gd name="connsiteX4170" fmla="*/ 5056429 w 11701760"/>
              <a:gd name="connsiteY4170" fmla="*/ 295407 h 6407421"/>
              <a:gd name="connsiteX4171" fmla="*/ 5026827 w 11701760"/>
              <a:gd name="connsiteY4171" fmla="*/ 295407 h 6407421"/>
              <a:gd name="connsiteX4172" fmla="*/ 10607478 w 11701760"/>
              <a:gd name="connsiteY4172" fmla="*/ 265803 h 6407421"/>
              <a:gd name="connsiteX4173" fmla="*/ 10637188 w 11701760"/>
              <a:gd name="connsiteY4173" fmla="*/ 265803 h 6407421"/>
              <a:gd name="connsiteX4174" fmla="*/ 10637188 w 11701760"/>
              <a:gd name="connsiteY4174" fmla="*/ 295405 h 6407421"/>
              <a:gd name="connsiteX4175" fmla="*/ 10607478 w 11701760"/>
              <a:gd name="connsiteY4175" fmla="*/ 295405 h 6407421"/>
              <a:gd name="connsiteX4176" fmla="*/ 4760630 w 11701760"/>
              <a:gd name="connsiteY4176" fmla="*/ 265803 h 6407421"/>
              <a:gd name="connsiteX4177" fmla="*/ 4790340 w 11701760"/>
              <a:gd name="connsiteY4177" fmla="*/ 265803 h 6407421"/>
              <a:gd name="connsiteX4178" fmla="*/ 4790340 w 11701760"/>
              <a:gd name="connsiteY4178" fmla="*/ 295405 h 6407421"/>
              <a:gd name="connsiteX4179" fmla="*/ 4760630 w 11701760"/>
              <a:gd name="connsiteY4179" fmla="*/ 295405 h 6407421"/>
              <a:gd name="connsiteX4180" fmla="*/ 10341389 w 11701760"/>
              <a:gd name="connsiteY4180" fmla="*/ 265800 h 6407421"/>
              <a:gd name="connsiteX4181" fmla="*/ 10370992 w 11701760"/>
              <a:gd name="connsiteY4181" fmla="*/ 265800 h 6407421"/>
              <a:gd name="connsiteX4182" fmla="*/ 10370992 w 11701760"/>
              <a:gd name="connsiteY4182" fmla="*/ 295403 h 6407421"/>
              <a:gd name="connsiteX4183" fmla="*/ 10341389 w 11701760"/>
              <a:gd name="connsiteY4183" fmla="*/ 295403 h 6407421"/>
              <a:gd name="connsiteX4184" fmla="*/ 4494541 w 11701760"/>
              <a:gd name="connsiteY4184" fmla="*/ 265800 h 6407421"/>
              <a:gd name="connsiteX4185" fmla="*/ 4524144 w 11701760"/>
              <a:gd name="connsiteY4185" fmla="*/ 265800 h 6407421"/>
              <a:gd name="connsiteX4186" fmla="*/ 4524144 w 11701760"/>
              <a:gd name="connsiteY4186" fmla="*/ 295403 h 6407421"/>
              <a:gd name="connsiteX4187" fmla="*/ 4494541 w 11701760"/>
              <a:gd name="connsiteY4187" fmla="*/ 295403 h 6407421"/>
              <a:gd name="connsiteX4188" fmla="*/ 10075192 w 11701760"/>
              <a:gd name="connsiteY4188" fmla="*/ 265798 h 6407421"/>
              <a:gd name="connsiteX4189" fmla="*/ 10104794 w 11701760"/>
              <a:gd name="connsiteY4189" fmla="*/ 265798 h 6407421"/>
              <a:gd name="connsiteX4190" fmla="*/ 10104794 w 11701760"/>
              <a:gd name="connsiteY4190" fmla="*/ 295401 h 6407421"/>
              <a:gd name="connsiteX4191" fmla="*/ 10075192 w 11701760"/>
              <a:gd name="connsiteY4191" fmla="*/ 295401 h 6407421"/>
              <a:gd name="connsiteX4192" fmla="*/ 4228344 w 11701760"/>
              <a:gd name="connsiteY4192" fmla="*/ 265798 h 6407421"/>
              <a:gd name="connsiteX4193" fmla="*/ 4257946 w 11701760"/>
              <a:gd name="connsiteY4193" fmla="*/ 265798 h 6407421"/>
              <a:gd name="connsiteX4194" fmla="*/ 4257946 w 11701760"/>
              <a:gd name="connsiteY4194" fmla="*/ 295401 h 6407421"/>
              <a:gd name="connsiteX4195" fmla="*/ 4228344 w 11701760"/>
              <a:gd name="connsiteY4195" fmla="*/ 295401 h 6407421"/>
              <a:gd name="connsiteX4196" fmla="*/ 9809103 w 11701760"/>
              <a:gd name="connsiteY4196" fmla="*/ 265796 h 6407421"/>
              <a:gd name="connsiteX4197" fmla="*/ 9838705 w 11701760"/>
              <a:gd name="connsiteY4197" fmla="*/ 265796 h 6407421"/>
              <a:gd name="connsiteX4198" fmla="*/ 9838705 w 11701760"/>
              <a:gd name="connsiteY4198" fmla="*/ 295398 h 6407421"/>
              <a:gd name="connsiteX4199" fmla="*/ 9809103 w 11701760"/>
              <a:gd name="connsiteY4199" fmla="*/ 295398 h 6407421"/>
              <a:gd name="connsiteX4200" fmla="*/ 3962255 w 11701760"/>
              <a:gd name="connsiteY4200" fmla="*/ 265796 h 6407421"/>
              <a:gd name="connsiteX4201" fmla="*/ 3991857 w 11701760"/>
              <a:gd name="connsiteY4201" fmla="*/ 265796 h 6407421"/>
              <a:gd name="connsiteX4202" fmla="*/ 3991857 w 11701760"/>
              <a:gd name="connsiteY4202" fmla="*/ 295398 h 6407421"/>
              <a:gd name="connsiteX4203" fmla="*/ 3962255 w 11701760"/>
              <a:gd name="connsiteY4203" fmla="*/ 295398 h 6407421"/>
              <a:gd name="connsiteX4204" fmla="*/ 9542906 w 11701760"/>
              <a:gd name="connsiteY4204" fmla="*/ 265794 h 6407421"/>
              <a:gd name="connsiteX4205" fmla="*/ 9572509 w 11701760"/>
              <a:gd name="connsiteY4205" fmla="*/ 265794 h 6407421"/>
              <a:gd name="connsiteX4206" fmla="*/ 9572509 w 11701760"/>
              <a:gd name="connsiteY4206" fmla="*/ 295396 h 6407421"/>
              <a:gd name="connsiteX4207" fmla="*/ 9542906 w 11701760"/>
              <a:gd name="connsiteY4207" fmla="*/ 295396 h 6407421"/>
              <a:gd name="connsiteX4208" fmla="*/ 3696058 w 11701760"/>
              <a:gd name="connsiteY4208" fmla="*/ 265794 h 6407421"/>
              <a:gd name="connsiteX4209" fmla="*/ 3725661 w 11701760"/>
              <a:gd name="connsiteY4209" fmla="*/ 265794 h 6407421"/>
              <a:gd name="connsiteX4210" fmla="*/ 3725661 w 11701760"/>
              <a:gd name="connsiteY4210" fmla="*/ 295396 h 6407421"/>
              <a:gd name="connsiteX4211" fmla="*/ 3696058 w 11701760"/>
              <a:gd name="connsiteY4211" fmla="*/ 295396 h 6407421"/>
              <a:gd name="connsiteX4212" fmla="*/ 9276817 w 11701760"/>
              <a:gd name="connsiteY4212" fmla="*/ 265792 h 6407421"/>
              <a:gd name="connsiteX4213" fmla="*/ 9306420 w 11701760"/>
              <a:gd name="connsiteY4213" fmla="*/ 265792 h 6407421"/>
              <a:gd name="connsiteX4214" fmla="*/ 9306420 w 11701760"/>
              <a:gd name="connsiteY4214" fmla="*/ 295394 h 6407421"/>
              <a:gd name="connsiteX4215" fmla="*/ 9276817 w 11701760"/>
              <a:gd name="connsiteY4215" fmla="*/ 295394 h 6407421"/>
              <a:gd name="connsiteX4216" fmla="*/ 3429969 w 11701760"/>
              <a:gd name="connsiteY4216" fmla="*/ 265792 h 6407421"/>
              <a:gd name="connsiteX4217" fmla="*/ 3459572 w 11701760"/>
              <a:gd name="connsiteY4217" fmla="*/ 265792 h 6407421"/>
              <a:gd name="connsiteX4218" fmla="*/ 3459572 w 11701760"/>
              <a:gd name="connsiteY4218" fmla="*/ 295394 h 6407421"/>
              <a:gd name="connsiteX4219" fmla="*/ 3429969 w 11701760"/>
              <a:gd name="connsiteY4219" fmla="*/ 295394 h 6407421"/>
              <a:gd name="connsiteX4220" fmla="*/ 9010620 w 11701760"/>
              <a:gd name="connsiteY4220" fmla="*/ 265789 h 6407421"/>
              <a:gd name="connsiteX4221" fmla="*/ 9040222 w 11701760"/>
              <a:gd name="connsiteY4221" fmla="*/ 265789 h 6407421"/>
              <a:gd name="connsiteX4222" fmla="*/ 9040222 w 11701760"/>
              <a:gd name="connsiteY4222" fmla="*/ 295392 h 6407421"/>
              <a:gd name="connsiteX4223" fmla="*/ 9010620 w 11701760"/>
              <a:gd name="connsiteY4223" fmla="*/ 295392 h 6407421"/>
              <a:gd name="connsiteX4224" fmla="*/ 3163772 w 11701760"/>
              <a:gd name="connsiteY4224" fmla="*/ 265789 h 6407421"/>
              <a:gd name="connsiteX4225" fmla="*/ 3193374 w 11701760"/>
              <a:gd name="connsiteY4225" fmla="*/ 265789 h 6407421"/>
              <a:gd name="connsiteX4226" fmla="*/ 3193374 w 11701760"/>
              <a:gd name="connsiteY4226" fmla="*/ 295392 h 6407421"/>
              <a:gd name="connsiteX4227" fmla="*/ 3163772 w 11701760"/>
              <a:gd name="connsiteY4227" fmla="*/ 295392 h 6407421"/>
              <a:gd name="connsiteX4228" fmla="*/ 8744423 w 11701760"/>
              <a:gd name="connsiteY4228" fmla="*/ 265787 h 6407421"/>
              <a:gd name="connsiteX4229" fmla="*/ 8774026 w 11701760"/>
              <a:gd name="connsiteY4229" fmla="*/ 265787 h 6407421"/>
              <a:gd name="connsiteX4230" fmla="*/ 8774026 w 11701760"/>
              <a:gd name="connsiteY4230" fmla="*/ 295390 h 6407421"/>
              <a:gd name="connsiteX4231" fmla="*/ 8744423 w 11701760"/>
              <a:gd name="connsiteY4231" fmla="*/ 295390 h 6407421"/>
              <a:gd name="connsiteX4232" fmla="*/ 2897575 w 11701760"/>
              <a:gd name="connsiteY4232" fmla="*/ 265787 h 6407421"/>
              <a:gd name="connsiteX4233" fmla="*/ 2927178 w 11701760"/>
              <a:gd name="connsiteY4233" fmla="*/ 265787 h 6407421"/>
              <a:gd name="connsiteX4234" fmla="*/ 2927178 w 11701760"/>
              <a:gd name="connsiteY4234" fmla="*/ 295390 h 6407421"/>
              <a:gd name="connsiteX4235" fmla="*/ 2897575 w 11701760"/>
              <a:gd name="connsiteY4235" fmla="*/ 295390 h 6407421"/>
              <a:gd name="connsiteX4236" fmla="*/ 8478226 w 11701760"/>
              <a:gd name="connsiteY4236" fmla="*/ 265785 h 6407421"/>
              <a:gd name="connsiteX4237" fmla="*/ 8507828 w 11701760"/>
              <a:gd name="connsiteY4237" fmla="*/ 265785 h 6407421"/>
              <a:gd name="connsiteX4238" fmla="*/ 8507828 w 11701760"/>
              <a:gd name="connsiteY4238" fmla="*/ 295387 h 6407421"/>
              <a:gd name="connsiteX4239" fmla="*/ 8478226 w 11701760"/>
              <a:gd name="connsiteY4239" fmla="*/ 295387 h 6407421"/>
              <a:gd name="connsiteX4240" fmla="*/ 2631378 w 11701760"/>
              <a:gd name="connsiteY4240" fmla="*/ 265785 h 6407421"/>
              <a:gd name="connsiteX4241" fmla="*/ 2660980 w 11701760"/>
              <a:gd name="connsiteY4241" fmla="*/ 265785 h 6407421"/>
              <a:gd name="connsiteX4242" fmla="*/ 2660980 w 11701760"/>
              <a:gd name="connsiteY4242" fmla="*/ 295387 h 6407421"/>
              <a:gd name="connsiteX4243" fmla="*/ 2631378 w 11701760"/>
              <a:gd name="connsiteY4243" fmla="*/ 295387 h 6407421"/>
              <a:gd name="connsiteX4244" fmla="*/ 8212137 w 11701760"/>
              <a:gd name="connsiteY4244" fmla="*/ 265783 h 6407421"/>
              <a:gd name="connsiteX4245" fmla="*/ 8241740 w 11701760"/>
              <a:gd name="connsiteY4245" fmla="*/ 265783 h 6407421"/>
              <a:gd name="connsiteX4246" fmla="*/ 8241740 w 11701760"/>
              <a:gd name="connsiteY4246" fmla="*/ 295385 h 6407421"/>
              <a:gd name="connsiteX4247" fmla="*/ 8212137 w 11701760"/>
              <a:gd name="connsiteY4247" fmla="*/ 295385 h 6407421"/>
              <a:gd name="connsiteX4248" fmla="*/ 2365289 w 11701760"/>
              <a:gd name="connsiteY4248" fmla="*/ 265783 h 6407421"/>
              <a:gd name="connsiteX4249" fmla="*/ 2394892 w 11701760"/>
              <a:gd name="connsiteY4249" fmla="*/ 265783 h 6407421"/>
              <a:gd name="connsiteX4250" fmla="*/ 2394892 w 11701760"/>
              <a:gd name="connsiteY4250" fmla="*/ 295385 h 6407421"/>
              <a:gd name="connsiteX4251" fmla="*/ 2365289 w 11701760"/>
              <a:gd name="connsiteY4251" fmla="*/ 295385 h 6407421"/>
              <a:gd name="connsiteX4252" fmla="*/ 7945940 w 11701760"/>
              <a:gd name="connsiteY4252" fmla="*/ 265781 h 6407421"/>
              <a:gd name="connsiteX4253" fmla="*/ 7975543 w 11701760"/>
              <a:gd name="connsiteY4253" fmla="*/ 265781 h 6407421"/>
              <a:gd name="connsiteX4254" fmla="*/ 7975543 w 11701760"/>
              <a:gd name="connsiteY4254" fmla="*/ 295383 h 6407421"/>
              <a:gd name="connsiteX4255" fmla="*/ 7945940 w 11701760"/>
              <a:gd name="connsiteY4255" fmla="*/ 295383 h 6407421"/>
              <a:gd name="connsiteX4256" fmla="*/ 2099092 w 11701760"/>
              <a:gd name="connsiteY4256" fmla="*/ 265781 h 6407421"/>
              <a:gd name="connsiteX4257" fmla="*/ 2128695 w 11701760"/>
              <a:gd name="connsiteY4257" fmla="*/ 265781 h 6407421"/>
              <a:gd name="connsiteX4258" fmla="*/ 2128695 w 11701760"/>
              <a:gd name="connsiteY4258" fmla="*/ 295383 h 6407421"/>
              <a:gd name="connsiteX4259" fmla="*/ 2099092 w 11701760"/>
              <a:gd name="connsiteY4259" fmla="*/ 295383 h 6407421"/>
              <a:gd name="connsiteX4260" fmla="*/ 7679743 w 11701760"/>
              <a:gd name="connsiteY4260" fmla="*/ 265778 h 6407421"/>
              <a:gd name="connsiteX4261" fmla="*/ 7709346 w 11701760"/>
              <a:gd name="connsiteY4261" fmla="*/ 265778 h 6407421"/>
              <a:gd name="connsiteX4262" fmla="*/ 7709346 w 11701760"/>
              <a:gd name="connsiteY4262" fmla="*/ 295381 h 6407421"/>
              <a:gd name="connsiteX4263" fmla="*/ 7679743 w 11701760"/>
              <a:gd name="connsiteY4263" fmla="*/ 295381 h 6407421"/>
              <a:gd name="connsiteX4264" fmla="*/ 1832898 w 11701760"/>
              <a:gd name="connsiteY4264" fmla="*/ 265778 h 6407421"/>
              <a:gd name="connsiteX4265" fmla="*/ 1862498 w 11701760"/>
              <a:gd name="connsiteY4265" fmla="*/ 265778 h 6407421"/>
              <a:gd name="connsiteX4266" fmla="*/ 1862498 w 11701760"/>
              <a:gd name="connsiteY4266" fmla="*/ 295381 h 6407421"/>
              <a:gd name="connsiteX4267" fmla="*/ 1832898 w 11701760"/>
              <a:gd name="connsiteY4267" fmla="*/ 295381 h 6407421"/>
              <a:gd name="connsiteX4268" fmla="*/ 7413653 w 11701760"/>
              <a:gd name="connsiteY4268" fmla="*/ 265776 h 6407421"/>
              <a:gd name="connsiteX4269" fmla="*/ 7443256 w 11701760"/>
              <a:gd name="connsiteY4269" fmla="*/ 265776 h 6407421"/>
              <a:gd name="connsiteX4270" fmla="*/ 7443256 w 11701760"/>
              <a:gd name="connsiteY4270" fmla="*/ 295379 h 6407421"/>
              <a:gd name="connsiteX4271" fmla="*/ 7413653 w 11701760"/>
              <a:gd name="connsiteY4271" fmla="*/ 295379 h 6407421"/>
              <a:gd name="connsiteX4272" fmla="*/ 1566808 w 11701760"/>
              <a:gd name="connsiteY4272" fmla="*/ 265776 h 6407421"/>
              <a:gd name="connsiteX4273" fmla="*/ 1596409 w 11701760"/>
              <a:gd name="connsiteY4273" fmla="*/ 265776 h 6407421"/>
              <a:gd name="connsiteX4274" fmla="*/ 1596409 w 11701760"/>
              <a:gd name="connsiteY4274" fmla="*/ 295379 h 6407421"/>
              <a:gd name="connsiteX4275" fmla="*/ 1566808 w 11701760"/>
              <a:gd name="connsiteY4275" fmla="*/ 295379 h 6407421"/>
              <a:gd name="connsiteX4276" fmla="*/ 7147456 w 11701760"/>
              <a:gd name="connsiteY4276" fmla="*/ 265774 h 6407421"/>
              <a:gd name="connsiteX4277" fmla="*/ 7177058 w 11701760"/>
              <a:gd name="connsiteY4277" fmla="*/ 265774 h 6407421"/>
              <a:gd name="connsiteX4278" fmla="*/ 7177058 w 11701760"/>
              <a:gd name="connsiteY4278" fmla="*/ 295376 h 6407421"/>
              <a:gd name="connsiteX4279" fmla="*/ 7147456 w 11701760"/>
              <a:gd name="connsiteY4279" fmla="*/ 295376 h 6407421"/>
              <a:gd name="connsiteX4280" fmla="*/ 1300611 w 11701760"/>
              <a:gd name="connsiteY4280" fmla="*/ 265774 h 6407421"/>
              <a:gd name="connsiteX4281" fmla="*/ 1330213 w 11701760"/>
              <a:gd name="connsiteY4281" fmla="*/ 265774 h 6407421"/>
              <a:gd name="connsiteX4282" fmla="*/ 1330213 w 11701760"/>
              <a:gd name="connsiteY4282" fmla="*/ 295376 h 6407421"/>
              <a:gd name="connsiteX4283" fmla="*/ 1300611 w 11701760"/>
              <a:gd name="connsiteY4283" fmla="*/ 295376 h 6407421"/>
              <a:gd name="connsiteX4284" fmla="*/ 6881367 w 11701760"/>
              <a:gd name="connsiteY4284" fmla="*/ 265772 h 6407421"/>
              <a:gd name="connsiteX4285" fmla="*/ 6910970 w 11701760"/>
              <a:gd name="connsiteY4285" fmla="*/ 265772 h 6407421"/>
              <a:gd name="connsiteX4286" fmla="*/ 6910970 w 11701760"/>
              <a:gd name="connsiteY4286" fmla="*/ 295374 h 6407421"/>
              <a:gd name="connsiteX4287" fmla="*/ 6881367 w 11701760"/>
              <a:gd name="connsiteY4287" fmla="*/ 295374 h 6407421"/>
              <a:gd name="connsiteX4288" fmla="*/ 1034520 w 11701760"/>
              <a:gd name="connsiteY4288" fmla="*/ 265772 h 6407421"/>
              <a:gd name="connsiteX4289" fmla="*/ 1064123 w 11701760"/>
              <a:gd name="connsiteY4289" fmla="*/ 265772 h 6407421"/>
              <a:gd name="connsiteX4290" fmla="*/ 1064123 w 11701760"/>
              <a:gd name="connsiteY4290" fmla="*/ 295374 h 6407421"/>
              <a:gd name="connsiteX4291" fmla="*/ 1034520 w 11701760"/>
              <a:gd name="connsiteY4291" fmla="*/ 295374 h 6407421"/>
              <a:gd name="connsiteX4292" fmla="*/ 6615170 w 11701760"/>
              <a:gd name="connsiteY4292" fmla="*/ 265770 h 6407421"/>
              <a:gd name="connsiteX4293" fmla="*/ 6644773 w 11701760"/>
              <a:gd name="connsiteY4293" fmla="*/ 265770 h 6407421"/>
              <a:gd name="connsiteX4294" fmla="*/ 6644773 w 11701760"/>
              <a:gd name="connsiteY4294" fmla="*/ 295372 h 6407421"/>
              <a:gd name="connsiteX4295" fmla="*/ 6615170 w 11701760"/>
              <a:gd name="connsiteY4295" fmla="*/ 295372 h 6407421"/>
              <a:gd name="connsiteX4296" fmla="*/ 768326 w 11701760"/>
              <a:gd name="connsiteY4296" fmla="*/ 265770 h 6407421"/>
              <a:gd name="connsiteX4297" fmla="*/ 797926 w 11701760"/>
              <a:gd name="connsiteY4297" fmla="*/ 265770 h 6407421"/>
              <a:gd name="connsiteX4298" fmla="*/ 797926 w 11701760"/>
              <a:gd name="connsiteY4298" fmla="*/ 295372 h 6407421"/>
              <a:gd name="connsiteX4299" fmla="*/ 768326 w 11701760"/>
              <a:gd name="connsiteY4299" fmla="*/ 295372 h 6407421"/>
              <a:gd name="connsiteX4300" fmla="*/ 6349081 w 11701760"/>
              <a:gd name="connsiteY4300" fmla="*/ 265767 h 6407421"/>
              <a:gd name="connsiteX4301" fmla="*/ 6378683 w 11701760"/>
              <a:gd name="connsiteY4301" fmla="*/ 265767 h 6407421"/>
              <a:gd name="connsiteX4302" fmla="*/ 6378683 w 11701760"/>
              <a:gd name="connsiteY4302" fmla="*/ 295370 h 6407421"/>
              <a:gd name="connsiteX4303" fmla="*/ 6349081 w 11701760"/>
              <a:gd name="connsiteY4303" fmla="*/ 295370 h 6407421"/>
              <a:gd name="connsiteX4304" fmla="*/ 502235 w 11701760"/>
              <a:gd name="connsiteY4304" fmla="*/ 265767 h 6407421"/>
              <a:gd name="connsiteX4305" fmla="*/ 531838 w 11701760"/>
              <a:gd name="connsiteY4305" fmla="*/ 265767 h 6407421"/>
              <a:gd name="connsiteX4306" fmla="*/ 531838 w 11701760"/>
              <a:gd name="connsiteY4306" fmla="*/ 295370 h 6407421"/>
              <a:gd name="connsiteX4307" fmla="*/ 502235 w 11701760"/>
              <a:gd name="connsiteY4307" fmla="*/ 295370 h 6407421"/>
              <a:gd name="connsiteX4308" fmla="*/ 6082884 w 11701760"/>
              <a:gd name="connsiteY4308" fmla="*/ 265765 h 6407421"/>
              <a:gd name="connsiteX4309" fmla="*/ 6112486 w 11701760"/>
              <a:gd name="connsiteY4309" fmla="*/ 265765 h 6407421"/>
              <a:gd name="connsiteX4310" fmla="*/ 6112486 w 11701760"/>
              <a:gd name="connsiteY4310" fmla="*/ 295368 h 6407421"/>
              <a:gd name="connsiteX4311" fmla="*/ 6082884 w 11701760"/>
              <a:gd name="connsiteY4311" fmla="*/ 295368 h 6407421"/>
              <a:gd name="connsiteX4312" fmla="*/ 236036 w 11701760"/>
              <a:gd name="connsiteY4312" fmla="*/ 265765 h 6407421"/>
              <a:gd name="connsiteX4313" fmla="*/ 265639 w 11701760"/>
              <a:gd name="connsiteY4313" fmla="*/ 265765 h 6407421"/>
              <a:gd name="connsiteX4314" fmla="*/ 265639 w 11701760"/>
              <a:gd name="connsiteY4314" fmla="*/ 295368 h 6407421"/>
              <a:gd name="connsiteX4315" fmla="*/ 236036 w 11701760"/>
              <a:gd name="connsiteY4315" fmla="*/ 295368 h 6407421"/>
              <a:gd name="connsiteX4316" fmla="*/ 0 w 11701760"/>
              <a:gd name="connsiteY4316" fmla="*/ 265765 h 6407421"/>
              <a:gd name="connsiteX4317" fmla="*/ 29602 w 11701760"/>
              <a:gd name="connsiteY4317" fmla="*/ 265765 h 6407421"/>
              <a:gd name="connsiteX4318" fmla="*/ 29602 w 11701760"/>
              <a:gd name="connsiteY4318" fmla="*/ 295368 h 6407421"/>
              <a:gd name="connsiteX4319" fmla="*/ 0 w 11701760"/>
              <a:gd name="connsiteY4319" fmla="*/ 295368 h 6407421"/>
              <a:gd name="connsiteX4320" fmla="*/ 11672158 w 11701760"/>
              <a:gd name="connsiteY4320" fmla="*/ 48 h 6407421"/>
              <a:gd name="connsiteX4321" fmla="*/ 11701760 w 11701760"/>
              <a:gd name="connsiteY4321" fmla="*/ 48 h 6407421"/>
              <a:gd name="connsiteX4322" fmla="*/ 11701760 w 11701760"/>
              <a:gd name="connsiteY4322" fmla="*/ 29651 h 6407421"/>
              <a:gd name="connsiteX4323" fmla="*/ 11672158 w 11701760"/>
              <a:gd name="connsiteY4323" fmla="*/ 29651 h 6407421"/>
              <a:gd name="connsiteX4324" fmla="*/ 5825310 w 11701760"/>
              <a:gd name="connsiteY4324" fmla="*/ 48 h 6407421"/>
              <a:gd name="connsiteX4325" fmla="*/ 5854913 w 11701760"/>
              <a:gd name="connsiteY4325" fmla="*/ 48 h 6407421"/>
              <a:gd name="connsiteX4326" fmla="*/ 5854913 w 11701760"/>
              <a:gd name="connsiteY4326" fmla="*/ 29651 h 6407421"/>
              <a:gd name="connsiteX4327" fmla="*/ 5825310 w 11701760"/>
              <a:gd name="connsiteY4327" fmla="*/ 29651 h 6407421"/>
              <a:gd name="connsiteX4328" fmla="*/ 11405961 w 11701760"/>
              <a:gd name="connsiteY4328" fmla="*/ 46 h 6407421"/>
              <a:gd name="connsiteX4329" fmla="*/ 11435563 w 11701760"/>
              <a:gd name="connsiteY4329" fmla="*/ 46 h 6407421"/>
              <a:gd name="connsiteX4330" fmla="*/ 11435563 w 11701760"/>
              <a:gd name="connsiteY4330" fmla="*/ 29648 h 6407421"/>
              <a:gd name="connsiteX4331" fmla="*/ 11405961 w 11701760"/>
              <a:gd name="connsiteY4331" fmla="*/ 29648 h 6407421"/>
              <a:gd name="connsiteX4332" fmla="*/ 5559113 w 11701760"/>
              <a:gd name="connsiteY4332" fmla="*/ 46 h 6407421"/>
              <a:gd name="connsiteX4333" fmla="*/ 5588715 w 11701760"/>
              <a:gd name="connsiteY4333" fmla="*/ 46 h 6407421"/>
              <a:gd name="connsiteX4334" fmla="*/ 5588715 w 11701760"/>
              <a:gd name="connsiteY4334" fmla="*/ 29648 h 6407421"/>
              <a:gd name="connsiteX4335" fmla="*/ 5559113 w 11701760"/>
              <a:gd name="connsiteY4335" fmla="*/ 29648 h 6407421"/>
              <a:gd name="connsiteX4336" fmla="*/ 11139872 w 11701760"/>
              <a:gd name="connsiteY4336" fmla="*/ 44 h 6407421"/>
              <a:gd name="connsiteX4337" fmla="*/ 11169474 w 11701760"/>
              <a:gd name="connsiteY4337" fmla="*/ 44 h 6407421"/>
              <a:gd name="connsiteX4338" fmla="*/ 11169474 w 11701760"/>
              <a:gd name="connsiteY4338" fmla="*/ 29646 h 6407421"/>
              <a:gd name="connsiteX4339" fmla="*/ 11139872 w 11701760"/>
              <a:gd name="connsiteY4339" fmla="*/ 29646 h 6407421"/>
              <a:gd name="connsiteX4340" fmla="*/ 5293024 w 11701760"/>
              <a:gd name="connsiteY4340" fmla="*/ 44 h 6407421"/>
              <a:gd name="connsiteX4341" fmla="*/ 5322626 w 11701760"/>
              <a:gd name="connsiteY4341" fmla="*/ 44 h 6407421"/>
              <a:gd name="connsiteX4342" fmla="*/ 5322626 w 11701760"/>
              <a:gd name="connsiteY4342" fmla="*/ 29646 h 6407421"/>
              <a:gd name="connsiteX4343" fmla="*/ 5293024 w 11701760"/>
              <a:gd name="connsiteY4343" fmla="*/ 29646 h 6407421"/>
              <a:gd name="connsiteX4344" fmla="*/ 10873675 w 11701760"/>
              <a:gd name="connsiteY4344" fmla="*/ 41 h 6407421"/>
              <a:gd name="connsiteX4345" fmla="*/ 10903277 w 11701760"/>
              <a:gd name="connsiteY4345" fmla="*/ 41 h 6407421"/>
              <a:gd name="connsiteX4346" fmla="*/ 10903277 w 11701760"/>
              <a:gd name="connsiteY4346" fmla="*/ 29644 h 6407421"/>
              <a:gd name="connsiteX4347" fmla="*/ 10873675 w 11701760"/>
              <a:gd name="connsiteY4347" fmla="*/ 29644 h 6407421"/>
              <a:gd name="connsiteX4348" fmla="*/ 5026827 w 11701760"/>
              <a:gd name="connsiteY4348" fmla="*/ 41 h 6407421"/>
              <a:gd name="connsiteX4349" fmla="*/ 5056429 w 11701760"/>
              <a:gd name="connsiteY4349" fmla="*/ 41 h 6407421"/>
              <a:gd name="connsiteX4350" fmla="*/ 5056429 w 11701760"/>
              <a:gd name="connsiteY4350" fmla="*/ 29644 h 6407421"/>
              <a:gd name="connsiteX4351" fmla="*/ 5026827 w 11701760"/>
              <a:gd name="connsiteY4351" fmla="*/ 29644 h 6407421"/>
              <a:gd name="connsiteX4352" fmla="*/ 10607478 w 11701760"/>
              <a:gd name="connsiteY4352" fmla="*/ 39 h 6407421"/>
              <a:gd name="connsiteX4353" fmla="*/ 10637188 w 11701760"/>
              <a:gd name="connsiteY4353" fmla="*/ 39 h 6407421"/>
              <a:gd name="connsiteX4354" fmla="*/ 10637188 w 11701760"/>
              <a:gd name="connsiteY4354" fmla="*/ 29641 h 6407421"/>
              <a:gd name="connsiteX4355" fmla="*/ 10607478 w 11701760"/>
              <a:gd name="connsiteY4355" fmla="*/ 29641 h 6407421"/>
              <a:gd name="connsiteX4356" fmla="*/ 4760630 w 11701760"/>
              <a:gd name="connsiteY4356" fmla="*/ 39 h 6407421"/>
              <a:gd name="connsiteX4357" fmla="*/ 4790340 w 11701760"/>
              <a:gd name="connsiteY4357" fmla="*/ 39 h 6407421"/>
              <a:gd name="connsiteX4358" fmla="*/ 4790340 w 11701760"/>
              <a:gd name="connsiteY4358" fmla="*/ 29641 h 6407421"/>
              <a:gd name="connsiteX4359" fmla="*/ 4760630 w 11701760"/>
              <a:gd name="connsiteY4359" fmla="*/ 29641 h 6407421"/>
              <a:gd name="connsiteX4360" fmla="*/ 10341389 w 11701760"/>
              <a:gd name="connsiteY4360" fmla="*/ 37 h 6407421"/>
              <a:gd name="connsiteX4361" fmla="*/ 10370992 w 11701760"/>
              <a:gd name="connsiteY4361" fmla="*/ 37 h 6407421"/>
              <a:gd name="connsiteX4362" fmla="*/ 10370992 w 11701760"/>
              <a:gd name="connsiteY4362" fmla="*/ 29639 h 6407421"/>
              <a:gd name="connsiteX4363" fmla="*/ 10341389 w 11701760"/>
              <a:gd name="connsiteY4363" fmla="*/ 29639 h 6407421"/>
              <a:gd name="connsiteX4364" fmla="*/ 4494541 w 11701760"/>
              <a:gd name="connsiteY4364" fmla="*/ 37 h 6407421"/>
              <a:gd name="connsiteX4365" fmla="*/ 4524144 w 11701760"/>
              <a:gd name="connsiteY4365" fmla="*/ 37 h 6407421"/>
              <a:gd name="connsiteX4366" fmla="*/ 4524144 w 11701760"/>
              <a:gd name="connsiteY4366" fmla="*/ 29639 h 6407421"/>
              <a:gd name="connsiteX4367" fmla="*/ 4494541 w 11701760"/>
              <a:gd name="connsiteY4367" fmla="*/ 29639 h 6407421"/>
              <a:gd name="connsiteX4368" fmla="*/ 10075192 w 11701760"/>
              <a:gd name="connsiteY4368" fmla="*/ 34 h 6407421"/>
              <a:gd name="connsiteX4369" fmla="*/ 10104794 w 11701760"/>
              <a:gd name="connsiteY4369" fmla="*/ 34 h 6407421"/>
              <a:gd name="connsiteX4370" fmla="*/ 10104794 w 11701760"/>
              <a:gd name="connsiteY4370" fmla="*/ 29637 h 6407421"/>
              <a:gd name="connsiteX4371" fmla="*/ 10075192 w 11701760"/>
              <a:gd name="connsiteY4371" fmla="*/ 29637 h 6407421"/>
              <a:gd name="connsiteX4372" fmla="*/ 4228344 w 11701760"/>
              <a:gd name="connsiteY4372" fmla="*/ 34 h 6407421"/>
              <a:gd name="connsiteX4373" fmla="*/ 4257946 w 11701760"/>
              <a:gd name="connsiteY4373" fmla="*/ 34 h 6407421"/>
              <a:gd name="connsiteX4374" fmla="*/ 4257946 w 11701760"/>
              <a:gd name="connsiteY4374" fmla="*/ 29637 h 6407421"/>
              <a:gd name="connsiteX4375" fmla="*/ 4228344 w 11701760"/>
              <a:gd name="connsiteY4375" fmla="*/ 29637 h 6407421"/>
              <a:gd name="connsiteX4376" fmla="*/ 9809103 w 11701760"/>
              <a:gd name="connsiteY4376" fmla="*/ 32 h 6407421"/>
              <a:gd name="connsiteX4377" fmla="*/ 9838705 w 11701760"/>
              <a:gd name="connsiteY4377" fmla="*/ 32 h 6407421"/>
              <a:gd name="connsiteX4378" fmla="*/ 9838705 w 11701760"/>
              <a:gd name="connsiteY4378" fmla="*/ 29635 h 6407421"/>
              <a:gd name="connsiteX4379" fmla="*/ 9809103 w 11701760"/>
              <a:gd name="connsiteY4379" fmla="*/ 29635 h 6407421"/>
              <a:gd name="connsiteX4380" fmla="*/ 3962255 w 11701760"/>
              <a:gd name="connsiteY4380" fmla="*/ 32 h 6407421"/>
              <a:gd name="connsiteX4381" fmla="*/ 3991857 w 11701760"/>
              <a:gd name="connsiteY4381" fmla="*/ 32 h 6407421"/>
              <a:gd name="connsiteX4382" fmla="*/ 3991857 w 11701760"/>
              <a:gd name="connsiteY4382" fmla="*/ 29635 h 6407421"/>
              <a:gd name="connsiteX4383" fmla="*/ 3962255 w 11701760"/>
              <a:gd name="connsiteY4383" fmla="*/ 29635 h 6407421"/>
              <a:gd name="connsiteX4384" fmla="*/ 9542906 w 11701760"/>
              <a:gd name="connsiteY4384" fmla="*/ 30 h 6407421"/>
              <a:gd name="connsiteX4385" fmla="*/ 9572509 w 11701760"/>
              <a:gd name="connsiteY4385" fmla="*/ 30 h 6407421"/>
              <a:gd name="connsiteX4386" fmla="*/ 9572509 w 11701760"/>
              <a:gd name="connsiteY4386" fmla="*/ 29632 h 6407421"/>
              <a:gd name="connsiteX4387" fmla="*/ 9542906 w 11701760"/>
              <a:gd name="connsiteY4387" fmla="*/ 29632 h 6407421"/>
              <a:gd name="connsiteX4388" fmla="*/ 3696058 w 11701760"/>
              <a:gd name="connsiteY4388" fmla="*/ 30 h 6407421"/>
              <a:gd name="connsiteX4389" fmla="*/ 3725661 w 11701760"/>
              <a:gd name="connsiteY4389" fmla="*/ 30 h 6407421"/>
              <a:gd name="connsiteX4390" fmla="*/ 3725661 w 11701760"/>
              <a:gd name="connsiteY4390" fmla="*/ 29632 h 6407421"/>
              <a:gd name="connsiteX4391" fmla="*/ 3696058 w 11701760"/>
              <a:gd name="connsiteY4391" fmla="*/ 29632 h 6407421"/>
              <a:gd name="connsiteX4392" fmla="*/ 9276817 w 11701760"/>
              <a:gd name="connsiteY4392" fmla="*/ 28 h 6407421"/>
              <a:gd name="connsiteX4393" fmla="*/ 9306420 w 11701760"/>
              <a:gd name="connsiteY4393" fmla="*/ 28 h 6407421"/>
              <a:gd name="connsiteX4394" fmla="*/ 9306420 w 11701760"/>
              <a:gd name="connsiteY4394" fmla="*/ 29630 h 6407421"/>
              <a:gd name="connsiteX4395" fmla="*/ 9276817 w 11701760"/>
              <a:gd name="connsiteY4395" fmla="*/ 29630 h 6407421"/>
              <a:gd name="connsiteX4396" fmla="*/ 3429969 w 11701760"/>
              <a:gd name="connsiteY4396" fmla="*/ 28 h 6407421"/>
              <a:gd name="connsiteX4397" fmla="*/ 3459572 w 11701760"/>
              <a:gd name="connsiteY4397" fmla="*/ 28 h 6407421"/>
              <a:gd name="connsiteX4398" fmla="*/ 3459572 w 11701760"/>
              <a:gd name="connsiteY4398" fmla="*/ 29630 h 6407421"/>
              <a:gd name="connsiteX4399" fmla="*/ 3429969 w 11701760"/>
              <a:gd name="connsiteY4399" fmla="*/ 29630 h 6407421"/>
              <a:gd name="connsiteX4400" fmla="*/ 9010620 w 11701760"/>
              <a:gd name="connsiteY4400" fmla="*/ 25 h 6407421"/>
              <a:gd name="connsiteX4401" fmla="*/ 9040222 w 11701760"/>
              <a:gd name="connsiteY4401" fmla="*/ 25 h 6407421"/>
              <a:gd name="connsiteX4402" fmla="*/ 9040222 w 11701760"/>
              <a:gd name="connsiteY4402" fmla="*/ 29628 h 6407421"/>
              <a:gd name="connsiteX4403" fmla="*/ 9010620 w 11701760"/>
              <a:gd name="connsiteY4403" fmla="*/ 29628 h 6407421"/>
              <a:gd name="connsiteX4404" fmla="*/ 3163772 w 11701760"/>
              <a:gd name="connsiteY4404" fmla="*/ 25 h 6407421"/>
              <a:gd name="connsiteX4405" fmla="*/ 3193374 w 11701760"/>
              <a:gd name="connsiteY4405" fmla="*/ 25 h 6407421"/>
              <a:gd name="connsiteX4406" fmla="*/ 3193374 w 11701760"/>
              <a:gd name="connsiteY4406" fmla="*/ 29628 h 6407421"/>
              <a:gd name="connsiteX4407" fmla="*/ 3163772 w 11701760"/>
              <a:gd name="connsiteY4407" fmla="*/ 29628 h 6407421"/>
              <a:gd name="connsiteX4408" fmla="*/ 8744423 w 11701760"/>
              <a:gd name="connsiteY4408" fmla="*/ 23 h 6407421"/>
              <a:gd name="connsiteX4409" fmla="*/ 8774026 w 11701760"/>
              <a:gd name="connsiteY4409" fmla="*/ 23 h 6407421"/>
              <a:gd name="connsiteX4410" fmla="*/ 8774026 w 11701760"/>
              <a:gd name="connsiteY4410" fmla="*/ 29625 h 6407421"/>
              <a:gd name="connsiteX4411" fmla="*/ 8744423 w 11701760"/>
              <a:gd name="connsiteY4411" fmla="*/ 29625 h 6407421"/>
              <a:gd name="connsiteX4412" fmla="*/ 2897575 w 11701760"/>
              <a:gd name="connsiteY4412" fmla="*/ 23 h 6407421"/>
              <a:gd name="connsiteX4413" fmla="*/ 2927178 w 11701760"/>
              <a:gd name="connsiteY4413" fmla="*/ 23 h 6407421"/>
              <a:gd name="connsiteX4414" fmla="*/ 2927178 w 11701760"/>
              <a:gd name="connsiteY4414" fmla="*/ 29625 h 6407421"/>
              <a:gd name="connsiteX4415" fmla="*/ 2897575 w 11701760"/>
              <a:gd name="connsiteY4415" fmla="*/ 29625 h 6407421"/>
              <a:gd name="connsiteX4416" fmla="*/ 8478226 w 11701760"/>
              <a:gd name="connsiteY4416" fmla="*/ 21 h 6407421"/>
              <a:gd name="connsiteX4417" fmla="*/ 8507828 w 11701760"/>
              <a:gd name="connsiteY4417" fmla="*/ 21 h 6407421"/>
              <a:gd name="connsiteX4418" fmla="*/ 8507828 w 11701760"/>
              <a:gd name="connsiteY4418" fmla="*/ 29623 h 6407421"/>
              <a:gd name="connsiteX4419" fmla="*/ 8478226 w 11701760"/>
              <a:gd name="connsiteY4419" fmla="*/ 29623 h 6407421"/>
              <a:gd name="connsiteX4420" fmla="*/ 2631378 w 11701760"/>
              <a:gd name="connsiteY4420" fmla="*/ 21 h 6407421"/>
              <a:gd name="connsiteX4421" fmla="*/ 2660980 w 11701760"/>
              <a:gd name="connsiteY4421" fmla="*/ 21 h 6407421"/>
              <a:gd name="connsiteX4422" fmla="*/ 2660980 w 11701760"/>
              <a:gd name="connsiteY4422" fmla="*/ 29623 h 6407421"/>
              <a:gd name="connsiteX4423" fmla="*/ 2631378 w 11701760"/>
              <a:gd name="connsiteY4423" fmla="*/ 29623 h 6407421"/>
              <a:gd name="connsiteX4424" fmla="*/ 8212137 w 11701760"/>
              <a:gd name="connsiteY4424" fmla="*/ 18 h 6407421"/>
              <a:gd name="connsiteX4425" fmla="*/ 8241740 w 11701760"/>
              <a:gd name="connsiteY4425" fmla="*/ 18 h 6407421"/>
              <a:gd name="connsiteX4426" fmla="*/ 8241740 w 11701760"/>
              <a:gd name="connsiteY4426" fmla="*/ 29621 h 6407421"/>
              <a:gd name="connsiteX4427" fmla="*/ 8212137 w 11701760"/>
              <a:gd name="connsiteY4427" fmla="*/ 29621 h 6407421"/>
              <a:gd name="connsiteX4428" fmla="*/ 2365289 w 11701760"/>
              <a:gd name="connsiteY4428" fmla="*/ 18 h 6407421"/>
              <a:gd name="connsiteX4429" fmla="*/ 2394892 w 11701760"/>
              <a:gd name="connsiteY4429" fmla="*/ 18 h 6407421"/>
              <a:gd name="connsiteX4430" fmla="*/ 2394892 w 11701760"/>
              <a:gd name="connsiteY4430" fmla="*/ 29621 h 6407421"/>
              <a:gd name="connsiteX4431" fmla="*/ 2365289 w 11701760"/>
              <a:gd name="connsiteY4431" fmla="*/ 29621 h 6407421"/>
              <a:gd name="connsiteX4432" fmla="*/ 7945940 w 11701760"/>
              <a:gd name="connsiteY4432" fmla="*/ 16 h 6407421"/>
              <a:gd name="connsiteX4433" fmla="*/ 7975543 w 11701760"/>
              <a:gd name="connsiteY4433" fmla="*/ 16 h 6407421"/>
              <a:gd name="connsiteX4434" fmla="*/ 7975543 w 11701760"/>
              <a:gd name="connsiteY4434" fmla="*/ 29618 h 6407421"/>
              <a:gd name="connsiteX4435" fmla="*/ 7945940 w 11701760"/>
              <a:gd name="connsiteY4435" fmla="*/ 29618 h 6407421"/>
              <a:gd name="connsiteX4436" fmla="*/ 2099092 w 11701760"/>
              <a:gd name="connsiteY4436" fmla="*/ 16 h 6407421"/>
              <a:gd name="connsiteX4437" fmla="*/ 2128695 w 11701760"/>
              <a:gd name="connsiteY4437" fmla="*/ 16 h 6407421"/>
              <a:gd name="connsiteX4438" fmla="*/ 2128695 w 11701760"/>
              <a:gd name="connsiteY4438" fmla="*/ 29618 h 6407421"/>
              <a:gd name="connsiteX4439" fmla="*/ 2099092 w 11701760"/>
              <a:gd name="connsiteY4439" fmla="*/ 29618 h 6407421"/>
              <a:gd name="connsiteX4440" fmla="*/ 7679743 w 11701760"/>
              <a:gd name="connsiteY4440" fmla="*/ 14 h 6407421"/>
              <a:gd name="connsiteX4441" fmla="*/ 7709346 w 11701760"/>
              <a:gd name="connsiteY4441" fmla="*/ 14 h 6407421"/>
              <a:gd name="connsiteX4442" fmla="*/ 7709346 w 11701760"/>
              <a:gd name="connsiteY4442" fmla="*/ 29616 h 6407421"/>
              <a:gd name="connsiteX4443" fmla="*/ 7679743 w 11701760"/>
              <a:gd name="connsiteY4443" fmla="*/ 29616 h 6407421"/>
              <a:gd name="connsiteX4444" fmla="*/ 1832898 w 11701760"/>
              <a:gd name="connsiteY4444" fmla="*/ 14 h 6407421"/>
              <a:gd name="connsiteX4445" fmla="*/ 1862498 w 11701760"/>
              <a:gd name="connsiteY4445" fmla="*/ 14 h 6407421"/>
              <a:gd name="connsiteX4446" fmla="*/ 1862498 w 11701760"/>
              <a:gd name="connsiteY4446" fmla="*/ 29616 h 6407421"/>
              <a:gd name="connsiteX4447" fmla="*/ 1832898 w 11701760"/>
              <a:gd name="connsiteY4447" fmla="*/ 29616 h 6407421"/>
              <a:gd name="connsiteX4448" fmla="*/ 7413653 w 11701760"/>
              <a:gd name="connsiteY4448" fmla="*/ 12 h 6407421"/>
              <a:gd name="connsiteX4449" fmla="*/ 7443256 w 11701760"/>
              <a:gd name="connsiteY4449" fmla="*/ 12 h 6407421"/>
              <a:gd name="connsiteX4450" fmla="*/ 7443256 w 11701760"/>
              <a:gd name="connsiteY4450" fmla="*/ 29614 h 6407421"/>
              <a:gd name="connsiteX4451" fmla="*/ 7413653 w 11701760"/>
              <a:gd name="connsiteY4451" fmla="*/ 29614 h 6407421"/>
              <a:gd name="connsiteX4452" fmla="*/ 1566808 w 11701760"/>
              <a:gd name="connsiteY4452" fmla="*/ 12 h 6407421"/>
              <a:gd name="connsiteX4453" fmla="*/ 1596409 w 11701760"/>
              <a:gd name="connsiteY4453" fmla="*/ 12 h 6407421"/>
              <a:gd name="connsiteX4454" fmla="*/ 1596409 w 11701760"/>
              <a:gd name="connsiteY4454" fmla="*/ 29614 h 6407421"/>
              <a:gd name="connsiteX4455" fmla="*/ 1566808 w 11701760"/>
              <a:gd name="connsiteY4455" fmla="*/ 29614 h 6407421"/>
              <a:gd name="connsiteX4456" fmla="*/ 7147456 w 11701760"/>
              <a:gd name="connsiteY4456" fmla="*/ 9 h 6407421"/>
              <a:gd name="connsiteX4457" fmla="*/ 7177058 w 11701760"/>
              <a:gd name="connsiteY4457" fmla="*/ 9 h 6407421"/>
              <a:gd name="connsiteX4458" fmla="*/ 7177058 w 11701760"/>
              <a:gd name="connsiteY4458" fmla="*/ 29612 h 6407421"/>
              <a:gd name="connsiteX4459" fmla="*/ 7147456 w 11701760"/>
              <a:gd name="connsiteY4459" fmla="*/ 29612 h 6407421"/>
              <a:gd name="connsiteX4460" fmla="*/ 1300611 w 11701760"/>
              <a:gd name="connsiteY4460" fmla="*/ 9 h 6407421"/>
              <a:gd name="connsiteX4461" fmla="*/ 1330213 w 11701760"/>
              <a:gd name="connsiteY4461" fmla="*/ 9 h 6407421"/>
              <a:gd name="connsiteX4462" fmla="*/ 1330213 w 11701760"/>
              <a:gd name="connsiteY4462" fmla="*/ 29612 h 6407421"/>
              <a:gd name="connsiteX4463" fmla="*/ 1300611 w 11701760"/>
              <a:gd name="connsiteY4463" fmla="*/ 29612 h 6407421"/>
              <a:gd name="connsiteX4464" fmla="*/ 6881367 w 11701760"/>
              <a:gd name="connsiteY4464" fmla="*/ 7 h 6407421"/>
              <a:gd name="connsiteX4465" fmla="*/ 6910970 w 11701760"/>
              <a:gd name="connsiteY4465" fmla="*/ 7 h 6407421"/>
              <a:gd name="connsiteX4466" fmla="*/ 6910970 w 11701760"/>
              <a:gd name="connsiteY4466" fmla="*/ 29609 h 6407421"/>
              <a:gd name="connsiteX4467" fmla="*/ 6881367 w 11701760"/>
              <a:gd name="connsiteY4467" fmla="*/ 29609 h 6407421"/>
              <a:gd name="connsiteX4468" fmla="*/ 1034520 w 11701760"/>
              <a:gd name="connsiteY4468" fmla="*/ 7 h 6407421"/>
              <a:gd name="connsiteX4469" fmla="*/ 1064123 w 11701760"/>
              <a:gd name="connsiteY4469" fmla="*/ 7 h 6407421"/>
              <a:gd name="connsiteX4470" fmla="*/ 1064123 w 11701760"/>
              <a:gd name="connsiteY4470" fmla="*/ 29609 h 6407421"/>
              <a:gd name="connsiteX4471" fmla="*/ 1034520 w 11701760"/>
              <a:gd name="connsiteY4471" fmla="*/ 29609 h 6407421"/>
              <a:gd name="connsiteX4472" fmla="*/ 6615170 w 11701760"/>
              <a:gd name="connsiteY4472" fmla="*/ 5 h 6407421"/>
              <a:gd name="connsiteX4473" fmla="*/ 6644773 w 11701760"/>
              <a:gd name="connsiteY4473" fmla="*/ 5 h 6407421"/>
              <a:gd name="connsiteX4474" fmla="*/ 6644773 w 11701760"/>
              <a:gd name="connsiteY4474" fmla="*/ 29607 h 6407421"/>
              <a:gd name="connsiteX4475" fmla="*/ 6615170 w 11701760"/>
              <a:gd name="connsiteY4475" fmla="*/ 29607 h 6407421"/>
              <a:gd name="connsiteX4476" fmla="*/ 768326 w 11701760"/>
              <a:gd name="connsiteY4476" fmla="*/ 5 h 6407421"/>
              <a:gd name="connsiteX4477" fmla="*/ 797926 w 11701760"/>
              <a:gd name="connsiteY4477" fmla="*/ 5 h 6407421"/>
              <a:gd name="connsiteX4478" fmla="*/ 797926 w 11701760"/>
              <a:gd name="connsiteY4478" fmla="*/ 29607 h 6407421"/>
              <a:gd name="connsiteX4479" fmla="*/ 768326 w 11701760"/>
              <a:gd name="connsiteY4479" fmla="*/ 29607 h 6407421"/>
              <a:gd name="connsiteX4480" fmla="*/ 6349081 w 11701760"/>
              <a:gd name="connsiteY4480" fmla="*/ 2 h 6407421"/>
              <a:gd name="connsiteX4481" fmla="*/ 6378683 w 11701760"/>
              <a:gd name="connsiteY4481" fmla="*/ 2 h 6407421"/>
              <a:gd name="connsiteX4482" fmla="*/ 6378683 w 11701760"/>
              <a:gd name="connsiteY4482" fmla="*/ 29605 h 6407421"/>
              <a:gd name="connsiteX4483" fmla="*/ 6349081 w 11701760"/>
              <a:gd name="connsiteY4483" fmla="*/ 29605 h 6407421"/>
              <a:gd name="connsiteX4484" fmla="*/ 502235 w 11701760"/>
              <a:gd name="connsiteY4484" fmla="*/ 2 h 6407421"/>
              <a:gd name="connsiteX4485" fmla="*/ 531838 w 11701760"/>
              <a:gd name="connsiteY4485" fmla="*/ 2 h 6407421"/>
              <a:gd name="connsiteX4486" fmla="*/ 531838 w 11701760"/>
              <a:gd name="connsiteY4486" fmla="*/ 29605 h 6407421"/>
              <a:gd name="connsiteX4487" fmla="*/ 502235 w 11701760"/>
              <a:gd name="connsiteY4487" fmla="*/ 29605 h 6407421"/>
              <a:gd name="connsiteX4488" fmla="*/ 6082884 w 11701760"/>
              <a:gd name="connsiteY4488" fmla="*/ 0 h 6407421"/>
              <a:gd name="connsiteX4489" fmla="*/ 6112486 w 11701760"/>
              <a:gd name="connsiteY4489" fmla="*/ 0 h 6407421"/>
              <a:gd name="connsiteX4490" fmla="*/ 6112486 w 11701760"/>
              <a:gd name="connsiteY4490" fmla="*/ 29602 h 6407421"/>
              <a:gd name="connsiteX4491" fmla="*/ 6082884 w 11701760"/>
              <a:gd name="connsiteY4491" fmla="*/ 29602 h 6407421"/>
              <a:gd name="connsiteX4492" fmla="*/ 236036 w 11701760"/>
              <a:gd name="connsiteY4492" fmla="*/ 0 h 6407421"/>
              <a:gd name="connsiteX4493" fmla="*/ 265638 w 11701760"/>
              <a:gd name="connsiteY4493" fmla="*/ 0 h 6407421"/>
              <a:gd name="connsiteX4494" fmla="*/ 265638 w 11701760"/>
              <a:gd name="connsiteY4494" fmla="*/ 29602 h 6407421"/>
              <a:gd name="connsiteX4495" fmla="*/ 236036 w 11701760"/>
              <a:gd name="connsiteY4495" fmla="*/ 29602 h 6407421"/>
              <a:gd name="connsiteX4496" fmla="*/ 0 w 11701760"/>
              <a:gd name="connsiteY4496" fmla="*/ 0 h 6407421"/>
              <a:gd name="connsiteX4497" fmla="*/ 29602 w 11701760"/>
              <a:gd name="connsiteY4497" fmla="*/ 0 h 6407421"/>
              <a:gd name="connsiteX4498" fmla="*/ 29602 w 11701760"/>
              <a:gd name="connsiteY4498" fmla="*/ 29602 h 6407421"/>
              <a:gd name="connsiteX4499" fmla="*/ 0 w 11701760"/>
              <a:gd name="connsiteY4499" fmla="*/ 29602 h 6407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  <a:cxn ang="0">
                <a:pos x="connsiteX3122" y="connsiteY3122"/>
              </a:cxn>
              <a:cxn ang="0">
                <a:pos x="connsiteX3123" y="connsiteY3123"/>
              </a:cxn>
              <a:cxn ang="0">
                <a:pos x="connsiteX3124" y="connsiteY3124"/>
              </a:cxn>
              <a:cxn ang="0">
                <a:pos x="connsiteX3125" y="connsiteY3125"/>
              </a:cxn>
              <a:cxn ang="0">
                <a:pos x="connsiteX3126" y="connsiteY3126"/>
              </a:cxn>
              <a:cxn ang="0">
                <a:pos x="connsiteX3127" y="connsiteY3127"/>
              </a:cxn>
              <a:cxn ang="0">
                <a:pos x="connsiteX3128" y="connsiteY3128"/>
              </a:cxn>
              <a:cxn ang="0">
                <a:pos x="connsiteX3129" y="connsiteY3129"/>
              </a:cxn>
              <a:cxn ang="0">
                <a:pos x="connsiteX3130" y="connsiteY3130"/>
              </a:cxn>
              <a:cxn ang="0">
                <a:pos x="connsiteX3131" y="connsiteY3131"/>
              </a:cxn>
              <a:cxn ang="0">
                <a:pos x="connsiteX3132" y="connsiteY3132"/>
              </a:cxn>
              <a:cxn ang="0">
                <a:pos x="connsiteX3133" y="connsiteY3133"/>
              </a:cxn>
              <a:cxn ang="0">
                <a:pos x="connsiteX3134" y="connsiteY3134"/>
              </a:cxn>
              <a:cxn ang="0">
                <a:pos x="connsiteX3135" y="connsiteY3135"/>
              </a:cxn>
              <a:cxn ang="0">
                <a:pos x="connsiteX3136" y="connsiteY3136"/>
              </a:cxn>
              <a:cxn ang="0">
                <a:pos x="connsiteX3137" y="connsiteY3137"/>
              </a:cxn>
              <a:cxn ang="0">
                <a:pos x="connsiteX3138" y="connsiteY3138"/>
              </a:cxn>
              <a:cxn ang="0">
                <a:pos x="connsiteX3139" y="connsiteY3139"/>
              </a:cxn>
              <a:cxn ang="0">
                <a:pos x="connsiteX3140" y="connsiteY3140"/>
              </a:cxn>
              <a:cxn ang="0">
                <a:pos x="connsiteX3141" y="connsiteY3141"/>
              </a:cxn>
              <a:cxn ang="0">
                <a:pos x="connsiteX3142" y="connsiteY3142"/>
              </a:cxn>
              <a:cxn ang="0">
                <a:pos x="connsiteX3143" y="connsiteY3143"/>
              </a:cxn>
              <a:cxn ang="0">
                <a:pos x="connsiteX3144" y="connsiteY3144"/>
              </a:cxn>
              <a:cxn ang="0">
                <a:pos x="connsiteX3145" y="connsiteY3145"/>
              </a:cxn>
              <a:cxn ang="0">
                <a:pos x="connsiteX3146" y="connsiteY3146"/>
              </a:cxn>
              <a:cxn ang="0">
                <a:pos x="connsiteX3147" y="connsiteY3147"/>
              </a:cxn>
              <a:cxn ang="0">
                <a:pos x="connsiteX3148" y="connsiteY3148"/>
              </a:cxn>
              <a:cxn ang="0">
                <a:pos x="connsiteX3149" y="connsiteY3149"/>
              </a:cxn>
              <a:cxn ang="0">
                <a:pos x="connsiteX3150" y="connsiteY3150"/>
              </a:cxn>
              <a:cxn ang="0">
                <a:pos x="connsiteX3151" y="connsiteY3151"/>
              </a:cxn>
              <a:cxn ang="0">
                <a:pos x="connsiteX3152" y="connsiteY3152"/>
              </a:cxn>
              <a:cxn ang="0">
                <a:pos x="connsiteX3153" y="connsiteY3153"/>
              </a:cxn>
              <a:cxn ang="0">
                <a:pos x="connsiteX3154" y="connsiteY3154"/>
              </a:cxn>
              <a:cxn ang="0">
                <a:pos x="connsiteX3155" y="connsiteY3155"/>
              </a:cxn>
              <a:cxn ang="0">
                <a:pos x="connsiteX3156" y="connsiteY3156"/>
              </a:cxn>
              <a:cxn ang="0">
                <a:pos x="connsiteX3157" y="connsiteY3157"/>
              </a:cxn>
              <a:cxn ang="0">
                <a:pos x="connsiteX3158" y="connsiteY3158"/>
              </a:cxn>
              <a:cxn ang="0">
                <a:pos x="connsiteX3159" y="connsiteY3159"/>
              </a:cxn>
              <a:cxn ang="0">
                <a:pos x="connsiteX3160" y="connsiteY3160"/>
              </a:cxn>
              <a:cxn ang="0">
                <a:pos x="connsiteX3161" y="connsiteY3161"/>
              </a:cxn>
              <a:cxn ang="0">
                <a:pos x="connsiteX3162" y="connsiteY3162"/>
              </a:cxn>
              <a:cxn ang="0">
                <a:pos x="connsiteX3163" y="connsiteY3163"/>
              </a:cxn>
              <a:cxn ang="0">
                <a:pos x="connsiteX3164" y="connsiteY3164"/>
              </a:cxn>
              <a:cxn ang="0">
                <a:pos x="connsiteX3165" y="connsiteY3165"/>
              </a:cxn>
              <a:cxn ang="0">
                <a:pos x="connsiteX3166" y="connsiteY3166"/>
              </a:cxn>
              <a:cxn ang="0">
                <a:pos x="connsiteX3167" y="connsiteY3167"/>
              </a:cxn>
              <a:cxn ang="0">
                <a:pos x="connsiteX3168" y="connsiteY3168"/>
              </a:cxn>
              <a:cxn ang="0">
                <a:pos x="connsiteX3169" y="connsiteY3169"/>
              </a:cxn>
              <a:cxn ang="0">
                <a:pos x="connsiteX3170" y="connsiteY3170"/>
              </a:cxn>
              <a:cxn ang="0">
                <a:pos x="connsiteX3171" y="connsiteY3171"/>
              </a:cxn>
              <a:cxn ang="0">
                <a:pos x="connsiteX3172" y="connsiteY3172"/>
              </a:cxn>
              <a:cxn ang="0">
                <a:pos x="connsiteX3173" y="connsiteY3173"/>
              </a:cxn>
              <a:cxn ang="0">
                <a:pos x="connsiteX3174" y="connsiteY3174"/>
              </a:cxn>
              <a:cxn ang="0">
                <a:pos x="connsiteX3175" y="connsiteY3175"/>
              </a:cxn>
              <a:cxn ang="0">
                <a:pos x="connsiteX3176" y="connsiteY3176"/>
              </a:cxn>
              <a:cxn ang="0">
                <a:pos x="connsiteX3177" y="connsiteY3177"/>
              </a:cxn>
              <a:cxn ang="0">
                <a:pos x="connsiteX3178" y="connsiteY3178"/>
              </a:cxn>
              <a:cxn ang="0">
                <a:pos x="connsiteX3179" y="connsiteY3179"/>
              </a:cxn>
              <a:cxn ang="0">
                <a:pos x="connsiteX3180" y="connsiteY3180"/>
              </a:cxn>
              <a:cxn ang="0">
                <a:pos x="connsiteX3181" y="connsiteY3181"/>
              </a:cxn>
              <a:cxn ang="0">
                <a:pos x="connsiteX3182" y="connsiteY3182"/>
              </a:cxn>
              <a:cxn ang="0">
                <a:pos x="connsiteX3183" y="connsiteY3183"/>
              </a:cxn>
              <a:cxn ang="0">
                <a:pos x="connsiteX3184" y="connsiteY3184"/>
              </a:cxn>
              <a:cxn ang="0">
                <a:pos x="connsiteX3185" y="connsiteY3185"/>
              </a:cxn>
              <a:cxn ang="0">
                <a:pos x="connsiteX3186" y="connsiteY3186"/>
              </a:cxn>
              <a:cxn ang="0">
                <a:pos x="connsiteX3187" y="connsiteY3187"/>
              </a:cxn>
              <a:cxn ang="0">
                <a:pos x="connsiteX3188" y="connsiteY3188"/>
              </a:cxn>
              <a:cxn ang="0">
                <a:pos x="connsiteX3189" y="connsiteY3189"/>
              </a:cxn>
              <a:cxn ang="0">
                <a:pos x="connsiteX3190" y="connsiteY3190"/>
              </a:cxn>
              <a:cxn ang="0">
                <a:pos x="connsiteX3191" y="connsiteY3191"/>
              </a:cxn>
              <a:cxn ang="0">
                <a:pos x="connsiteX3192" y="connsiteY3192"/>
              </a:cxn>
              <a:cxn ang="0">
                <a:pos x="connsiteX3193" y="connsiteY3193"/>
              </a:cxn>
              <a:cxn ang="0">
                <a:pos x="connsiteX3194" y="connsiteY3194"/>
              </a:cxn>
              <a:cxn ang="0">
                <a:pos x="connsiteX3195" y="connsiteY3195"/>
              </a:cxn>
              <a:cxn ang="0">
                <a:pos x="connsiteX3196" y="connsiteY3196"/>
              </a:cxn>
              <a:cxn ang="0">
                <a:pos x="connsiteX3197" y="connsiteY3197"/>
              </a:cxn>
              <a:cxn ang="0">
                <a:pos x="connsiteX3198" y="connsiteY3198"/>
              </a:cxn>
              <a:cxn ang="0">
                <a:pos x="connsiteX3199" y="connsiteY3199"/>
              </a:cxn>
              <a:cxn ang="0">
                <a:pos x="connsiteX3200" y="connsiteY3200"/>
              </a:cxn>
              <a:cxn ang="0">
                <a:pos x="connsiteX3201" y="connsiteY3201"/>
              </a:cxn>
              <a:cxn ang="0">
                <a:pos x="connsiteX3202" y="connsiteY3202"/>
              </a:cxn>
              <a:cxn ang="0">
                <a:pos x="connsiteX3203" y="connsiteY3203"/>
              </a:cxn>
              <a:cxn ang="0">
                <a:pos x="connsiteX3204" y="connsiteY3204"/>
              </a:cxn>
              <a:cxn ang="0">
                <a:pos x="connsiteX3205" y="connsiteY3205"/>
              </a:cxn>
              <a:cxn ang="0">
                <a:pos x="connsiteX3206" y="connsiteY3206"/>
              </a:cxn>
              <a:cxn ang="0">
                <a:pos x="connsiteX3207" y="connsiteY3207"/>
              </a:cxn>
              <a:cxn ang="0">
                <a:pos x="connsiteX3208" y="connsiteY3208"/>
              </a:cxn>
              <a:cxn ang="0">
                <a:pos x="connsiteX3209" y="connsiteY3209"/>
              </a:cxn>
              <a:cxn ang="0">
                <a:pos x="connsiteX3210" y="connsiteY3210"/>
              </a:cxn>
              <a:cxn ang="0">
                <a:pos x="connsiteX3211" y="connsiteY3211"/>
              </a:cxn>
              <a:cxn ang="0">
                <a:pos x="connsiteX3212" y="connsiteY3212"/>
              </a:cxn>
              <a:cxn ang="0">
                <a:pos x="connsiteX3213" y="connsiteY3213"/>
              </a:cxn>
              <a:cxn ang="0">
                <a:pos x="connsiteX3214" y="connsiteY3214"/>
              </a:cxn>
              <a:cxn ang="0">
                <a:pos x="connsiteX3215" y="connsiteY3215"/>
              </a:cxn>
              <a:cxn ang="0">
                <a:pos x="connsiteX3216" y="connsiteY3216"/>
              </a:cxn>
              <a:cxn ang="0">
                <a:pos x="connsiteX3217" y="connsiteY3217"/>
              </a:cxn>
              <a:cxn ang="0">
                <a:pos x="connsiteX3218" y="connsiteY3218"/>
              </a:cxn>
              <a:cxn ang="0">
                <a:pos x="connsiteX3219" y="connsiteY3219"/>
              </a:cxn>
              <a:cxn ang="0">
                <a:pos x="connsiteX3220" y="connsiteY3220"/>
              </a:cxn>
              <a:cxn ang="0">
                <a:pos x="connsiteX3221" y="connsiteY3221"/>
              </a:cxn>
              <a:cxn ang="0">
                <a:pos x="connsiteX3222" y="connsiteY3222"/>
              </a:cxn>
              <a:cxn ang="0">
                <a:pos x="connsiteX3223" y="connsiteY3223"/>
              </a:cxn>
              <a:cxn ang="0">
                <a:pos x="connsiteX3224" y="connsiteY3224"/>
              </a:cxn>
              <a:cxn ang="0">
                <a:pos x="connsiteX3225" y="connsiteY3225"/>
              </a:cxn>
              <a:cxn ang="0">
                <a:pos x="connsiteX3226" y="connsiteY3226"/>
              </a:cxn>
              <a:cxn ang="0">
                <a:pos x="connsiteX3227" y="connsiteY3227"/>
              </a:cxn>
              <a:cxn ang="0">
                <a:pos x="connsiteX3228" y="connsiteY3228"/>
              </a:cxn>
              <a:cxn ang="0">
                <a:pos x="connsiteX3229" y="connsiteY3229"/>
              </a:cxn>
              <a:cxn ang="0">
                <a:pos x="connsiteX3230" y="connsiteY3230"/>
              </a:cxn>
              <a:cxn ang="0">
                <a:pos x="connsiteX3231" y="connsiteY3231"/>
              </a:cxn>
              <a:cxn ang="0">
                <a:pos x="connsiteX3232" y="connsiteY3232"/>
              </a:cxn>
              <a:cxn ang="0">
                <a:pos x="connsiteX3233" y="connsiteY3233"/>
              </a:cxn>
              <a:cxn ang="0">
                <a:pos x="connsiteX3234" y="connsiteY3234"/>
              </a:cxn>
              <a:cxn ang="0">
                <a:pos x="connsiteX3235" y="connsiteY3235"/>
              </a:cxn>
              <a:cxn ang="0">
                <a:pos x="connsiteX3236" y="connsiteY3236"/>
              </a:cxn>
              <a:cxn ang="0">
                <a:pos x="connsiteX3237" y="connsiteY3237"/>
              </a:cxn>
              <a:cxn ang="0">
                <a:pos x="connsiteX3238" y="connsiteY3238"/>
              </a:cxn>
              <a:cxn ang="0">
                <a:pos x="connsiteX3239" y="connsiteY3239"/>
              </a:cxn>
              <a:cxn ang="0">
                <a:pos x="connsiteX3240" y="connsiteY3240"/>
              </a:cxn>
              <a:cxn ang="0">
                <a:pos x="connsiteX3241" y="connsiteY3241"/>
              </a:cxn>
              <a:cxn ang="0">
                <a:pos x="connsiteX3242" y="connsiteY3242"/>
              </a:cxn>
              <a:cxn ang="0">
                <a:pos x="connsiteX3243" y="connsiteY3243"/>
              </a:cxn>
              <a:cxn ang="0">
                <a:pos x="connsiteX3244" y="connsiteY3244"/>
              </a:cxn>
              <a:cxn ang="0">
                <a:pos x="connsiteX3245" y="connsiteY3245"/>
              </a:cxn>
              <a:cxn ang="0">
                <a:pos x="connsiteX3246" y="connsiteY3246"/>
              </a:cxn>
              <a:cxn ang="0">
                <a:pos x="connsiteX3247" y="connsiteY3247"/>
              </a:cxn>
              <a:cxn ang="0">
                <a:pos x="connsiteX3248" y="connsiteY3248"/>
              </a:cxn>
              <a:cxn ang="0">
                <a:pos x="connsiteX3249" y="connsiteY3249"/>
              </a:cxn>
              <a:cxn ang="0">
                <a:pos x="connsiteX3250" y="connsiteY3250"/>
              </a:cxn>
              <a:cxn ang="0">
                <a:pos x="connsiteX3251" y="connsiteY3251"/>
              </a:cxn>
              <a:cxn ang="0">
                <a:pos x="connsiteX3252" y="connsiteY3252"/>
              </a:cxn>
              <a:cxn ang="0">
                <a:pos x="connsiteX3253" y="connsiteY3253"/>
              </a:cxn>
              <a:cxn ang="0">
                <a:pos x="connsiteX3254" y="connsiteY3254"/>
              </a:cxn>
              <a:cxn ang="0">
                <a:pos x="connsiteX3255" y="connsiteY3255"/>
              </a:cxn>
              <a:cxn ang="0">
                <a:pos x="connsiteX3256" y="connsiteY3256"/>
              </a:cxn>
              <a:cxn ang="0">
                <a:pos x="connsiteX3257" y="connsiteY3257"/>
              </a:cxn>
              <a:cxn ang="0">
                <a:pos x="connsiteX3258" y="connsiteY3258"/>
              </a:cxn>
              <a:cxn ang="0">
                <a:pos x="connsiteX3259" y="connsiteY3259"/>
              </a:cxn>
              <a:cxn ang="0">
                <a:pos x="connsiteX3260" y="connsiteY3260"/>
              </a:cxn>
              <a:cxn ang="0">
                <a:pos x="connsiteX3261" y="connsiteY3261"/>
              </a:cxn>
              <a:cxn ang="0">
                <a:pos x="connsiteX3262" y="connsiteY3262"/>
              </a:cxn>
              <a:cxn ang="0">
                <a:pos x="connsiteX3263" y="connsiteY3263"/>
              </a:cxn>
              <a:cxn ang="0">
                <a:pos x="connsiteX3264" y="connsiteY3264"/>
              </a:cxn>
              <a:cxn ang="0">
                <a:pos x="connsiteX3265" y="connsiteY3265"/>
              </a:cxn>
              <a:cxn ang="0">
                <a:pos x="connsiteX3266" y="connsiteY3266"/>
              </a:cxn>
              <a:cxn ang="0">
                <a:pos x="connsiteX3267" y="connsiteY3267"/>
              </a:cxn>
              <a:cxn ang="0">
                <a:pos x="connsiteX3268" y="connsiteY3268"/>
              </a:cxn>
              <a:cxn ang="0">
                <a:pos x="connsiteX3269" y="connsiteY3269"/>
              </a:cxn>
              <a:cxn ang="0">
                <a:pos x="connsiteX3270" y="connsiteY3270"/>
              </a:cxn>
              <a:cxn ang="0">
                <a:pos x="connsiteX3271" y="connsiteY3271"/>
              </a:cxn>
              <a:cxn ang="0">
                <a:pos x="connsiteX3272" y="connsiteY3272"/>
              </a:cxn>
              <a:cxn ang="0">
                <a:pos x="connsiteX3273" y="connsiteY3273"/>
              </a:cxn>
              <a:cxn ang="0">
                <a:pos x="connsiteX3274" y="connsiteY3274"/>
              </a:cxn>
              <a:cxn ang="0">
                <a:pos x="connsiteX3275" y="connsiteY3275"/>
              </a:cxn>
              <a:cxn ang="0">
                <a:pos x="connsiteX3276" y="connsiteY3276"/>
              </a:cxn>
              <a:cxn ang="0">
                <a:pos x="connsiteX3277" y="connsiteY3277"/>
              </a:cxn>
              <a:cxn ang="0">
                <a:pos x="connsiteX3278" y="connsiteY3278"/>
              </a:cxn>
              <a:cxn ang="0">
                <a:pos x="connsiteX3279" y="connsiteY3279"/>
              </a:cxn>
              <a:cxn ang="0">
                <a:pos x="connsiteX3280" y="connsiteY3280"/>
              </a:cxn>
              <a:cxn ang="0">
                <a:pos x="connsiteX3281" y="connsiteY3281"/>
              </a:cxn>
              <a:cxn ang="0">
                <a:pos x="connsiteX3282" y="connsiteY3282"/>
              </a:cxn>
              <a:cxn ang="0">
                <a:pos x="connsiteX3283" y="connsiteY3283"/>
              </a:cxn>
              <a:cxn ang="0">
                <a:pos x="connsiteX3284" y="connsiteY3284"/>
              </a:cxn>
              <a:cxn ang="0">
                <a:pos x="connsiteX3285" y="connsiteY3285"/>
              </a:cxn>
              <a:cxn ang="0">
                <a:pos x="connsiteX3286" y="connsiteY3286"/>
              </a:cxn>
              <a:cxn ang="0">
                <a:pos x="connsiteX3287" y="connsiteY3287"/>
              </a:cxn>
              <a:cxn ang="0">
                <a:pos x="connsiteX3288" y="connsiteY3288"/>
              </a:cxn>
              <a:cxn ang="0">
                <a:pos x="connsiteX3289" y="connsiteY3289"/>
              </a:cxn>
              <a:cxn ang="0">
                <a:pos x="connsiteX3290" y="connsiteY3290"/>
              </a:cxn>
              <a:cxn ang="0">
                <a:pos x="connsiteX3291" y="connsiteY3291"/>
              </a:cxn>
              <a:cxn ang="0">
                <a:pos x="connsiteX3292" y="connsiteY3292"/>
              </a:cxn>
              <a:cxn ang="0">
                <a:pos x="connsiteX3293" y="connsiteY3293"/>
              </a:cxn>
              <a:cxn ang="0">
                <a:pos x="connsiteX3294" y="connsiteY3294"/>
              </a:cxn>
              <a:cxn ang="0">
                <a:pos x="connsiteX3295" y="connsiteY3295"/>
              </a:cxn>
              <a:cxn ang="0">
                <a:pos x="connsiteX3296" y="connsiteY3296"/>
              </a:cxn>
              <a:cxn ang="0">
                <a:pos x="connsiteX3297" y="connsiteY3297"/>
              </a:cxn>
              <a:cxn ang="0">
                <a:pos x="connsiteX3298" y="connsiteY3298"/>
              </a:cxn>
              <a:cxn ang="0">
                <a:pos x="connsiteX3299" y="connsiteY3299"/>
              </a:cxn>
              <a:cxn ang="0">
                <a:pos x="connsiteX3300" y="connsiteY3300"/>
              </a:cxn>
              <a:cxn ang="0">
                <a:pos x="connsiteX3301" y="connsiteY3301"/>
              </a:cxn>
              <a:cxn ang="0">
                <a:pos x="connsiteX3302" y="connsiteY3302"/>
              </a:cxn>
              <a:cxn ang="0">
                <a:pos x="connsiteX3303" y="connsiteY3303"/>
              </a:cxn>
              <a:cxn ang="0">
                <a:pos x="connsiteX3304" y="connsiteY3304"/>
              </a:cxn>
              <a:cxn ang="0">
                <a:pos x="connsiteX3305" y="connsiteY3305"/>
              </a:cxn>
              <a:cxn ang="0">
                <a:pos x="connsiteX3306" y="connsiteY3306"/>
              </a:cxn>
              <a:cxn ang="0">
                <a:pos x="connsiteX3307" y="connsiteY3307"/>
              </a:cxn>
              <a:cxn ang="0">
                <a:pos x="connsiteX3308" y="connsiteY3308"/>
              </a:cxn>
              <a:cxn ang="0">
                <a:pos x="connsiteX3309" y="connsiteY3309"/>
              </a:cxn>
              <a:cxn ang="0">
                <a:pos x="connsiteX3310" y="connsiteY3310"/>
              </a:cxn>
              <a:cxn ang="0">
                <a:pos x="connsiteX3311" y="connsiteY3311"/>
              </a:cxn>
              <a:cxn ang="0">
                <a:pos x="connsiteX3312" y="connsiteY3312"/>
              </a:cxn>
              <a:cxn ang="0">
                <a:pos x="connsiteX3313" y="connsiteY3313"/>
              </a:cxn>
              <a:cxn ang="0">
                <a:pos x="connsiteX3314" y="connsiteY3314"/>
              </a:cxn>
              <a:cxn ang="0">
                <a:pos x="connsiteX3315" y="connsiteY3315"/>
              </a:cxn>
              <a:cxn ang="0">
                <a:pos x="connsiteX3316" y="connsiteY3316"/>
              </a:cxn>
              <a:cxn ang="0">
                <a:pos x="connsiteX3317" y="connsiteY3317"/>
              </a:cxn>
              <a:cxn ang="0">
                <a:pos x="connsiteX3318" y="connsiteY3318"/>
              </a:cxn>
              <a:cxn ang="0">
                <a:pos x="connsiteX3319" y="connsiteY3319"/>
              </a:cxn>
              <a:cxn ang="0">
                <a:pos x="connsiteX3320" y="connsiteY3320"/>
              </a:cxn>
              <a:cxn ang="0">
                <a:pos x="connsiteX3321" y="connsiteY3321"/>
              </a:cxn>
              <a:cxn ang="0">
                <a:pos x="connsiteX3322" y="connsiteY3322"/>
              </a:cxn>
              <a:cxn ang="0">
                <a:pos x="connsiteX3323" y="connsiteY3323"/>
              </a:cxn>
              <a:cxn ang="0">
                <a:pos x="connsiteX3324" y="connsiteY3324"/>
              </a:cxn>
              <a:cxn ang="0">
                <a:pos x="connsiteX3325" y="connsiteY3325"/>
              </a:cxn>
              <a:cxn ang="0">
                <a:pos x="connsiteX3326" y="connsiteY3326"/>
              </a:cxn>
              <a:cxn ang="0">
                <a:pos x="connsiteX3327" y="connsiteY3327"/>
              </a:cxn>
              <a:cxn ang="0">
                <a:pos x="connsiteX3328" y="connsiteY3328"/>
              </a:cxn>
              <a:cxn ang="0">
                <a:pos x="connsiteX3329" y="connsiteY3329"/>
              </a:cxn>
              <a:cxn ang="0">
                <a:pos x="connsiteX3330" y="connsiteY3330"/>
              </a:cxn>
              <a:cxn ang="0">
                <a:pos x="connsiteX3331" y="connsiteY3331"/>
              </a:cxn>
              <a:cxn ang="0">
                <a:pos x="connsiteX3332" y="connsiteY3332"/>
              </a:cxn>
              <a:cxn ang="0">
                <a:pos x="connsiteX3333" y="connsiteY3333"/>
              </a:cxn>
              <a:cxn ang="0">
                <a:pos x="connsiteX3334" y="connsiteY3334"/>
              </a:cxn>
              <a:cxn ang="0">
                <a:pos x="connsiteX3335" y="connsiteY3335"/>
              </a:cxn>
              <a:cxn ang="0">
                <a:pos x="connsiteX3336" y="connsiteY3336"/>
              </a:cxn>
              <a:cxn ang="0">
                <a:pos x="connsiteX3337" y="connsiteY3337"/>
              </a:cxn>
              <a:cxn ang="0">
                <a:pos x="connsiteX3338" y="connsiteY3338"/>
              </a:cxn>
              <a:cxn ang="0">
                <a:pos x="connsiteX3339" y="connsiteY3339"/>
              </a:cxn>
              <a:cxn ang="0">
                <a:pos x="connsiteX3340" y="connsiteY3340"/>
              </a:cxn>
              <a:cxn ang="0">
                <a:pos x="connsiteX3341" y="connsiteY3341"/>
              </a:cxn>
              <a:cxn ang="0">
                <a:pos x="connsiteX3342" y="connsiteY3342"/>
              </a:cxn>
              <a:cxn ang="0">
                <a:pos x="connsiteX3343" y="connsiteY3343"/>
              </a:cxn>
              <a:cxn ang="0">
                <a:pos x="connsiteX3344" y="connsiteY3344"/>
              </a:cxn>
              <a:cxn ang="0">
                <a:pos x="connsiteX3345" y="connsiteY3345"/>
              </a:cxn>
              <a:cxn ang="0">
                <a:pos x="connsiteX3346" y="connsiteY3346"/>
              </a:cxn>
              <a:cxn ang="0">
                <a:pos x="connsiteX3347" y="connsiteY3347"/>
              </a:cxn>
              <a:cxn ang="0">
                <a:pos x="connsiteX3348" y="connsiteY3348"/>
              </a:cxn>
              <a:cxn ang="0">
                <a:pos x="connsiteX3349" y="connsiteY3349"/>
              </a:cxn>
              <a:cxn ang="0">
                <a:pos x="connsiteX3350" y="connsiteY3350"/>
              </a:cxn>
              <a:cxn ang="0">
                <a:pos x="connsiteX3351" y="connsiteY3351"/>
              </a:cxn>
              <a:cxn ang="0">
                <a:pos x="connsiteX3352" y="connsiteY3352"/>
              </a:cxn>
              <a:cxn ang="0">
                <a:pos x="connsiteX3353" y="connsiteY3353"/>
              </a:cxn>
              <a:cxn ang="0">
                <a:pos x="connsiteX3354" y="connsiteY3354"/>
              </a:cxn>
              <a:cxn ang="0">
                <a:pos x="connsiteX3355" y="connsiteY3355"/>
              </a:cxn>
              <a:cxn ang="0">
                <a:pos x="connsiteX3356" y="connsiteY3356"/>
              </a:cxn>
              <a:cxn ang="0">
                <a:pos x="connsiteX3357" y="connsiteY3357"/>
              </a:cxn>
              <a:cxn ang="0">
                <a:pos x="connsiteX3358" y="connsiteY3358"/>
              </a:cxn>
              <a:cxn ang="0">
                <a:pos x="connsiteX3359" y="connsiteY3359"/>
              </a:cxn>
              <a:cxn ang="0">
                <a:pos x="connsiteX3360" y="connsiteY3360"/>
              </a:cxn>
              <a:cxn ang="0">
                <a:pos x="connsiteX3361" y="connsiteY3361"/>
              </a:cxn>
              <a:cxn ang="0">
                <a:pos x="connsiteX3362" y="connsiteY3362"/>
              </a:cxn>
              <a:cxn ang="0">
                <a:pos x="connsiteX3363" y="connsiteY3363"/>
              </a:cxn>
              <a:cxn ang="0">
                <a:pos x="connsiteX3364" y="connsiteY3364"/>
              </a:cxn>
              <a:cxn ang="0">
                <a:pos x="connsiteX3365" y="connsiteY3365"/>
              </a:cxn>
              <a:cxn ang="0">
                <a:pos x="connsiteX3366" y="connsiteY3366"/>
              </a:cxn>
              <a:cxn ang="0">
                <a:pos x="connsiteX3367" y="connsiteY3367"/>
              </a:cxn>
              <a:cxn ang="0">
                <a:pos x="connsiteX3368" y="connsiteY3368"/>
              </a:cxn>
              <a:cxn ang="0">
                <a:pos x="connsiteX3369" y="connsiteY3369"/>
              </a:cxn>
              <a:cxn ang="0">
                <a:pos x="connsiteX3370" y="connsiteY3370"/>
              </a:cxn>
              <a:cxn ang="0">
                <a:pos x="connsiteX3371" y="connsiteY3371"/>
              </a:cxn>
              <a:cxn ang="0">
                <a:pos x="connsiteX3372" y="connsiteY3372"/>
              </a:cxn>
              <a:cxn ang="0">
                <a:pos x="connsiteX3373" y="connsiteY3373"/>
              </a:cxn>
              <a:cxn ang="0">
                <a:pos x="connsiteX3374" y="connsiteY3374"/>
              </a:cxn>
              <a:cxn ang="0">
                <a:pos x="connsiteX3375" y="connsiteY3375"/>
              </a:cxn>
              <a:cxn ang="0">
                <a:pos x="connsiteX3376" y="connsiteY3376"/>
              </a:cxn>
              <a:cxn ang="0">
                <a:pos x="connsiteX3377" y="connsiteY3377"/>
              </a:cxn>
              <a:cxn ang="0">
                <a:pos x="connsiteX3378" y="connsiteY3378"/>
              </a:cxn>
              <a:cxn ang="0">
                <a:pos x="connsiteX3379" y="connsiteY3379"/>
              </a:cxn>
              <a:cxn ang="0">
                <a:pos x="connsiteX3380" y="connsiteY3380"/>
              </a:cxn>
              <a:cxn ang="0">
                <a:pos x="connsiteX3381" y="connsiteY3381"/>
              </a:cxn>
              <a:cxn ang="0">
                <a:pos x="connsiteX3382" y="connsiteY3382"/>
              </a:cxn>
              <a:cxn ang="0">
                <a:pos x="connsiteX3383" y="connsiteY3383"/>
              </a:cxn>
              <a:cxn ang="0">
                <a:pos x="connsiteX3384" y="connsiteY3384"/>
              </a:cxn>
              <a:cxn ang="0">
                <a:pos x="connsiteX3385" y="connsiteY3385"/>
              </a:cxn>
              <a:cxn ang="0">
                <a:pos x="connsiteX3386" y="connsiteY3386"/>
              </a:cxn>
              <a:cxn ang="0">
                <a:pos x="connsiteX3387" y="connsiteY3387"/>
              </a:cxn>
              <a:cxn ang="0">
                <a:pos x="connsiteX3388" y="connsiteY3388"/>
              </a:cxn>
              <a:cxn ang="0">
                <a:pos x="connsiteX3389" y="connsiteY3389"/>
              </a:cxn>
              <a:cxn ang="0">
                <a:pos x="connsiteX3390" y="connsiteY3390"/>
              </a:cxn>
              <a:cxn ang="0">
                <a:pos x="connsiteX3391" y="connsiteY3391"/>
              </a:cxn>
              <a:cxn ang="0">
                <a:pos x="connsiteX3392" y="connsiteY3392"/>
              </a:cxn>
              <a:cxn ang="0">
                <a:pos x="connsiteX3393" y="connsiteY3393"/>
              </a:cxn>
              <a:cxn ang="0">
                <a:pos x="connsiteX3394" y="connsiteY3394"/>
              </a:cxn>
              <a:cxn ang="0">
                <a:pos x="connsiteX3395" y="connsiteY3395"/>
              </a:cxn>
              <a:cxn ang="0">
                <a:pos x="connsiteX3396" y="connsiteY3396"/>
              </a:cxn>
              <a:cxn ang="0">
                <a:pos x="connsiteX3397" y="connsiteY3397"/>
              </a:cxn>
              <a:cxn ang="0">
                <a:pos x="connsiteX3398" y="connsiteY3398"/>
              </a:cxn>
              <a:cxn ang="0">
                <a:pos x="connsiteX3399" y="connsiteY3399"/>
              </a:cxn>
              <a:cxn ang="0">
                <a:pos x="connsiteX3400" y="connsiteY3400"/>
              </a:cxn>
              <a:cxn ang="0">
                <a:pos x="connsiteX3401" y="connsiteY3401"/>
              </a:cxn>
              <a:cxn ang="0">
                <a:pos x="connsiteX3402" y="connsiteY3402"/>
              </a:cxn>
              <a:cxn ang="0">
                <a:pos x="connsiteX3403" y="connsiteY3403"/>
              </a:cxn>
              <a:cxn ang="0">
                <a:pos x="connsiteX3404" y="connsiteY3404"/>
              </a:cxn>
              <a:cxn ang="0">
                <a:pos x="connsiteX3405" y="connsiteY3405"/>
              </a:cxn>
              <a:cxn ang="0">
                <a:pos x="connsiteX3406" y="connsiteY3406"/>
              </a:cxn>
              <a:cxn ang="0">
                <a:pos x="connsiteX3407" y="connsiteY3407"/>
              </a:cxn>
              <a:cxn ang="0">
                <a:pos x="connsiteX3408" y="connsiteY3408"/>
              </a:cxn>
              <a:cxn ang="0">
                <a:pos x="connsiteX3409" y="connsiteY3409"/>
              </a:cxn>
              <a:cxn ang="0">
                <a:pos x="connsiteX3410" y="connsiteY3410"/>
              </a:cxn>
              <a:cxn ang="0">
                <a:pos x="connsiteX3411" y="connsiteY3411"/>
              </a:cxn>
              <a:cxn ang="0">
                <a:pos x="connsiteX3412" y="connsiteY3412"/>
              </a:cxn>
              <a:cxn ang="0">
                <a:pos x="connsiteX3413" y="connsiteY3413"/>
              </a:cxn>
              <a:cxn ang="0">
                <a:pos x="connsiteX3414" y="connsiteY3414"/>
              </a:cxn>
              <a:cxn ang="0">
                <a:pos x="connsiteX3415" y="connsiteY3415"/>
              </a:cxn>
              <a:cxn ang="0">
                <a:pos x="connsiteX3416" y="connsiteY3416"/>
              </a:cxn>
              <a:cxn ang="0">
                <a:pos x="connsiteX3417" y="connsiteY3417"/>
              </a:cxn>
              <a:cxn ang="0">
                <a:pos x="connsiteX3418" y="connsiteY3418"/>
              </a:cxn>
              <a:cxn ang="0">
                <a:pos x="connsiteX3419" y="connsiteY3419"/>
              </a:cxn>
              <a:cxn ang="0">
                <a:pos x="connsiteX3420" y="connsiteY3420"/>
              </a:cxn>
              <a:cxn ang="0">
                <a:pos x="connsiteX3421" y="connsiteY3421"/>
              </a:cxn>
              <a:cxn ang="0">
                <a:pos x="connsiteX3422" y="connsiteY3422"/>
              </a:cxn>
              <a:cxn ang="0">
                <a:pos x="connsiteX3423" y="connsiteY3423"/>
              </a:cxn>
              <a:cxn ang="0">
                <a:pos x="connsiteX3424" y="connsiteY3424"/>
              </a:cxn>
              <a:cxn ang="0">
                <a:pos x="connsiteX3425" y="connsiteY3425"/>
              </a:cxn>
              <a:cxn ang="0">
                <a:pos x="connsiteX3426" y="connsiteY3426"/>
              </a:cxn>
              <a:cxn ang="0">
                <a:pos x="connsiteX3427" y="connsiteY3427"/>
              </a:cxn>
              <a:cxn ang="0">
                <a:pos x="connsiteX3428" y="connsiteY3428"/>
              </a:cxn>
              <a:cxn ang="0">
                <a:pos x="connsiteX3429" y="connsiteY3429"/>
              </a:cxn>
              <a:cxn ang="0">
                <a:pos x="connsiteX3430" y="connsiteY3430"/>
              </a:cxn>
              <a:cxn ang="0">
                <a:pos x="connsiteX3431" y="connsiteY3431"/>
              </a:cxn>
              <a:cxn ang="0">
                <a:pos x="connsiteX3432" y="connsiteY3432"/>
              </a:cxn>
              <a:cxn ang="0">
                <a:pos x="connsiteX3433" y="connsiteY3433"/>
              </a:cxn>
              <a:cxn ang="0">
                <a:pos x="connsiteX3434" y="connsiteY3434"/>
              </a:cxn>
              <a:cxn ang="0">
                <a:pos x="connsiteX3435" y="connsiteY3435"/>
              </a:cxn>
              <a:cxn ang="0">
                <a:pos x="connsiteX3436" y="connsiteY3436"/>
              </a:cxn>
              <a:cxn ang="0">
                <a:pos x="connsiteX3437" y="connsiteY3437"/>
              </a:cxn>
              <a:cxn ang="0">
                <a:pos x="connsiteX3438" y="connsiteY3438"/>
              </a:cxn>
              <a:cxn ang="0">
                <a:pos x="connsiteX3439" y="connsiteY3439"/>
              </a:cxn>
              <a:cxn ang="0">
                <a:pos x="connsiteX3440" y="connsiteY3440"/>
              </a:cxn>
              <a:cxn ang="0">
                <a:pos x="connsiteX3441" y="connsiteY3441"/>
              </a:cxn>
              <a:cxn ang="0">
                <a:pos x="connsiteX3442" y="connsiteY3442"/>
              </a:cxn>
              <a:cxn ang="0">
                <a:pos x="connsiteX3443" y="connsiteY3443"/>
              </a:cxn>
              <a:cxn ang="0">
                <a:pos x="connsiteX3444" y="connsiteY3444"/>
              </a:cxn>
              <a:cxn ang="0">
                <a:pos x="connsiteX3445" y="connsiteY3445"/>
              </a:cxn>
              <a:cxn ang="0">
                <a:pos x="connsiteX3446" y="connsiteY3446"/>
              </a:cxn>
              <a:cxn ang="0">
                <a:pos x="connsiteX3447" y="connsiteY3447"/>
              </a:cxn>
              <a:cxn ang="0">
                <a:pos x="connsiteX3448" y="connsiteY3448"/>
              </a:cxn>
              <a:cxn ang="0">
                <a:pos x="connsiteX3449" y="connsiteY3449"/>
              </a:cxn>
              <a:cxn ang="0">
                <a:pos x="connsiteX3450" y="connsiteY3450"/>
              </a:cxn>
              <a:cxn ang="0">
                <a:pos x="connsiteX3451" y="connsiteY3451"/>
              </a:cxn>
              <a:cxn ang="0">
                <a:pos x="connsiteX3452" y="connsiteY3452"/>
              </a:cxn>
              <a:cxn ang="0">
                <a:pos x="connsiteX3453" y="connsiteY3453"/>
              </a:cxn>
              <a:cxn ang="0">
                <a:pos x="connsiteX3454" y="connsiteY3454"/>
              </a:cxn>
              <a:cxn ang="0">
                <a:pos x="connsiteX3455" y="connsiteY3455"/>
              </a:cxn>
              <a:cxn ang="0">
                <a:pos x="connsiteX3456" y="connsiteY3456"/>
              </a:cxn>
              <a:cxn ang="0">
                <a:pos x="connsiteX3457" y="connsiteY3457"/>
              </a:cxn>
              <a:cxn ang="0">
                <a:pos x="connsiteX3458" y="connsiteY3458"/>
              </a:cxn>
              <a:cxn ang="0">
                <a:pos x="connsiteX3459" y="connsiteY3459"/>
              </a:cxn>
              <a:cxn ang="0">
                <a:pos x="connsiteX3460" y="connsiteY3460"/>
              </a:cxn>
              <a:cxn ang="0">
                <a:pos x="connsiteX3461" y="connsiteY3461"/>
              </a:cxn>
              <a:cxn ang="0">
                <a:pos x="connsiteX3462" y="connsiteY3462"/>
              </a:cxn>
              <a:cxn ang="0">
                <a:pos x="connsiteX3463" y="connsiteY3463"/>
              </a:cxn>
              <a:cxn ang="0">
                <a:pos x="connsiteX3464" y="connsiteY3464"/>
              </a:cxn>
              <a:cxn ang="0">
                <a:pos x="connsiteX3465" y="connsiteY3465"/>
              </a:cxn>
              <a:cxn ang="0">
                <a:pos x="connsiteX3466" y="connsiteY3466"/>
              </a:cxn>
              <a:cxn ang="0">
                <a:pos x="connsiteX3467" y="connsiteY3467"/>
              </a:cxn>
              <a:cxn ang="0">
                <a:pos x="connsiteX3468" y="connsiteY3468"/>
              </a:cxn>
              <a:cxn ang="0">
                <a:pos x="connsiteX3469" y="connsiteY3469"/>
              </a:cxn>
              <a:cxn ang="0">
                <a:pos x="connsiteX3470" y="connsiteY3470"/>
              </a:cxn>
              <a:cxn ang="0">
                <a:pos x="connsiteX3471" y="connsiteY3471"/>
              </a:cxn>
              <a:cxn ang="0">
                <a:pos x="connsiteX3472" y="connsiteY3472"/>
              </a:cxn>
              <a:cxn ang="0">
                <a:pos x="connsiteX3473" y="connsiteY3473"/>
              </a:cxn>
              <a:cxn ang="0">
                <a:pos x="connsiteX3474" y="connsiteY3474"/>
              </a:cxn>
              <a:cxn ang="0">
                <a:pos x="connsiteX3475" y="connsiteY3475"/>
              </a:cxn>
              <a:cxn ang="0">
                <a:pos x="connsiteX3476" y="connsiteY3476"/>
              </a:cxn>
              <a:cxn ang="0">
                <a:pos x="connsiteX3477" y="connsiteY3477"/>
              </a:cxn>
              <a:cxn ang="0">
                <a:pos x="connsiteX3478" y="connsiteY3478"/>
              </a:cxn>
              <a:cxn ang="0">
                <a:pos x="connsiteX3479" y="connsiteY3479"/>
              </a:cxn>
              <a:cxn ang="0">
                <a:pos x="connsiteX3480" y="connsiteY3480"/>
              </a:cxn>
              <a:cxn ang="0">
                <a:pos x="connsiteX3481" y="connsiteY3481"/>
              </a:cxn>
              <a:cxn ang="0">
                <a:pos x="connsiteX3482" y="connsiteY3482"/>
              </a:cxn>
              <a:cxn ang="0">
                <a:pos x="connsiteX3483" y="connsiteY3483"/>
              </a:cxn>
              <a:cxn ang="0">
                <a:pos x="connsiteX3484" y="connsiteY3484"/>
              </a:cxn>
              <a:cxn ang="0">
                <a:pos x="connsiteX3485" y="connsiteY3485"/>
              </a:cxn>
              <a:cxn ang="0">
                <a:pos x="connsiteX3486" y="connsiteY3486"/>
              </a:cxn>
              <a:cxn ang="0">
                <a:pos x="connsiteX3487" y="connsiteY3487"/>
              </a:cxn>
              <a:cxn ang="0">
                <a:pos x="connsiteX3488" y="connsiteY3488"/>
              </a:cxn>
              <a:cxn ang="0">
                <a:pos x="connsiteX3489" y="connsiteY3489"/>
              </a:cxn>
              <a:cxn ang="0">
                <a:pos x="connsiteX3490" y="connsiteY3490"/>
              </a:cxn>
              <a:cxn ang="0">
                <a:pos x="connsiteX3491" y="connsiteY3491"/>
              </a:cxn>
              <a:cxn ang="0">
                <a:pos x="connsiteX3492" y="connsiteY3492"/>
              </a:cxn>
              <a:cxn ang="0">
                <a:pos x="connsiteX3493" y="connsiteY3493"/>
              </a:cxn>
              <a:cxn ang="0">
                <a:pos x="connsiteX3494" y="connsiteY3494"/>
              </a:cxn>
              <a:cxn ang="0">
                <a:pos x="connsiteX3495" y="connsiteY3495"/>
              </a:cxn>
              <a:cxn ang="0">
                <a:pos x="connsiteX3496" y="connsiteY3496"/>
              </a:cxn>
              <a:cxn ang="0">
                <a:pos x="connsiteX3497" y="connsiteY3497"/>
              </a:cxn>
              <a:cxn ang="0">
                <a:pos x="connsiteX3498" y="connsiteY3498"/>
              </a:cxn>
              <a:cxn ang="0">
                <a:pos x="connsiteX3499" y="connsiteY3499"/>
              </a:cxn>
              <a:cxn ang="0">
                <a:pos x="connsiteX3500" y="connsiteY3500"/>
              </a:cxn>
              <a:cxn ang="0">
                <a:pos x="connsiteX3501" y="connsiteY3501"/>
              </a:cxn>
              <a:cxn ang="0">
                <a:pos x="connsiteX3502" y="connsiteY3502"/>
              </a:cxn>
              <a:cxn ang="0">
                <a:pos x="connsiteX3503" y="connsiteY3503"/>
              </a:cxn>
              <a:cxn ang="0">
                <a:pos x="connsiteX3504" y="connsiteY3504"/>
              </a:cxn>
              <a:cxn ang="0">
                <a:pos x="connsiteX3505" y="connsiteY3505"/>
              </a:cxn>
              <a:cxn ang="0">
                <a:pos x="connsiteX3506" y="connsiteY3506"/>
              </a:cxn>
              <a:cxn ang="0">
                <a:pos x="connsiteX3507" y="connsiteY3507"/>
              </a:cxn>
              <a:cxn ang="0">
                <a:pos x="connsiteX3508" y="connsiteY3508"/>
              </a:cxn>
              <a:cxn ang="0">
                <a:pos x="connsiteX3509" y="connsiteY3509"/>
              </a:cxn>
              <a:cxn ang="0">
                <a:pos x="connsiteX3510" y="connsiteY3510"/>
              </a:cxn>
              <a:cxn ang="0">
                <a:pos x="connsiteX3511" y="connsiteY3511"/>
              </a:cxn>
              <a:cxn ang="0">
                <a:pos x="connsiteX3512" y="connsiteY3512"/>
              </a:cxn>
              <a:cxn ang="0">
                <a:pos x="connsiteX3513" y="connsiteY3513"/>
              </a:cxn>
              <a:cxn ang="0">
                <a:pos x="connsiteX3514" y="connsiteY3514"/>
              </a:cxn>
              <a:cxn ang="0">
                <a:pos x="connsiteX3515" y="connsiteY3515"/>
              </a:cxn>
              <a:cxn ang="0">
                <a:pos x="connsiteX3516" y="connsiteY3516"/>
              </a:cxn>
              <a:cxn ang="0">
                <a:pos x="connsiteX3517" y="connsiteY3517"/>
              </a:cxn>
              <a:cxn ang="0">
                <a:pos x="connsiteX3518" y="connsiteY3518"/>
              </a:cxn>
              <a:cxn ang="0">
                <a:pos x="connsiteX3519" y="connsiteY3519"/>
              </a:cxn>
              <a:cxn ang="0">
                <a:pos x="connsiteX3520" y="connsiteY3520"/>
              </a:cxn>
              <a:cxn ang="0">
                <a:pos x="connsiteX3521" y="connsiteY3521"/>
              </a:cxn>
              <a:cxn ang="0">
                <a:pos x="connsiteX3522" y="connsiteY3522"/>
              </a:cxn>
              <a:cxn ang="0">
                <a:pos x="connsiteX3523" y="connsiteY3523"/>
              </a:cxn>
              <a:cxn ang="0">
                <a:pos x="connsiteX3524" y="connsiteY3524"/>
              </a:cxn>
              <a:cxn ang="0">
                <a:pos x="connsiteX3525" y="connsiteY3525"/>
              </a:cxn>
              <a:cxn ang="0">
                <a:pos x="connsiteX3526" y="connsiteY3526"/>
              </a:cxn>
              <a:cxn ang="0">
                <a:pos x="connsiteX3527" y="connsiteY3527"/>
              </a:cxn>
              <a:cxn ang="0">
                <a:pos x="connsiteX3528" y="connsiteY3528"/>
              </a:cxn>
              <a:cxn ang="0">
                <a:pos x="connsiteX3529" y="connsiteY3529"/>
              </a:cxn>
              <a:cxn ang="0">
                <a:pos x="connsiteX3530" y="connsiteY3530"/>
              </a:cxn>
              <a:cxn ang="0">
                <a:pos x="connsiteX3531" y="connsiteY3531"/>
              </a:cxn>
              <a:cxn ang="0">
                <a:pos x="connsiteX3532" y="connsiteY3532"/>
              </a:cxn>
              <a:cxn ang="0">
                <a:pos x="connsiteX3533" y="connsiteY3533"/>
              </a:cxn>
              <a:cxn ang="0">
                <a:pos x="connsiteX3534" y="connsiteY3534"/>
              </a:cxn>
              <a:cxn ang="0">
                <a:pos x="connsiteX3535" y="connsiteY3535"/>
              </a:cxn>
              <a:cxn ang="0">
                <a:pos x="connsiteX3536" y="connsiteY3536"/>
              </a:cxn>
              <a:cxn ang="0">
                <a:pos x="connsiteX3537" y="connsiteY3537"/>
              </a:cxn>
              <a:cxn ang="0">
                <a:pos x="connsiteX3538" y="connsiteY3538"/>
              </a:cxn>
              <a:cxn ang="0">
                <a:pos x="connsiteX3539" y="connsiteY3539"/>
              </a:cxn>
              <a:cxn ang="0">
                <a:pos x="connsiteX3540" y="connsiteY3540"/>
              </a:cxn>
              <a:cxn ang="0">
                <a:pos x="connsiteX3541" y="connsiteY3541"/>
              </a:cxn>
              <a:cxn ang="0">
                <a:pos x="connsiteX3542" y="connsiteY3542"/>
              </a:cxn>
              <a:cxn ang="0">
                <a:pos x="connsiteX3543" y="connsiteY3543"/>
              </a:cxn>
              <a:cxn ang="0">
                <a:pos x="connsiteX3544" y="connsiteY3544"/>
              </a:cxn>
              <a:cxn ang="0">
                <a:pos x="connsiteX3545" y="connsiteY3545"/>
              </a:cxn>
              <a:cxn ang="0">
                <a:pos x="connsiteX3546" y="connsiteY3546"/>
              </a:cxn>
              <a:cxn ang="0">
                <a:pos x="connsiteX3547" y="connsiteY3547"/>
              </a:cxn>
              <a:cxn ang="0">
                <a:pos x="connsiteX3548" y="connsiteY3548"/>
              </a:cxn>
              <a:cxn ang="0">
                <a:pos x="connsiteX3549" y="connsiteY3549"/>
              </a:cxn>
              <a:cxn ang="0">
                <a:pos x="connsiteX3550" y="connsiteY3550"/>
              </a:cxn>
              <a:cxn ang="0">
                <a:pos x="connsiteX3551" y="connsiteY3551"/>
              </a:cxn>
              <a:cxn ang="0">
                <a:pos x="connsiteX3552" y="connsiteY3552"/>
              </a:cxn>
              <a:cxn ang="0">
                <a:pos x="connsiteX3553" y="connsiteY3553"/>
              </a:cxn>
              <a:cxn ang="0">
                <a:pos x="connsiteX3554" y="connsiteY3554"/>
              </a:cxn>
              <a:cxn ang="0">
                <a:pos x="connsiteX3555" y="connsiteY3555"/>
              </a:cxn>
              <a:cxn ang="0">
                <a:pos x="connsiteX3556" y="connsiteY3556"/>
              </a:cxn>
              <a:cxn ang="0">
                <a:pos x="connsiteX3557" y="connsiteY3557"/>
              </a:cxn>
              <a:cxn ang="0">
                <a:pos x="connsiteX3558" y="connsiteY3558"/>
              </a:cxn>
              <a:cxn ang="0">
                <a:pos x="connsiteX3559" y="connsiteY3559"/>
              </a:cxn>
              <a:cxn ang="0">
                <a:pos x="connsiteX3560" y="connsiteY3560"/>
              </a:cxn>
              <a:cxn ang="0">
                <a:pos x="connsiteX3561" y="connsiteY3561"/>
              </a:cxn>
              <a:cxn ang="0">
                <a:pos x="connsiteX3562" y="connsiteY3562"/>
              </a:cxn>
              <a:cxn ang="0">
                <a:pos x="connsiteX3563" y="connsiteY3563"/>
              </a:cxn>
              <a:cxn ang="0">
                <a:pos x="connsiteX3564" y="connsiteY3564"/>
              </a:cxn>
              <a:cxn ang="0">
                <a:pos x="connsiteX3565" y="connsiteY3565"/>
              </a:cxn>
              <a:cxn ang="0">
                <a:pos x="connsiteX3566" y="connsiteY3566"/>
              </a:cxn>
              <a:cxn ang="0">
                <a:pos x="connsiteX3567" y="connsiteY3567"/>
              </a:cxn>
              <a:cxn ang="0">
                <a:pos x="connsiteX3568" y="connsiteY3568"/>
              </a:cxn>
              <a:cxn ang="0">
                <a:pos x="connsiteX3569" y="connsiteY3569"/>
              </a:cxn>
              <a:cxn ang="0">
                <a:pos x="connsiteX3570" y="connsiteY3570"/>
              </a:cxn>
              <a:cxn ang="0">
                <a:pos x="connsiteX3571" y="connsiteY3571"/>
              </a:cxn>
              <a:cxn ang="0">
                <a:pos x="connsiteX3572" y="connsiteY3572"/>
              </a:cxn>
              <a:cxn ang="0">
                <a:pos x="connsiteX3573" y="connsiteY3573"/>
              </a:cxn>
              <a:cxn ang="0">
                <a:pos x="connsiteX3574" y="connsiteY3574"/>
              </a:cxn>
              <a:cxn ang="0">
                <a:pos x="connsiteX3575" y="connsiteY3575"/>
              </a:cxn>
              <a:cxn ang="0">
                <a:pos x="connsiteX3576" y="connsiteY3576"/>
              </a:cxn>
              <a:cxn ang="0">
                <a:pos x="connsiteX3577" y="connsiteY3577"/>
              </a:cxn>
              <a:cxn ang="0">
                <a:pos x="connsiteX3578" y="connsiteY3578"/>
              </a:cxn>
              <a:cxn ang="0">
                <a:pos x="connsiteX3579" y="connsiteY3579"/>
              </a:cxn>
              <a:cxn ang="0">
                <a:pos x="connsiteX3580" y="connsiteY3580"/>
              </a:cxn>
              <a:cxn ang="0">
                <a:pos x="connsiteX3581" y="connsiteY3581"/>
              </a:cxn>
              <a:cxn ang="0">
                <a:pos x="connsiteX3582" y="connsiteY3582"/>
              </a:cxn>
              <a:cxn ang="0">
                <a:pos x="connsiteX3583" y="connsiteY3583"/>
              </a:cxn>
              <a:cxn ang="0">
                <a:pos x="connsiteX3584" y="connsiteY3584"/>
              </a:cxn>
              <a:cxn ang="0">
                <a:pos x="connsiteX3585" y="connsiteY3585"/>
              </a:cxn>
              <a:cxn ang="0">
                <a:pos x="connsiteX3586" y="connsiteY3586"/>
              </a:cxn>
              <a:cxn ang="0">
                <a:pos x="connsiteX3587" y="connsiteY3587"/>
              </a:cxn>
              <a:cxn ang="0">
                <a:pos x="connsiteX3588" y="connsiteY3588"/>
              </a:cxn>
              <a:cxn ang="0">
                <a:pos x="connsiteX3589" y="connsiteY3589"/>
              </a:cxn>
              <a:cxn ang="0">
                <a:pos x="connsiteX3590" y="connsiteY3590"/>
              </a:cxn>
              <a:cxn ang="0">
                <a:pos x="connsiteX3591" y="connsiteY3591"/>
              </a:cxn>
              <a:cxn ang="0">
                <a:pos x="connsiteX3592" y="connsiteY3592"/>
              </a:cxn>
              <a:cxn ang="0">
                <a:pos x="connsiteX3593" y="connsiteY3593"/>
              </a:cxn>
              <a:cxn ang="0">
                <a:pos x="connsiteX3594" y="connsiteY3594"/>
              </a:cxn>
              <a:cxn ang="0">
                <a:pos x="connsiteX3595" y="connsiteY3595"/>
              </a:cxn>
              <a:cxn ang="0">
                <a:pos x="connsiteX3596" y="connsiteY3596"/>
              </a:cxn>
              <a:cxn ang="0">
                <a:pos x="connsiteX3597" y="connsiteY3597"/>
              </a:cxn>
              <a:cxn ang="0">
                <a:pos x="connsiteX3598" y="connsiteY3598"/>
              </a:cxn>
              <a:cxn ang="0">
                <a:pos x="connsiteX3599" y="connsiteY3599"/>
              </a:cxn>
              <a:cxn ang="0">
                <a:pos x="connsiteX3600" y="connsiteY3600"/>
              </a:cxn>
              <a:cxn ang="0">
                <a:pos x="connsiteX3601" y="connsiteY3601"/>
              </a:cxn>
              <a:cxn ang="0">
                <a:pos x="connsiteX3602" y="connsiteY3602"/>
              </a:cxn>
              <a:cxn ang="0">
                <a:pos x="connsiteX3603" y="connsiteY3603"/>
              </a:cxn>
              <a:cxn ang="0">
                <a:pos x="connsiteX3604" y="connsiteY3604"/>
              </a:cxn>
              <a:cxn ang="0">
                <a:pos x="connsiteX3605" y="connsiteY3605"/>
              </a:cxn>
              <a:cxn ang="0">
                <a:pos x="connsiteX3606" y="connsiteY3606"/>
              </a:cxn>
              <a:cxn ang="0">
                <a:pos x="connsiteX3607" y="connsiteY3607"/>
              </a:cxn>
              <a:cxn ang="0">
                <a:pos x="connsiteX3608" y="connsiteY3608"/>
              </a:cxn>
              <a:cxn ang="0">
                <a:pos x="connsiteX3609" y="connsiteY3609"/>
              </a:cxn>
              <a:cxn ang="0">
                <a:pos x="connsiteX3610" y="connsiteY3610"/>
              </a:cxn>
              <a:cxn ang="0">
                <a:pos x="connsiteX3611" y="connsiteY3611"/>
              </a:cxn>
              <a:cxn ang="0">
                <a:pos x="connsiteX3612" y="connsiteY3612"/>
              </a:cxn>
              <a:cxn ang="0">
                <a:pos x="connsiteX3613" y="connsiteY3613"/>
              </a:cxn>
              <a:cxn ang="0">
                <a:pos x="connsiteX3614" y="connsiteY3614"/>
              </a:cxn>
              <a:cxn ang="0">
                <a:pos x="connsiteX3615" y="connsiteY3615"/>
              </a:cxn>
              <a:cxn ang="0">
                <a:pos x="connsiteX3616" y="connsiteY3616"/>
              </a:cxn>
              <a:cxn ang="0">
                <a:pos x="connsiteX3617" y="connsiteY3617"/>
              </a:cxn>
              <a:cxn ang="0">
                <a:pos x="connsiteX3618" y="connsiteY3618"/>
              </a:cxn>
              <a:cxn ang="0">
                <a:pos x="connsiteX3619" y="connsiteY3619"/>
              </a:cxn>
              <a:cxn ang="0">
                <a:pos x="connsiteX3620" y="connsiteY3620"/>
              </a:cxn>
              <a:cxn ang="0">
                <a:pos x="connsiteX3621" y="connsiteY3621"/>
              </a:cxn>
              <a:cxn ang="0">
                <a:pos x="connsiteX3622" y="connsiteY3622"/>
              </a:cxn>
              <a:cxn ang="0">
                <a:pos x="connsiteX3623" y="connsiteY3623"/>
              </a:cxn>
              <a:cxn ang="0">
                <a:pos x="connsiteX3624" y="connsiteY3624"/>
              </a:cxn>
              <a:cxn ang="0">
                <a:pos x="connsiteX3625" y="connsiteY3625"/>
              </a:cxn>
              <a:cxn ang="0">
                <a:pos x="connsiteX3626" y="connsiteY3626"/>
              </a:cxn>
              <a:cxn ang="0">
                <a:pos x="connsiteX3627" y="connsiteY3627"/>
              </a:cxn>
              <a:cxn ang="0">
                <a:pos x="connsiteX3628" y="connsiteY3628"/>
              </a:cxn>
              <a:cxn ang="0">
                <a:pos x="connsiteX3629" y="connsiteY3629"/>
              </a:cxn>
              <a:cxn ang="0">
                <a:pos x="connsiteX3630" y="connsiteY3630"/>
              </a:cxn>
              <a:cxn ang="0">
                <a:pos x="connsiteX3631" y="connsiteY3631"/>
              </a:cxn>
              <a:cxn ang="0">
                <a:pos x="connsiteX3632" y="connsiteY3632"/>
              </a:cxn>
              <a:cxn ang="0">
                <a:pos x="connsiteX3633" y="connsiteY3633"/>
              </a:cxn>
              <a:cxn ang="0">
                <a:pos x="connsiteX3634" y="connsiteY3634"/>
              </a:cxn>
              <a:cxn ang="0">
                <a:pos x="connsiteX3635" y="connsiteY3635"/>
              </a:cxn>
              <a:cxn ang="0">
                <a:pos x="connsiteX3636" y="connsiteY3636"/>
              </a:cxn>
              <a:cxn ang="0">
                <a:pos x="connsiteX3637" y="connsiteY3637"/>
              </a:cxn>
              <a:cxn ang="0">
                <a:pos x="connsiteX3638" y="connsiteY3638"/>
              </a:cxn>
              <a:cxn ang="0">
                <a:pos x="connsiteX3639" y="connsiteY3639"/>
              </a:cxn>
              <a:cxn ang="0">
                <a:pos x="connsiteX3640" y="connsiteY3640"/>
              </a:cxn>
              <a:cxn ang="0">
                <a:pos x="connsiteX3641" y="connsiteY3641"/>
              </a:cxn>
              <a:cxn ang="0">
                <a:pos x="connsiteX3642" y="connsiteY3642"/>
              </a:cxn>
              <a:cxn ang="0">
                <a:pos x="connsiteX3643" y="connsiteY3643"/>
              </a:cxn>
              <a:cxn ang="0">
                <a:pos x="connsiteX3644" y="connsiteY3644"/>
              </a:cxn>
              <a:cxn ang="0">
                <a:pos x="connsiteX3645" y="connsiteY3645"/>
              </a:cxn>
              <a:cxn ang="0">
                <a:pos x="connsiteX3646" y="connsiteY3646"/>
              </a:cxn>
              <a:cxn ang="0">
                <a:pos x="connsiteX3647" y="connsiteY3647"/>
              </a:cxn>
              <a:cxn ang="0">
                <a:pos x="connsiteX3648" y="connsiteY3648"/>
              </a:cxn>
              <a:cxn ang="0">
                <a:pos x="connsiteX3649" y="connsiteY3649"/>
              </a:cxn>
              <a:cxn ang="0">
                <a:pos x="connsiteX3650" y="connsiteY3650"/>
              </a:cxn>
              <a:cxn ang="0">
                <a:pos x="connsiteX3651" y="connsiteY3651"/>
              </a:cxn>
              <a:cxn ang="0">
                <a:pos x="connsiteX3652" y="connsiteY3652"/>
              </a:cxn>
              <a:cxn ang="0">
                <a:pos x="connsiteX3653" y="connsiteY3653"/>
              </a:cxn>
              <a:cxn ang="0">
                <a:pos x="connsiteX3654" y="connsiteY3654"/>
              </a:cxn>
              <a:cxn ang="0">
                <a:pos x="connsiteX3655" y="connsiteY3655"/>
              </a:cxn>
              <a:cxn ang="0">
                <a:pos x="connsiteX3656" y="connsiteY3656"/>
              </a:cxn>
              <a:cxn ang="0">
                <a:pos x="connsiteX3657" y="connsiteY3657"/>
              </a:cxn>
              <a:cxn ang="0">
                <a:pos x="connsiteX3658" y="connsiteY3658"/>
              </a:cxn>
              <a:cxn ang="0">
                <a:pos x="connsiteX3659" y="connsiteY3659"/>
              </a:cxn>
              <a:cxn ang="0">
                <a:pos x="connsiteX3660" y="connsiteY3660"/>
              </a:cxn>
              <a:cxn ang="0">
                <a:pos x="connsiteX3661" y="connsiteY3661"/>
              </a:cxn>
              <a:cxn ang="0">
                <a:pos x="connsiteX3662" y="connsiteY3662"/>
              </a:cxn>
              <a:cxn ang="0">
                <a:pos x="connsiteX3663" y="connsiteY3663"/>
              </a:cxn>
              <a:cxn ang="0">
                <a:pos x="connsiteX3664" y="connsiteY3664"/>
              </a:cxn>
              <a:cxn ang="0">
                <a:pos x="connsiteX3665" y="connsiteY3665"/>
              </a:cxn>
              <a:cxn ang="0">
                <a:pos x="connsiteX3666" y="connsiteY3666"/>
              </a:cxn>
              <a:cxn ang="0">
                <a:pos x="connsiteX3667" y="connsiteY3667"/>
              </a:cxn>
              <a:cxn ang="0">
                <a:pos x="connsiteX3668" y="connsiteY3668"/>
              </a:cxn>
              <a:cxn ang="0">
                <a:pos x="connsiteX3669" y="connsiteY3669"/>
              </a:cxn>
              <a:cxn ang="0">
                <a:pos x="connsiteX3670" y="connsiteY3670"/>
              </a:cxn>
              <a:cxn ang="0">
                <a:pos x="connsiteX3671" y="connsiteY3671"/>
              </a:cxn>
              <a:cxn ang="0">
                <a:pos x="connsiteX3672" y="connsiteY3672"/>
              </a:cxn>
              <a:cxn ang="0">
                <a:pos x="connsiteX3673" y="connsiteY3673"/>
              </a:cxn>
              <a:cxn ang="0">
                <a:pos x="connsiteX3674" y="connsiteY3674"/>
              </a:cxn>
              <a:cxn ang="0">
                <a:pos x="connsiteX3675" y="connsiteY3675"/>
              </a:cxn>
              <a:cxn ang="0">
                <a:pos x="connsiteX3676" y="connsiteY3676"/>
              </a:cxn>
              <a:cxn ang="0">
                <a:pos x="connsiteX3677" y="connsiteY3677"/>
              </a:cxn>
              <a:cxn ang="0">
                <a:pos x="connsiteX3678" y="connsiteY3678"/>
              </a:cxn>
              <a:cxn ang="0">
                <a:pos x="connsiteX3679" y="connsiteY3679"/>
              </a:cxn>
              <a:cxn ang="0">
                <a:pos x="connsiteX3680" y="connsiteY3680"/>
              </a:cxn>
              <a:cxn ang="0">
                <a:pos x="connsiteX3681" y="connsiteY3681"/>
              </a:cxn>
              <a:cxn ang="0">
                <a:pos x="connsiteX3682" y="connsiteY3682"/>
              </a:cxn>
              <a:cxn ang="0">
                <a:pos x="connsiteX3683" y="connsiteY3683"/>
              </a:cxn>
              <a:cxn ang="0">
                <a:pos x="connsiteX3684" y="connsiteY3684"/>
              </a:cxn>
              <a:cxn ang="0">
                <a:pos x="connsiteX3685" y="connsiteY3685"/>
              </a:cxn>
              <a:cxn ang="0">
                <a:pos x="connsiteX3686" y="connsiteY3686"/>
              </a:cxn>
              <a:cxn ang="0">
                <a:pos x="connsiteX3687" y="connsiteY3687"/>
              </a:cxn>
              <a:cxn ang="0">
                <a:pos x="connsiteX3688" y="connsiteY3688"/>
              </a:cxn>
              <a:cxn ang="0">
                <a:pos x="connsiteX3689" y="connsiteY3689"/>
              </a:cxn>
              <a:cxn ang="0">
                <a:pos x="connsiteX3690" y="connsiteY3690"/>
              </a:cxn>
              <a:cxn ang="0">
                <a:pos x="connsiteX3691" y="connsiteY3691"/>
              </a:cxn>
              <a:cxn ang="0">
                <a:pos x="connsiteX3692" y="connsiteY3692"/>
              </a:cxn>
              <a:cxn ang="0">
                <a:pos x="connsiteX3693" y="connsiteY3693"/>
              </a:cxn>
              <a:cxn ang="0">
                <a:pos x="connsiteX3694" y="connsiteY3694"/>
              </a:cxn>
              <a:cxn ang="0">
                <a:pos x="connsiteX3695" y="connsiteY3695"/>
              </a:cxn>
              <a:cxn ang="0">
                <a:pos x="connsiteX3696" y="connsiteY3696"/>
              </a:cxn>
              <a:cxn ang="0">
                <a:pos x="connsiteX3697" y="connsiteY3697"/>
              </a:cxn>
              <a:cxn ang="0">
                <a:pos x="connsiteX3698" y="connsiteY3698"/>
              </a:cxn>
              <a:cxn ang="0">
                <a:pos x="connsiteX3699" y="connsiteY3699"/>
              </a:cxn>
              <a:cxn ang="0">
                <a:pos x="connsiteX3700" y="connsiteY3700"/>
              </a:cxn>
              <a:cxn ang="0">
                <a:pos x="connsiteX3701" y="connsiteY3701"/>
              </a:cxn>
              <a:cxn ang="0">
                <a:pos x="connsiteX3702" y="connsiteY3702"/>
              </a:cxn>
              <a:cxn ang="0">
                <a:pos x="connsiteX3703" y="connsiteY3703"/>
              </a:cxn>
              <a:cxn ang="0">
                <a:pos x="connsiteX3704" y="connsiteY3704"/>
              </a:cxn>
              <a:cxn ang="0">
                <a:pos x="connsiteX3705" y="connsiteY3705"/>
              </a:cxn>
              <a:cxn ang="0">
                <a:pos x="connsiteX3706" y="connsiteY3706"/>
              </a:cxn>
              <a:cxn ang="0">
                <a:pos x="connsiteX3707" y="connsiteY3707"/>
              </a:cxn>
              <a:cxn ang="0">
                <a:pos x="connsiteX3708" y="connsiteY3708"/>
              </a:cxn>
              <a:cxn ang="0">
                <a:pos x="connsiteX3709" y="connsiteY3709"/>
              </a:cxn>
              <a:cxn ang="0">
                <a:pos x="connsiteX3710" y="connsiteY3710"/>
              </a:cxn>
              <a:cxn ang="0">
                <a:pos x="connsiteX3711" y="connsiteY3711"/>
              </a:cxn>
              <a:cxn ang="0">
                <a:pos x="connsiteX3712" y="connsiteY3712"/>
              </a:cxn>
              <a:cxn ang="0">
                <a:pos x="connsiteX3713" y="connsiteY3713"/>
              </a:cxn>
              <a:cxn ang="0">
                <a:pos x="connsiteX3714" y="connsiteY3714"/>
              </a:cxn>
              <a:cxn ang="0">
                <a:pos x="connsiteX3715" y="connsiteY3715"/>
              </a:cxn>
              <a:cxn ang="0">
                <a:pos x="connsiteX3716" y="connsiteY3716"/>
              </a:cxn>
              <a:cxn ang="0">
                <a:pos x="connsiteX3717" y="connsiteY3717"/>
              </a:cxn>
              <a:cxn ang="0">
                <a:pos x="connsiteX3718" y="connsiteY3718"/>
              </a:cxn>
              <a:cxn ang="0">
                <a:pos x="connsiteX3719" y="connsiteY3719"/>
              </a:cxn>
              <a:cxn ang="0">
                <a:pos x="connsiteX3720" y="connsiteY3720"/>
              </a:cxn>
              <a:cxn ang="0">
                <a:pos x="connsiteX3721" y="connsiteY3721"/>
              </a:cxn>
              <a:cxn ang="0">
                <a:pos x="connsiteX3722" y="connsiteY3722"/>
              </a:cxn>
              <a:cxn ang="0">
                <a:pos x="connsiteX3723" y="connsiteY3723"/>
              </a:cxn>
              <a:cxn ang="0">
                <a:pos x="connsiteX3724" y="connsiteY3724"/>
              </a:cxn>
              <a:cxn ang="0">
                <a:pos x="connsiteX3725" y="connsiteY3725"/>
              </a:cxn>
              <a:cxn ang="0">
                <a:pos x="connsiteX3726" y="connsiteY3726"/>
              </a:cxn>
              <a:cxn ang="0">
                <a:pos x="connsiteX3727" y="connsiteY3727"/>
              </a:cxn>
              <a:cxn ang="0">
                <a:pos x="connsiteX3728" y="connsiteY3728"/>
              </a:cxn>
              <a:cxn ang="0">
                <a:pos x="connsiteX3729" y="connsiteY3729"/>
              </a:cxn>
              <a:cxn ang="0">
                <a:pos x="connsiteX3730" y="connsiteY3730"/>
              </a:cxn>
              <a:cxn ang="0">
                <a:pos x="connsiteX3731" y="connsiteY3731"/>
              </a:cxn>
              <a:cxn ang="0">
                <a:pos x="connsiteX3732" y="connsiteY3732"/>
              </a:cxn>
              <a:cxn ang="0">
                <a:pos x="connsiteX3733" y="connsiteY3733"/>
              </a:cxn>
              <a:cxn ang="0">
                <a:pos x="connsiteX3734" y="connsiteY3734"/>
              </a:cxn>
              <a:cxn ang="0">
                <a:pos x="connsiteX3735" y="connsiteY3735"/>
              </a:cxn>
              <a:cxn ang="0">
                <a:pos x="connsiteX3736" y="connsiteY3736"/>
              </a:cxn>
              <a:cxn ang="0">
                <a:pos x="connsiteX3737" y="connsiteY3737"/>
              </a:cxn>
              <a:cxn ang="0">
                <a:pos x="connsiteX3738" y="connsiteY3738"/>
              </a:cxn>
              <a:cxn ang="0">
                <a:pos x="connsiteX3739" y="connsiteY3739"/>
              </a:cxn>
              <a:cxn ang="0">
                <a:pos x="connsiteX3740" y="connsiteY3740"/>
              </a:cxn>
              <a:cxn ang="0">
                <a:pos x="connsiteX3741" y="connsiteY3741"/>
              </a:cxn>
              <a:cxn ang="0">
                <a:pos x="connsiteX3742" y="connsiteY3742"/>
              </a:cxn>
              <a:cxn ang="0">
                <a:pos x="connsiteX3743" y="connsiteY3743"/>
              </a:cxn>
              <a:cxn ang="0">
                <a:pos x="connsiteX3744" y="connsiteY3744"/>
              </a:cxn>
              <a:cxn ang="0">
                <a:pos x="connsiteX3745" y="connsiteY3745"/>
              </a:cxn>
              <a:cxn ang="0">
                <a:pos x="connsiteX3746" y="connsiteY3746"/>
              </a:cxn>
              <a:cxn ang="0">
                <a:pos x="connsiteX3747" y="connsiteY3747"/>
              </a:cxn>
              <a:cxn ang="0">
                <a:pos x="connsiteX3748" y="connsiteY3748"/>
              </a:cxn>
              <a:cxn ang="0">
                <a:pos x="connsiteX3749" y="connsiteY3749"/>
              </a:cxn>
              <a:cxn ang="0">
                <a:pos x="connsiteX3750" y="connsiteY3750"/>
              </a:cxn>
              <a:cxn ang="0">
                <a:pos x="connsiteX3751" y="connsiteY3751"/>
              </a:cxn>
              <a:cxn ang="0">
                <a:pos x="connsiteX3752" y="connsiteY3752"/>
              </a:cxn>
              <a:cxn ang="0">
                <a:pos x="connsiteX3753" y="connsiteY3753"/>
              </a:cxn>
              <a:cxn ang="0">
                <a:pos x="connsiteX3754" y="connsiteY3754"/>
              </a:cxn>
              <a:cxn ang="0">
                <a:pos x="connsiteX3755" y="connsiteY3755"/>
              </a:cxn>
              <a:cxn ang="0">
                <a:pos x="connsiteX3756" y="connsiteY3756"/>
              </a:cxn>
              <a:cxn ang="0">
                <a:pos x="connsiteX3757" y="connsiteY3757"/>
              </a:cxn>
              <a:cxn ang="0">
                <a:pos x="connsiteX3758" y="connsiteY3758"/>
              </a:cxn>
              <a:cxn ang="0">
                <a:pos x="connsiteX3759" y="connsiteY3759"/>
              </a:cxn>
              <a:cxn ang="0">
                <a:pos x="connsiteX3760" y="connsiteY3760"/>
              </a:cxn>
              <a:cxn ang="0">
                <a:pos x="connsiteX3761" y="connsiteY3761"/>
              </a:cxn>
              <a:cxn ang="0">
                <a:pos x="connsiteX3762" y="connsiteY3762"/>
              </a:cxn>
              <a:cxn ang="0">
                <a:pos x="connsiteX3763" y="connsiteY3763"/>
              </a:cxn>
              <a:cxn ang="0">
                <a:pos x="connsiteX3764" y="connsiteY3764"/>
              </a:cxn>
              <a:cxn ang="0">
                <a:pos x="connsiteX3765" y="connsiteY3765"/>
              </a:cxn>
              <a:cxn ang="0">
                <a:pos x="connsiteX3766" y="connsiteY3766"/>
              </a:cxn>
              <a:cxn ang="0">
                <a:pos x="connsiteX3767" y="connsiteY3767"/>
              </a:cxn>
              <a:cxn ang="0">
                <a:pos x="connsiteX3768" y="connsiteY3768"/>
              </a:cxn>
              <a:cxn ang="0">
                <a:pos x="connsiteX3769" y="connsiteY3769"/>
              </a:cxn>
              <a:cxn ang="0">
                <a:pos x="connsiteX3770" y="connsiteY3770"/>
              </a:cxn>
              <a:cxn ang="0">
                <a:pos x="connsiteX3771" y="connsiteY3771"/>
              </a:cxn>
              <a:cxn ang="0">
                <a:pos x="connsiteX3772" y="connsiteY3772"/>
              </a:cxn>
              <a:cxn ang="0">
                <a:pos x="connsiteX3773" y="connsiteY3773"/>
              </a:cxn>
              <a:cxn ang="0">
                <a:pos x="connsiteX3774" y="connsiteY3774"/>
              </a:cxn>
              <a:cxn ang="0">
                <a:pos x="connsiteX3775" y="connsiteY3775"/>
              </a:cxn>
              <a:cxn ang="0">
                <a:pos x="connsiteX3776" y="connsiteY3776"/>
              </a:cxn>
              <a:cxn ang="0">
                <a:pos x="connsiteX3777" y="connsiteY3777"/>
              </a:cxn>
              <a:cxn ang="0">
                <a:pos x="connsiteX3778" y="connsiteY3778"/>
              </a:cxn>
              <a:cxn ang="0">
                <a:pos x="connsiteX3779" y="connsiteY3779"/>
              </a:cxn>
              <a:cxn ang="0">
                <a:pos x="connsiteX3780" y="connsiteY3780"/>
              </a:cxn>
              <a:cxn ang="0">
                <a:pos x="connsiteX3781" y="connsiteY3781"/>
              </a:cxn>
              <a:cxn ang="0">
                <a:pos x="connsiteX3782" y="connsiteY3782"/>
              </a:cxn>
              <a:cxn ang="0">
                <a:pos x="connsiteX3783" y="connsiteY3783"/>
              </a:cxn>
              <a:cxn ang="0">
                <a:pos x="connsiteX3784" y="connsiteY3784"/>
              </a:cxn>
              <a:cxn ang="0">
                <a:pos x="connsiteX3785" y="connsiteY3785"/>
              </a:cxn>
              <a:cxn ang="0">
                <a:pos x="connsiteX3786" y="connsiteY3786"/>
              </a:cxn>
              <a:cxn ang="0">
                <a:pos x="connsiteX3787" y="connsiteY3787"/>
              </a:cxn>
              <a:cxn ang="0">
                <a:pos x="connsiteX3788" y="connsiteY3788"/>
              </a:cxn>
              <a:cxn ang="0">
                <a:pos x="connsiteX3789" y="connsiteY3789"/>
              </a:cxn>
              <a:cxn ang="0">
                <a:pos x="connsiteX3790" y="connsiteY3790"/>
              </a:cxn>
              <a:cxn ang="0">
                <a:pos x="connsiteX3791" y="connsiteY3791"/>
              </a:cxn>
              <a:cxn ang="0">
                <a:pos x="connsiteX3792" y="connsiteY3792"/>
              </a:cxn>
              <a:cxn ang="0">
                <a:pos x="connsiteX3793" y="connsiteY3793"/>
              </a:cxn>
              <a:cxn ang="0">
                <a:pos x="connsiteX3794" y="connsiteY3794"/>
              </a:cxn>
              <a:cxn ang="0">
                <a:pos x="connsiteX3795" y="connsiteY3795"/>
              </a:cxn>
              <a:cxn ang="0">
                <a:pos x="connsiteX3796" y="connsiteY3796"/>
              </a:cxn>
              <a:cxn ang="0">
                <a:pos x="connsiteX3797" y="connsiteY3797"/>
              </a:cxn>
              <a:cxn ang="0">
                <a:pos x="connsiteX3798" y="connsiteY3798"/>
              </a:cxn>
              <a:cxn ang="0">
                <a:pos x="connsiteX3799" y="connsiteY3799"/>
              </a:cxn>
              <a:cxn ang="0">
                <a:pos x="connsiteX3800" y="connsiteY3800"/>
              </a:cxn>
              <a:cxn ang="0">
                <a:pos x="connsiteX3801" y="connsiteY3801"/>
              </a:cxn>
              <a:cxn ang="0">
                <a:pos x="connsiteX3802" y="connsiteY3802"/>
              </a:cxn>
              <a:cxn ang="0">
                <a:pos x="connsiteX3803" y="connsiteY3803"/>
              </a:cxn>
              <a:cxn ang="0">
                <a:pos x="connsiteX3804" y="connsiteY3804"/>
              </a:cxn>
              <a:cxn ang="0">
                <a:pos x="connsiteX3805" y="connsiteY3805"/>
              </a:cxn>
              <a:cxn ang="0">
                <a:pos x="connsiteX3806" y="connsiteY3806"/>
              </a:cxn>
              <a:cxn ang="0">
                <a:pos x="connsiteX3807" y="connsiteY3807"/>
              </a:cxn>
              <a:cxn ang="0">
                <a:pos x="connsiteX3808" y="connsiteY3808"/>
              </a:cxn>
              <a:cxn ang="0">
                <a:pos x="connsiteX3809" y="connsiteY3809"/>
              </a:cxn>
              <a:cxn ang="0">
                <a:pos x="connsiteX3810" y="connsiteY3810"/>
              </a:cxn>
              <a:cxn ang="0">
                <a:pos x="connsiteX3811" y="connsiteY3811"/>
              </a:cxn>
              <a:cxn ang="0">
                <a:pos x="connsiteX3812" y="connsiteY3812"/>
              </a:cxn>
              <a:cxn ang="0">
                <a:pos x="connsiteX3813" y="connsiteY3813"/>
              </a:cxn>
              <a:cxn ang="0">
                <a:pos x="connsiteX3814" y="connsiteY3814"/>
              </a:cxn>
              <a:cxn ang="0">
                <a:pos x="connsiteX3815" y="connsiteY3815"/>
              </a:cxn>
              <a:cxn ang="0">
                <a:pos x="connsiteX3816" y="connsiteY3816"/>
              </a:cxn>
              <a:cxn ang="0">
                <a:pos x="connsiteX3817" y="connsiteY3817"/>
              </a:cxn>
              <a:cxn ang="0">
                <a:pos x="connsiteX3818" y="connsiteY3818"/>
              </a:cxn>
              <a:cxn ang="0">
                <a:pos x="connsiteX3819" y="connsiteY3819"/>
              </a:cxn>
              <a:cxn ang="0">
                <a:pos x="connsiteX3820" y="connsiteY3820"/>
              </a:cxn>
              <a:cxn ang="0">
                <a:pos x="connsiteX3821" y="connsiteY3821"/>
              </a:cxn>
              <a:cxn ang="0">
                <a:pos x="connsiteX3822" y="connsiteY3822"/>
              </a:cxn>
              <a:cxn ang="0">
                <a:pos x="connsiteX3823" y="connsiteY3823"/>
              </a:cxn>
              <a:cxn ang="0">
                <a:pos x="connsiteX3824" y="connsiteY3824"/>
              </a:cxn>
              <a:cxn ang="0">
                <a:pos x="connsiteX3825" y="connsiteY3825"/>
              </a:cxn>
              <a:cxn ang="0">
                <a:pos x="connsiteX3826" y="connsiteY3826"/>
              </a:cxn>
              <a:cxn ang="0">
                <a:pos x="connsiteX3827" y="connsiteY3827"/>
              </a:cxn>
              <a:cxn ang="0">
                <a:pos x="connsiteX3828" y="connsiteY3828"/>
              </a:cxn>
              <a:cxn ang="0">
                <a:pos x="connsiteX3829" y="connsiteY3829"/>
              </a:cxn>
              <a:cxn ang="0">
                <a:pos x="connsiteX3830" y="connsiteY3830"/>
              </a:cxn>
              <a:cxn ang="0">
                <a:pos x="connsiteX3831" y="connsiteY3831"/>
              </a:cxn>
              <a:cxn ang="0">
                <a:pos x="connsiteX3832" y="connsiteY3832"/>
              </a:cxn>
              <a:cxn ang="0">
                <a:pos x="connsiteX3833" y="connsiteY3833"/>
              </a:cxn>
              <a:cxn ang="0">
                <a:pos x="connsiteX3834" y="connsiteY3834"/>
              </a:cxn>
              <a:cxn ang="0">
                <a:pos x="connsiteX3835" y="connsiteY3835"/>
              </a:cxn>
              <a:cxn ang="0">
                <a:pos x="connsiteX3836" y="connsiteY3836"/>
              </a:cxn>
              <a:cxn ang="0">
                <a:pos x="connsiteX3837" y="connsiteY3837"/>
              </a:cxn>
              <a:cxn ang="0">
                <a:pos x="connsiteX3838" y="connsiteY3838"/>
              </a:cxn>
              <a:cxn ang="0">
                <a:pos x="connsiteX3839" y="connsiteY3839"/>
              </a:cxn>
              <a:cxn ang="0">
                <a:pos x="connsiteX3840" y="connsiteY3840"/>
              </a:cxn>
              <a:cxn ang="0">
                <a:pos x="connsiteX3841" y="connsiteY3841"/>
              </a:cxn>
              <a:cxn ang="0">
                <a:pos x="connsiteX3842" y="connsiteY3842"/>
              </a:cxn>
              <a:cxn ang="0">
                <a:pos x="connsiteX3843" y="connsiteY3843"/>
              </a:cxn>
              <a:cxn ang="0">
                <a:pos x="connsiteX3844" y="connsiteY3844"/>
              </a:cxn>
              <a:cxn ang="0">
                <a:pos x="connsiteX3845" y="connsiteY3845"/>
              </a:cxn>
              <a:cxn ang="0">
                <a:pos x="connsiteX3846" y="connsiteY3846"/>
              </a:cxn>
              <a:cxn ang="0">
                <a:pos x="connsiteX3847" y="connsiteY3847"/>
              </a:cxn>
              <a:cxn ang="0">
                <a:pos x="connsiteX3848" y="connsiteY3848"/>
              </a:cxn>
              <a:cxn ang="0">
                <a:pos x="connsiteX3849" y="connsiteY3849"/>
              </a:cxn>
              <a:cxn ang="0">
                <a:pos x="connsiteX3850" y="connsiteY3850"/>
              </a:cxn>
              <a:cxn ang="0">
                <a:pos x="connsiteX3851" y="connsiteY3851"/>
              </a:cxn>
              <a:cxn ang="0">
                <a:pos x="connsiteX3852" y="connsiteY3852"/>
              </a:cxn>
              <a:cxn ang="0">
                <a:pos x="connsiteX3853" y="connsiteY3853"/>
              </a:cxn>
              <a:cxn ang="0">
                <a:pos x="connsiteX3854" y="connsiteY3854"/>
              </a:cxn>
              <a:cxn ang="0">
                <a:pos x="connsiteX3855" y="connsiteY3855"/>
              </a:cxn>
              <a:cxn ang="0">
                <a:pos x="connsiteX3856" y="connsiteY3856"/>
              </a:cxn>
              <a:cxn ang="0">
                <a:pos x="connsiteX3857" y="connsiteY3857"/>
              </a:cxn>
              <a:cxn ang="0">
                <a:pos x="connsiteX3858" y="connsiteY3858"/>
              </a:cxn>
              <a:cxn ang="0">
                <a:pos x="connsiteX3859" y="connsiteY3859"/>
              </a:cxn>
              <a:cxn ang="0">
                <a:pos x="connsiteX3860" y="connsiteY3860"/>
              </a:cxn>
              <a:cxn ang="0">
                <a:pos x="connsiteX3861" y="connsiteY3861"/>
              </a:cxn>
              <a:cxn ang="0">
                <a:pos x="connsiteX3862" y="connsiteY3862"/>
              </a:cxn>
              <a:cxn ang="0">
                <a:pos x="connsiteX3863" y="connsiteY3863"/>
              </a:cxn>
              <a:cxn ang="0">
                <a:pos x="connsiteX3864" y="connsiteY3864"/>
              </a:cxn>
              <a:cxn ang="0">
                <a:pos x="connsiteX3865" y="connsiteY3865"/>
              </a:cxn>
              <a:cxn ang="0">
                <a:pos x="connsiteX3866" y="connsiteY3866"/>
              </a:cxn>
              <a:cxn ang="0">
                <a:pos x="connsiteX3867" y="connsiteY3867"/>
              </a:cxn>
              <a:cxn ang="0">
                <a:pos x="connsiteX3868" y="connsiteY3868"/>
              </a:cxn>
              <a:cxn ang="0">
                <a:pos x="connsiteX3869" y="connsiteY3869"/>
              </a:cxn>
              <a:cxn ang="0">
                <a:pos x="connsiteX3870" y="connsiteY3870"/>
              </a:cxn>
              <a:cxn ang="0">
                <a:pos x="connsiteX3871" y="connsiteY3871"/>
              </a:cxn>
              <a:cxn ang="0">
                <a:pos x="connsiteX3872" y="connsiteY3872"/>
              </a:cxn>
              <a:cxn ang="0">
                <a:pos x="connsiteX3873" y="connsiteY3873"/>
              </a:cxn>
              <a:cxn ang="0">
                <a:pos x="connsiteX3874" y="connsiteY3874"/>
              </a:cxn>
              <a:cxn ang="0">
                <a:pos x="connsiteX3875" y="connsiteY3875"/>
              </a:cxn>
              <a:cxn ang="0">
                <a:pos x="connsiteX3876" y="connsiteY3876"/>
              </a:cxn>
              <a:cxn ang="0">
                <a:pos x="connsiteX3877" y="connsiteY3877"/>
              </a:cxn>
              <a:cxn ang="0">
                <a:pos x="connsiteX3878" y="connsiteY3878"/>
              </a:cxn>
              <a:cxn ang="0">
                <a:pos x="connsiteX3879" y="connsiteY3879"/>
              </a:cxn>
              <a:cxn ang="0">
                <a:pos x="connsiteX3880" y="connsiteY3880"/>
              </a:cxn>
              <a:cxn ang="0">
                <a:pos x="connsiteX3881" y="connsiteY3881"/>
              </a:cxn>
              <a:cxn ang="0">
                <a:pos x="connsiteX3882" y="connsiteY3882"/>
              </a:cxn>
              <a:cxn ang="0">
                <a:pos x="connsiteX3883" y="connsiteY3883"/>
              </a:cxn>
              <a:cxn ang="0">
                <a:pos x="connsiteX3884" y="connsiteY3884"/>
              </a:cxn>
              <a:cxn ang="0">
                <a:pos x="connsiteX3885" y="connsiteY3885"/>
              </a:cxn>
              <a:cxn ang="0">
                <a:pos x="connsiteX3886" y="connsiteY3886"/>
              </a:cxn>
              <a:cxn ang="0">
                <a:pos x="connsiteX3887" y="connsiteY3887"/>
              </a:cxn>
              <a:cxn ang="0">
                <a:pos x="connsiteX3888" y="connsiteY3888"/>
              </a:cxn>
              <a:cxn ang="0">
                <a:pos x="connsiteX3889" y="connsiteY3889"/>
              </a:cxn>
              <a:cxn ang="0">
                <a:pos x="connsiteX3890" y="connsiteY3890"/>
              </a:cxn>
              <a:cxn ang="0">
                <a:pos x="connsiteX3891" y="connsiteY3891"/>
              </a:cxn>
              <a:cxn ang="0">
                <a:pos x="connsiteX3892" y="connsiteY3892"/>
              </a:cxn>
              <a:cxn ang="0">
                <a:pos x="connsiteX3893" y="connsiteY3893"/>
              </a:cxn>
              <a:cxn ang="0">
                <a:pos x="connsiteX3894" y="connsiteY3894"/>
              </a:cxn>
              <a:cxn ang="0">
                <a:pos x="connsiteX3895" y="connsiteY3895"/>
              </a:cxn>
              <a:cxn ang="0">
                <a:pos x="connsiteX3896" y="connsiteY3896"/>
              </a:cxn>
              <a:cxn ang="0">
                <a:pos x="connsiteX3897" y="connsiteY3897"/>
              </a:cxn>
              <a:cxn ang="0">
                <a:pos x="connsiteX3898" y="connsiteY3898"/>
              </a:cxn>
              <a:cxn ang="0">
                <a:pos x="connsiteX3899" y="connsiteY3899"/>
              </a:cxn>
              <a:cxn ang="0">
                <a:pos x="connsiteX3900" y="connsiteY3900"/>
              </a:cxn>
              <a:cxn ang="0">
                <a:pos x="connsiteX3901" y="connsiteY3901"/>
              </a:cxn>
              <a:cxn ang="0">
                <a:pos x="connsiteX3902" y="connsiteY3902"/>
              </a:cxn>
              <a:cxn ang="0">
                <a:pos x="connsiteX3903" y="connsiteY3903"/>
              </a:cxn>
              <a:cxn ang="0">
                <a:pos x="connsiteX3904" y="connsiteY3904"/>
              </a:cxn>
              <a:cxn ang="0">
                <a:pos x="connsiteX3905" y="connsiteY3905"/>
              </a:cxn>
              <a:cxn ang="0">
                <a:pos x="connsiteX3906" y="connsiteY3906"/>
              </a:cxn>
              <a:cxn ang="0">
                <a:pos x="connsiteX3907" y="connsiteY3907"/>
              </a:cxn>
              <a:cxn ang="0">
                <a:pos x="connsiteX3908" y="connsiteY3908"/>
              </a:cxn>
              <a:cxn ang="0">
                <a:pos x="connsiteX3909" y="connsiteY3909"/>
              </a:cxn>
              <a:cxn ang="0">
                <a:pos x="connsiteX3910" y="connsiteY3910"/>
              </a:cxn>
              <a:cxn ang="0">
                <a:pos x="connsiteX3911" y="connsiteY3911"/>
              </a:cxn>
              <a:cxn ang="0">
                <a:pos x="connsiteX3912" y="connsiteY3912"/>
              </a:cxn>
              <a:cxn ang="0">
                <a:pos x="connsiteX3913" y="connsiteY3913"/>
              </a:cxn>
              <a:cxn ang="0">
                <a:pos x="connsiteX3914" y="connsiteY3914"/>
              </a:cxn>
              <a:cxn ang="0">
                <a:pos x="connsiteX3915" y="connsiteY3915"/>
              </a:cxn>
              <a:cxn ang="0">
                <a:pos x="connsiteX3916" y="connsiteY3916"/>
              </a:cxn>
              <a:cxn ang="0">
                <a:pos x="connsiteX3917" y="connsiteY3917"/>
              </a:cxn>
              <a:cxn ang="0">
                <a:pos x="connsiteX3918" y="connsiteY3918"/>
              </a:cxn>
              <a:cxn ang="0">
                <a:pos x="connsiteX3919" y="connsiteY3919"/>
              </a:cxn>
              <a:cxn ang="0">
                <a:pos x="connsiteX3920" y="connsiteY3920"/>
              </a:cxn>
              <a:cxn ang="0">
                <a:pos x="connsiteX3921" y="connsiteY3921"/>
              </a:cxn>
              <a:cxn ang="0">
                <a:pos x="connsiteX3922" y="connsiteY3922"/>
              </a:cxn>
              <a:cxn ang="0">
                <a:pos x="connsiteX3923" y="connsiteY3923"/>
              </a:cxn>
              <a:cxn ang="0">
                <a:pos x="connsiteX3924" y="connsiteY3924"/>
              </a:cxn>
              <a:cxn ang="0">
                <a:pos x="connsiteX3925" y="connsiteY3925"/>
              </a:cxn>
              <a:cxn ang="0">
                <a:pos x="connsiteX3926" y="connsiteY3926"/>
              </a:cxn>
              <a:cxn ang="0">
                <a:pos x="connsiteX3927" y="connsiteY3927"/>
              </a:cxn>
              <a:cxn ang="0">
                <a:pos x="connsiteX3928" y="connsiteY3928"/>
              </a:cxn>
              <a:cxn ang="0">
                <a:pos x="connsiteX3929" y="connsiteY3929"/>
              </a:cxn>
              <a:cxn ang="0">
                <a:pos x="connsiteX3930" y="connsiteY3930"/>
              </a:cxn>
              <a:cxn ang="0">
                <a:pos x="connsiteX3931" y="connsiteY3931"/>
              </a:cxn>
              <a:cxn ang="0">
                <a:pos x="connsiteX3932" y="connsiteY3932"/>
              </a:cxn>
              <a:cxn ang="0">
                <a:pos x="connsiteX3933" y="connsiteY3933"/>
              </a:cxn>
              <a:cxn ang="0">
                <a:pos x="connsiteX3934" y="connsiteY3934"/>
              </a:cxn>
              <a:cxn ang="0">
                <a:pos x="connsiteX3935" y="connsiteY3935"/>
              </a:cxn>
              <a:cxn ang="0">
                <a:pos x="connsiteX3936" y="connsiteY3936"/>
              </a:cxn>
              <a:cxn ang="0">
                <a:pos x="connsiteX3937" y="connsiteY3937"/>
              </a:cxn>
              <a:cxn ang="0">
                <a:pos x="connsiteX3938" y="connsiteY3938"/>
              </a:cxn>
              <a:cxn ang="0">
                <a:pos x="connsiteX3939" y="connsiteY3939"/>
              </a:cxn>
              <a:cxn ang="0">
                <a:pos x="connsiteX3940" y="connsiteY3940"/>
              </a:cxn>
              <a:cxn ang="0">
                <a:pos x="connsiteX3941" y="connsiteY3941"/>
              </a:cxn>
              <a:cxn ang="0">
                <a:pos x="connsiteX3942" y="connsiteY3942"/>
              </a:cxn>
              <a:cxn ang="0">
                <a:pos x="connsiteX3943" y="connsiteY3943"/>
              </a:cxn>
              <a:cxn ang="0">
                <a:pos x="connsiteX3944" y="connsiteY3944"/>
              </a:cxn>
              <a:cxn ang="0">
                <a:pos x="connsiteX3945" y="connsiteY3945"/>
              </a:cxn>
              <a:cxn ang="0">
                <a:pos x="connsiteX3946" y="connsiteY3946"/>
              </a:cxn>
              <a:cxn ang="0">
                <a:pos x="connsiteX3947" y="connsiteY3947"/>
              </a:cxn>
              <a:cxn ang="0">
                <a:pos x="connsiteX3948" y="connsiteY3948"/>
              </a:cxn>
              <a:cxn ang="0">
                <a:pos x="connsiteX3949" y="connsiteY3949"/>
              </a:cxn>
              <a:cxn ang="0">
                <a:pos x="connsiteX3950" y="connsiteY3950"/>
              </a:cxn>
              <a:cxn ang="0">
                <a:pos x="connsiteX3951" y="connsiteY3951"/>
              </a:cxn>
              <a:cxn ang="0">
                <a:pos x="connsiteX3952" y="connsiteY3952"/>
              </a:cxn>
              <a:cxn ang="0">
                <a:pos x="connsiteX3953" y="connsiteY3953"/>
              </a:cxn>
              <a:cxn ang="0">
                <a:pos x="connsiteX3954" y="connsiteY3954"/>
              </a:cxn>
              <a:cxn ang="0">
                <a:pos x="connsiteX3955" y="connsiteY3955"/>
              </a:cxn>
              <a:cxn ang="0">
                <a:pos x="connsiteX3956" y="connsiteY3956"/>
              </a:cxn>
              <a:cxn ang="0">
                <a:pos x="connsiteX3957" y="connsiteY3957"/>
              </a:cxn>
              <a:cxn ang="0">
                <a:pos x="connsiteX3958" y="connsiteY3958"/>
              </a:cxn>
              <a:cxn ang="0">
                <a:pos x="connsiteX3959" y="connsiteY3959"/>
              </a:cxn>
              <a:cxn ang="0">
                <a:pos x="connsiteX3960" y="connsiteY3960"/>
              </a:cxn>
              <a:cxn ang="0">
                <a:pos x="connsiteX3961" y="connsiteY3961"/>
              </a:cxn>
              <a:cxn ang="0">
                <a:pos x="connsiteX3962" y="connsiteY3962"/>
              </a:cxn>
              <a:cxn ang="0">
                <a:pos x="connsiteX3963" y="connsiteY3963"/>
              </a:cxn>
              <a:cxn ang="0">
                <a:pos x="connsiteX3964" y="connsiteY3964"/>
              </a:cxn>
              <a:cxn ang="0">
                <a:pos x="connsiteX3965" y="connsiteY3965"/>
              </a:cxn>
              <a:cxn ang="0">
                <a:pos x="connsiteX3966" y="connsiteY3966"/>
              </a:cxn>
              <a:cxn ang="0">
                <a:pos x="connsiteX3967" y="connsiteY3967"/>
              </a:cxn>
              <a:cxn ang="0">
                <a:pos x="connsiteX3968" y="connsiteY3968"/>
              </a:cxn>
              <a:cxn ang="0">
                <a:pos x="connsiteX3969" y="connsiteY3969"/>
              </a:cxn>
              <a:cxn ang="0">
                <a:pos x="connsiteX3970" y="connsiteY3970"/>
              </a:cxn>
              <a:cxn ang="0">
                <a:pos x="connsiteX3971" y="connsiteY3971"/>
              </a:cxn>
              <a:cxn ang="0">
                <a:pos x="connsiteX3972" y="connsiteY3972"/>
              </a:cxn>
              <a:cxn ang="0">
                <a:pos x="connsiteX3973" y="connsiteY3973"/>
              </a:cxn>
              <a:cxn ang="0">
                <a:pos x="connsiteX3974" y="connsiteY3974"/>
              </a:cxn>
              <a:cxn ang="0">
                <a:pos x="connsiteX3975" y="connsiteY3975"/>
              </a:cxn>
              <a:cxn ang="0">
                <a:pos x="connsiteX3976" y="connsiteY3976"/>
              </a:cxn>
              <a:cxn ang="0">
                <a:pos x="connsiteX3977" y="connsiteY3977"/>
              </a:cxn>
              <a:cxn ang="0">
                <a:pos x="connsiteX3978" y="connsiteY3978"/>
              </a:cxn>
              <a:cxn ang="0">
                <a:pos x="connsiteX3979" y="connsiteY3979"/>
              </a:cxn>
              <a:cxn ang="0">
                <a:pos x="connsiteX3980" y="connsiteY3980"/>
              </a:cxn>
              <a:cxn ang="0">
                <a:pos x="connsiteX3981" y="connsiteY3981"/>
              </a:cxn>
              <a:cxn ang="0">
                <a:pos x="connsiteX3982" y="connsiteY3982"/>
              </a:cxn>
              <a:cxn ang="0">
                <a:pos x="connsiteX3983" y="connsiteY3983"/>
              </a:cxn>
              <a:cxn ang="0">
                <a:pos x="connsiteX3984" y="connsiteY3984"/>
              </a:cxn>
              <a:cxn ang="0">
                <a:pos x="connsiteX3985" y="connsiteY3985"/>
              </a:cxn>
              <a:cxn ang="0">
                <a:pos x="connsiteX3986" y="connsiteY3986"/>
              </a:cxn>
              <a:cxn ang="0">
                <a:pos x="connsiteX3987" y="connsiteY3987"/>
              </a:cxn>
              <a:cxn ang="0">
                <a:pos x="connsiteX3988" y="connsiteY3988"/>
              </a:cxn>
              <a:cxn ang="0">
                <a:pos x="connsiteX3989" y="connsiteY3989"/>
              </a:cxn>
              <a:cxn ang="0">
                <a:pos x="connsiteX3990" y="connsiteY3990"/>
              </a:cxn>
              <a:cxn ang="0">
                <a:pos x="connsiteX3991" y="connsiteY3991"/>
              </a:cxn>
              <a:cxn ang="0">
                <a:pos x="connsiteX3992" y="connsiteY3992"/>
              </a:cxn>
              <a:cxn ang="0">
                <a:pos x="connsiteX3993" y="connsiteY3993"/>
              </a:cxn>
              <a:cxn ang="0">
                <a:pos x="connsiteX3994" y="connsiteY3994"/>
              </a:cxn>
              <a:cxn ang="0">
                <a:pos x="connsiteX3995" y="connsiteY3995"/>
              </a:cxn>
              <a:cxn ang="0">
                <a:pos x="connsiteX3996" y="connsiteY3996"/>
              </a:cxn>
              <a:cxn ang="0">
                <a:pos x="connsiteX3997" y="connsiteY3997"/>
              </a:cxn>
              <a:cxn ang="0">
                <a:pos x="connsiteX3998" y="connsiteY3998"/>
              </a:cxn>
              <a:cxn ang="0">
                <a:pos x="connsiteX3999" y="connsiteY3999"/>
              </a:cxn>
              <a:cxn ang="0">
                <a:pos x="connsiteX4000" y="connsiteY4000"/>
              </a:cxn>
              <a:cxn ang="0">
                <a:pos x="connsiteX4001" y="connsiteY4001"/>
              </a:cxn>
              <a:cxn ang="0">
                <a:pos x="connsiteX4002" y="connsiteY4002"/>
              </a:cxn>
              <a:cxn ang="0">
                <a:pos x="connsiteX4003" y="connsiteY4003"/>
              </a:cxn>
              <a:cxn ang="0">
                <a:pos x="connsiteX4004" y="connsiteY4004"/>
              </a:cxn>
              <a:cxn ang="0">
                <a:pos x="connsiteX4005" y="connsiteY4005"/>
              </a:cxn>
              <a:cxn ang="0">
                <a:pos x="connsiteX4006" y="connsiteY4006"/>
              </a:cxn>
              <a:cxn ang="0">
                <a:pos x="connsiteX4007" y="connsiteY4007"/>
              </a:cxn>
              <a:cxn ang="0">
                <a:pos x="connsiteX4008" y="connsiteY4008"/>
              </a:cxn>
              <a:cxn ang="0">
                <a:pos x="connsiteX4009" y="connsiteY4009"/>
              </a:cxn>
              <a:cxn ang="0">
                <a:pos x="connsiteX4010" y="connsiteY4010"/>
              </a:cxn>
              <a:cxn ang="0">
                <a:pos x="connsiteX4011" y="connsiteY4011"/>
              </a:cxn>
              <a:cxn ang="0">
                <a:pos x="connsiteX4012" y="connsiteY4012"/>
              </a:cxn>
              <a:cxn ang="0">
                <a:pos x="connsiteX4013" y="connsiteY4013"/>
              </a:cxn>
              <a:cxn ang="0">
                <a:pos x="connsiteX4014" y="connsiteY4014"/>
              </a:cxn>
              <a:cxn ang="0">
                <a:pos x="connsiteX4015" y="connsiteY4015"/>
              </a:cxn>
              <a:cxn ang="0">
                <a:pos x="connsiteX4016" y="connsiteY4016"/>
              </a:cxn>
              <a:cxn ang="0">
                <a:pos x="connsiteX4017" y="connsiteY4017"/>
              </a:cxn>
              <a:cxn ang="0">
                <a:pos x="connsiteX4018" y="connsiteY4018"/>
              </a:cxn>
              <a:cxn ang="0">
                <a:pos x="connsiteX4019" y="connsiteY4019"/>
              </a:cxn>
              <a:cxn ang="0">
                <a:pos x="connsiteX4020" y="connsiteY4020"/>
              </a:cxn>
              <a:cxn ang="0">
                <a:pos x="connsiteX4021" y="connsiteY4021"/>
              </a:cxn>
              <a:cxn ang="0">
                <a:pos x="connsiteX4022" y="connsiteY4022"/>
              </a:cxn>
              <a:cxn ang="0">
                <a:pos x="connsiteX4023" y="connsiteY4023"/>
              </a:cxn>
              <a:cxn ang="0">
                <a:pos x="connsiteX4024" y="connsiteY4024"/>
              </a:cxn>
              <a:cxn ang="0">
                <a:pos x="connsiteX4025" y="connsiteY4025"/>
              </a:cxn>
              <a:cxn ang="0">
                <a:pos x="connsiteX4026" y="connsiteY4026"/>
              </a:cxn>
              <a:cxn ang="0">
                <a:pos x="connsiteX4027" y="connsiteY4027"/>
              </a:cxn>
              <a:cxn ang="0">
                <a:pos x="connsiteX4028" y="connsiteY4028"/>
              </a:cxn>
              <a:cxn ang="0">
                <a:pos x="connsiteX4029" y="connsiteY4029"/>
              </a:cxn>
              <a:cxn ang="0">
                <a:pos x="connsiteX4030" y="connsiteY4030"/>
              </a:cxn>
              <a:cxn ang="0">
                <a:pos x="connsiteX4031" y="connsiteY4031"/>
              </a:cxn>
              <a:cxn ang="0">
                <a:pos x="connsiteX4032" y="connsiteY4032"/>
              </a:cxn>
              <a:cxn ang="0">
                <a:pos x="connsiteX4033" y="connsiteY4033"/>
              </a:cxn>
              <a:cxn ang="0">
                <a:pos x="connsiteX4034" y="connsiteY4034"/>
              </a:cxn>
              <a:cxn ang="0">
                <a:pos x="connsiteX4035" y="connsiteY4035"/>
              </a:cxn>
              <a:cxn ang="0">
                <a:pos x="connsiteX4036" y="connsiteY4036"/>
              </a:cxn>
              <a:cxn ang="0">
                <a:pos x="connsiteX4037" y="connsiteY4037"/>
              </a:cxn>
              <a:cxn ang="0">
                <a:pos x="connsiteX4038" y="connsiteY4038"/>
              </a:cxn>
              <a:cxn ang="0">
                <a:pos x="connsiteX4039" y="connsiteY4039"/>
              </a:cxn>
              <a:cxn ang="0">
                <a:pos x="connsiteX4040" y="connsiteY4040"/>
              </a:cxn>
              <a:cxn ang="0">
                <a:pos x="connsiteX4041" y="connsiteY4041"/>
              </a:cxn>
              <a:cxn ang="0">
                <a:pos x="connsiteX4042" y="connsiteY4042"/>
              </a:cxn>
              <a:cxn ang="0">
                <a:pos x="connsiteX4043" y="connsiteY4043"/>
              </a:cxn>
              <a:cxn ang="0">
                <a:pos x="connsiteX4044" y="connsiteY4044"/>
              </a:cxn>
              <a:cxn ang="0">
                <a:pos x="connsiteX4045" y="connsiteY4045"/>
              </a:cxn>
              <a:cxn ang="0">
                <a:pos x="connsiteX4046" y="connsiteY4046"/>
              </a:cxn>
              <a:cxn ang="0">
                <a:pos x="connsiteX4047" y="connsiteY4047"/>
              </a:cxn>
              <a:cxn ang="0">
                <a:pos x="connsiteX4048" y="connsiteY4048"/>
              </a:cxn>
              <a:cxn ang="0">
                <a:pos x="connsiteX4049" y="connsiteY4049"/>
              </a:cxn>
              <a:cxn ang="0">
                <a:pos x="connsiteX4050" y="connsiteY4050"/>
              </a:cxn>
              <a:cxn ang="0">
                <a:pos x="connsiteX4051" y="connsiteY4051"/>
              </a:cxn>
              <a:cxn ang="0">
                <a:pos x="connsiteX4052" y="connsiteY4052"/>
              </a:cxn>
              <a:cxn ang="0">
                <a:pos x="connsiteX4053" y="connsiteY4053"/>
              </a:cxn>
              <a:cxn ang="0">
                <a:pos x="connsiteX4054" y="connsiteY4054"/>
              </a:cxn>
              <a:cxn ang="0">
                <a:pos x="connsiteX4055" y="connsiteY4055"/>
              </a:cxn>
              <a:cxn ang="0">
                <a:pos x="connsiteX4056" y="connsiteY4056"/>
              </a:cxn>
              <a:cxn ang="0">
                <a:pos x="connsiteX4057" y="connsiteY4057"/>
              </a:cxn>
              <a:cxn ang="0">
                <a:pos x="connsiteX4058" y="connsiteY4058"/>
              </a:cxn>
              <a:cxn ang="0">
                <a:pos x="connsiteX4059" y="connsiteY4059"/>
              </a:cxn>
              <a:cxn ang="0">
                <a:pos x="connsiteX4060" y="connsiteY4060"/>
              </a:cxn>
              <a:cxn ang="0">
                <a:pos x="connsiteX4061" y="connsiteY4061"/>
              </a:cxn>
              <a:cxn ang="0">
                <a:pos x="connsiteX4062" y="connsiteY4062"/>
              </a:cxn>
              <a:cxn ang="0">
                <a:pos x="connsiteX4063" y="connsiteY4063"/>
              </a:cxn>
              <a:cxn ang="0">
                <a:pos x="connsiteX4064" y="connsiteY4064"/>
              </a:cxn>
              <a:cxn ang="0">
                <a:pos x="connsiteX4065" y="connsiteY4065"/>
              </a:cxn>
              <a:cxn ang="0">
                <a:pos x="connsiteX4066" y="connsiteY4066"/>
              </a:cxn>
              <a:cxn ang="0">
                <a:pos x="connsiteX4067" y="connsiteY4067"/>
              </a:cxn>
              <a:cxn ang="0">
                <a:pos x="connsiteX4068" y="connsiteY4068"/>
              </a:cxn>
              <a:cxn ang="0">
                <a:pos x="connsiteX4069" y="connsiteY4069"/>
              </a:cxn>
              <a:cxn ang="0">
                <a:pos x="connsiteX4070" y="connsiteY4070"/>
              </a:cxn>
              <a:cxn ang="0">
                <a:pos x="connsiteX4071" y="connsiteY4071"/>
              </a:cxn>
              <a:cxn ang="0">
                <a:pos x="connsiteX4072" y="connsiteY4072"/>
              </a:cxn>
              <a:cxn ang="0">
                <a:pos x="connsiteX4073" y="connsiteY4073"/>
              </a:cxn>
              <a:cxn ang="0">
                <a:pos x="connsiteX4074" y="connsiteY4074"/>
              </a:cxn>
              <a:cxn ang="0">
                <a:pos x="connsiteX4075" y="connsiteY4075"/>
              </a:cxn>
              <a:cxn ang="0">
                <a:pos x="connsiteX4076" y="connsiteY4076"/>
              </a:cxn>
              <a:cxn ang="0">
                <a:pos x="connsiteX4077" y="connsiteY4077"/>
              </a:cxn>
              <a:cxn ang="0">
                <a:pos x="connsiteX4078" y="connsiteY4078"/>
              </a:cxn>
              <a:cxn ang="0">
                <a:pos x="connsiteX4079" y="connsiteY4079"/>
              </a:cxn>
              <a:cxn ang="0">
                <a:pos x="connsiteX4080" y="connsiteY4080"/>
              </a:cxn>
              <a:cxn ang="0">
                <a:pos x="connsiteX4081" y="connsiteY4081"/>
              </a:cxn>
              <a:cxn ang="0">
                <a:pos x="connsiteX4082" y="connsiteY4082"/>
              </a:cxn>
              <a:cxn ang="0">
                <a:pos x="connsiteX4083" y="connsiteY4083"/>
              </a:cxn>
              <a:cxn ang="0">
                <a:pos x="connsiteX4084" y="connsiteY4084"/>
              </a:cxn>
              <a:cxn ang="0">
                <a:pos x="connsiteX4085" y="connsiteY4085"/>
              </a:cxn>
              <a:cxn ang="0">
                <a:pos x="connsiteX4086" y="connsiteY4086"/>
              </a:cxn>
              <a:cxn ang="0">
                <a:pos x="connsiteX4087" y="connsiteY4087"/>
              </a:cxn>
              <a:cxn ang="0">
                <a:pos x="connsiteX4088" y="connsiteY4088"/>
              </a:cxn>
              <a:cxn ang="0">
                <a:pos x="connsiteX4089" y="connsiteY4089"/>
              </a:cxn>
              <a:cxn ang="0">
                <a:pos x="connsiteX4090" y="connsiteY4090"/>
              </a:cxn>
              <a:cxn ang="0">
                <a:pos x="connsiteX4091" y="connsiteY4091"/>
              </a:cxn>
              <a:cxn ang="0">
                <a:pos x="connsiteX4092" y="connsiteY4092"/>
              </a:cxn>
              <a:cxn ang="0">
                <a:pos x="connsiteX4093" y="connsiteY4093"/>
              </a:cxn>
              <a:cxn ang="0">
                <a:pos x="connsiteX4094" y="connsiteY4094"/>
              </a:cxn>
              <a:cxn ang="0">
                <a:pos x="connsiteX4095" y="connsiteY4095"/>
              </a:cxn>
              <a:cxn ang="0">
                <a:pos x="connsiteX4096" y="connsiteY4096"/>
              </a:cxn>
              <a:cxn ang="0">
                <a:pos x="connsiteX4097" y="connsiteY4097"/>
              </a:cxn>
              <a:cxn ang="0">
                <a:pos x="connsiteX4098" y="connsiteY4098"/>
              </a:cxn>
              <a:cxn ang="0">
                <a:pos x="connsiteX4099" y="connsiteY4099"/>
              </a:cxn>
              <a:cxn ang="0">
                <a:pos x="connsiteX4100" y="connsiteY4100"/>
              </a:cxn>
              <a:cxn ang="0">
                <a:pos x="connsiteX4101" y="connsiteY4101"/>
              </a:cxn>
              <a:cxn ang="0">
                <a:pos x="connsiteX4102" y="connsiteY4102"/>
              </a:cxn>
              <a:cxn ang="0">
                <a:pos x="connsiteX4103" y="connsiteY4103"/>
              </a:cxn>
              <a:cxn ang="0">
                <a:pos x="connsiteX4104" y="connsiteY4104"/>
              </a:cxn>
              <a:cxn ang="0">
                <a:pos x="connsiteX4105" y="connsiteY4105"/>
              </a:cxn>
              <a:cxn ang="0">
                <a:pos x="connsiteX4106" y="connsiteY4106"/>
              </a:cxn>
              <a:cxn ang="0">
                <a:pos x="connsiteX4107" y="connsiteY4107"/>
              </a:cxn>
              <a:cxn ang="0">
                <a:pos x="connsiteX4108" y="connsiteY4108"/>
              </a:cxn>
              <a:cxn ang="0">
                <a:pos x="connsiteX4109" y="connsiteY4109"/>
              </a:cxn>
              <a:cxn ang="0">
                <a:pos x="connsiteX4110" y="connsiteY4110"/>
              </a:cxn>
              <a:cxn ang="0">
                <a:pos x="connsiteX4111" y="connsiteY4111"/>
              </a:cxn>
              <a:cxn ang="0">
                <a:pos x="connsiteX4112" y="connsiteY4112"/>
              </a:cxn>
              <a:cxn ang="0">
                <a:pos x="connsiteX4113" y="connsiteY4113"/>
              </a:cxn>
              <a:cxn ang="0">
                <a:pos x="connsiteX4114" y="connsiteY4114"/>
              </a:cxn>
              <a:cxn ang="0">
                <a:pos x="connsiteX4115" y="connsiteY4115"/>
              </a:cxn>
              <a:cxn ang="0">
                <a:pos x="connsiteX4116" y="connsiteY4116"/>
              </a:cxn>
              <a:cxn ang="0">
                <a:pos x="connsiteX4117" y="connsiteY4117"/>
              </a:cxn>
              <a:cxn ang="0">
                <a:pos x="connsiteX4118" y="connsiteY4118"/>
              </a:cxn>
              <a:cxn ang="0">
                <a:pos x="connsiteX4119" y="connsiteY4119"/>
              </a:cxn>
              <a:cxn ang="0">
                <a:pos x="connsiteX4120" y="connsiteY4120"/>
              </a:cxn>
              <a:cxn ang="0">
                <a:pos x="connsiteX4121" y="connsiteY4121"/>
              </a:cxn>
              <a:cxn ang="0">
                <a:pos x="connsiteX4122" y="connsiteY4122"/>
              </a:cxn>
              <a:cxn ang="0">
                <a:pos x="connsiteX4123" y="connsiteY4123"/>
              </a:cxn>
              <a:cxn ang="0">
                <a:pos x="connsiteX4124" y="connsiteY4124"/>
              </a:cxn>
              <a:cxn ang="0">
                <a:pos x="connsiteX4125" y="connsiteY4125"/>
              </a:cxn>
              <a:cxn ang="0">
                <a:pos x="connsiteX4126" y="connsiteY4126"/>
              </a:cxn>
              <a:cxn ang="0">
                <a:pos x="connsiteX4127" y="connsiteY4127"/>
              </a:cxn>
              <a:cxn ang="0">
                <a:pos x="connsiteX4128" y="connsiteY4128"/>
              </a:cxn>
              <a:cxn ang="0">
                <a:pos x="connsiteX4129" y="connsiteY4129"/>
              </a:cxn>
              <a:cxn ang="0">
                <a:pos x="connsiteX4130" y="connsiteY4130"/>
              </a:cxn>
              <a:cxn ang="0">
                <a:pos x="connsiteX4131" y="connsiteY4131"/>
              </a:cxn>
              <a:cxn ang="0">
                <a:pos x="connsiteX4132" y="connsiteY4132"/>
              </a:cxn>
              <a:cxn ang="0">
                <a:pos x="connsiteX4133" y="connsiteY4133"/>
              </a:cxn>
              <a:cxn ang="0">
                <a:pos x="connsiteX4134" y="connsiteY4134"/>
              </a:cxn>
              <a:cxn ang="0">
                <a:pos x="connsiteX4135" y="connsiteY4135"/>
              </a:cxn>
              <a:cxn ang="0">
                <a:pos x="connsiteX4136" y="connsiteY4136"/>
              </a:cxn>
              <a:cxn ang="0">
                <a:pos x="connsiteX4137" y="connsiteY4137"/>
              </a:cxn>
              <a:cxn ang="0">
                <a:pos x="connsiteX4138" y="connsiteY4138"/>
              </a:cxn>
              <a:cxn ang="0">
                <a:pos x="connsiteX4139" y="connsiteY4139"/>
              </a:cxn>
              <a:cxn ang="0">
                <a:pos x="connsiteX4140" y="connsiteY4140"/>
              </a:cxn>
              <a:cxn ang="0">
                <a:pos x="connsiteX4141" y="connsiteY4141"/>
              </a:cxn>
              <a:cxn ang="0">
                <a:pos x="connsiteX4142" y="connsiteY4142"/>
              </a:cxn>
              <a:cxn ang="0">
                <a:pos x="connsiteX4143" y="connsiteY4143"/>
              </a:cxn>
              <a:cxn ang="0">
                <a:pos x="connsiteX4144" y="connsiteY4144"/>
              </a:cxn>
              <a:cxn ang="0">
                <a:pos x="connsiteX4145" y="connsiteY4145"/>
              </a:cxn>
              <a:cxn ang="0">
                <a:pos x="connsiteX4146" y="connsiteY4146"/>
              </a:cxn>
              <a:cxn ang="0">
                <a:pos x="connsiteX4147" y="connsiteY4147"/>
              </a:cxn>
              <a:cxn ang="0">
                <a:pos x="connsiteX4148" y="connsiteY4148"/>
              </a:cxn>
              <a:cxn ang="0">
                <a:pos x="connsiteX4149" y="connsiteY4149"/>
              </a:cxn>
              <a:cxn ang="0">
                <a:pos x="connsiteX4150" y="connsiteY4150"/>
              </a:cxn>
              <a:cxn ang="0">
                <a:pos x="connsiteX4151" y="connsiteY4151"/>
              </a:cxn>
              <a:cxn ang="0">
                <a:pos x="connsiteX4152" y="connsiteY4152"/>
              </a:cxn>
              <a:cxn ang="0">
                <a:pos x="connsiteX4153" y="connsiteY4153"/>
              </a:cxn>
              <a:cxn ang="0">
                <a:pos x="connsiteX4154" y="connsiteY4154"/>
              </a:cxn>
              <a:cxn ang="0">
                <a:pos x="connsiteX4155" y="connsiteY4155"/>
              </a:cxn>
              <a:cxn ang="0">
                <a:pos x="connsiteX4156" y="connsiteY4156"/>
              </a:cxn>
              <a:cxn ang="0">
                <a:pos x="connsiteX4157" y="connsiteY4157"/>
              </a:cxn>
              <a:cxn ang="0">
                <a:pos x="connsiteX4158" y="connsiteY4158"/>
              </a:cxn>
              <a:cxn ang="0">
                <a:pos x="connsiteX4159" y="connsiteY4159"/>
              </a:cxn>
              <a:cxn ang="0">
                <a:pos x="connsiteX4160" y="connsiteY4160"/>
              </a:cxn>
              <a:cxn ang="0">
                <a:pos x="connsiteX4161" y="connsiteY4161"/>
              </a:cxn>
              <a:cxn ang="0">
                <a:pos x="connsiteX4162" y="connsiteY4162"/>
              </a:cxn>
              <a:cxn ang="0">
                <a:pos x="connsiteX4163" y="connsiteY4163"/>
              </a:cxn>
              <a:cxn ang="0">
                <a:pos x="connsiteX4164" y="connsiteY4164"/>
              </a:cxn>
              <a:cxn ang="0">
                <a:pos x="connsiteX4165" y="connsiteY4165"/>
              </a:cxn>
              <a:cxn ang="0">
                <a:pos x="connsiteX4166" y="connsiteY4166"/>
              </a:cxn>
              <a:cxn ang="0">
                <a:pos x="connsiteX4167" y="connsiteY4167"/>
              </a:cxn>
              <a:cxn ang="0">
                <a:pos x="connsiteX4168" y="connsiteY4168"/>
              </a:cxn>
              <a:cxn ang="0">
                <a:pos x="connsiteX4169" y="connsiteY4169"/>
              </a:cxn>
              <a:cxn ang="0">
                <a:pos x="connsiteX4170" y="connsiteY4170"/>
              </a:cxn>
              <a:cxn ang="0">
                <a:pos x="connsiteX4171" y="connsiteY4171"/>
              </a:cxn>
              <a:cxn ang="0">
                <a:pos x="connsiteX4172" y="connsiteY4172"/>
              </a:cxn>
              <a:cxn ang="0">
                <a:pos x="connsiteX4173" y="connsiteY4173"/>
              </a:cxn>
              <a:cxn ang="0">
                <a:pos x="connsiteX4174" y="connsiteY4174"/>
              </a:cxn>
              <a:cxn ang="0">
                <a:pos x="connsiteX4175" y="connsiteY4175"/>
              </a:cxn>
              <a:cxn ang="0">
                <a:pos x="connsiteX4176" y="connsiteY4176"/>
              </a:cxn>
              <a:cxn ang="0">
                <a:pos x="connsiteX4177" y="connsiteY4177"/>
              </a:cxn>
              <a:cxn ang="0">
                <a:pos x="connsiteX4178" y="connsiteY4178"/>
              </a:cxn>
              <a:cxn ang="0">
                <a:pos x="connsiteX4179" y="connsiteY4179"/>
              </a:cxn>
              <a:cxn ang="0">
                <a:pos x="connsiteX4180" y="connsiteY4180"/>
              </a:cxn>
              <a:cxn ang="0">
                <a:pos x="connsiteX4181" y="connsiteY4181"/>
              </a:cxn>
              <a:cxn ang="0">
                <a:pos x="connsiteX4182" y="connsiteY4182"/>
              </a:cxn>
              <a:cxn ang="0">
                <a:pos x="connsiteX4183" y="connsiteY4183"/>
              </a:cxn>
              <a:cxn ang="0">
                <a:pos x="connsiteX4184" y="connsiteY4184"/>
              </a:cxn>
              <a:cxn ang="0">
                <a:pos x="connsiteX4185" y="connsiteY4185"/>
              </a:cxn>
              <a:cxn ang="0">
                <a:pos x="connsiteX4186" y="connsiteY4186"/>
              </a:cxn>
              <a:cxn ang="0">
                <a:pos x="connsiteX4187" y="connsiteY4187"/>
              </a:cxn>
              <a:cxn ang="0">
                <a:pos x="connsiteX4188" y="connsiteY4188"/>
              </a:cxn>
              <a:cxn ang="0">
                <a:pos x="connsiteX4189" y="connsiteY4189"/>
              </a:cxn>
              <a:cxn ang="0">
                <a:pos x="connsiteX4190" y="connsiteY4190"/>
              </a:cxn>
              <a:cxn ang="0">
                <a:pos x="connsiteX4191" y="connsiteY4191"/>
              </a:cxn>
              <a:cxn ang="0">
                <a:pos x="connsiteX4192" y="connsiteY4192"/>
              </a:cxn>
              <a:cxn ang="0">
                <a:pos x="connsiteX4193" y="connsiteY4193"/>
              </a:cxn>
              <a:cxn ang="0">
                <a:pos x="connsiteX4194" y="connsiteY4194"/>
              </a:cxn>
              <a:cxn ang="0">
                <a:pos x="connsiteX4195" y="connsiteY4195"/>
              </a:cxn>
              <a:cxn ang="0">
                <a:pos x="connsiteX4196" y="connsiteY4196"/>
              </a:cxn>
              <a:cxn ang="0">
                <a:pos x="connsiteX4197" y="connsiteY4197"/>
              </a:cxn>
              <a:cxn ang="0">
                <a:pos x="connsiteX4198" y="connsiteY4198"/>
              </a:cxn>
              <a:cxn ang="0">
                <a:pos x="connsiteX4199" y="connsiteY4199"/>
              </a:cxn>
              <a:cxn ang="0">
                <a:pos x="connsiteX4200" y="connsiteY4200"/>
              </a:cxn>
              <a:cxn ang="0">
                <a:pos x="connsiteX4201" y="connsiteY4201"/>
              </a:cxn>
              <a:cxn ang="0">
                <a:pos x="connsiteX4202" y="connsiteY4202"/>
              </a:cxn>
              <a:cxn ang="0">
                <a:pos x="connsiteX4203" y="connsiteY4203"/>
              </a:cxn>
              <a:cxn ang="0">
                <a:pos x="connsiteX4204" y="connsiteY4204"/>
              </a:cxn>
              <a:cxn ang="0">
                <a:pos x="connsiteX4205" y="connsiteY4205"/>
              </a:cxn>
              <a:cxn ang="0">
                <a:pos x="connsiteX4206" y="connsiteY4206"/>
              </a:cxn>
              <a:cxn ang="0">
                <a:pos x="connsiteX4207" y="connsiteY4207"/>
              </a:cxn>
              <a:cxn ang="0">
                <a:pos x="connsiteX4208" y="connsiteY4208"/>
              </a:cxn>
              <a:cxn ang="0">
                <a:pos x="connsiteX4209" y="connsiteY4209"/>
              </a:cxn>
              <a:cxn ang="0">
                <a:pos x="connsiteX4210" y="connsiteY4210"/>
              </a:cxn>
              <a:cxn ang="0">
                <a:pos x="connsiteX4211" y="connsiteY4211"/>
              </a:cxn>
              <a:cxn ang="0">
                <a:pos x="connsiteX4212" y="connsiteY4212"/>
              </a:cxn>
              <a:cxn ang="0">
                <a:pos x="connsiteX4213" y="connsiteY4213"/>
              </a:cxn>
              <a:cxn ang="0">
                <a:pos x="connsiteX4214" y="connsiteY4214"/>
              </a:cxn>
              <a:cxn ang="0">
                <a:pos x="connsiteX4215" y="connsiteY4215"/>
              </a:cxn>
              <a:cxn ang="0">
                <a:pos x="connsiteX4216" y="connsiteY4216"/>
              </a:cxn>
              <a:cxn ang="0">
                <a:pos x="connsiteX4217" y="connsiteY4217"/>
              </a:cxn>
              <a:cxn ang="0">
                <a:pos x="connsiteX4218" y="connsiteY4218"/>
              </a:cxn>
              <a:cxn ang="0">
                <a:pos x="connsiteX4219" y="connsiteY4219"/>
              </a:cxn>
              <a:cxn ang="0">
                <a:pos x="connsiteX4220" y="connsiteY4220"/>
              </a:cxn>
              <a:cxn ang="0">
                <a:pos x="connsiteX4221" y="connsiteY4221"/>
              </a:cxn>
              <a:cxn ang="0">
                <a:pos x="connsiteX4222" y="connsiteY4222"/>
              </a:cxn>
              <a:cxn ang="0">
                <a:pos x="connsiteX4223" y="connsiteY4223"/>
              </a:cxn>
              <a:cxn ang="0">
                <a:pos x="connsiteX4224" y="connsiteY4224"/>
              </a:cxn>
              <a:cxn ang="0">
                <a:pos x="connsiteX4225" y="connsiteY4225"/>
              </a:cxn>
              <a:cxn ang="0">
                <a:pos x="connsiteX4226" y="connsiteY4226"/>
              </a:cxn>
              <a:cxn ang="0">
                <a:pos x="connsiteX4227" y="connsiteY4227"/>
              </a:cxn>
              <a:cxn ang="0">
                <a:pos x="connsiteX4228" y="connsiteY4228"/>
              </a:cxn>
              <a:cxn ang="0">
                <a:pos x="connsiteX4229" y="connsiteY4229"/>
              </a:cxn>
              <a:cxn ang="0">
                <a:pos x="connsiteX4230" y="connsiteY4230"/>
              </a:cxn>
              <a:cxn ang="0">
                <a:pos x="connsiteX4231" y="connsiteY4231"/>
              </a:cxn>
              <a:cxn ang="0">
                <a:pos x="connsiteX4232" y="connsiteY4232"/>
              </a:cxn>
              <a:cxn ang="0">
                <a:pos x="connsiteX4233" y="connsiteY4233"/>
              </a:cxn>
              <a:cxn ang="0">
                <a:pos x="connsiteX4234" y="connsiteY4234"/>
              </a:cxn>
              <a:cxn ang="0">
                <a:pos x="connsiteX4235" y="connsiteY4235"/>
              </a:cxn>
              <a:cxn ang="0">
                <a:pos x="connsiteX4236" y="connsiteY4236"/>
              </a:cxn>
              <a:cxn ang="0">
                <a:pos x="connsiteX4237" y="connsiteY4237"/>
              </a:cxn>
              <a:cxn ang="0">
                <a:pos x="connsiteX4238" y="connsiteY4238"/>
              </a:cxn>
              <a:cxn ang="0">
                <a:pos x="connsiteX4239" y="connsiteY4239"/>
              </a:cxn>
              <a:cxn ang="0">
                <a:pos x="connsiteX4240" y="connsiteY4240"/>
              </a:cxn>
              <a:cxn ang="0">
                <a:pos x="connsiteX4241" y="connsiteY4241"/>
              </a:cxn>
              <a:cxn ang="0">
                <a:pos x="connsiteX4242" y="connsiteY4242"/>
              </a:cxn>
              <a:cxn ang="0">
                <a:pos x="connsiteX4243" y="connsiteY4243"/>
              </a:cxn>
              <a:cxn ang="0">
                <a:pos x="connsiteX4244" y="connsiteY4244"/>
              </a:cxn>
              <a:cxn ang="0">
                <a:pos x="connsiteX4245" y="connsiteY4245"/>
              </a:cxn>
              <a:cxn ang="0">
                <a:pos x="connsiteX4246" y="connsiteY4246"/>
              </a:cxn>
              <a:cxn ang="0">
                <a:pos x="connsiteX4247" y="connsiteY4247"/>
              </a:cxn>
              <a:cxn ang="0">
                <a:pos x="connsiteX4248" y="connsiteY4248"/>
              </a:cxn>
              <a:cxn ang="0">
                <a:pos x="connsiteX4249" y="connsiteY4249"/>
              </a:cxn>
              <a:cxn ang="0">
                <a:pos x="connsiteX4250" y="connsiteY4250"/>
              </a:cxn>
              <a:cxn ang="0">
                <a:pos x="connsiteX4251" y="connsiteY4251"/>
              </a:cxn>
              <a:cxn ang="0">
                <a:pos x="connsiteX4252" y="connsiteY4252"/>
              </a:cxn>
              <a:cxn ang="0">
                <a:pos x="connsiteX4253" y="connsiteY4253"/>
              </a:cxn>
              <a:cxn ang="0">
                <a:pos x="connsiteX4254" y="connsiteY4254"/>
              </a:cxn>
              <a:cxn ang="0">
                <a:pos x="connsiteX4255" y="connsiteY4255"/>
              </a:cxn>
              <a:cxn ang="0">
                <a:pos x="connsiteX4256" y="connsiteY4256"/>
              </a:cxn>
              <a:cxn ang="0">
                <a:pos x="connsiteX4257" y="connsiteY4257"/>
              </a:cxn>
              <a:cxn ang="0">
                <a:pos x="connsiteX4258" y="connsiteY4258"/>
              </a:cxn>
              <a:cxn ang="0">
                <a:pos x="connsiteX4259" y="connsiteY4259"/>
              </a:cxn>
              <a:cxn ang="0">
                <a:pos x="connsiteX4260" y="connsiteY4260"/>
              </a:cxn>
              <a:cxn ang="0">
                <a:pos x="connsiteX4261" y="connsiteY4261"/>
              </a:cxn>
              <a:cxn ang="0">
                <a:pos x="connsiteX4262" y="connsiteY4262"/>
              </a:cxn>
              <a:cxn ang="0">
                <a:pos x="connsiteX4263" y="connsiteY4263"/>
              </a:cxn>
              <a:cxn ang="0">
                <a:pos x="connsiteX4264" y="connsiteY4264"/>
              </a:cxn>
              <a:cxn ang="0">
                <a:pos x="connsiteX4265" y="connsiteY4265"/>
              </a:cxn>
              <a:cxn ang="0">
                <a:pos x="connsiteX4266" y="connsiteY4266"/>
              </a:cxn>
              <a:cxn ang="0">
                <a:pos x="connsiteX4267" y="connsiteY4267"/>
              </a:cxn>
              <a:cxn ang="0">
                <a:pos x="connsiteX4268" y="connsiteY4268"/>
              </a:cxn>
              <a:cxn ang="0">
                <a:pos x="connsiteX4269" y="connsiteY4269"/>
              </a:cxn>
              <a:cxn ang="0">
                <a:pos x="connsiteX4270" y="connsiteY4270"/>
              </a:cxn>
              <a:cxn ang="0">
                <a:pos x="connsiteX4271" y="connsiteY4271"/>
              </a:cxn>
              <a:cxn ang="0">
                <a:pos x="connsiteX4272" y="connsiteY4272"/>
              </a:cxn>
              <a:cxn ang="0">
                <a:pos x="connsiteX4273" y="connsiteY4273"/>
              </a:cxn>
              <a:cxn ang="0">
                <a:pos x="connsiteX4274" y="connsiteY4274"/>
              </a:cxn>
              <a:cxn ang="0">
                <a:pos x="connsiteX4275" y="connsiteY4275"/>
              </a:cxn>
              <a:cxn ang="0">
                <a:pos x="connsiteX4276" y="connsiteY4276"/>
              </a:cxn>
              <a:cxn ang="0">
                <a:pos x="connsiteX4277" y="connsiteY4277"/>
              </a:cxn>
              <a:cxn ang="0">
                <a:pos x="connsiteX4278" y="connsiteY4278"/>
              </a:cxn>
              <a:cxn ang="0">
                <a:pos x="connsiteX4279" y="connsiteY4279"/>
              </a:cxn>
              <a:cxn ang="0">
                <a:pos x="connsiteX4280" y="connsiteY4280"/>
              </a:cxn>
              <a:cxn ang="0">
                <a:pos x="connsiteX4281" y="connsiteY4281"/>
              </a:cxn>
              <a:cxn ang="0">
                <a:pos x="connsiteX4282" y="connsiteY4282"/>
              </a:cxn>
              <a:cxn ang="0">
                <a:pos x="connsiteX4283" y="connsiteY4283"/>
              </a:cxn>
              <a:cxn ang="0">
                <a:pos x="connsiteX4284" y="connsiteY4284"/>
              </a:cxn>
              <a:cxn ang="0">
                <a:pos x="connsiteX4285" y="connsiteY4285"/>
              </a:cxn>
              <a:cxn ang="0">
                <a:pos x="connsiteX4286" y="connsiteY4286"/>
              </a:cxn>
              <a:cxn ang="0">
                <a:pos x="connsiteX4287" y="connsiteY4287"/>
              </a:cxn>
              <a:cxn ang="0">
                <a:pos x="connsiteX4288" y="connsiteY4288"/>
              </a:cxn>
              <a:cxn ang="0">
                <a:pos x="connsiteX4289" y="connsiteY4289"/>
              </a:cxn>
              <a:cxn ang="0">
                <a:pos x="connsiteX4290" y="connsiteY4290"/>
              </a:cxn>
              <a:cxn ang="0">
                <a:pos x="connsiteX4291" y="connsiteY4291"/>
              </a:cxn>
              <a:cxn ang="0">
                <a:pos x="connsiteX4292" y="connsiteY4292"/>
              </a:cxn>
              <a:cxn ang="0">
                <a:pos x="connsiteX4293" y="connsiteY4293"/>
              </a:cxn>
              <a:cxn ang="0">
                <a:pos x="connsiteX4294" y="connsiteY4294"/>
              </a:cxn>
              <a:cxn ang="0">
                <a:pos x="connsiteX4295" y="connsiteY4295"/>
              </a:cxn>
              <a:cxn ang="0">
                <a:pos x="connsiteX4296" y="connsiteY4296"/>
              </a:cxn>
              <a:cxn ang="0">
                <a:pos x="connsiteX4297" y="connsiteY4297"/>
              </a:cxn>
              <a:cxn ang="0">
                <a:pos x="connsiteX4298" y="connsiteY4298"/>
              </a:cxn>
              <a:cxn ang="0">
                <a:pos x="connsiteX4299" y="connsiteY4299"/>
              </a:cxn>
              <a:cxn ang="0">
                <a:pos x="connsiteX4300" y="connsiteY4300"/>
              </a:cxn>
              <a:cxn ang="0">
                <a:pos x="connsiteX4301" y="connsiteY4301"/>
              </a:cxn>
              <a:cxn ang="0">
                <a:pos x="connsiteX4302" y="connsiteY4302"/>
              </a:cxn>
              <a:cxn ang="0">
                <a:pos x="connsiteX4303" y="connsiteY4303"/>
              </a:cxn>
              <a:cxn ang="0">
                <a:pos x="connsiteX4304" y="connsiteY4304"/>
              </a:cxn>
              <a:cxn ang="0">
                <a:pos x="connsiteX4305" y="connsiteY4305"/>
              </a:cxn>
              <a:cxn ang="0">
                <a:pos x="connsiteX4306" y="connsiteY4306"/>
              </a:cxn>
              <a:cxn ang="0">
                <a:pos x="connsiteX4307" y="connsiteY4307"/>
              </a:cxn>
              <a:cxn ang="0">
                <a:pos x="connsiteX4308" y="connsiteY4308"/>
              </a:cxn>
              <a:cxn ang="0">
                <a:pos x="connsiteX4309" y="connsiteY4309"/>
              </a:cxn>
              <a:cxn ang="0">
                <a:pos x="connsiteX4310" y="connsiteY4310"/>
              </a:cxn>
              <a:cxn ang="0">
                <a:pos x="connsiteX4311" y="connsiteY4311"/>
              </a:cxn>
              <a:cxn ang="0">
                <a:pos x="connsiteX4312" y="connsiteY4312"/>
              </a:cxn>
              <a:cxn ang="0">
                <a:pos x="connsiteX4313" y="connsiteY4313"/>
              </a:cxn>
              <a:cxn ang="0">
                <a:pos x="connsiteX4314" y="connsiteY4314"/>
              </a:cxn>
              <a:cxn ang="0">
                <a:pos x="connsiteX4315" y="connsiteY4315"/>
              </a:cxn>
              <a:cxn ang="0">
                <a:pos x="connsiteX4316" y="connsiteY4316"/>
              </a:cxn>
              <a:cxn ang="0">
                <a:pos x="connsiteX4317" y="connsiteY4317"/>
              </a:cxn>
              <a:cxn ang="0">
                <a:pos x="connsiteX4318" y="connsiteY4318"/>
              </a:cxn>
              <a:cxn ang="0">
                <a:pos x="connsiteX4319" y="connsiteY4319"/>
              </a:cxn>
              <a:cxn ang="0">
                <a:pos x="connsiteX4320" y="connsiteY4320"/>
              </a:cxn>
              <a:cxn ang="0">
                <a:pos x="connsiteX4321" y="connsiteY4321"/>
              </a:cxn>
              <a:cxn ang="0">
                <a:pos x="connsiteX4322" y="connsiteY4322"/>
              </a:cxn>
              <a:cxn ang="0">
                <a:pos x="connsiteX4323" y="connsiteY4323"/>
              </a:cxn>
              <a:cxn ang="0">
                <a:pos x="connsiteX4324" y="connsiteY4324"/>
              </a:cxn>
              <a:cxn ang="0">
                <a:pos x="connsiteX4325" y="connsiteY4325"/>
              </a:cxn>
              <a:cxn ang="0">
                <a:pos x="connsiteX4326" y="connsiteY4326"/>
              </a:cxn>
              <a:cxn ang="0">
                <a:pos x="connsiteX4327" y="connsiteY4327"/>
              </a:cxn>
              <a:cxn ang="0">
                <a:pos x="connsiteX4328" y="connsiteY4328"/>
              </a:cxn>
              <a:cxn ang="0">
                <a:pos x="connsiteX4329" y="connsiteY4329"/>
              </a:cxn>
              <a:cxn ang="0">
                <a:pos x="connsiteX4330" y="connsiteY4330"/>
              </a:cxn>
              <a:cxn ang="0">
                <a:pos x="connsiteX4331" y="connsiteY4331"/>
              </a:cxn>
              <a:cxn ang="0">
                <a:pos x="connsiteX4332" y="connsiteY4332"/>
              </a:cxn>
              <a:cxn ang="0">
                <a:pos x="connsiteX4333" y="connsiteY4333"/>
              </a:cxn>
              <a:cxn ang="0">
                <a:pos x="connsiteX4334" y="connsiteY4334"/>
              </a:cxn>
              <a:cxn ang="0">
                <a:pos x="connsiteX4335" y="connsiteY4335"/>
              </a:cxn>
              <a:cxn ang="0">
                <a:pos x="connsiteX4336" y="connsiteY4336"/>
              </a:cxn>
              <a:cxn ang="0">
                <a:pos x="connsiteX4337" y="connsiteY4337"/>
              </a:cxn>
              <a:cxn ang="0">
                <a:pos x="connsiteX4338" y="connsiteY4338"/>
              </a:cxn>
              <a:cxn ang="0">
                <a:pos x="connsiteX4339" y="connsiteY4339"/>
              </a:cxn>
              <a:cxn ang="0">
                <a:pos x="connsiteX4340" y="connsiteY4340"/>
              </a:cxn>
              <a:cxn ang="0">
                <a:pos x="connsiteX4341" y="connsiteY4341"/>
              </a:cxn>
              <a:cxn ang="0">
                <a:pos x="connsiteX4342" y="connsiteY4342"/>
              </a:cxn>
              <a:cxn ang="0">
                <a:pos x="connsiteX4343" y="connsiteY4343"/>
              </a:cxn>
              <a:cxn ang="0">
                <a:pos x="connsiteX4344" y="connsiteY4344"/>
              </a:cxn>
              <a:cxn ang="0">
                <a:pos x="connsiteX4345" y="connsiteY4345"/>
              </a:cxn>
              <a:cxn ang="0">
                <a:pos x="connsiteX4346" y="connsiteY4346"/>
              </a:cxn>
              <a:cxn ang="0">
                <a:pos x="connsiteX4347" y="connsiteY4347"/>
              </a:cxn>
              <a:cxn ang="0">
                <a:pos x="connsiteX4348" y="connsiteY4348"/>
              </a:cxn>
              <a:cxn ang="0">
                <a:pos x="connsiteX4349" y="connsiteY4349"/>
              </a:cxn>
              <a:cxn ang="0">
                <a:pos x="connsiteX4350" y="connsiteY4350"/>
              </a:cxn>
              <a:cxn ang="0">
                <a:pos x="connsiteX4351" y="connsiteY4351"/>
              </a:cxn>
              <a:cxn ang="0">
                <a:pos x="connsiteX4352" y="connsiteY4352"/>
              </a:cxn>
              <a:cxn ang="0">
                <a:pos x="connsiteX4353" y="connsiteY4353"/>
              </a:cxn>
              <a:cxn ang="0">
                <a:pos x="connsiteX4354" y="connsiteY4354"/>
              </a:cxn>
              <a:cxn ang="0">
                <a:pos x="connsiteX4355" y="connsiteY4355"/>
              </a:cxn>
              <a:cxn ang="0">
                <a:pos x="connsiteX4356" y="connsiteY4356"/>
              </a:cxn>
              <a:cxn ang="0">
                <a:pos x="connsiteX4357" y="connsiteY4357"/>
              </a:cxn>
              <a:cxn ang="0">
                <a:pos x="connsiteX4358" y="connsiteY4358"/>
              </a:cxn>
              <a:cxn ang="0">
                <a:pos x="connsiteX4359" y="connsiteY4359"/>
              </a:cxn>
              <a:cxn ang="0">
                <a:pos x="connsiteX4360" y="connsiteY4360"/>
              </a:cxn>
              <a:cxn ang="0">
                <a:pos x="connsiteX4361" y="connsiteY4361"/>
              </a:cxn>
              <a:cxn ang="0">
                <a:pos x="connsiteX4362" y="connsiteY4362"/>
              </a:cxn>
              <a:cxn ang="0">
                <a:pos x="connsiteX4363" y="connsiteY4363"/>
              </a:cxn>
              <a:cxn ang="0">
                <a:pos x="connsiteX4364" y="connsiteY4364"/>
              </a:cxn>
              <a:cxn ang="0">
                <a:pos x="connsiteX4365" y="connsiteY4365"/>
              </a:cxn>
              <a:cxn ang="0">
                <a:pos x="connsiteX4366" y="connsiteY4366"/>
              </a:cxn>
              <a:cxn ang="0">
                <a:pos x="connsiteX4367" y="connsiteY4367"/>
              </a:cxn>
              <a:cxn ang="0">
                <a:pos x="connsiteX4368" y="connsiteY4368"/>
              </a:cxn>
              <a:cxn ang="0">
                <a:pos x="connsiteX4369" y="connsiteY4369"/>
              </a:cxn>
              <a:cxn ang="0">
                <a:pos x="connsiteX4370" y="connsiteY4370"/>
              </a:cxn>
              <a:cxn ang="0">
                <a:pos x="connsiteX4371" y="connsiteY4371"/>
              </a:cxn>
              <a:cxn ang="0">
                <a:pos x="connsiteX4372" y="connsiteY4372"/>
              </a:cxn>
              <a:cxn ang="0">
                <a:pos x="connsiteX4373" y="connsiteY4373"/>
              </a:cxn>
              <a:cxn ang="0">
                <a:pos x="connsiteX4374" y="connsiteY4374"/>
              </a:cxn>
              <a:cxn ang="0">
                <a:pos x="connsiteX4375" y="connsiteY4375"/>
              </a:cxn>
              <a:cxn ang="0">
                <a:pos x="connsiteX4376" y="connsiteY4376"/>
              </a:cxn>
              <a:cxn ang="0">
                <a:pos x="connsiteX4377" y="connsiteY4377"/>
              </a:cxn>
              <a:cxn ang="0">
                <a:pos x="connsiteX4378" y="connsiteY4378"/>
              </a:cxn>
              <a:cxn ang="0">
                <a:pos x="connsiteX4379" y="connsiteY4379"/>
              </a:cxn>
              <a:cxn ang="0">
                <a:pos x="connsiteX4380" y="connsiteY4380"/>
              </a:cxn>
              <a:cxn ang="0">
                <a:pos x="connsiteX4381" y="connsiteY4381"/>
              </a:cxn>
              <a:cxn ang="0">
                <a:pos x="connsiteX4382" y="connsiteY4382"/>
              </a:cxn>
              <a:cxn ang="0">
                <a:pos x="connsiteX4383" y="connsiteY4383"/>
              </a:cxn>
              <a:cxn ang="0">
                <a:pos x="connsiteX4384" y="connsiteY4384"/>
              </a:cxn>
              <a:cxn ang="0">
                <a:pos x="connsiteX4385" y="connsiteY4385"/>
              </a:cxn>
              <a:cxn ang="0">
                <a:pos x="connsiteX4386" y="connsiteY4386"/>
              </a:cxn>
              <a:cxn ang="0">
                <a:pos x="connsiteX4387" y="connsiteY4387"/>
              </a:cxn>
              <a:cxn ang="0">
                <a:pos x="connsiteX4388" y="connsiteY4388"/>
              </a:cxn>
              <a:cxn ang="0">
                <a:pos x="connsiteX4389" y="connsiteY4389"/>
              </a:cxn>
              <a:cxn ang="0">
                <a:pos x="connsiteX4390" y="connsiteY4390"/>
              </a:cxn>
              <a:cxn ang="0">
                <a:pos x="connsiteX4391" y="connsiteY4391"/>
              </a:cxn>
              <a:cxn ang="0">
                <a:pos x="connsiteX4392" y="connsiteY4392"/>
              </a:cxn>
              <a:cxn ang="0">
                <a:pos x="connsiteX4393" y="connsiteY4393"/>
              </a:cxn>
              <a:cxn ang="0">
                <a:pos x="connsiteX4394" y="connsiteY4394"/>
              </a:cxn>
              <a:cxn ang="0">
                <a:pos x="connsiteX4395" y="connsiteY4395"/>
              </a:cxn>
              <a:cxn ang="0">
                <a:pos x="connsiteX4396" y="connsiteY4396"/>
              </a:cxn>
              <a:cxn ang="0">
                <a:pos x="connsiteX4397" y="connsiteY4397"/>
              </a:cxn>
              <a:cxn ang="0">
                <a:pos x="connsiteX4398" y="connsiteY4398"/>
              </a:cxn>
              <a:cxn ang="0">
                <a:pos x="connsiteX4399" y="connsiteY4399"/>
              </a:cxn>
              <a:cxn ang="0">
                <a:pos x="connsiteX4400" y="connsiteY4400"/>
              </a:cxn>
              <a:cxn ang="0">
                <a:pos x="connsiteX4401" y="connsiteY4401"/>
              </a:cxn>
              <a:cxn ang="0">
                <a:pos x="connsiteX4402" y="connsiteY4402"/>
              </a:cxn>
              <a:cxn ang="0">
                <a:pos x="connsiteX4403" y="connsiteY4403"/>
              </a:cxn>
              <a:cxn ang="0">
                <a:pos x="connsiteX4404" y="connsiteY4404"/>
              </a:cxn>
              <a:cxn ang="0">
                <a:pos x="connsiteX4405" y="connsiteY4405"/>
              </a:cxn>
              <a:cxn ang="0">
                <a:pos x="connsiteX4406" y="connsiteY4406"/>
              </a:cxn>
              <a:cxn ang="0">
                <a:pos x="connsiteX4407" y="connsiteY4407"/>
              </a:cxn>
              <a:cxn ang="0">
                <a:pos x="connsiteX4408" y="connsiteY4408"/>
              </a:cxn>
              <a:cxn ang="0">
                <a:pos x="connsiteX4409" y="connsiteY4409"/>
              </a:cxn>
              <a:cxn ang="0">
                <a:pos x="connsiteX4410" y="connsiteY4410"/>
              </a:cxn>
              <a:cxn ang="0">
                <a:pos x="connsiteX4411" y="connsiteY4411"/>
              </a:cxn>
              <a:cxn ang="0">
                <a:pos x="connsiteX4412" y="connsiteY4412"/>
              </a:cxn>
              <a:cxn ang="0">
                <a:pos x="connsiteX4413" y="connsiteY4413"/>
              </a:cxn>
              <a:cxn ang="0">
                <a:pos x="connsiteX4414" y="connsiteY4414"/>
              </a:cxn>
              <a:cxn ang="0">
                <a:pos x="connsiteX4415" y="connsiteY4415"/>
              </a:cxn>
              <a:cxn ang="0">
                <a:pos x="connsiteX4416" y="connsiteY4416"/>
              </a:cxn>
              <a:cxn ang="0">
                <a:pos x="connsiteX4417" y="connsiteY4417"/>
              </a:cxn>
              <a:cxn ang="0">
                <a:pos x="connsiteX4418" y="connsiteY4418"/>
              </a:cxn>
              <a:cxn ang="0">
                <a:pos x="connsiteX4419" y="connsiteY4419"/>
              </a:cxn>
              <a:cxn ang="0">
                <a:pos x="connsiteX4420" y="connsiteY4420"/>
              </a:cxn>
              <a:cxn ang="0">
                <a:pos x="connsiteX4421" y="connsiteY4421"/>
              </a:cxn>
              <a:cxn ang="0">
                <a:pos x="connsiteX4422" y="connsiteY4422"/>
              </a:cxn>
              <a:cxn ang="0">
                <a:pos x="connsiteX4423" y="connsiteY4423"/>
              </a:cxn>
              <a:cxn ang="0">
                <a:pos x="connsiteX4424" y="connsiteY4424"/>
              </a:cxn>
              <a:cxn ang="0">
                <a:pos x="connsiteX4425" y="connsiteY4425"/>
              </a:cxn>
              <a:cxn ang="0">
                <a:pos x="connsiteX4426" y="connsiteY4426"/>
              </a:cxn>
              <a:cxn ang="0">
                <a:pos x="connsiteX4427" y="connsiteY4427"/>
              </a:cxn>
              <a:cxn ang="0">
                <a:pos x="connsiteX4428" y="connsiteY4428"/>
              </a:cxn>
              <a:cxn ang="0">
                <a:pos x="connsiteX4429" y="connsiteY4429"/>
              </a:cxn>
              <a:cxn ang="0">
                <a:pos x="connsiteX4430" y="connsiteY4430"/>
              </a:cxn>
              <a:cxn ang="0">
                <a:pos x="connsiteX4431" y="connsiteY4431"/>
              </a:cxn>
              <a:cxn ang="0">
                <a:pos x="connsiteX4432" y="connsiteY4432"/>
              </a:cxn>
              <a:cxn ang="0">
                <a:pos x="connsiteX4433" y="connsiteY4433"/>
              </a:cxn>
              <a:cxn ang="0">
                <a:pos x="connsiteX4434" y="connsiteY4434"/>
              </a:cxn>
              <a:cxn ang="0">
                <a:pos x="connsiteX4435" y="connsiteY4435"/>
              </a:cxn>
              <a:cxn ang="0">
                <a:pos x="connsiteX4436" y="connsiteY4436"/>
              </a:cxn>
              <a:cxn ang="0">
                <a:pos x="connsiteX4437" y="connsiteY4437"/>
              </a:cxn>
              <a:cxn ang="0">
                <a:pos x="connsiteX4438" y="connsiteY4438"/>
              </a:cxn>
              <a:cxn ang="0">
                <a:pos x="connsiteX4439" y="connsiteY4439"/>
              </a:cxn>
              <a:cxn ang="0">
                <a:pos x="connsiteX4440" y="connsiteY4440"/>
              </a:cxn>
              <a:cxn ang="0">
                <a:pos x="connsiteX4441" y="connsiteY4441"/>
              </a:cxn>
              <a:cxn ang="0">
                <a:pos x="connsiteX4442" y="connsiteY4442"/>
              </a:cxn>
              <a:cxn ang="0">
                <a:pos x="connsiteX4443" y="connsiteY4443"/>
              </a:cxn>
              <a:cxn ang="0">
                <a:pos x="connsiteX4444" y="connsiteY4444"/>
              </a:cxn>
              <a:cxn ang="0">
                <a:pos x="connsiteX4445" y="connsiteY4445"/>
              </a:cxn>
              <a:cxn ang="0">
                <a:pos x="connsiteX4446" y="connsiteY4446"/>
              </a:cxn>
              <a:cxn ang="0">
                <a:pos x="connsiteX4447" y="connsiteY4447"/>
              </a:cxn>
              <a:cxn ang="0">
                <a:pos x="connsiteX4448" y="connsiteY4448"/>
              </a:cxn>
              <a:cxn ang="0">
                <a:pos x="connsiteX4449" y="connsiteY4449"/>
              </a:cxn>
              <a:cxn ang="0">
                <a:pos x="connsiteX4450" y="connsiteY4450"/>
              </a:cxn>
              <a:cxn ang="0">
                <a:pos x="connsiteX4451" y="connsiteY4451"/>
              </a:cxn>
              <a:cxn ang="0">
                <a:pos x="connsiteX4452" y="connsiteY4452"/>
              </a:cxn>
              <a:cxn ang="0">
                <a:pos x="connsiteX4453" y="connsiteY4453"/>
              </a:cxn>
              <a:cxn ang="0">
                <a:pos x="connsiteX4454" y="connsiteY4454"/>
              </a:cxn>
              <a:cxn ang="0">
                <a:pos x="connsiteX4455" y="connsiteY4455"/>
              </a:cxn>
              <a:cxn ang="0">
                <a:pos x="connsiteX4456" y="connsiteY4456"/>
              </a:cxn>
              <a:cxn ang="0">
                <a:pos x="connsiteX4457" y="connsiteY4457"/>
              </a:cxn>
              <a:cxn ang="0">
                <a:pos x="connsiteX4458" y="connsiteY4458"/>
              </a:cxn>
              <a:cxn ang="0">
                <a:pos x="connsiteX4459" y="connsiteY4459"/>
              </a:cxn>
              <a:cxn ang="0">
                <a:pos x="connsiteX4460" y="connsiteY4460"/>
              </a:cxn>
              <a:cxn ang="0">
                <a:pos x="connsiteX4461" y="connsiteY4461"/>
              </a:cxn>
              <a:cxn ang="0">
                <a:pos x="connsiteX4462" y="connsiteY4462"/>
              </a:cxn>
              <a:cxn ang="0">
                <a:pos x="connsiteX4463" y="connsiteY4463"/>
              </a:cxn>
              <a:cxn ang="0">
                <a:pos x="connsiteX4464" y="connsiteY4464"/>
              </a:cxn>
              <a:cxn ang="0">
                <a:pos x="connsiteX4465" y="connsiteY4465"/>
              </a:cxn>
              <a:cxn ang="0">
                <a:pos x="connsiteX4466" y="connsiteY4466"/>
              </a:cxn>
              <a:cxn ang="0">
                <a:pos x="connsiteX4467" y="connsiteY4467"/>
              </a:cxn>
              <a:cxn ang="0">
                <a:pos x="connsiteX4468" y="connsiteY4468"/>
              </a:cxn>
              <a:cxn ang="0">
                <a:pos x="connsiteX4469" y="connsiteY4469"/>
              </a:cxn>
              <a:cxn ang="0">
                <a:pos x="connsiteX4470" y="connsiteY4470"/>
              </a:cxn>
              <a:cxn ang="0">
                <a:pos x="connsiteX4471" y="connsiteY4471"/>
              </a:cxn>
              <a:cxn ang="0">
                <a:pos x="connsiteX4472" y="connsiteY4472"/>
              </a:cxn>
              <a:cxn ang="0">
                <a:pos x="connsiteX4473" y="connsiteY4473"/>
              </a:cxn>
              <a:cxn ang="0">
                <a:pos x="connsiteX4474" y="connsiteY4474"/>
              </a:cxn>
              <a:cxn ang="0">
                <a:pos x="connsiteX4475" y="connsiteY4475"/>
              </a:cxn>
              <a:cxn ang="0">
                <a:pos x="connsiteX4476" y="connsiteY4476"/>
              </a:cxn>
              <a:cxn ang="0">
                <a:pos x="connsiteX4477" y="connsiteY4477"/>
              </a:cxn>
              <a:cxn ang="0">
                <a:pos x="connsiteX4478" y="connsiteY4478"/>
              </a:cxn>
              <a:cxn ang="0">
                <a:pos x="connsiteX4479" y="connsiteY4479"/>
              </a:cxn>
              <a:cxn ang="0">
                <a:pos x="connsiteX4480" y="connsiteY4480"/>
              </a:cxn>
              <a:cxn ang="0">
                <a:pos x="connsiteX4481" y="connsiteY4481"/>
              </a:cxn>
              <a:cxn ang="0">
                <a:pos x="connsiteX4482" y="connsiteY4482"/>
              </a:cxn>
              <a:cxn ang="0">
                <a:pos x="connsiteX4483" y="connsiteY4483"/>
              </a:cxn>
              <a:cxn ang="0">
                <a:pos x="connsiteX4484" y="connsiteY4484"/>
              </a:cxn>
              <a:cxn ang="0">
                <a:pos x="connsiteX4485" y="connsiteY4485"/>
              </a:cxn>
              <a:cxn ang="0">
                <a:pos x="connsiteX4486" y="connsiteY4486"/>
              </a:cxn>
              <a:cxn ang="0">
                <a:pos x="connsiteX4487" y="connsiteY4487"/>
              </a:cxn>
              <a:cxn ang="0">
                <a:pos x="connsiteX4488" y="connsiteY4488"/>
              </a:cxn>
              <a:cxn ang="0">
                <a:pos x="connsiteX4489" y="connsiteY4489"/>
              </a:cxn>
              <a:cxn ang="0">
                <a:pos x="connsiteX4490" y="connsiteY4490"/>
              </a:cxn>
              <a:cxn ang="0">
                <a:pos x="connsiteX4491" y="connsiteY4491"/>
              </a:cxn>
              <a:cxn ang="0">
                <a:pos x="connsiteX4492" y="connsiteY4492"/>
              </a:cxn>
              <a:cxn ang="0">
                <a:pos x="connsiteX4493" y="connsiteY4493"/>
              </a:cxn>
              <a:cxn ang="0">
                <a:pos x="connsiteX4494" y="connsiteY4494"/>
              </a:cxn>
              <a:cxn ang="0">
                <a:pos x="connsiteX4495" y="connsiteY4495"/>
              </a:cxn>
              <a:cxn ang="0">
                <a:pos x="connsiteX4496" y="connsiteY4496"/>
              </a:cxn>
              <a:cxn ang="0">
                <a:pos x="connsiteX4497" y="connsiteY4497"/>
              </a:cxn>
              <a:cxn ang="0">
                <a:pos x="connsiteX4498" y="connsiteY4498"/>
              </a:cxn>
              <a:cxn ang="0">
                <a:pos x="connsiteX4499" y="connsiteY4499"/>
              </a:cxn>
            </a:cxnLst>
            <a:rect l="l" t="t" r="r" b="b"/>
            <a:pathLst>
              <a:path w="11701760" h="6407421">
                <a:moveTo>
                  <a:pt x="11672158" y="6377925"/>
                </a:moveTo>
                <a:lnTo>
                  <a:pt x="11701760" y="6377925"/>
                </a:lnTo>
                <a:lnTo>
                  <a:pt x="11701760" y="6407421"/>
                </a:lnTo>
                <a:lnTo>
                  <a:pt x="11672158" y="6407421"/>
                </a:lnTo>
                <a:close/>
                <a:moveTo>
                  <a:pt x="11405961" y="6377925"/>
                </a:moveTo>
                <a:lnTo>
                  <a:pt x="11435563" y="6377925"/>
                </a:lnTo>
                <a:lnTo>
                  <a:pt x="11435563" y="6407421"/>
                </a:lnTo>
                <a:lnTo>
                  <a:pt x="11405961" y="6407421"/>
                </a:lnTo>
                <a:close/>
                <a:moveTo>
                  <a:pt x="11139872" y="6377925"/>
                </a:moveTo>
                <a:lnTo>
                  <a:pt x="11169474" y="6377925"/>
                </a:lnTo>
                <a:lnTo>
                  <a:pt x="11169474" y="6407421"/>
                </a:lnTo>
                <a:lnTo>
                  <a:pt x="11139872" y="6407421"/>
                </a:lnTo>
                <a:close/>
                <a:moveTo>
                  <a:pt x="10873675" y="6377925"/>
                </a:moveTo>
                <a:lnTo>
                  <a:pt x="10903277" y="6377925"/>
                </a:lnTo>
                <a:lnTo>
                  <a:pt x="10903277" y="6407421"/>
                </a:lnTo>
                <a:lnTo>
                  <a:pt x="10873675" y="6407421"/>
                </a:lnTo>
                <a:close/>
                <a:moveTo>
                  <a:pt x="10607478" y="6377925"/>
                </a:moveTo>
                <a:lnTo>
                  <a:pt x="10637188" y="6377925"/>
                </a:lnTo>
                <a:lnTo>
                  <a:pt x="10637188" y="6407421"/>
                </a:lnTo>
                <a:lnTo>
                  <a:pt x="10607478" y="6407421"/>
                </a:lnTo>
                <a:close/>
                <a:moveTo>
                  <a:pt x="10341389" y="6377925"/>
                </a:moveTo>
                <a:lnTo>
                  <a:pt x="10370992" y="6377925"/>
                </a:lnTo>
                <a:lnTo>
                  <a:pt x="10370992" y="6407421"/>
                </a:lnTo>
                <a:lnTo>
                  <a:pt x="10341389" y="6407421"/>
                </a:lnTo>
                <a:close/>
                <a:moveTo>
                  <a:pt x="10075192" y="6377925"/>
                </a:moveTo>
                <a:lnTo>
                  <a:pt x="10104794" y="6377925"/>
                </a:lnTo>
                <a:lnTo>
                  <a:pt x="10104794" y="6407421"/>
                </a:lnTo>
                <a:lnTo>
                  <a:pt x="10075192" y="6407421"/>
                </a:lnTo>
                <a:close/>
                <a:moveTo>
                  <a:pt x="9809103" y="6377925"/>
                </a:moveTo>
                <a:lnTo>
                  <a:pt x="9838705" y="6377925"/>
                </a:lnTo>
                <a:lnTo>
                  <a:pt x="9838705" y="6407421"/>
                </a:lnTo>
                <a:lnTo>
                  <a:pt x="9809103" y="6407421"/>
                </a:lnTo>
                <a:close/>
                <a:moveTo>
                  <a:pt x="9542906" y="6377925"/>
                </a:moveTo>
                <a:lnTo>
                  <a:pt x="9572509" y="6377925"/>
                </a:lnTo>
                <a:lnTo>
                  <a:pt x="9572509" y="6407421"/>
                </a:lnTo>
                <a:lnTo>
                  <a:pt x="9542906" y="6407421"/>
                </a:lnTo>
                <a:close/>
                <a:moveTo>
                  <a:pt x="9276817" y="6377925"/>
                </a:moveTo>
                <a:lnTo>
                  <a:pt x="9306420" y="6377925"/>
                </a:lnTo>
                <a:lnTo>
                  <a:pt x="9306420" y="6407421"/>
                </a:lnTo>
                <a:lnTo>
                  <a:pt x="9276817" y="6407421"/>
                </a:lnTo>
                <a:close/>
                <a:moveTo>
                  <a:pt x="9010620" y="6377925"/>
                </a:moveTo>
                <a:lnTo>
                  <a:pt x="9040222" y="6377925"/>
                </a:lnTo>
                <a:lnTo>
                  <a:pt x="9040222" y="6407421"/>
                </a:lnTo>
                <a:lnTo>
                  <a:pt x="9010620" y="6407421"/>
                </a:lnTo>
                <a:close/>
                <a:moveTo>
                  <a:pt x="8744423" y="6377925"/>
                </a:moveTo>
                <a:lnTo>
                  <a:pt x="8774026" y="6377925"/>
                </a:lnTo>
                <a:lnTo>
                  <a:pt x="8774026" y="6407421"/>
                </a:lnTo>
                <a:lnTo>
                  <a:pt x="8744423" y="6407421"/>
                </a:lnTo>
                <a:close/>
                <a:moveTo>
                  <a:pt x="8478226" y="6377925"/>
                </a:moveTo>
                <a:lnTo>
                  <a:pt x="8507828" y="6377925"/>
                </a:lnTo>
                <a:lnTo>
                  <a:pt x="8507828" y="6407421"/>
                </a:lnTo>
                <a:lnTo>
                  <a:pt x="8478226" y="6407421"/>
                </a:lnTo>
                <a:close/>
                <a:moveTo>
                  <a:pt x="8212137" y="6377925"/>
                </a:moveTo>
                <a:lnTo>
                  <a:pt x="8241740" y="6377925"/>
                </a:lnTo>
                <a:lnTo>
                  <a:pt x="8241740" y="6407421"/>
                </a:lnTo>
                <a:lnTo>
                  <a:pt x="8212137" y="6407421"/>
                </a:lnTo>
                <a:close/>
                <a:moveTo>
                  <a:pt x="7945940" y="6377925"/>
                </a:moveTo>
                <a:lnTo>
                  <a:pt x="7975543" y="6377925"/>
                </a:lnTo>
                <a:lnTo>
                  <a:pt x="7975543" y="6407421"/>
                </a:lnTo>
                <a:lnTo>
                  <a:pt x="7945940" y="6407421"/>
                </a:lnTo>
                <a:close/>
                <a:moveTo>
                  <a:pt x="7679743" y="6377925"/>
                </a:moveTo>
                <a:lnTo>
                  <a:pt x="7709346" y="6377925"/>
                </a:lnTo>
                <a:lnTo>
                  <a:pt x="7709346" y="6407421"/>
                </a:lnTo>
                <a:lnTo>
                  <a:pt x="7679743" y="6407421"/>
                </a:lnTo>
                <a:close/>
                <a:moveTo>
                  <a:pt x="7413653" y="6377925"/>
                </a:moveTo>
                <a:lnTo>
                  <a:pt x="7443256" y="6377925"/>
                </a:lnTo>
                <a:lnTo>
                  <a:pt x="7443256" y="6407421"/>
                </a:lnTo>
                <a:lnTo>
                  <a:pt x="7413653" y="6407421"/>
                </a:lnTo>
                <a:close/>
                <a:moveTo>
                  <a:pt x="7147456" y="6377925"/>
                </a:moveTo>
                <a:lnTo>
                  <a:pt x="7177058" y="6377925"/>
                </a:lnTo>
                <a:lnTo>
                  <a:pt x="7177058" y="6407421"/>
                </a:lnTo>
                <a:lnTo>
                  <a:pt x="7147456" y="6407421"/>
                </a:lnTo>
                <a:close/>
                <a:moveTo>
                  <a:pt x="6881367" y="6377925"/>
                </a:moveTo>
                <a:lnTo>
                  <a:pt x="6910970" y="6377925"/>
                </a:lnTo>
                <a:lnTo>
                  <a:pt x="6910970" y="6407421"/>
                </a:lnTo>
                <a:lnTo>
                  <a:pt x="6881367" y="6407421"/>
                </a:lnTo>
                <a:close/>
                <a:moveTo>
                  <a:pt x="6615170" y="6377925"/>
                </a:moveTo>
                <a:lnTo>
                  <a:pt x="6644773" y="6377925"/>
                </a:lnTo>
                <a:lnTo>
                  <a:pt x="6644773" y="6407421"/>
                </a:lnTo>
                <a:lnTo>
                  <a:pt x="6615170" y="6407421"/>
                </a:lnTo>
                <a:close/>
                <a:moveTo>
                  <a:pt x="6349081" y="6377925"/>
                </a:moveTo>
                <a:lnTo>
                  <a:pt x="6378683" y="6377925"/>
                </a:lnTo>
                <a:lnTo>
                  <a:pt x="6378683" y="6407421"/>
                </a:lnTo>
                <a:lnTo>
                  <a:pt x="6349081" y="6407421"/>
                </a:lnTo>
                <a:close/>
                <a:moveTo>
                  <a:pt x="6082884" y="6377925"/>
                </a:moveTo>
                <a:lnTo>
                  <a:pt x="6112486" y="6377925"/>
                </a:lnTo>
                <a:lnTo>
                  <a:pt x="6112486" y="6407421"/>
                </a:lnTo>
                <a:lnTo>
                  <a:pt x="6082884" y="6407421"/>
                </a:lnTo>
                <a:close/>
                <a:moveTo>
                  <a:pt x="5825310" y="6377925"/>
                </a:moveTo>
                <a:lnTo>
                  <a:pt x="5854913" y="6377925"/>
                </a:lnTo>
                <a:lnTo>
                  <a:pt x="5854913" y="6407421"/>
                </a:lnTo>
                <a:lnTo>
                  <a:pt x="5825310" y="6407421"/>
                </a:lnTo>
                <a:close/>
                <a:moveTo>
                  <a:pt x="5559113" y="6377925"/>
                </a:moveTo>
                <a:lnTo>
                  <a:pt x="5588715" y="6377925"/>
                </a:lnTo>
                <a:lnTo>
                  <a:pt x="5588715" y="6407421"/>
                </a:lnTo>
                <a:lnTo>
                  <a:pt x="5559113" y="6407421"/>
                </a:lnTo>
                <a:close/>
                <a:moveTo>
                  <a:pt x="5293024" y="6377925"/>
                </a:moveTo>
                <a:lnTo>
                  <a:pt x="5322626" y="6377925"/>
                </a:lnTo>
                <a:lnTo>
                  <a:pt x="5322626" y="6407421"/>
                </a:lnTo>
                <a:lnTo>
                  <a:pt x="5293024" y="6407421"/>
                </a:lnTo>
                <a:close/>
                <a:moveTo>
                  <a:pt x="5026827" y="6377925"/>
                </a:moveTo>
                <a:lnTo>
                  <a:pt x="5056429" y="6377925"/>
                </a:lnTo>
                <a:lnTo>
                  <a:pt x="5056429" y="6407421"/>
                </a:lnTo>
                <a:lnTo>
                  <a:pt x="5026827" y="6407421"/>
                </a:lnTo>
                <a:close/>
                <a:moveTo>
                  <a:pt x="4760630" y="6377925"/>
                </a:moveTo>
                <a:lnTo>
                  <a:pt x="4790340" y="6377925"/>
                </a:lnTo>
                <a:lnTo>
                  <a:pt x="4790340" y="6407421"/>
                </a:lnTo>
                <a:lnTo>
                  <a:pt x="4760630" y="6407421"/>
                </a:lnTo>
                <a:close/>
                <a:moveTo>
                  <a:pt x="4494541" y="6377925"/>
                </a:moveTo>
                <a:lnTo>
                  <a:pt x="4524144" y="6377925"/>
                </a:lnTo>
                <a:lnTo>
                  <a:pt x="4524144" y="6407421"/>
                </a:lnTo>
                <a:lnTo>
                  <a:pt x="4494541" y="6407421"/>
                </a:lnTo>
                <a:close/>
                <a:moveTo>
                  <a:pt x="4228344" y="6377925"/>
                </a:moveTo>
                <a:lnTo>
                  <a:pt x="4257946" y="6377925"/>
                </a:lnTo>
                <a:lnTo>
                  <a:pt x="4257946" y="6407421"/>
                </a:lnTo>
                <a:lnTo>
                  <a:pt x="4228344" y="6407421"/>
                </a:lnTo>
                <a:close/>
                <a:moveTo>
                  <a:pt x="3962255" y="6377925"/>
                </a:moveTo>
                <a:lnTo>
                  <a:pt x="3991857" y="6377925"/>
                </a:lnTo>
                <a:lnTo>
                  <a:pt x="3991857" y="6407421"/>
                </a:lnTo>
                <a:lnTo>
                  <a:pt x="3962255" y="6407421"/>
                </a:lnTo>
                <a:close/>
                <a:moveTo>
                  <a:pt x="3696058" y="6377925"/>
                </a:moveTo>
                <a:lnTo>
                  <a:pt x="3725661" y="6377925"/>
                </a:lnTo>
                <a:lnTo>
                  <a:pt x="3725661" y="6407421"/>
                </a:lnTo>
                <a:lnTo>
                  <a:pt x="3696058" y="6407421"/>
                </a:lnTo>
                <a:close/>
                <a:moveTo>
                  <a:pt x="3429969" y="6377925"/>
                </a:moveTo>
                <a:lnTo>
                  <a:pt x="3459572" y="6377925"/>
                </a:lnTo>
                <a:lnTo>
                  <a:pt x="3459572" y="6407421"/>
                </a:lnTo>
                <a:lnTo>
                  <a:pt x="3429969" y="6407421"/>
                </a:lnTo>
                <a:close/>
                <a:moveTo>
                  <a:pt x="3163772" y="6377925"/>
                </a:moveTo>
                <a:lnTo>
                  <a:pt x="3193374" y="6377925"/>
                </a:lnTo>
                <a:lnTo>
                  <a:pt x="3193374" y="6407421"/>
                </a:lnTo>
                <a:lnTo>
                  <a:pt x="3163772" y="6407421"/>
                </a:lnTo>
                <a:close/>
                <a:moveTo>
                  <a:pt x="2897575" y="6377925"/>
                </a:moveTo>
                <a:lnTo>
                  <a:pt x="2927178" y="6377925"/>
                </a:lnTo>
                <a:lnTo>
                  <a:pt x="2927178" y="6407421"/>
                </a:lnTo>
                <a:lnTo>
                  <a:pt x="2897575" y="6407421"/>
                </a:lnTo>
                <a:close/>
                <a:moveTo>
                  <a:pt x="2631378" y="6377925"/>
                </a:moveTo>
                <a:lnTo>
                  <a:pt x="2660980" y="6377925"/>
                </a:lnTo>
                <a:lnTo>
                  <a:pt x="2660980" y="6407421"/>
                </a:lnTo>
                <a:lnTo>
                  <a:pt x="2631378" y="6407421"/>
                </a:lnTo>
                <a:close/>
                <a:moveTo>
                  <a:pt x="2365289" y="6377925"/>
                </a:moveTo>
                <a:lnTo>
                  <a:pt x="2394892" y="6377925"/>
                </a:lnTo>
                <a:lnTo>
                  <a:pt x="2394892" y="6407421"/>
                </a:lnTo>
                <a:lnTo>
                  <a:pt x="2365289" y="6407421"/>
                </a:lnTo>
                <a:close/>
                <a:moveTo>
                  <a:pt x="2099092" y="6377925"/>
                </a:moveTo>
                <a:lnTo>
                  <a:pt x="2128695" y="6377925"/>
                </a:lnTo>
                <a:lnTo>
                  <a:pt x="2128695" y="6407421"/>
                </a:lnTo>
                <a:lnTo>
                  <a:pt x="2099092" y="6407421"/>
                </a:lnTo>
                <a:close/>
                <a:moveTo>
                  <a:pt x="1832898" y="6377925"/>
                </a:moveTo>
                <a:lnTo>
                  <a:pt x="1862498" y="6377925"/>
                </a:lnTo>
                <a:lnTo>
                  <a:pt x="1862498" y="6407421"/>
                </a:lnTo>
                <a:lnTo>
                  <a:pt x="1832898" y="6407421"/>
                </a:lnTo>
                <a:close/>
                <a:moveTo>
                  <a:pt x="1566808" y="6377925"/>
                </a:moveTo>
                <a:lnTo>
                  <a:pt x="1596409" y="6377925"/>
                </a:lnTo>
                <a:lnTo>
                  <a:pt x="1596409" y="6407421"/>
                </a:lnTo>
                <a:lnTo>
                  <a:pt x="1566808" y="6407421"/>
                </a:lnTo>
                <a:close/>
                <a:moveTo>
                  <a:pt x="1300611" y="6377925"/>
                </a:moveTo>
                <a:lnTo>
                  <a:pt x="1330213" y="6377925"/>
                </a:lnTo>
                <a:lnTo>
                  <a:pt x="1330213" y="6407421"/>
                </a:lnTo>
                <a:lnTo>
                  <a:pt x="1300611" y="6407421"/>
                </a:lnTo>
                <a:close/>
                <a:moveTo>
                  <a:pt x="1034520" y="6377925"/>
                </a:moveTo>
                <a:lnTo>
                  <a:pt x="1064123" y="6377925"/>
                </a:lnTo>
                <a:lnTo>
                  <a:pt x="1064123" y="6407421"/>
                </a:lnTo>
                <a:lnTo>
                  <a:pt x="1034520" y="6407421"/>
                </a:lnTo>
                <a:close/>
                <a:moveTo>
                  <a:pt x="768328" y="6377925"/>
                </a:moveTo>
                <a:lnTo>
                  <a:pt x="797926" y="6377925"/>
                </a:lnTo>
                <a:lnTo>
                  <a:pt x="797926" y="6407421"/>
                </a:lnTo>
                <a:lnTo>
                  <a:pt x="768328" y="6407421"/>
                </a:lnTo>
                <a:close/>
                <a:moveTo>
                  <a:pt x="502237" y="6377925"/>
                </a:moveTo>
                <a:lnTo>
                  <a:pt x="531839" y="6377925"/>
                </a:lnTo>
                <a:lnTo>
                  <a:pt x="531839" y="6407421"/>
                </a:lnTo>
                <a:lnTo>
                  <a:pt x="502237" y="6407421"/>
                </a:lnTo>
                <a:close/>
                <a:moveTo>
                  <a:pt x="236038" y="6377925"/>
                </a:moveTo>
                <a:lnTo>
                  <a:pt x="265640" y="6377925"/>
                </a:lnTo>
                <a:lnTo>
                  <a:pt x="265640" y="6407421"/>
                </a:lnTo>
                <a:lnTo>
                  <a:pt x="236038" y="6407421"/>
                </a:lnTo>
                <a:close/>
                <a:moveTo>
                  <a:pt x="2" y="6377925"/>
                </a:moveTo>
                <a:lnTo>
                  <a:pt x="29604" y="6377925"/>
                </a:lnTo>
                <a:lnTo>
                  <a:pt x="29604" y="6407421"/>
                </a:lnTo>
                <a:lnTo>
                  <a:pt x="2" y="6407421"/>
                </a:lnTo>
                <a:close/>
                <a:moveTo>
                  <a:pt x="11672158" y="6112161"/>
                </a:moveTo>
                <a:lnTo>
                  <a:pt x="11701760" y="6112161"/>
                </a:lnTo>
                <a:lnTo>
                  <a:pt x="11701760" y="6141763"/>
                </a:lnTo>
                <a:lnTo>
                  <a:pt x="11672158" y="6141763"/>
                </a:lnTo>
                <a:close/>
                <a:moveTo>
                  <a:pt x="11405961" y="6112161"/>
                </a:moveTo>
                <a:lnTo>
                  <a:pt x="11435563" y="6112161"/>
                </a:lnTo>
                <a:lnTo>
                  <a:pt x="11435563" y="6141763"/>
                </a:lnTo>
                <a:lnTo>
                  <a:pt x="11405961" y="6141763"/>
                </a:lnTo>
                <a:close/>
                <a:moveTo>
                  <a:pt x="11139872" y="6112161"/>
                </a:moveTo>
                <a:lnTo>
                  <a:pt x="11169474" y="6112161"/>
                </a:lnTo>
                <a:lnTo>
                  <a:pt x="11169474" y="6141763"/>
                </a:lnTo>
                <a:lnTo>
                  <a:pt x="11139872" y="6141763"/>
                </a:lnTo>
                <a:close/>
                <a:moveTo>
                  <a:pt x="10873675" y="6112161"/>
                </a:moveTo>
                <a:lnTo>
                  <a:pt x="10903277" y="6112161"/>
                </a:lnTo>
                <a:lnTo>
                  <a:pt x="10903277" y="6141763"/>
                </a:lnTo>
                <a:lnTo>
                  <a:pt x="10873675" y="6141763"/>
                </a:lnTo>
                <a:close/>
                <a:moveTo>
                  <a:pt x="10607478" y="6112161"/>
                </a:moveTo>
                <a:lnTo>
                  <a:pt x="10637188" y="6112161"/>
                </a:lnTo>
                <a:lnTo>
                  <a:pt x="10637188" y="6141763"/>
                </a:lnTo>
                <a:lnTo>
                  <a:pt x="10607478" y="6141763"/>
                </a:lnTo>
                <a:close/>
                <a:moveTo>
                  <a:pt x="10341389" y="6112161"/>
                </a:moveTo>
                <a:lnTo>
                  <a:pt x="10370992" y="6112161"/>
                </a:lnTo>
                <a:lnTo>
                  <a:pt x="10370992" y="6141763"/>
                </a:lnTo>
                <a:lnTo>
                  <a:pt x="10341389" y="6141763"/>
                </a:lnTo>
                <a:close/>
                <a:moveTo>
                  <a:pt x="10075192" y="6112161"/>
                </a:moveTo>
                <a:lnTo>
                  <a:pt x="10104794" y="6112161"/>
                </a:lnTo>
                <a:lnTo>
                  <a:pt x="10104794" y="6141763"/>
                </a:lnTo>
                <a:lnTo>
                  <a:pt x="10075192" y="6141763"/>
                </a:lnTo>
                <a:close/>
                <a:moveTo>
                  <a:pt x="9809103" y="6112161"/>
                </a:moveTo>
                <a:lnTo>
                  <a:pt x="9838705" y="6112161"/>
                </a:lnTo>
                <a:lnTo>
                  <a:pt x="9838705" y="6141763"/>
                </a:lnTo>
                <a:lnTo>
                  <a:pt x="9809103" y="6141763"/>
                </a:lnTo>
                <a:close/>
                <a:moveTo>
                  <a:pt x="9542906" y="6112161"/>
                </a:moveTo>
                <a:lnTo>
                  <a:pt x="9572509" y="6112161"/>
                </a:lnTo>
                <a:lnTo>
                  <a:pt x="9572509" y="6141763"/>
                </a:lnTo>
                <a:lnTo>
                  <a:pt x="9542906" y="6141763"/>
                </a:lnTo>
                <a:close/>
                <a:moveTo>
                  <a:pt x="9276817" y="6112161"/>
                </a:moveTo>
                <a:lnTo>
                  <a:pt x="9306420" y="6112161"/>
                </a:lnTo>
                <a:lnTo>
                  <a:pt x="9306420" y="6141763"/>
                </a:lnTo>
                <a:lnTo>
                  <a:pt x="9276817" y="6141763"/>
                </a:lnTo>
                <a:close/>
                <a:moveTo>
                  <a:pt x="9010620" y="6112161"/>
                </a:moveTo>
                <a:lnTo>
                  <a:pt x="9040222" y="6112161"/>
                </a:lnTo>
                <a:lnTo>
                  <a:pt x="9040222" y="6141763"/>
                </a:lnTo>
                <a:lnTo>
                  <a:pt x="9010620" y="6141763"/>
                </a:lnTo>
                <a:close/>
                <a:moveTo>
                  <a:pt x="8744423" y="6112161"/>
                </a:moveTo>
                <a:lnTo>
                  <a:pt x="8774026" y="6112161"/>
                </a:lnTo>
                <a:lnTo>
                  <a:pt x="8774026" y="6141763"/>
                </a:lnTo>
                <a:lnTo>
                  <a:pt x="8744423" y="6141763"/>
                </a:lnTo>
                <a:close/>
                <a:moveTo>
                  <a:pt x="8478226" y="6112161"/>
                </a:moveTo>
                <a:lnTo>
                  <a:pt x="8507828" y="6112161"/>
                </a:lnTo>
                <a:lnTo>
                  <a:pt x="8507828" y="6141763"/>
                </a:lnTo>
                <a:lnTo>
                  <a:pt x="8478226" y="6141763"/>
                </a:lnTo>
                <a:close/>
                <a:moveTo>
                  <a:pt x="8212137" y="6112161"/>
                </a:moveTo>
                <a:lnTo>
                  <a:pt x="8241740" y="6112161"/>
                </a:lnTo>
                <a:lnTo>
                  <a:pt x="8241740" y="6141763"/>
                </a:lnTo>
                <a:lnTo>
                  <a:pt x="8212137" y="6141763"/>
                </a:lnTo>
                <a:close/>
                <a:moveTo>
                  <a:pt x="7945940" y="6112161"/>
                </a:moveTo>
                <a:lnTo>
                  <a:pt x="7975543" y="6112161"/>
                </a:lnTo>
                <a:lnTo>
                  <a:pt x="7975543" y="6141763"/>
                </a:lnTo>
                <a:lnTo>
                  <a:pt x="7945940" y="6141763"/>
                </a:lnTo>
                <a:close/>
                <a:moveTo>
                  <a:pt x="7679743" y="6112161"/>
                </a:moveTo>
                <a:lnTo>
                  <a:pt x="7709346" y="6112161"/>
                </a:lnTo>
                <a:lnTo>
                  <a:pt x="7709346" y="6141763"/>
                </a:lnTo>
                <a:lnTo>
                  <a:pt x="7679743" y="6141763"/>
                </a:lnTo>
                <a:close/>
                <a:moveTo>
                  <a:pt x="7413653" y="6112161"/>
                </a:moveTo>
                <a:lnTo>
                  <a:pt x="7443256" y="6112161"/>
                </a:lnTo>
                <a:lnTo>
                  <a:pt x="7443256" y="6141763"/>
                </a:lnTo>
                <a:lnTo>
                  <a:pt x="7413653" y="6141763"/>
                </a:lnTo>
                <a:close/>
                <a:moveTo>
                  <a:pt x="7147456" y="6112161"/>
                </a:moveTo>
                <a:lnTo>
                  <a:pt x="7177058" y="6112161"/>
                </a:lnTo>
                <a:lnTo>
                  <a:pt x="7177058" y="6141763"/>
                </a:lnTo>
                <a:lnTo>
                  <a:pt x="7147456" y="6141763"/>
                </a:lnTo>
                <a:close/>
                <a:moveTo>
                  <a:pt x="6881367" y="6112161"/>
                </a:moveTo>
                <a:lnTo>
                  <a:pt x="6910970" y="6112161"/>
                </a:lnTo>
                <a:lnTo>
                  <a:pt x="6910970" y="6141763"/>
                </a:lnTo>
                <a:lnTo>
                  <a:pt x="6881367" y="6141763"/>
                </a:lnTo>
                <a:close/>
                <a:moveTo>
                  <a:pt x="6615170" y="6112161"/>
                </a:moveTo>
                <a:lnTo>
                  <a:pt x="6644773" y="6112161"/>
                </a:lnTo>
                <a:lnTo>
                  <a:pt x="6644773" y="6141763"/>
                </a:lnTo>
                <a:lnTo>
                  <a:pt x="6615170" y="6141763"/>
                </a:lnTo>
                <a:close/>
                <a:moveTo>
                  <a:pt x="6349081" y="6112161"/>
                </a:moveTo>
                <a:lnTo>
                  <a:pt x="6378683" y="6112161"/>
                </a:lnTo>
                <a:lnTo>
                  <a:pt x="6378683" y="6141763"/>
                </a:lnTo>
                <a:lnTo>
                  <a:pt x="6349081" y="6141763"/>
                </a:lnTo>
                <a:close/>
                <a:moveTo>
                  <a:pt x="6082884" y="6112161"/>
                </a:moveTo>
                <a:lnTo>
                  <a:pt x="6112486" y="6112161"/>
                </a:lnTo>
                <a:lnTo>
                  <a:pt x="6112486" y="6141763"/>
                </a:lnTo>
                <a:lnTo>
                  <a:pt x="6082884" y="6141763"/>
                </a:lnTo>
                <a:close/>
                <a:moveTo>
                  <a:pt x="5825310" y="6112161"/>
                </a:moveTo>
                <a:lnTo>
                  <a:pt x="5854913" y="6112161"/>
                </a:lnTo>
                <a:lnTo>
                  <a:pt x="5854913" y="6141763"/>
                </a:lnTo>
                <a:lnTo>
                  <a:pt x="5825310" y="6141763"/>
                </a:lnTo>
                <a:close/>
                <a:moveTo>
                  <a:pt x="5559113" y="6112161"/>
                </a:moveTo>
                <a:lnTo>
                  <a:pt x="5588715" y="6112161"/>
                </a:lnTo>
                <a:lnTo>
                  <a:pt x="5588715" y="6141763"/>
                </a:lnTo>
                <a:lnTo>
                  <a:pt x="5559113" y="6141763"/>
                </a:lnTo>
                <a:close/>
                <a:moveTo>
                  <a:pt x="5293024" y="6112161"/>
                </a:moveTo>
                <a:lnTo>
                  <a:pt x="5322626" y="6112161"/>
                </a:lnTo>
                <a:lnTo>
                  <a:pt x="5322626" y="6141763"/>
                </a:lnTo>
                <a:lnTo>
                  <a:pt x="5293024" y="6141763"/>
                </a:lnTo>
                <a:close/>
                <a:moveTo>
                  <a:pt x="5026827" y="6112161"/>
                </a:moveTo>
                <a:lnTo>
                  <a:pt x="5056429" y="6112161"/>
                </a:lnTo>
                <a:lnTo>
                  <a:pt x="5056429" y="6141763"/>
                </a:lnTo>
                <a:lnTo>
                  <a:pt x="5026827" y="6141763"/>
                </a:lnTo>
                <a:close/>
                <a:moveTo>
                  <a:pt x="4760630" y="6112161"/>
                </a:moveTo>
                <a:lnTo>
                  <a:pt x="4790340" y="6112161"/>
                </a:lnTo>
                <a:lnTo>
                  <a:pt x="4790340" y="6141763"/>
                </a:lnTo>
                <a:lnTo>
                  <a:pt x="4760630" y="6141763"/>
                </a:lnTo>
                <a:close/>
                <a:moveTo>
                  <a:pt x="4494541" y="6112161"/>
                </a:moveTo>
                <a:lnTo>
                  <a:pt x="4524144" y="6112161"/>
                </a:lnTo>
                <a:lnTo>
                  <a:pt x="4524144" y="6141763"/>
                </a:lnTo>
                <a:lnTo>
                  <a:pt x="4494541" y="6141763"/>
                </a:lnTo>
                <a:close/>
                <a:moveTo>
                  <a:pt x="4228344" y="6112161"/>
                </a:moveTo>
                <a:lnTo>
                  <a:pt x="4257946" y="6112161"/>
                </a:lnTo>
                <a:lnTo>
                  <a:pt x="4257946" y="6141763"/>
                </a:lnTo>
                <a:lnTo>
                  <a:pt x="4228344" y="6141763"/>
                </a:lnTo>
                <a:close/>
                <a:moveTo>
                  <a:pt x="3962255" y="6112161"/>
                </a:moveTo>
                <a:lnTo>
                  <a:pt x="3991857" y="6112161"/>
                </a:lnTo>
                <a:lnTo>
                  <a:pt x="3991857" y="6141763"/>
                </a:lnTo>
                <a:lnTo>
                  <a:pt x="3962255" y="6141763"/>
                </a:lnTo>
                <a:close/>
                <a:moveTo>
                  <a:pt x="3696058" y="6112161"/>
                </a:moveTo>
                <a:lnTo>
                  <a:pt x="3725661" y="6112161"/>
                </a:lnTo>
                <a:lnTo>
                  <a:pt x="3725661" y="6141763"/>
                </a:lnTo>
                <a:lnTo>
                  <a:pt x="3696058" y="6141763"/>
                </a:lnTo>
                <a:close/>
                <a:moveTo>
                  <a:pt x="3429969" y="6112161"/>
                </a:moveTo>
                <a:lnTo>
                  <a:pt x="3459572" y="6112161"/>
                </a:lnTo>
                <a:lnTo>
                  <a:pt x="3459572" y="6141763"/>
                </a:lnTo>
                <a:lnTo>
                  <a:pt x="3429969" y="6141763"/>
                </a:lnTo>
                <a:close/>
                <a:moveTo>
                  <a:pt x="3163772" y="6112161"/>
                </a:moveTo>
                <a:lnTo>
                  <a:pt x="3193374" y="6112161"/>
                </a:lnTo>
                <a:lnTo>
                  <a:pt x="3193374" y="6141763"/>
                </a:lnTo>
                <a:lnTo>
                  <a:pt x="3163772" y="6141763"/>
                </a:lnTo>
                <a:close/>
                <a:moveTo>
                  <a:pt x="2897575" y="6112161"/>
                </a:moveTo>
                <a:lnTo>
                  <a:pt x="2927178" y="6112161"/>
                </a:lnTo>
                <a:lnTo>
                  <a:pt x="2927178" y="6141763"/>
                </a:lnTo>
                <a:lnTo>
                  <a:pt x="2897575" y="6141763"/>
                </a:lnTo>
                <a:close/>
                <a:moveTo>
                  <a:pt x="2631378" y="6112161"/>
                </a:moveTo>
                <a:lnTo>
                  <a:pt x="2660980" y="6112161"/>
                </a:lnTo>
                <a:lnTo>
                  <a:pt x="2660980" y="6141763"/>
                </a:lnTo>
                <a:lnTo>
                  <a:pt x="2631378" y="6141763"/>
                </a:lnTo>
                <a:close/>
                <a:moveTo>
                  <a:pt x="2365289" y="6112161"/>
                </a:moveTo>
                <a:lnTo>
                  <a:pt x="2394892" y="6112161"/>
                </a:lnTo>
                <a:lnTo>
                  <a:pt x="2394892" y="6141763"/>
                </a:lnTo>
                <a:lnTo>
                  <a:pt x="2365289" y="6141763"/>
                </a:lnTo>
                <a:close/>
                <a:moveTo>
                  <a:pt x="2099092" y="6112161"/>
                </a:moveTo>
                <a:lnTo>
                  <a:pt x="2128695" y="6112161"/>
                </a:lnTo>
                <a:lnTo>
                  <a:pt x="2128695" y="6141763"/>
                </a:lnTo>
                <a:lnTo>
                  <a:pt x="2099092" y="6141763"/>
                </a:lnTo>
                <a:close/>
                <a:moveTo>
                  <a:pt x="1832898" y="6112161"/>
                </a:moveTo>
                <a:lnTo>
                  <a:pt x="1862498" y="6112161"/>
                </a:lnTo>
                <a:lnTo>
                  <a:pt x="1862498" y="6141763"/>
                </a:lnTo>
                <a:lnTo>
                  <a:pt x="1832898" y="6141763"/>
                </a:lnTo>
                <a:close/>
                <a:moveTo>
                  <a:pt x="1566808" y="6112161"/>
                </a:moveTo>
                <a:lnTo>
                  <a:pt x="1596409" y="6112161"/>
                </a:lnTo>
                <a:lnTo>
                  <a:pt x="1596409" y="6141763"/>
                </a:lnTo>
                <a:lnTo>
                  <a:pt x="1566808" y="6141763"/>
                </a:lnTo>
                <a:close/>
                <a:moveTo>
                  <a:pt x="1300611" y="6112161"/>
                </a:moveTo>
                <a:lnTo>
                  <a:pt x="1330213" y="6112161"/>
                </a:lnTo>
                <a:lnTo>
                  <a:pt x="1330213" y="6141763"/>
                </a:lnTo>
                <a:lnTo>
                  <a:pt x="1300611" y="6141763"/>
                </a:lnTo>
                <a:close/>
                <a:moveTo>
                  <a:pt x="1034520" y="6112161"/>
                </a:moveTo>
                <a:lnTo>
                  <a:pt x="1064123" y="6112161"/>
                </a:lnTo>
                <a:lnTo>
                  <a:pt x="1064123" y="6141763"/>
                </a:lnTo>
                <a:lnTo>
                  <a:pt x="1034520" y="6141763"/>
                </a:lnTo>
                <a:close/>
                <a:moveTo>
                  <a:pt x="768328" y="6112161"/>
                </a:moveTo>
                <a:lnTo>
                  <a:pt x="797926" y="6112161"/>
                </a:lnTo>
                <a:lnTo>
                  <a:pt x="797926" y="6141763"/>
                </a:lnTo>
                <a:lnTo>
                  <a:pt x="768328" y="6141763"/>
                </a:lnTo>
                <a:close/>
                <a:moveTo>
                  <a:pt x="502237" y="6112161"/>
                </a:moveTo>
                <a:lnTo>
                  <a:pt x="531839" y="6112161"/>
                </a:lnTo>
                <a:lnTo>
                  <a:pt x="531839" y="6141763"/>
                </a:lnTo>
                <a:lnTo>
                  <a:pt x="502237" y="6141763"/>
                </a:lnTo>
                <a:close/>
                <a:moveTo>
                  <a:pt x="236038" y="6112161"/>
                </a:moveTo>
                <a:lnTo>
                  <a:pt x="265640" y="6112161"/>
                </a:lnTo>
                <a:lnTo>
                  <a:pt x="265640" y="6141763"/>
                </a:lnTo>
                <a:lnTo>
                  <a:pt x="236038" y="6141763"/>
                </a:lnTo>
                <a:close/>
                <a:moveTo>
                  <a:pt x="2" y="6112161"/>
                </a:moveTo>
                <a:lnTo>
                  <a:pt x="29604" y="6112161"/>
                </a:lnTo>
                <a:lnTo>
                  <a:pt x="29604" y="6141763"/>
                </a:lnTo>
                <a:lnTo>
                  <a:pt x="2" y="6141763"/>
                </a:lnTo>
                <a:close/>
                <a:moveTo>
                  <a:pt x="11672158" y="5846396"/>
                </a:moveTo>
                <a:lnTo>
                  <a:pt x="11701760" y="5846396"/>
                </a:lnTo>
                <a:lnTo>
                  <a:pt x="11701760" y="5875998"/>
                </a:lnTo>
                <a:lnTo>
                  <a:pt x="11672158" y="5875998"/>
                </a:lnTo>
                <a:close/>
                <a:moveTo>
                  <a:pt x="11405961" y="5846396"/>
                </a:moveTo>
                <a:lnTo>
                  <a:pt x="11435563" y="5846396"/>
                </a:lnTo>
                <a:lnTo>
                  <a:pt x="11435563" y="5875998"/>
                </a:lnTo>
                <a:lnTo>
                  <a:pt x="11405961" y="5875998"/>
                </a:lnTo>
                <a:close/>
                <a:moveTo>
                  <a:pt x="11139872" y="5846396"/>
                </a:moveTo>
                <a:lnTo>
                  <a:pt x="11169474" y="5846396"/>
                </a:lnTo>
                <a:lnTo>
                  <a:pt x="11169474" y="5875998"/>
                </a:lnTo>
                <a:lnTo>
                  <a:pt x="11139872" y="5875998"/>
                </a:lnTo>
                <a:close/>
                <a:moveTo>
                  <a:pt x="10873675" y="5846396"/>
                </a:moveTo>
                <a:lnTo>
                  <a:pt x="10903277" y="5846396"/>
                </a:lnTo>
                <a:lnTo>
                  <a:pt x="10903277" y="5875998"/>
                </a:lnTo>
                <a:lnTo>
                  <a:pt x="10873675" y="5875998"/>
                </a:lnTo>
                <a:close/>
                <a:moveTo>
                  <a:pt x="10607478" y="5846396"/>
                </a:moveTo>
                <a:lnTo>
                  <a:pt x="10637188" y="5846396"/>
                </a:lnTo>
                <a:lnTo>
                  <a:pt x="10637188" y="5875998"/>
                </a:lnTo>
                <a:lnTo>
                  <a:pt x="10607478" y="5875998"/>
                </a:lnTo>
                <a:close/>
                <a:moveTo>
                  <a:pt x="10341389" y="5846396"/>
                </a:moveTo>
                <a:lnTo>
                  <a:pt x="10370992" y="5846396"/>
                </a:lnTo>
                <a:lnTo>
                  <a:pt x="10370992" y="5875998"/>
                </a:lnTo>
                <a:lnTo>
                  <a:pt x="10341389" y="5875998"/>
                </a:lnTo>
                <a:close/>
                <a:moveTo>
                  <a:pt x="10075192" y="5846396"/>
                </a:moveTo>
                <a:lnTo>
                  <a:pt x="10104794" y="5846396"/>
                </a:lnTo>
                <a:lnTo>
                  <a:pt x="10104794" y="5875998"/>
                </a:lnTo>
                <a:lnTo>
                  <a:pt x="10075192" y="5875998"/>
                </a:lnTo>
                <a:close/>
                <a:moveTo>
                  <a:pt x="9809103" y="5846396"/>
                </a:moveTo>
                <a:lnTo>
                  <a:pt x="9838705" y="5846396"/>
                </a:lnTo>
                <a:lnTo>
                  <a:pt x="9838705" y="5875998"/>
                </a:lnTo>
                <a:lnTo>
                  <a:pt x="9809103" y="5875998"/>
                </a:lnTo>
                <a:close/>
                <a:moveTo>
                  <a:pt x="9542906" y="5846396"/>
                </a:moveTo>
                <a:lnTo>
                  <a:pt x="9572509" y="5846396"/>
                </a:lnTo>
                <a:lnTo>
                  <a:pt x="9572509" y="5875998"/>
                </a:lnTo>
                <a:lnTo>
                  <a:pt x="9542906" y="5875998"/>
                </a:lnTo>
                <a:close/>
                <a:moveTo>
                  <a:pt x="9276817" y="5846396"/>
                </a:moveTo>
                <a:lnTo>
                  <a:pt x="9306420" y="5846396"/>
                </a:lnTo>
                <a:lnTo>
                  <a:pt x="9306420" y="5875998"/>
                </a:lnTo>
                <a:lnTo>
                  <a:pt x="9276817" y="5875998"/>
                </a:lnTo>
                <a:close/>
                <a:moveTo>
                  <a:pt x="9010620" y="5846396"/>
                </a:moveTo>
                <a:lnTo>
                  <a:pt x="9040222" y="5846396"/>
                </a:lnTo>
                <a:lnTo>
                  <a:pt x="9040222" y="5875998"/>
                </a:lnTo>
                <a:lnTo>
                  <a:pt x="9010620" y="5875998"/>
                </a:lnTo>
                <a:close/>
                <a:moveTo>
                  <a:pt x="8744423" y="5846396"/>
                </a:moveTo>
                <a:lnTo>
                  <a:pt x="8774026" y="5846396"/>
                </a:lnTo>
                <a:lnTo>
                  <a:pt x="8774026" y="5875998"/>
                </a:lnTo>
                <a:lnTo>
                  <a:pt x="8744423" y="5875998"/>
                </a:lnTo>
                <a:close/>
                <a:moveTo>
                  <a:pt x="8478226" y="5846396"/>
                </a:moveTo>
                <a:lnTo>
                  <a:pt x="8507828" y="5846396"/>
                </a:lnTo>
                <a:lnTo>
                  <a:pt x="8507828" y="5875998"/>
                </a:lnTo>
                <a:lnTo>
                  <a:pt x="8478226" y="5875998"/>
                </a:lnTo>
                <a:close/>
                <a:moveTo>
                  <a:pt x="8212137" y="5846396"/>
                </a:moveTo>
                <a:lnTo>
                  <a:pt x="8241740" y="5846396"/>
                </a:lnTo>
                <a:lnTo>
                  <a:pt x="8241740" y="5875998"/>
                </a:lnTo>
                <a:lnTo>
                  <a:pt x="8212137" y="5875998"/>
                </a:lnTo>
                <a:close/>
                <a:moveTo>
                  <a:pt x="7945940" y="5846396"/>
                </a:moveTo>
                <a:lnTo>
                  <a:pt x="7975543" y="5846396"/>
                </a:lnTo>
                <a:lnTo>
                  <a:pt x="7975543" y="5875998"/>
                </a:lnTo>
                <a:lnTo>
                  <a:pt x="7945940" y="5875998"/>
                </a:lnTo>
                <a:close/>
                <a:moveTo>
                  <a:pt x="7679743" y="5846396"/>
                </a:moveTo>
                <a:lnTo>
                  <a:pt x="7709346" y="5846396"/>
                </a:lnTo>
                <a:lnTo>
                  <a:pt x="7709346" y="5875998"/>
                </a:lnTo>
                <a:lnTo>
                  <a:pt x="7679743" y="5875998"/>
                </a:lnTo>
                <a:close/>
                <a:moveTo>
                  <a:pt x="7413653" y="5846396"/>
                </a:moveTo>
                <a:lnTo>
                  <a:pt x="7443256" y="5846396"/>
                </a:lnTo>
                <a:lnTo>
                  <a:pt x="7443256" y="5875998"/>
                </a:lnTo>
                <a:lnTo>
                  <a:pt x="7413653" y="5875998"/>
                </a:lnTo>
                <a:close/>
                <a:moveTo>
                  <a:pt x="7147456" y="5846396"/>
                </a:moveTo>
                <a:lnTo>
                  <a:pt x="7177058" y="5846396"/>
                </a:lnTo>
                <a:lnTo>
                  <a:pt x="7177058" y="5875998"/>
                </a:lnTo>
                <a:lnTo>
                  <a:pt x="7147456" y="5875998"/>
                </a:lnTo>
                <a:close/>
                <a:moveTo>
                  <a:pt x="6881367" y="5846396"/>
                </a:moveTo>
                <a:lnTo>
                  <a:pt x="6910970" y="5846396"/>
                </a:lnTo>
                <a:lnTo>
                  <a:pt x="6910970" y="5875998"/>
                </a:lnTo>
                <a:lnTo>
                  <a:pt x="6881367" y="5875998"/>
                </a:lnTo>
                <a:close/>
                <a:moveTo>
                  <a:pt x="6615170" y="5846396"/>
                </a:moveTo>
                <a:lnTo>
                  <a:pt x="6644773" y="5846396"/>
                </a:lnTo>
                <a:lnTo>
                  <a:pt x="6644773" y="5875998"/>
                </a:lnTo>
                <a:lnTo>
                  <a:pt x="6615170" y="5875998"/>
                </a:lnTo>
                <a:close/>
                <a:moveTo>
                  <a:pt x="6349081" y="5846396"/>
                </a:moveTo>
                <a:lnTo>
                  <a:pt x="6378683" y="5846396"/>
                </a:lnTo>
                <a:lnTo>
                  <a:pt x="6378683" y="5875998"/>
                </a:lnTo>
                <a:lnTo>
                  <a:pt x="6349081" y="5875998"/>
                </a:lnTo>
                <a:close/>
                <a:moveTo>
                  <a:pt x="6082884" y="5846396"/>
                </a:moveTo>
                <a:lnTo>
                  <a:pt x="6112486" y="5846396"/>
                </a:lnTo>
                <a:lnTo>
                  <a:pt x="6112486" y="5875998"/>
                </a:lnTo>
                <a:lnTo>
                  <a:pt x="6082884" y="5875998"/>
                </a:lnTo>
                <a:close/>
                <a:moveTo>
                  <a:pt x="5825310" y="5846396"/>
                </a:moveTo>
                <a:lnTo>
                  <a:pt x="5854913" y="5846396"/>
                </a:lnTo>
                <a:lnTo>
                  <a:pt x="5854913" y="5875998"/>
                </a:lnTo>
                <a:lnTo>
                  <a:pt x="5825310" y="5875998"/>
                </a:lnTo>
                <a:close/>
                <a:moveTo>
                  <a:pt x="5559113" y="5846396"/>
                </a:moveTo>
                <a:lnTo>
                  <a:pt x="5588715" y="5846396"/>
                </a:lnTo>
                <a:lnTo>
                  <a:pt x="5588715" y="5875998"/>
                </a:lnTo>
                <a:lnTo>
                  <a:pt x="5559113" y="5875998"/>
                </a:lnTo>
                <a:close/>
                <a:moveTo>
                  <a:pt x="5293024" y="5846396"/>
                </a:moveTo>
                <a:lnTo>
                  <a:pt x="5322626" y="5846396"/>
                </a:lnTo>
                <a:lnTo>
                  <a:pt x="5322626" y="5875998"/>
                </a:lnTo>
                <a:lnTo>
                  <a:pt x="5293024" y="5875998"/>
                </a:lnTo>
                <a:close/>
                <a:moveTo>
                  <a:pt x="5026827" y="5846396"/>
                </a:moveTo>
                <a:lnTo>
                  <a:pt x="5056429" y="5846396"/>
                </a:lnTo>
                <a:lnTo>
                  <a:pt x="5056429" y="5875998"/>
                </a:lnTo>
                <a:lnTo>
                  <a:pt x="5026827" y="5875998"/>
                </a:lnTo>
                <a:close/>
                <a:moveTo>
                  <a:pt x="4760630" y="5846396"/>
                </a:moveTo>
                <a:lnTo>
                  <a:pt x="4790340" y="5846396"/>
                </a:lnTo>
                <a:lnTo>
                  <a:pt x="4790340" y="5875998"/>
                </a:lnTo>
                <a:lnTo>
                  <a:pt x="4760630" y="5875998"/>
                </a:lnTo>
                <a:close/>
                <a:moveTo>
                  <a:pt x="4494541" y="5846396"/>
                </a:moveTo>
                <a:lnTo>
                  <a:pt x="4524144" y="5846396"/>
                </a:lnTo>
                <a:lnTo>
                  <a:pt x="4524144" y="5875998"/>
                </a:lnTo>
                <a:lnTo>
                  <a:pt x="4494541" y="5875998"/>
                </a:lnTo>
                <a:close/>
                <a:moveTo>
                  <a:pt x="4228344" y="5846396"/>
                </a:moveTo>
                <a:lnTo>
                  <a:pt x="4257946" y="5846396"/>
                </a:lnTo>
                <a:lnTo>
                  <a:pt x="4257946" y="5875998"/>
                </a:lnTo>
                <a:lnTo>
                  <a:pt x="4228344" y="5875998"/>
                </a:lnTo>
                <a:close/>
                <a:moveTo>
                  <a:pt x="3962255" y="5846396"/>
                </a:moveTo>
                <a:lnTo>
                  <a:pt x="3991857" y="5846396"/>
                </a:lnTo>
                <a:lnTo>
                  <a:pt x="3991857" y="5875998"/>
                </a:lnTo>
                <a:lnTo>
                  <a:pt x="3962255" y="5875998"/>
                </a:lnTo>
                <a:close/>
                <a:moveTo>
                  <a:pt x="3696058" y="5846396"/>
                </a:moveTo>
                <a:lnTo>
                  <a:pt x="3725661" y="5846396"/>
                </a:lnTo>
                <a:lnTo>
                  <a:pt x="3725661" y="5875998"/>
                </a:lnTo>
                <a:lnTo>
                  <a:pt x="3696058" y="5875998"/>
                </a:lnTo>
                <a:close/>
                <a:moveTo>
                  <a:pt x="3429969" y="5846396"/>
                </a:moveTo>
                <a:lnTo>
                  <a:pt x="3459572" y="5846396"/>
                </a:lnTo>
                <a:lnTo>
                  <a:pt x="3459572" y="5875998"/>
                </a:lnTo>
                <a:lnTo>
                  <a:pt x="3429969" y="5875998"/>
                </a:lnTo>
                <a:close/>
                <a:moveTo>
                  <a:pt x="3163772" y="5846396"/>
                </a:moveTo>
                <a:lnTo>
                  <a:pt x="3193374" y="5846396"/>
                </a:lnTo>
                <a:lnTo>
                  <a:pt x="3193374" y="5875998"/>
                </a:lnTo>
                <a:lnTo>
                  <a:pt x="3163772" y="5875998"/>
                </a:lnTo>
                <a:close/>
                <a:moveTo>
                  <a:pt x="2897575" y="5846396"/>
                </a:moveTo>
                <a:lnTo>
                  <a:pt x="2927178" y="5846396"/>
                </a:lnTo>
                <a:lnTo>
                  <a:pt x="2927178" y="5875998"/>
                </a:lnTo>
                <a:lnTo>
                  <a:pt x="2897575" y="5875998"/>
                </a:lnTo>
                <a:close/>
                <a:moveTo>
                  <a:pt x="2631378" y="5846396"/>
                </a:moveTo>
                <a:lnTo>
                  <a:pt x="2660980" y="5846396"/>
                </a:lnTo>
                <a:lnTo>
                  <a:pt x="2660980" y="5875998"/>
                </a:lnTo>
                <a:lnTo>
                  <a:pt x="2631378" y="5875998"/>
                </a:lnTo>
                <a:close/>
                <a:moveTo>
                  <a:pt x="2365289" y="5846396"/>
                </a:moveTo>
                <a:lnTo>
                  <a:pt x="2394892" y="5846396"/>
                </a:lnTo>
                <a:lnTo>
                  <a:pt x="2394892" y="5875998"/>
                </a:lnTo>
                <a:lnTo>
                  <a:pt x="2365289" y="5875998"/>
                </a:lnTo>
                <a:close/>
                <a:moveTo>
                  <a:pt x="2099092" y="5846396"/>
                </a:moveTo>
                <a:lnTo>
                  <a:pt x="2128695" y="5846396"/>
                </a:lnTo>
                <a:lnTo>
                  <a:pt x="2128695" y="5875998"/>
                </a:lnTo>
                <a:lnTo>
                  <a:pt x="2099092" y="5875998"/>
                </a:lnTo>
                <a:close/>
                <a:moveTo>
                  <a:pt x="1832898" y="5846396"/>
                </a:moveTo>
                <a:lnTo>
                  <a:pt x="1862498" y="5846396"/>
                </a:lnTo>
                <a:lnTo>
                  <a:pt x="1862498" y="5875998"/>
                </a:lnTo>
                <a:lnTo>
                  <a:pt x="1832898" y="5875998"/>
                </a:lnTo>
                <a:close/>
                <a:moveTo>
                  <a:pt x="1566808" y="5846396"/>
                </a:moveTo>
                <a:lnTo>
                  <a:pt x="1596409" y="5846396"/>
                </a:lnTo>
                <a:lnTo>
                  <a:pt x="1596409" y="5875998"/>
                </a:lnTo>
                <a:lnTo>
                  <a:pt x="1566808" y="5875998"/>
                </a:lnTo>
                <a:close/>
                <a:moveTo>
                  <a:pt x="1300611" y="5846396"/>
                </a:moveTo>
                <a:lnTo>
                  <a:pt x="1330213" y="5846396"/>
                </a:lnTo>
                <a:lnTo>
                  <a:pt x="1330213" y="5875998"/>
                </a:lnTo>
                <a:lnTo>
                  <a:pt x="1300611" y="5875998"/>
                </a:lnTo>
                <a:close/>
                <a:moveTo>
                  <a:pt x="1034520" y="5846396"/>
                </a:moveTo>
                <a:lnTo>
                  <a:pt x="1064123" y="5846396"/>
                </a:lnTo>
                <a:lnTo>
                  <a:pt x="1064123" y="5875998"/>
                </a:lnTo>
                <a:lnTo>
                  <a:pt x="1034520" y="5875998"/>
                </a:lnTo>
                <a:close/>
                <a:moveTo>
                  <a:pt x="768328" y="5846396"/>
                </a:moveTo>
                <a:lnTo>
                  <a:pt x="797926" y="5846396"/>
                </a:lnTo>
                <a:lnTo>
                  <a:pt x="797926" y="5875998"/>
                </a:lnTo>
                <a:lnTo>
                  <a:pt x="768328" y="5875998"/>
                </a:lnTo>
                <a:close/>
                <a:moveTo>
                  <a:pt x="502237" y="5846396"/>
                </a:moveTo>
                <a:lnTo>
                  <a:pt x="531839" y="5846396"/>
                </a:lnTo>
                <a:lnTo>
                  <a:pt x="531839" y="5875998"/>
                </a:lnTo>
                <a:lnTo>
                  <a:pt x="502237" y="5875998"/>
                </a:lnTo>
                <a:close/>
                <a:moveTo>
                  <a:pt x="236038" y="5846396"/>
                </a:moveTo>
                <a:lnTo>
                  <a:pt x="265640" y="5846396"/>
                </a:lnTo>
                <a:lnTo>
                  <a:pt x="265640" y="5875998"/>
                </a:lnTo>
                <a:lnTo>
                  <a:pt x="236038" y="5875998"/>
                </a:lnTo>
                <a:close/>
                <a:moveTo>
                  <a:pt x="2" y="5846396"/>
                </a:moveTo>
                <a:lnTo>
                  <a:pt x="29604" y="5846396"/>
                </a:lnTo>
                <a:lnTo>
                  <a:pt x="29604" y="5875998"/>
                </a:lnTo>
                <a:lnTo>
                  <a:pt x="2" y="5875998"/>
                </a:lnTo>
                <a:close/>
                <a:moveTo>
                  <a:pt x="11672158" y="5580631"/>
                </a:moveTo>
                <a:lnTo>
                  <a:pt x="11701760" y="5580631"/>
                </a:lnTo>
                <a:lnTo>
                  <a:pt x="11701760" y="5610233"/>
                </a:lnTo>
                <a:lnTo>
                  <a:pt x="11672158" y="5610233"/>
                </a:lnTo>
                <a:close/>
                <a:moveTo>
                  <a:pt x="11405961" y="5580631"/>
                </a:moveTo>
                <a:lnTo>
                  <a:pt x="11435563" y="5580631"/>
                </a:lnTo>
                <a:lnTo>
                  <a:pt x="11435563" y="5610233"/>
                </a:lnTo>
                <a:lnTo>
                  <a:pt x="11405961" y="5610233"/>
                </a:lnTo>
                <a:close/>
                <a:moveTo>
                  <a:pt x="11139872" y="5580631"/>
                </a:moveTo>
                <a:lnTo>
                  <a:pt x="11169474" y="5580631"/>
                </a:lnTo>
                <a:lnTo>
                  <a:pt x="11169474" y="5610233"/>
                </a:lnTo>
                <a:lnTo>
                  <a:pt x="11139872" y="5610233"/>
                </a:lnTo>
                <a:close/>
                <a:moveTo>
                  <a:pt x="10873675" y="5580631"/>
                </a:moveTo>
                <a:lnTo>
                  <a:pt x="10903277" y="5580631"/>
                </a:lnTo>
                <a:lnTo>
                  <a:pt x="10903277" y="5610233"/>
                </a:lnTo>
                <a:lnTo>
                  <a:pt x="10873675" y="5610233"/>
                </a:lnTo>
                <a:close/>
                <a:moveTo>
                  <a:pt x="10607478" y="5580631"/>
                </a:moveTo>
                <a:lnTo>
                  <a:pt x="10637188" y="5580631"/>
                </a:lnTo>
                <a:lnTo>
                  <a:pt x="10637188" y="5610233"/>
                </a:lnTo>
                <a:lnTo>
                  <a:pt x="10607478" y="5610233"/>
                </a:lnTo>
                <a:close/>
                <a:moveTo>
                  <a:pt x="10341389" y="5580631"/>
                </a:moveTo>
                <a:lnTo>
                  <a:pt x="10370992" y="5580631"/>
                </a:lnTo>
                <a:lnTo>
                  <a:pt x="10370992" y="5610233"/>
                </a:lnTo>
                <a:lnTo>
                  <a:pt x="10341389" y="5610233"/>
                </a:lnTo>
                <a:close/>
                <a:moveTo>
                  <a:pt x="10075192" y="5580631"/>
                </a:moveTo>
                <a:lnTo>
                  <a:pt x="10104794" y="5580631"/>
                </a:lnTo>
                <a:lnTo>
                  <a:pt x="10104794" y="5610233"/>
                </a:lnTo>
                <a:lnTo>
                  <a:pt x="10075192" y="5610233"/>
                </a:lnTo>
                <a:close/>
                <a:moveTo>
                  <a:pt x="9809103" y="5580631"/>
                </a:moveTo>
                <a:lnTo>
                  <a:pt x="9838705" y="5580631"/>
                </a:lnTo>
                <a:lnTo>
                  <a:pt x="9838705" y="5610233"/>
                </a:lnTo>
                <a:lnTo>
                  <a:pt x="9809103" y="5610233"/>
                </a:lnTo>
                <a:close/>
                <a:moveTo>
                  <a:pt x="9542906" y="5580631"/>
                </a:moveTo>
                <a:lnTo>
                  <a:pt x="9572509" y="5580631"/>
                </a:lnTo>
                <a:lnTo>
                  <a:pt x="9572509" y="5610233"/>
                </a:lnTo>
                <a:lnTo>
                  <a:pt x="9542906" y="5610233"/>
                </a:lnTo>
                <a:close/>
                <a:moveTo>
                  <a:pt x="9276817" y="5580631"/>
                </a:moveTo>
                <a:lnTo>
                  <a:pt x="9306420" y="5580631"/>
                </a:lnTo>
                <a:lnTo>
                  <a:pt x="9306420" y="5610233"/>
                </a:lnTo>
                <a:lnTo>
                  <a:pt x="9276817" y="5610233"/>
                </a:lnTo>
                <a:close/>
                <a:moveTo>
                  <a:pt x="9010620" y="5580631"/>
                </a:moveTo>
                <a:lnTo>
                  <a:pt x="9040222" y="5580631"/>
                </a:lnTo>
                <a:lnTo>
                  <a:pt x="9040222" y="5610233"/>
                </a:lnTo>
                <a:lnTo>
                  <a:pt x="9010620" y="5610233"/>
                </a:lnTo>
                <a:close/>
                <a:moveTo>
                  <a:pt x="8744423" y="5580631"/>
                </a:moveTo>
                <a:lnTo>
                  <a:pt x="8774026" y="5580631"/>
                </a:lnTo>
                <a:lnTo>
                  <a:pt x="8774026" y="5610233"/>
                </a:lnTo>
                <a:lnTo>
                  <a:pt x="8744423" y="5610233"/>
                </a:lnTo>
                <a:close/>
                <a:moveTo>
                  <a:pt x="8478226" y="5580631"/>
                </a:moveTo>
                <a:lnTo>
                  <a:pt x="8507828" y="5580631"/>
                </a:lnTo>
                <a:lnTo>
                  <a:pt x="8507828" y="5610233"/>
                </a:lnTo>
                <a:lnTo>
                  <a:pt x="8478226" y="5610233"/>
                </a:lnTo>
                <a:close/>
                <a:moveTo>
                  <a:pt x="8212137" y="5580631"/>
                </a:moveTo>
                <a:lnTo>
                  <a:pt x="8241740" y="5580631"/>
                </a:lnTo>
                <a:lnTo>
                  <a:pt x="8241740" y="5610233"/>
                </a:lnTo>
                <a:lnTo>
                  <a:pt x="8212137" y="5610233"/>
                </a:lnTo>
                <a:close/>
                <a:moveTo>
                  <a:pt x="7945940" y="5580631"/>
                </a:moveTo>
                <a:lnTo>
                  <a:pt x="7975543" y="5580631"/>
                </a:lnTo>
                <a:lnTo>
                  <a:pt x="7975543" y="5610233"/>
                </a:lnTo>
                <a:lnTo>
                  <a:pt x="7945940" y="5610233"/>
                </a:lnTo>
                <a:close/>
                <a:moveTo>
                  <a:pt x="7679743" y="5580631"/>
                </a:moveTo>
                <a:lnTo>
                  <a:pt x="7709346" y="5580631"/>
                </a:lnTo>
                <a:lnTo>
                  <a:pt x="7709346" y="5610233"/>
                </a:lnTo>
                <a:lnTo>
                  <a:pt x="7679743" y="5610233"/>
                </a:lnTo>
                <a:close/>
                <a:moveTo>
                  <a:pt x="7413653" y="5580631"/>
                </a:moveTo>
                <a:lnTo>
                  <a:pt x="7443256" y="5580631"/>
                </a:lnTo>
                <a:lnTo>
                  <a:pt x="7443256" y="5610233"/>
                </a:lnTo>
                <a:lnTo>
                  <a:pt x="7413653" y="5610233"/>
                </a:lnTo>
                <a:close/>
                <a:moveTo>
                  <a:pt x="7147456" y="5580631"/>
                </a:moveTo>
                <a:lnTo>
                  <a:pt x="7177058" y="5580631"/>
                </a:lnTo>
                <a:lnTo>
                  <a:pt x="7177058" y="5610233"/>
                </a:lnTo>
                <a:lnTo>
                  <a:pt x="7147456" y="5610233"/>
                </a:lnTo>
                <a:close/>
                <a:moveTo>
                  <a:pt x="6881367" y="5580631"/>
                </a:moveTo>
                <a:lnTo>
                  <a:pt x="6910970" y="5580631"/>
                </a:lnTo>
                <a:lnTo>
                  <a:pt x="6910970" y="5610233"/>
                </a:lnTo>
                <a:lnTo>
                  <a:pt x="6881367" y="5610233"/>
                </a:lnTo>
                <a:close/>
                <a:moveTo>
                  <a:pt x="6615170" y="5580631"/>
                </a:moveTo>
                <a:lnTo>
                  <a:pt x="6644773" y="5580631"/>
                </a:lnTo>
                <a:lnTo>
                  <a:pt x="6644773" y="5610233"/>
                </a:lnTo>
                <a:lnTo>
                  <a:pt x="6615170" y="5610233"/>
                </a:lnTo>
                <a:close/>
                <a:moveTo>
                  <a:pt x="6349081" y="5580631"/>
                </a:moveTo>
                <a:lnTo>
                  <a:pt x="6378683" y="5580631"/>
                </a:lnTo>
                <a:lnTo>
                  <a:pt x="6378683" y="5610233"/>
                </a:lnTo>
                <a:lnTo>
                  <a:pt x="6349081" y="5610233"/>
                </a:lnTo>
                <a:close/>
                <a:moveTo>
                  <a:pt x="6082884" y="5580631"/>
                </a:moveTo>
                <a:lnTo>
                  <a:pt x="6112486" y="5580631"/>
                </a:lnTo>
                <a:lnTo>
                  <a:pt x="6112486" y="5610233"/>
                </a:lnTo>
                <a:lnTo>
                  <a:pt x="6082884" y="5610233"/>
                </a:lnTo>
                <a:close/>
                <a:moveTo>
                  <a:pt x="5825310" y="5580631"/>
                </a:moveTo>
                <a:lnTo>
                  <a:pt x="5854913" y="5580631"/>
                </a:lnTo>
                <a:lnTo>
                  <a:pt x="5854913" y="5610233"/>
                </a:lnTo>
                <a:lnTo>
                  <a:pt x="5825310" y="5610233"/>
                </a:lnTo>
                <a:close/>
                <a:moveTo>
                  <a:pt x="5559113" y="5580631"/>
                </a:moveTo>
                <a:lnTo>
                  <a:pt x="5588715" y="5580631"/>
                </a:lnTo>
                <a:lnTo>
                  <a:pt x="5588715" y="5610233"/>
                </a:lnTo>
                <a:lnTo>
                  <a:pt x="5559113" y="5610233"/>
                </a:lnTo>
                <a:close/>
                <a:moveTo>
                  <a:pt x="5293024" y="5580631"/>
                </a:moveTo>
                <a:lnTo>
                  <a:pt x="5322626" y="5580631"/>
                </a:lnTo>
                <a:lnTo>
                  <a:pt x="5322626" y="5610233"/>
                </a:lnTo>
                <a:lnTo>
                  <a:pt x="5293024" y="5610233"/>
                </a:lnTo>
                <a:close/>
                <a:moveTo>
                  <a:pt x="5026827" y="5580631"/>
                </a:moveTo>
                <a:lnTo>
                  <a:pt x="5056429" y="5580631"/>
                </a:lnTo>
                <a:lnTo>
                  <a:pt x="5056429" y="5610233"/>
                </a:lnTo>
                <a:lnTo>
                  <a:pt x="5026827" y="5610233"/>
                </a:lnTo>
                <a:close/>
                <a:moveTo>
                  <a:pt x="4760630" y="5580631"/>
                </a:moveTo>
                <a:lnTo>
                  <a:pt x="4790340" y="5580631"/>
                </a:lnTo>
                <a:lnTo>
                  <a:pt x="4790340" y="5610233"/>
                </a:lnTo>
                <a:lnTo>
                  <a:pt x="4760630" y="5610233"/>
                </a:lnTo>
                <a:close/>
                <a:moveTo>
                  <a:pt x="4494541" y="5580631"/>
                </a:moveTo>
                <a:lnTo>
                  <a:pt x="4524144" y="5580631"/>
                </a:lnTo>
                <a:lnTo>
                  <a:pt x="4524144" y="5610233"/>
                </a:lnTo>
                <a:lnTo>
                  <a:pt x="4494541" y="5610233"/>
                </a:lnTo>
                <a:close/>
                <a:moveTo>
                  <a:pt x="4228344" y="5580631"/>
                </a:moveTo>
                <a:lnTo>
                  <a:pt x="4257946" y="5580631"/>
                </a:lnTo>
                <a:lnTo>
                  <a:pt x="4257946" y="5610233"/>
                </a:lnTo>
                <a:lnTo>
                  <a:pt x="4228344" y="5610233"/>
                </a:lnTo>
                <a:close/>
                <a:moveTo>
                  <a:pt x="3962255" y="5580631"/>
                </a:moveTo>
                <a:lnTo>
                  <a:pt x="3991857" y="5580631"/>
                </a:lnTo>
                <a:lnTo>
                  <a:pt x="3991857" y="5610233"/>
                </a:lnTo>
                <a:lnTo>
                  <a:pt x="3962255" y="5610233"/>
                </a:lnTo>
                <a:close/>
                <a:moveTo>
                  <a:pt x="3696058" y="5580631"/>
                </a:moveTo>
                <a:lnTo>
                  <a:pt x="3725661" y="5580631"/>
                </a:lnTo>
                <a:lnTo>
                  <a:pt x="3725661" y="5610233"/>
                </a:lnTo>
                <a:lnTo>
                  <a:pt x="3696058" y="5610233"/>
                </a:lnTo>
                <a:close/>
                <a:moveTo>
                  <a:pt x="3429969" y="5580631"/>
                </a:moveTo>
                <a:lnTo>
                  <a:pt x="3459572" y="5580631"/>
                </a:lnTo>
                <a:lnTo>
                  <a:pt x="3459572" y="5610233"/>
                </a:lnTo>
                <a:lnTo>
                  <a:pt x="3429969" y="5610233"/>
                </a:lnTo>
                <a:close/>
                <a:moveTo>
                  <a:pt x="3163772" y="5580631"/>
                </a:moveTo>
                <a:lnTo>
                  <a:pt x="3193374" y="5580631"/>
                </a:lnTo>
                <a:lnTo>
                  <a:pt x="3193374" y="5610233"/>
                </a:lnTo>
                <a:lnTo>
                  <a:pt x="3163772" y="5610233"/>
                </a:lnTo>
                <a:close/>
                <a:moveTo>
                  <a:pt x="2897575" y="5580631"/>
                </a:moveTo>
                <a:lnTo>
                  <a:pt x="2927178" y="5580631"/>
                </a:lnTo>
                <a:lnTo>
                  <a:pt x="2927178" y="5610233"/>
                </a:lnTo>
                <a:lnTo>
                  <a:pt x="2897575" y="5610233"/>
                </a:lnTo>
                <a:close/>
                <a:moveTo>
                  <a:pt x="2631378" y="5580631"/>
                </a:moveTo>
                <a:lnTo>
                  <a:pt x="2660980" y="5580631"/>
                </a:lnTo>
                <a:lnTo>
                  <a:pt x="2660980" y="5610233"/>
                </a:lnTo>
                <a:lnTo>
                  <a:pt x="2631378" y="5610233"/>
                </a:lnTo>
                <a:close/>
                <a:moveTo>
                  <a:pt x="2365289" y="5580631"/>
                </a:moveTo>
                <a:lnTo>
                  <a:pt x="2394892" y="5580631"/>
                </a:lnTo>
                <a:lnTo>
                  <a:pt x="2394892" y="5610233"/>
                </a:lnTo>
                <a:lnTo>
                  <a:pt x="2365289" y="5610233"/>
                </a:lnTo>
                <a:close/>
                <a:moveTo>
                  <a:pt x="2099092" y="5580631"/>
                </a:moveTo>
                <a:lnTo>
                  <a:pt x="2128695" y="5580631"/>
                </a:lnTo>
                <a:lnTo>
                  <a:pt x="2128695" y="5610233"/>
                </a:lnTo>
                <a:lnTo>
                  <a:pt x="2099092" y="5610233"/>
                </a:lnTo>
                <a:close/>
                <a:moveTo>
                  <a:pt x="1832898" y="5580631"/>
                </a:moveTo>
                <a:lnTo>
                  <a:pt x="1862498" y="5580631"/>
                </a:lnTo>
                <a:lnTo>
                  <a:pt x="1862498" y="5610233"/>
                </a:lnTo>
                <a:lnTo>
                  <a:pt x="1832898" y="5610233"/>
                </a:lnTo>
                <a:close/>
                <a:moveTo>
                  <a:pt x="1566808" y="5580631"/>
                </a:moveTo>
                <a:lnTo>
                  <a:pt x="1596409" y="5580631"/>
                </a:lnTo>
                <a:lnTo>
                  <a:pt x="1596409" y="5610233"/>
                </a:lnTo>
                <a:lnTo>
                  <a:pt x="1566808" y="5610233"/>
                </a:lnTo>
                <a:close/>
                <a:moveTo>
                  <a:pt x="1300611" y="5580631"/>
                </a:moveTo>
                <a:lnTo>
                  <a:pt x="1330213" y="5580631"/>
                </a:lnTo>
                <a:lnTo>
                  <a:pt x="1330213" y="5610233"/>
                </a:lnTo>
                <a:lnTo>
                  <a:pt x="1300611" y="5610233"/>
                </a:lnTo>
                <a:close/>
                <a:moveTo>
                  <a:pt x="1034520" y="5580631"/>
                </a:moveTo>
                <a:lnTo>
                  <a:pt x="1064123" y="5580631"/>
                </a:lnTo>
                <a:lnTo>
                  <a:pt x="1064123" y="5610233"/>
                </a:lnTo>
                <a:lnTo>
                  <a:pt x="1034520" y="5610233"/>
                </a:lnTo>
                <a:close/>
                <a:moveTo>
                  <a:pt x="768328" y="5580631"/>
                </a:moveTo>
                <a:lnTo>
                  <a:pt x="797926" y="5580631"/>
                </a:lnTo>
                <a:lnTo>
                  <a:pt x="797926" y="5610233"/>
                </a:lnTo>
                <a:lnTo>
                  <a:pt x="768328" y="5610233"/>
                </a:lnTo>
                <a:close/>
                <a:moveTo>
                  <a:pt x="502237" y="5580631"/>
                </a:moveTo>
                <a:lnTo>
                  <a:pt x="531839" y="5580631"/>
                </a:lnTo>
                <a:lnTo>
                  <a:pt x="531839" y="5610233"/>
                </a:lnTo>
                <a:lnTo>
                  <a:pt x="502237" y="5610233"/>
                </a:lnTo>
                <a:close/>
                <a:moveTo>
                  <a:pt x="236038" y="5580631"/>
                </a:moveTo>
                <a:lnTo>
                  <a:pt x="265640" y="5580631"/>
                </a:lnTo>
                <a:lnTo>
                  <a:pt x="265640" y="5610233"/>
                </a:lnTo>
                <a:lnTo>
                  <a:pt x="236038" y="5610233"/>
                </a:lnTo>
                <a:close/>
                <a:moveTo>
                  <a:pt x="2" y="5580631"/>
                </a:moveTo>
                <a:lnTo>
                  <a:pt x="29604" y="5580631"/>
                </a:lnTo>
                <a:lnTo>
                  <a:pt x="29604" y="5610233"/>
                </a:lnTo>
                <a:lnTo>
                  <a:pt x="2" y="5610233"/>
                </a:lnTo>
                <a:close/>
                <a:moveTo>
                  <a:pt x="11672158" y="5314974"/>
                </a:moveTo>
                <a:lnTo>
                  <a:pt x="11701760" y="5314974"/>
                </a:lnTo>
                <a:lnTo>
                  <a:pt x="11701760" y="5344468"/>
                </a:lnTo>
                <a:lnTo>
                  <a:pt x="11672158" y="5344468"/>
                </a:lnTo>
                <a:close/>
                <a:moveTo>
                  <a:pt x="11405961" y="5314974"/>
                </a:moveTo>
                <a:lnTo>
                  <a:pt x="11435563" y="5314974"/>
                </a:lnTo>
                <a:lnTo>
                  <a:pt x="11435563" y="5344468"/>
                </a:lnTo>
                <a:lnTo>
                  <a:pt x="11405961" y="5344468"/>
                </a:lnTo>
                <a:close/>
                <a:moveTo>
                  <a:pt x="11139872" y="5314974"/>
                </a:moveTo>
                <a:lnTo>
                  <a:pt x="11169474" y="5314974"/>
                </a:lnTo>
                <a:lnTo>
                  <a:pt x="11169474" y="5344468"/>
                </a:lnTo>
                <a:lnTo>
                  <a:pt x="11139872" y="5344468"/>
                </a:lnTo>
                <a:close/>
                <a:moveTo>
                  <a:pt x="10873675" y="5314974"/>
                </a:moveTo>
                <a:lnTo>
                  <a:pt x="10903277" y="5314974"/>
                </a:lnTo>
                <a:lnTo>
                  <a:pt x="10903277" y="5344468"/>
                </a:lnTo>
                <a:lnTo>
                  <a:pt x="10873675" y="5344468"/>
                </a:lnTo>
                <a:close/>
                <a:moveTo>
                  <a:pt x="10607478" y="5314974"/>
                </a:moveTo>
                <a:lnTo>
                  <a:pt x="10637188" y="5314974"/>
                </a:lnTo>
                <a:lnTo>
                  <a:pt x="10637188" y="5344468"/>
                </a:lnTo>
                <a:lnTo>
                  <a:pt x="10607478" y="5344468"/>
                </a:lnTo>
                <a:close/>
                <a:moveTo>
                  <a:pt x="10341389" y="5314974"/>
                </a:moveTo>
                <a:lnTo>
                  <a:pt x="10370992" y="5314974"/>
                </a:lnTo>
                <a:lnTo>
                  <a:pt x="10370992" y="5344468"/>
                </a:lnTo>
                <a:lnTo>
                  <a:pt x="10341389" y="5344468"/>
                </a:lnTo>
                <a:close/>
                <a:moveTo>
                  <a:pt x="10075192" y="5314974"/>
                </a:moveTo>
                <a:lnTo>
                  <a:pt x="10104794" y="5314974"/>
                </a:lnTo>
                <a:lnTo>
                  <a:pt x="10104794" y="5344468"/>
                </a:lnTo>
                <a:lnTo>
                  <a:pt x="10075192" y="5344468"/>
                </a:lnTo>
                <a:close/>
                <a:moveTo>
                  <a:pt x="9809103" y="5314974"/>
                </a:moveTo>
                <a:lnTo>
                  <a:pt x="9838705" y="5314974"/>
                </a:lnTo>
                <a:lnTo>
                  <a:pt x="9838705" y="5344468"/>
                </a:lnTo>
                <a:lnTo>
                  <a:pt x="9809103" y="5344468"/>
                </a:lnTo>
                <a:close/>
                <a:moveTo>
                  <a:pt x="9542906" y="5314974"/>
                </a:moveTo>
                <a:lnTo>
                  <a:pt x="9572509" y="5314974"/>
                </a:lnTo>
                <a:lnTo>
                  <a:pt x="9572509" y="5344468"/>
                </a:lnTo>
                <a:lnTo>
                  <a:pt x="9542906" y="5344468"/>
                </a:lnTo>
                <a:close/>
                <a:moveTo>
                  <a:pt x="9276817" y="5314974"/>
                </a:moveTo>
                <a:lnTo>
                  <a:pt x="9306420" y="5314974"/>
                </a:lnTo>
                <a:lnTo>
                  <a:pt x="9306420" y="5344468"/>
                </a:lnTo>
                <a:lnTo>
                  <a:pt x="9276817" y="5344468"/>
                </a:lnTo>
                <a:close/>
                <a:moveTo>
                  <a:pt x="9010620" y="5314974"/>
                </a:moveTo>
                <a:lnTo>
                  <a:pt x="9040222" y="5314974"/>
                </a:lnTo>
                <a:lnTo>
                  <a:pt x="9040222" y="5344468"/>
                </a:lnTo>
                <a:lnTo>
                  <a:pt x="9010620" y="5344468"/>
                </a:lnTo>
                <a:close/>
                <a:moveTo>
                  <a:pt x="8744423" y="5314974"/>
                </a:moveTo>
                <a:lnTo>
                  <a:pt x="8774026" y="5314974"/>
                </a:lnTo>
                <a:lnTo>
                  <a:pt x="8774026" y="5344468"/>
                </a:lnTo>
                <a:lnTo>
                  <a:pt x="8744423" y="5344468"/>
                </a:lnTo>
                <a:close/>
                <a:moveTo>
                  <a:pt x="8478226" y="5314974"/>
                </a:moveTo>
                <a:lnTo>
                  <a:pt x="8507828" y="5314974"/>
                </a:lnTo>
                <a:lnTo>
                  <a:pt x="8507828" y="5344468"/>
                </a:lnTo>
                <a:lnTo>
                  <a:pt x="8478226" y="5344468"/>
                </a:lnTo>
                <a:close/>
                <a:moveTo>
                  <a:pt x="8212137" y="5314974"/>
                </a:moveTo>
                <a:lnTo>
                  <a:pt x="8241740" y="5314974"/>
                </a:lnTo>
                <a:lnTo>
                  <a:pt x="8241740" y="5344468"/>
                </a:lnTo>
                <a:lnTo>
                  <a:pt x="8212137" y="5344468"/>
                </a:lnTo>
                <a:close/>
                <a:moveTo>
                  <a:pt x="7945940" y="5314974"/>
                </a:moveTo>
                <a:lnTo>
                  <a:pt x="7975543" y="5314974"/>
                </a:lnTo>
                <a:lnTo>
                  <a:pt x="7975543" y="5344468"/>
                </a:lnTo>
                <a:lnTo>
                  <a:pt x="7945940" y="5344468"/>
                </a:lnTo>
                <a:close/>
                <a:moveTo>
                  <a:pt x="7679743" y="5314974"/>
                </a:moveTo>
                <a:lnTo>
                  <a:pt x="7709346" y="5314974"/>
                </a:lnTo>
                <a:lnTo>
                  <a:pt x="7709346" y="5344468"/>
                </a:lnTo>
                <a:lnTo>
                  <a:pt x="7679743" y="5344468"/>
                </a:lnTo>
                <a:close/>
                <a:moveTo>
                  <a:pt x="7413653" y="5314974"/>
                </a:moveTo>
                <a:lnTo>
                  <a:pt x="7443256" y="5314974"/>
                </a:lnTo>
                <a:lnTo>
                  <a:pt x="7443256" y="5344468"/>
                </a:lnTo>
                <a:lnTo>
                  <a:pt x="7413653" y="5344468"/>
                </a:lnTo>
                <a:close/>
                <a:moveTo>
                  <a:pt x="7147456" y="5314974"/>
                </a:moveTo>
                <a:lnTo>
                  <a:pt x="7177058" y="5314974"/>
                </a:lnTo>
                <a:lnTo>
                  <a:pt x="7177058" y="5344468"/>
                </a:lnTo>
                <a:lnTo>
                  <a:pt x="7147456" y="5344468"/>
                </a:lnTo>
                <a:close/>
                <a:moveTo>
                  <a:pt x="6881367" y="5314974"/>
                </a:moveTo>
                <a:lnTo>
                  <a:pt x="6910970" y="5314974"/>
                </a:lnTo>
                <a:lnTo>
                  <a:pt x="6910970" y="5344468"/>
                </a:lnTo>
                <a:lnTo>
                  <a:pt x="6881367" y="5344468"/>
                </a:lnTo>
                <a:close/>
                <a:moveTo>
                  <a:pt x="6615170" y="5314974"/>
                </a:moveTo>
                <a:lnTo>
                  <a:pt x="6644773" y="5314974"/>
                </a:lnTo>
                <a:lnTo>
                  <a:pt x="6644773" y="5344468"/>
                </a:lnTo>
                <a:lnTo>
                  <a:pt x="6615170" y="5344468"/>
                </a:lnTo>
                <a:close/>
                <a:moveTo>
                  <a:pt x="6349081" y="5314974"/>
                </a:moveTo>
                <a:lnTo>
                  <a:pt x="6378683" y="5314974"/>
                </a:lnTo>
                <a:lnTo>
                  <a:pt x="6378683" y="5344468"/>
                </a:lnTo>
                <a:lnTo>
                  <a:pt x="6349081" y="5344468"/>
                </a:lnTo>
                <a:close/>
                <a:moveTo>
                  <a:pt x="6082884" y="5314974"/>
                </a:moveTo>
                <a:lnTo>
                  <a:pt x="6112486" y="5314974"/>
                </a:lnTo>
                <a:lnTo>
                  <a:pt x="6112486" y="5344468"/>
                </a:lnTo>
                <a:lnTo>
                  <a:pt x="6082884" y="5344468"/>
                </a:lnTo>
                <a:close/>
                <a:moveTo>
                  <a:pt x="5825310" y="5314974"/>
                </a:moveTo>
                <a:lnTo>
                  <a:pt x="5854913" y="5314974"/>
                </a:lnTo>
                <a:lnTo>
                  <a:pt x="5854913" y="5344468"/>
                </a:lnTo>
                <a:lnTo>
                  <a:pt x="5825310" y="5344468"/>
                </a:lnTo>
                <a:close/>
                <a:moveTo>
                  <a:pt x="5559113" y="5314974"/>
                </a:moveTo>
                <a:lnTo>
                  <a:pt x="5588715" y="5314974"/>
                </a:lnTo>
                <a:lnTo>
                  <a:pt x="5588715" y="5344468"/>
                </a:lnTo>
                <a:lnTo>
                  <a:pt x="5559113" y="5344468"/>
                </a:lnTo>
                <a:close/>
                <a:moveTo>
                  <a:pt x="5293024" y="5314974"/>
                </a:moveTo>
                <a:lnTo>
                  <a:pt x="5322626" y="5314974"/>
                </a:lnTo>
                <a:lnTo>
                  <a:pt x="5322626" y="5344468"/>
                </a:lnTo>
                <a:lnTo>
                  <a:pt x="5293024" y="5344468"/>
                </a:lnTo>
                <a:close/>
                <a:moveTo>
                  <a:pt x="5026827" y="5314974"/>
                </a:moveTo>
                <a:lnTo>
                  <a:pt x="5056429" y="5314974"/>
                </a:lnTo>
                <a:lnTo>
                  <a:pt x="5056429" y="5344468"/>
                </a:lnTo>
                <a:lnTo>
                  <a:pt x="5026827" y="5344468"/>
                </a:lnTo>
                <a:close/>
                <a:moveTo>
                  <a:pt x="4760630" y="5314974"/>
                </a:moveTo>
                <a:lnTo>
                  <a:pt x="4790340" y="5314974"/>
                </a:lnTo>
                <a:lnTo>
                  <a:pt x="4790340" y="5344468"/>
                </a:lnTo>
                <a:lnTo>
                  <a:pt x="4760630" y="5344468"/>
                </a:lnTo>
                <a:close/>
                <a:moveTo>
                  <a:pt x="4494541" y="5314974"/>
                </a:moveTo>
                <a:lnTo>
                  <a:pt x="4524144" y="5314974"/>
                </a:lnTo>
                <a:lnTo>
                  <a:pt x="4524144" y="5344468"/>
                </a:lnTo>
                <a:lnTo>
                  <a:pt x="4494541" y="5344468"/>
                </a:lnTo>
                <a:close/>
                <a:moveTo>
                  <a:pt x="4228344" y="5314974"/>
                </a:moveTo>
                <a:lnTo>
                  <a:pt x="4257946" y="5314974"/>
                </a:lnTo>
                <a:lnTo>
                  <a:pt x="4257946" y="5344468"/>
                </a:lnTo>
                <a:lnTo>
                  <a:pt x="4228344" y="5344468"/>
                </a:lnTo>
                <a:close/>
                <a:moveTo>
                  <a:pt x="3962255" y="5314974"/>
                </a:moveTo>
                <a:lnTo>
                  <a:pt x="3991857" y="5314974"/>
                </a:lnTo>
                <a:lnTo>
                  <a:pt x="3991857" y="5344468"/>
                </a:lnTo>
                <a:lnTo>
                  <a:pt x="3962255" y="5344468"/>
                </a:lnTo>
                <a:close/>
                <a:moveTo>
                  <a:pt x="3696058" y="5314974"/>
                </a:moveTo>
                <a:lnTo>
                  <a:pt x="3725661" y="5314974"/>
                </a:lnTo>
                <a:lnTo>
                  <a:pt x="3725661" y="5344468"/>
                </a:lnTo>
                <a:lnTo>
                  <a:pt x="3696058" y="5344468"/>
                </a:lnTo>
                <a:close/>
                <a:moveTo>
                  <a:pt x="3429969" y="5314974"/>
                </a:moveTo>
                <a:lnTo>
                  <a:pt x="3459572" y="5314974"/>
                </a:lnTo>
                <a:lnTo>
                  <a:pt x="3459572" y="5344468"/>
                </a:lnTo>
                <a:lnTo>
                  <a:pt x="3429969" y="5344468"/>
                </a:lnTo>
                <a:close/>
                <a:moveTo>
                  <a:pt x="3163772" y="5314974"/>
                </a:moveTo>
                <a:lnTo>
                  <a:pt x="3193374" y="5314974"/>
                </a:lnTo>
                <a:lnTo>
                  <a:pt x="3193374" y="5344468"/>
                </a:lnTo>
                <a:lnTo>
                  <a:pt x="3163772" y="5344468"/>
                </a:lnTo>
                <a:close/>
                <a:moveTo>
                  <a:pt x="2897575" y="5314974"/>
                </a:moveTo>
                <a:lnTo>
                  <a:pt x="2927178" y="5314974"/>
                </a:lnTo>
                <a:lnTo>
                  <a:pt x="2927178" y="5344468"/>
                </a:lnTo>
                <a:lnTo>
                  <a:pt x="2897575" y="5344468"/>
                </a:lnTo>
                <a:close/>
                <a:moveTo>
                  <a:pt x="2631378" y="5314974"/>
                </a:moveTo>
                <a:lnTo>
                  <a:pt x="2660980" y="5314974"/>
                </a:lnTo>
                <a:lnTo>
                  <a:pt x="2660980" y="5344468"/>
                </a:lnTo>
                <a:lnTo>
                  <a:pt x="2631378" y="5344468"/>
                </a:lnTo>
                <a:close/>
                <a:moveTo>
                  <a:pt x="2365289" y="5314974"/>
                </a:moveTo>
                <a:lnTo>
                  <a:pt x="2394892" y="5314974"/>
                </a:lnTo>
                <a:lnTo>
                  <a:pt x="2394892" y="5344468"/>
                </a:lnTo>
                <a:lnTo>
                  <a:pt x="2365289" y="5344468"/>
                </a:lnTo>
                <a:close/>
                <a:moveTo>
                  <a:pt x="2099092" y="5314974"/>
                </a:moveTo>
                <a:lnTo>
                  <a:pt x="2128695" y="5314974"/>
                </a:lnTo>
                <a:lnTo>
                  <a:pt x="2128695" y="5344468"/>
                </a:lnTo>
                <a:lnTo>
                  <a:pt x="2099092" y="5344468"/>
                </a:lnTo>
                <a:close/>
                <a:moveTo>
                  <a:pt x="1832898" y="5314974"/>
                </a:moveTo>
                <a:lnTo>
                  <a:pt x="1862498" y="5314974"/>
                </a:lnTo>
                <a:lnTo>
                  <a:pt x="1862498" y="5344468"/>
                </a:lnTo>
                <a:lnTo>
                  <a:pt x="1832898" y="5344468"/>
                </a:lnTo>
                <a:close/>
                <a:moveTo>
                  <a:pt x="1566808" y="5314974"/>
                </a:moveTo>
                <a:lnTo>
                  <a:pt x="1596409" y="5314974"/>
                </a:lnTo>
                <a:lnTo>
                  <a:pt x="1596409" y="5344468"/>
                </a:lnTo>
                <a:lnTo>
                  <a:pt x="1566808" y="5344468"/>
                </a:lnTo>
                <a:close/>
                <a:moveTo>
                  <a:pt x="1300611" y="5314974"/>
                </a:moveTo>
                <a:lnTo>
                  <a:pt x="1330213" y="5314974"/>
                </a:lnTo>
                <a:lnTo>
                  <a:pt x="1330213" y="5344468"/>
                </a:lnTo>
                <a:lnTo>
                  <a:pt x="1300611" y="5344468"/>
                </a:lnTo>
                <a:close/>
                <a:moveTo>
                  <a:pt x="1034520" y="5314974"/>
                </a:moveTo>
                <a:lnTo>
                  <a:pt x="1064123" y="5314974"/>
                </a:lnTo>
                <a:lnTo>
                  <a:pt x="1064123" y="5344468"/>
                </a:lnTo>
                <a:lnTo>
                  <a:pt x="1034520" y="5344468"/>
                </a:lnTo>
                <a:close/>
                <a:moveTo>
                  <a:pt x="768328" y="5314974"/>
                </a:moveTo>
                <a:lnTo>
                  <a:pt x="797926" y="5314974"/>
                </a:lnTo>
                <a:lnTo>
                  <a:pt x="797926" y="5344468"/>
                </a:lnTo>
                <a:lnTo>
                  <a:pt x="768328" y="5344468"/>
                </a:lnTo>
                <a:close/>
                <a:moveTo>
                  <a:pt x="502237" y="5314974"/>
                </a:moveTo>
                <a:lnTo>
                  <a:pt x="531839" y="5314974"/>
                </a:lnTo>
                <a:lnTo>
                  <a:pt x="531839" y="5344468"/>
                </a:lnTo>
                <a:lnTo>
                  <a:pt x="502237" y="5344468"/>
                </a:lnTo>
                <a:close/>
                <a:moveTo>
                  <a:pt x="236038" y="5314974"/>
                </a:moveTo>
                <a:lnTo>
                  <a:pt x="265640" y="5314974"/>
                </a:lnTo>
                <a:lnTo>
                  <a:pt x="265640" y="5344468"/>
                </a:lnTo>
                <a:lnTo>
                  <a:pt x="236038" y="5344468"/>
                </a:lnTo>
                <a:close/>
                <a:moveTo>
                  <a:pt x="2" y="5314974"/>
                </a:moveTo>
                <a:lnTo>
                  <a:pt x="29604" y="5314974"/>
                </a:lnTo>
                <a:lnTo>
                  <a:pt x="29604" y="5344468"/>
                </a:lnTo>
                <a:lnTo>
                  <a:pt x="2" y="5344468"/>
                </a:lnTo>
                <a:close/>
                <a:moveTo>
                  <a:pt x="11672158" y="5049209"/>
                </a:moveTo>
                <a:lnTo>
                  <a:pt x="11701760" y="5049209"/>
                </a:lnTo>
                <a:lnTo>
                  <a:pt x="11701760" y="5078812"/>
                </a:lnTo>
                <a:lnTo>
                  <a:pt x="11672158" y="5078812"/>
                </a:lnTo>
                <a:close/>
                <a:moveTo>
                  <a:pt x="11405961" y="5049209"/>
                </a:moveTo>
                <a:lnTo>
                  <a:pt x="11435563" y="5049209"/>
                </a:lnTo>
                <a:lnTo>
                  <a:pt x="11435563" y="5078812"/>
                </a:lnTo>
                <a:lnTo>
                  <a:pt x="11405961" y="5078812"/>
                </a:lnTo>
                <a:close/>
                <a:moveTo>
                  <a:pt x="11139872" y="5049209"/>
                </a:moveTo>
                <a:lnTo>
                  <a:pt x="11169474" y="5049209"/>
                </a:lnTo>
                <a:lnTo>
                  <a:pt x="11169474" y="5078812"/>
                </a:lnTo>
                <a:lnTo>
                  <a:pt x="11139872" y="5078812"/>
                </a:lnTo>
                <a:close/>
                <a:moveTo>
                  <a:pt x="10873675" y="5049209"/>
                </a:moveTo>
                <a:lnTo>
                  <a:pt x="10903277" y="5049209"/>
                </a:lnTo>
                <a:lnTo>
                  <a:pt x="10903277" y="5078812"/>
                </a:lnTo>
                <a:lnTo>
                  <a:pt x="10873675" y="5078812"/>
                </a:lnTo>
                <a:close/>
                <a:moveTo>
                  <a:pt x="10607478" y="5049209"/>
                </a:moveTo>
                <a:lnTo>
                  <a:pt x="10637188" y="5049209"/>
                </a:lnTo>
                <a:lnTo>
                  <a:pt x="10637188" y="5078812"/>
                </a:lnTo>
                <a:lnTo>
                  <a:pt x="10607478" y="5078812"/>
                </a:lnTo>
                <a:close/>
                <a:moveTo>
                  <a:pt x="10341389" y="5049209"/>
                </a:moveTo>
                <a:lnTo>
                  <a:pt x="10370992" y="5049209"/>
                </a:lnTo>
                <a:lnTo>
                  <a:pt x="10370992" y="5078812"/>
                </a:lnTo>
                <a:lnTo>
                  <a:pt x="10341389" y="5078812"/>
                </a:lnTo>
                <a:close/>
                <a:moveTo>
                  <a:pt x="10075192" y="5049209"/>
                </a:moveTo>
                <a:lnTo>
                  <a:pt x="10104794" y="5049209"/>
                </a:lnTo>
                <a:lnTo>
                  <a:pt x="10104794" y="5078812"/>
                </a:lnTo>
                <a:lnTo>
                  <a:pt x="10075192" y="5078812"/>
                </a:lnTo>
                <a:close/>
                <a:moveTo>
                  <a:pt x="9809103" y="5049209"/>
                </a:moveTo>
                <a:lnTo>
                  <a:pt x="9838705" y="5049209"/>
                </a:lnTo>
                <a:lnTo>
                  <a:pt x="9838705" y="5078812"/>
                </a:lnTo>
                <a:lnTo>
                  <a:pt x="9809103" y="5078812"/>
                </a:lnTo>
                <a:close/>
                <a:moveTo>
                  <a:pt x="9542906" y="5049209"/>
                </a:moveTo>
                <a:lnTo>
                  <a:pt x="9572509" y="5049209"/>
                </a:lnTo>
                <a:lnTo>
                  <a:pt x="9572509" y="5078812"/>
                </a:lnTo>
                <a:lnTo>
                  <a:pt x="9542906" y="5078812"/>
                </a:lnTo>
                <a:close/>
                <a:moveTo>
                  <a:pt x="9276817" y="5049209"/>
                </a:moveTo>
                <a:lnTo>
                  <a:pt x="9306420" y="5049209"/>
                </a:lnTo>
                <a:lnTo>
                  <a:pt x="9306420" y="5078812"/>
                </a:lnTo>
                <a:lnTo>
                  <a:pt x="9276817" y="5078812"/>
                </a:lnTo>
                <a:close/>
                <a:moveTo>
                  <a:pt x="9010620" y="5049209"/>
                </a:moveTo>
                <a:lnTo>
                  <a:pt x="9040222" y="5049209"/>
                </a:lnTo>
                <a:lnTo>
                  <a:pt x="9040222" y="5078812"/>
                </a:lnTo>
                <a:lnTo>
                  <a:pt x="9010620" y="5078812"/>
                </a:lnTo>
                <a:close/>
                <a:moveTo>
                  <a:pt x="8744423" y="5049209"/>
                </a:moveTo>
                <a:lnTo>
                  <a:pt x="8774026" y="5049209"/>
                </a:lnTo>
                <a:lnTo>
                  <a:pt x="8774026" y="5078812"/>
                </a:lnTo>
                <a:lnTo>
                  <a:pt x="8744423" y="5078812"/>
                </a:lnTo>
                <a:close/>
                <a:moveTo>
                  <a:pt x="8478226" y="5049209"/>
                </a:moveTo>
                <a:lnTo>
                  <a:pt x="8507828" y="5049209"/>
                </a:lnTo>
                <a:lnTo>
                  <a:pt x="8507828" y="5078812"/>
                </a:lnTo>
                <a:lnTo>
                  <a:pt x="8478226" y="5078812"/>
                </a:lnTo>
                <a:close/>
                <a:moveTo>
                  <a:pt x="8212137" y="5049209"/>
                </a:moveTo>
                <a:lnTo>
                  <a:pt x="8241740" y="5049209"/>
                </a:lnTo>
                <a:lnTo>
                  <a:pt x="8241740" y="5078812"/>
                </a:lnTo>
                <a:lnTo>
                  <a:pt x="8212137" y="5078812"/>
                </a:lnTo>
                <a:close/>
                <a:moveTo>
                  <a:pt x="7945940" y="5049209"/>
                </a:moveTo>
                <a:lnTo>
                  <a:pt x="7975543" y="5049209"/>
                </a:lnTo>
                <a:lnTo>
                  <a:pt x="7975543" y="5078812"/>
                </a:lnTo>
                <a:lnTo>
                  <a:pt x="7945940" y="5078812"/>
                </a:lnTo>
                <a:close/>
                <a:moveTo>
                  <a:pt x="7679743" y="5049209"/>
                </a:moveTo>
                <a:lnTo>
                  <a:pt x="7709346" y="5049209"/>
                </a:lnTo>
                <a:lnTo>
                  <a:pt x="7709346" y="5078812"/>
                </a:lnTo>
                <a:lnTo>
                  <a:pt x="7679743" y="5078812"/>
                </a:lnTo>
                <a:close/>
                <a:moveTo>
                  <a:pt x="7413653" y="5049209"/>
                </a:moveTo>
                <a:lnTo>
                  <a:pt x="7443256" y="5049209"/>
                </a:lnTo>
                <a:lnTo>
                  <a:pt x="7443256" y="5078812"/>
                </a:lnTo>
                <a:lnTo>
                  <a:pt x="7413653" y="5078812"/>
                </a:lnTo>
                <a:close/>
                <a:moveTo>
                  <a:pt x="7147456" y="5049209"/>
                </a:moveTo>
                <a:lnTo>
                  <a:pt x="7177058" y="5049209"/>
                </a:lnTo>
                <a:lnTo>
                  <a:pt x="7177058" y="5078812"/>
                </a:lnTo>
                <a:lnTo>
                  <a:pt x="7147456" y="5078812"/>
                </a:lnTo>
                <a:close/>
                <a:moveTo>
                  <a:pt x="6881367" y="5049209"/>
                </a:moveTo>
                <a:lnTo>
                  <a:pt x="6910970" y="5049209"/>
                </a:lnTo>
                <a:lnTo>
                  <a:pt x="6910970" y="5078812"/>
                </a:lnTo>
                <a:lnTo>
                  <a:pt x="6881367" y="5078812"/>
                </a:lnTo>
                <a:close/>
                <a:moveTo>
                  <a:pt x="6615170" y="5049209"/>
                </a:moveTo>
                <a:lnTo>
                  <a:pt x="6644773" y="5049209"/>
                </a:lnTo>
                <a:lnTo>
                  <a:pt x="6644773" y="5078812"/>
                </a:lnTo>
                <a:lnTo>
                  <a:pt x="6615170" y="5078812"/>
                </a:lnTo>
                <a:close/>
                <a:moveTo>
                  <a:pt x="6349081" y="5049209"/>
                </a:moveTo>
                <a:lnTo>
                  <a:pt x="6378683" y="5049209"/>
                </a:lnTo>
                <a:lnTo>
                  <a:pt x="6378683" y="5078812"/>
                </a:lnTo>
                <a:lnTo>
                  <a:pt x="6349081" y="5078812"/>
                </a:lnTo>
                <a:close/>
                <a:moveTo>
                  <a:pt x="6082884" y="5049209"/>
                </a:moveTo>
                <a:lnTo>
                  <a:pt x="6112486" y="5049209"/>
                </a:lnTo>
                <a:lnTo>
                  <a:pt x="6112486" y="5078812"/>
                </a:lnTo>
                <a:lnTo>
                  <a:pt x="6082884" y="5078812"/>
                </a:lnTo>
                <a:close/>
                <a:moveTo>
                  <a:pt x="5825310" y="5049209"/>
                </a:moveTo>
                <a:lnTo>
                  <a:pt x="5854913" y="5049209"/>
                </a:lnTo>
                <a:lnTo>
                  <a:pt x="5854913" y="5078812"/>
                </a:lnTo>
                <a:lnTo>
                  <a:pt x="5825310" y="5078812"/>
                </a:lnTo>
                <a:close/>
                <a:moveTo>
                  <a:pt x="5559113" y="5049209"/>
                </a:moveTo>
                <a:lnTo>
                  <a:pt x="5588715" y="5049209"/>
                </a:lnTo>
                <a:lnTo>
                  <a:pt x="5588715" y="5078812"/>
                </a:lnTo>
                <a:lnTo>
                  <a:pt x="5559113" y="5078812"/>
                </a:lnTo>
                <a:close/>
                <a:moveTo>
                  <a:pt x="5293024" y="5049209"/>
                </a:moveTo>
                <a:lnTo>
                  <a:pt x="5322626" y="5049209"/>
                </a:lnTo>
                <a:lnTo>
                  <a:pt x="5322626" y="5078812"/>
                </a:lnTo>
                <a:lnTo>
                  <a:pt x="5293024" y="5078812"/>
                </a:lnTo>
                <a:close/>
                <a:moveTo>
                  <a:pt x="5026827" y="5049209"/>
                </a:moveTo>
                <a:lnTo>
                  <a:pt x="5056429" y="5049209"/>
                </a:lnTo>
                <a:lnTo>
                  <a:pt x="5056429" y="5078812"/>
                </a:lnTo>
                <a:lnTo>
                  <a:pt x="5026827" y="5078812"/>
                </a:lnTo>
                <a:close/>
                <a:moveTo>
                  <a:pt x="4760630" y="5049209"/>
                </a:moveTo>
                <a:lnTo>
                  <a:pt x="4790340" y="5049209"/>
                </a:lnTo>
                <a:lnTo>
                  <a:pt x="4790340" y="5078812"/>
                </a:lnTo>
                <a:lnTo>
                  <a:pt x="4760630" y="5078812"/>
                </a:lnTo>
                <a:close/>
                <a:moveTo>
                  <a:pt x="4494541" y="5049209"/>
                </a:moveTo>
                <a:lnTo>
                  <a:pt x="4524144" y="5049209"/>
                </a:lnTo>
                <a:lnTo>
                  <a:pt x="4524144" y="5078812"/>
                </a:lnTo>
                <a:lnTo>
                  <a:pt x="4494541" y="5078812"/>
                </a:lnTo>
                <a:close/>
                <a:moveTo>
                  <a:pt x="4228344" y="5049209"/>
                </a:moveTo>
                <a:lnTo>
                  <a:pt x="4257946" y="5049209"/>
                </a:lnTo>
                <a:lnTo>
                  <a:pt x="4257946" y="5078812"/>
                </a:lnTo>
                <a:lnTo>
                  <a:pt x="4228344" y="5078812"/>
                </a:lnTo>
                <a:close/>
                <a:moveTo>
                  <a:pt x="3962255" y="5049209"/>
                </a:moveTo>
                <a:lnTo>
                  <a:pt x="3991857" y="5049209"/>
                </a:lnTo>
                <a:lnTo>
                  <a:pt x="3991857" y="5078812"/>
                </a:lnTo>
                <a:lnTo>
                  <a:pt x="3962255" y="5078812"/>
                </a:lnTo>
                <a:close/>
                <a:moveTo>
                  <a:pt x="3696058" y="5049209"/>
                </a:moveTo>
                <a:lnTo>
                  <a:pt x="3725661" y="5049209"/>
                </a:lnTo>
                <a:lnTo>
                  <a:pt x="3725661" y="5078812"/>
                </a:lnTo>
                <a:lnTo>
                  <a:pt x="3696058" y="5078812"/>
                </a:lnTo>
                <a:close/>
                <a:moveTo>
                  <a:pt x="3429969" y="5049209"/>
                </a:moveTo>
                <a:lnTo>
                  <a:pt x="3459572" y="5049209"/>
                </a:lnTo>
                <a:lnTo>
                  <a:pt x="3459572" y="5078812"/>
                </a:lnTo>
                <a:lnTo>
                  <a:pt x="3429969" y="5078812"/>
                </a:lnTo>
                <a:close/>
                <a:moveTo>
                  <a:pt x="3163772" y="5049209"/>
                </a:moveTo>
                <a:lnTo>
                  <a:pt x="3193374" y="5049209"/>
                </a:lnTo>
                <a:lnTo>
                  <a:pt x="3193374" y="5078812"/>
                </a:lnTo>
                <a:lnTo>
                  <a:pt x="3163772" y="5078812"/>
                </a:lnTo>
                <a:close/>
                <a:moveTo>
                  <a:pt x="2897575" y="5049209"/>
                </a:moveTo>
                <a:lnTo>
                  <a:pt x="2927178" y="5049209"/>
                </a:lnTo>
                <a:lnTo>
                  <a:pt x="2927178" y="5078812"/>
                </a:lnTo>
                <a:lnTo>
                  <a:pt x="2897575" y="5078812"/>
                </a:lnTo>
                <a:close/>
                <a:moveTo>
                  <a:pt x="2631378" y="5049209"/>
                </a:moveTo>
                <a:lnTo>
                  <a:pt x="2660980" y="5049209"/>
                </a:lnTo>
                <a:lnTo>
                  <a:pt x="2660980" y="5078812"/>
                </a:lnTo>
                <a:lnTo>
                  <a:pt x="2631378" y="5078812"/>
                </a:lnTo>
                <a:close/>
                <a:moveTo>
                  <a:pt x="2365289" y="5049209"/>
                </a:moveTo>
                <a:lnTo>
                  <a:pt x="2394892" y="5049209"/>
                </a:lnTo>
                <a:lnTo>
                  <a:pt x="2394892" y="5078812"/>
                </a:lnTo>
                <a:lnTo>
                  <a:pt x="2365289" y="5078812"/>
                </a:lnTo>
                <a:close/>
                <a:moveTo>
                  <a:pt x="2099092" y="5049209"/>
                </a:moveTo>
                <a:lnTo>
                  <a:pt x="2128695" y="5049209"/>
                </a:lnTo>
                <a:lnTo>
                  <a:pt x="2128695" y="5078812"/>
                </a:lnTo>
                <a:lnTo>
                  <a:pt x="2099092" y="5078812"/>
                </a:lnTo>
                <a:close/>
                <a:moveTo>
                  <a:pt x="1832898" y="5049209"/>
                </a:moveTo>
                <a:lnTo>
                  <a:pt x="1862498" y="5049209"/>
                </a:lnTo>
                <a:lnTo>
                  <a:pt x="1862498" y="5078812"/>
                </a:lnTo>
                <a:lnTo>
                  <a:pt x="1832898" y="5078812"/>
                </a:lnTo>
                <a:close/>
                <a:moveTo>
                  <a:pt x="1566808" y="5049209"/>
                </a:moveTo>
                <a:lnTo>
                  <a:pt x="1596409" y="5049209"/>
                </a:lnTo>
                <a:lnTo>
                  <a:pt x="1596409" y="5078812"/>
                </a:lnTo>
                <a:lnTo>
                  <a:pt x="1566808" y="5078812"/>
                </a:lnTo>
                <a:close/>
                <a:moveTo>
                  <a:pt x="1300611" y="5049209"/>
                </a:moveTo>
                <a:lnTo>
                  <a:pt x="1330213" y="5049209"/>
                </a:lnTo>
                <a:lnTo>
                  <a:pt x="1330213" y="5078812"/>
                </a:lnTo>
                <a:lnTo>
                  <a:pt x="1300611" y="5078812"/>
                </a:lnTo>
                <a:close/>
                <a:moveTo>
                  <a:pt x="1034520" y="5049209"/>
                </a:moveTo>
                <a:lnTo>
                  <a:pt x="1064123" y="5049209"/>
                </a:lnTo>
                <a:lnTo>
                  <a:pt x="1064123" y="5078812"/>
                </a:lnTo>
                <a:lnTo>
                  <a:pt x="1034520" y="5078812"/>
                </a:lnTo>
                <a:close/>
                <a:moveTo>
                  <a:pt x="768328" y="5049209"/>
                </a:moveTo>
                <a:lnTo>
                  <a:pt x="797926" y="5049209"/>
                </a:lnTo>
                <a:lnTo>
                  <a:pt x="797926" y="5078812"/>
                </a:lnTo>
                <a:lnTo>
                  <a:pt x="768328" y="5078812"/>
                </a:lnTo>
                <a:close/>
                <a:moveTo>
                  <a:pt x="502237" y="5049209"/>
                </a:moveTo>
                <a:lnTo>
                  <a:pt x="531839" y="5049209"/>
                </a:lnTo>
                <a:lnTo>
                  <a:pt x="531839" y="5078812"/>
                </a:lnTo>
                <a:lnTo>
                  <a:pt x="502237" y="5078812"/>
                </a:lnTo>
                <a:close/>
                <a:moveTo>
                  <a:pt x="236038" y="5049209"/>
                </a:moveTo>
                <a:lnTo>
                  <a:pt x="265640" y="5049209"/>
                </a:lnTo>
                <a:lnTo>
                  <a:pt x="265640" y="5078812"/>
                </a:lnTo>
                <a:lnTo>
                  <a:pt x="236038" y="5078812"/>
                </a:lnTo>
                <a:close/>
                <a:moveTo>
                  <a:pt x="2" y="5049209"/>
                </a:moveTo>
                <a:lnTo>
                  <a:pt x="29604" y="5049209"/>
                </a:lnTo>
                <a:lnTo>
                  <a:pt x="29604" y="5078812"/>
                </a:lnTo>
                <a:lnTo>
                  <a:pt x="2" y="5078812"/>
                </a:lnTo>
                <a:close/>
                <a:moveTo>
                  <a:pt x="11672158" y="4783444"/>
                </a:moveTo>
                <a:lnTo>
                  <a:pt x="11701760" y="4783444"/>
                </a:lnTo>
                <a:lnTo>
                  <a:pt x="11701760" y="4813046"/>
                </a:lnTo>
                <a:lnTo>
                  <a:pt x="11672158" y="4813046"/>
                </a:lnTo>
                <a:close/>
                <a:moveTo>
                  <a:pt x="11405961" y="4783444"/>
                </a:moveTo>
                <a:lnTo>
                  <a:pt x="11435563" y="4783444"/>
                </a:lnTo>
                <a:lnTo>
                  <a:pt x="11435563" y="4813046"/>
                </a:lnTo>
                <a:lnTo>
                  <a:pt x="11405961" y="4813046"/>
                </a:lnTo>
                <a:close/>
                <a:moveTo>
                  <a:pt x="11139872" y="4783444"/>
                </a:moveTo>
                <a:lnTo>
                  <a:pt x="11169474" y="4783444"/>
                </a:lnTo>
                <a:lnTo>
                  <a:pt x="11169474" y="4813046"/>
                </a:lnTo>
                <a:lnTo>
                  <a:pt x="11139872" y="4813046"/>
                </a:lnTo>
                <a:close/>
                <a:moveTo>
                  <a:pt x="10873675" y="4783444"/>
                </a:moveTo>
                <a:lnTo>
                  <a:pt x="10903277" y="4783444"/>
                </a:lnTo>
                <a:lnTo>
                  <a:pt x="10903277" y="4813046"/>
                </a:lnTo>
                <a:lnTo>
                  <a:pt x="10873675" y="4813046"/>
                </a:lnTo>
                <a:close/>
                <a:moveTo>
                  <a:pt x="10607478" y="4783444"/>
                </a:moveTo>
                <a:lnTo>
                  <a:pt x="10637188" y="4783444"/>
                </a:lnTo>
                <a:lnTo>
                  <a:pt x="10637188" y="4813046"/>
                </a:lnTo>
                <a:lnTo>
                  <a:pt x="10607478" y="4813046"/>
                </a:lnTo>
                <a:close/>
                <a:moveTo>
                  <a:pt x="10341389" y="4783444"/>
                </a:moveTo>
                <a:lnTo>
                  <a:pt x="10370992" y="4783444"/>
                </a:lnTo>
                <a:lnTo>
                  <a:pt x="10370992" y="4813046"/>
                </a:lnTo>
                <a:lnTo>
                  <a:pt x="10341389" y="4813046"/>
                </a:lnTo>
                <a:close/>
                <a:moveTo>
                  <a:pt x="10075192" y="4783444"/>
                </a:moveTo>
                <a:lnTo>
                  <a:pt x="10104794" y="4783444"/>
                </a:lnTo>
                <a:lnTo>
                  <a:pt x="10104794" y="4813046"/>
                </a:lnTo>
                <a:lnTo>
                  <a:pt x="10075192" y="4813046"/>
                </a:lnTo>
                <a:close/>
                <a:moveTo>
                  <a:pt x="9809103" y="4783444"/>
                </a:moveTo>
                <a:lnTo>
                  <a:pt x="9838705" y="4783444"/>
                </a:lnTo>
                <a:lnTo>
                  <a:pt x="9838705" y="4813046"/>
                </a:lnTo>
                <a:lnTo>
                  <a:pt x="9809103" y="4813046"/>
                </a:lnTo>
                <a:close/>
                <a:moveTo>
                  <a:pt x="9542906" y="4783444"/>
                </a:moveTo>
                <a:lnTo>
                  <a:pt x="9572509" y="4783444"/>
                </a:lnTo>
                <a:lnTo>
                  <a:pt x="9572509" y="4813046"/>
                </a:lnTo>
                <a:lnTo>
                  <a:pt x="9542906" y="4813046"/>
                </a:lnTo>
                <a:close/>
                <a:moveTo>
                  <a:pt x="9276817" y="4783444"/>
                </a:moveTo>
                <a:lnTo>
                  <a:pt x="9306420" y="4783444"/>
                </a:lnTo>
                <a:lnTo>
                  <a:pt x="9306420" y="4813046"/>
                </a:lnTo>
                <a:lnTo>
                  <a:pt x="9276817" y="4813046"/>
                </a:lnTo>
                <a:close/>
                <a:moveTo>
                  <a:pt x="9010620" y="4783444"/>
                </a:moveTo>
                <a:lnTo>
                  <a:pt x="9040222" y="4783444"/>
                </a:lnTo>
                <a:lnTo>
                  <a:pt x="9040222" y="4813046"/>
                </a:lnTo>
                <a:lnTo>
                  <a:pt x="9010620" y="4813046"/>
                </a:lnTo>
                <a:close/>
                <a:moveTo>
                  <a:pt x="8744423" y="4783444"/>
                </a:moveTo>
                <a:lnTo>
                  <a:pt x="8774026" y="4783444"/>
                </a:lnTo>
                <a:lnTo>
                  <a:pt x="8774026" y="4813046"/>
                </a:lnTo>
                <a:lnTo>
                  <a:pt x="8744423" y="4813046"/>
                </a:lnTo>
                <a:close/>
                <a:moveTo>
                  <a:pt x="8478226" y="4783444"/>
                </a:moveTo>
                <a:lnTo>
                  <a:pt x="8507828" y="4783444"/>
                </a:lnTo>
                <a:lnTo>
                  <a:pt x="8507828" y="4813046"/>
                </a:lnTo>
                <a:lnTo>
                  <a:pt x="8478226" y="4813046"/>
                </a:lnTo>
                <a:close/>
                <a:moveTo>
                  <a:pt x="8212137" y="4783444"/>
                </a:moveTo>
                <a:lnTo>
                  <a:pt x="8241740" y="4783444"/>
                </a:lnTo>
                <a:lnTo>
                  <a:pt x="8241740" y="4813046"/>
                </a:lnTo>
                <a:lnTo>
                  <a:pt x="8212137" y="4813046"/>
                </a:lnTo>
                <a:close/>
                <a:moveTo>
                  <a:pt x="7945940" y="4783444"/>
                </a:moveTo>
                <a:lnTo>
                  <a:pt x="7975543" y="4783444"/>
                </a:lnTo>
                <a:lnTo>
                  <a:pt x="7975543" y="4813046"/>
                </a:lnTo>
                <a:lnTo>
                  <a:pt x="7945940" y="4813046"/>
                </a:lnTo>
                <a:close/>
                <a:moveTo>
                  <a:pt x="7679743" y="4783444"/>
                </a:moveTo>
                <a:lnTo>
                  <a:pt x="7709346" y="4783444"/>
                </a:lnTo>
                <a:lnTo>
                  <a:pt x="7709346" y="4813046"/>
                </a:lnTo>
                <a:lnTo>
                  <a:pt x="7679743" y="4813046"/>
                </a:lnTo>
                <a:close/>
                <a:moveTo>
                  <a:pt x="7413653" y="4783444"/>
                </a:moveTo>
                <a:lnTo>
                  <a:pt x="7443256" y="4783444"/>
                </a:lnTo>
                <a:lnTo>
                  <a:pt x="7443256" y="4813046"/>
                </a:lnTo>
                <a:lnTo>
                  <a:pt x="7413653" y="4813046"/>
                </a:lnTo>
                <a:close/>
                <a:moveTo>
                  <a:pt x="7147456" y="4783444"/>
                </a:moveTo>
                <a:lnTo>
                  <a:pt x="7177058" y="4783444"/>
                </a:lnTo>
                <a:lnTo>
                  <a:pt x="7177058" y="4813046"/>
                </a:lnTo>
                <a:lnTo>
                  <a:pt x="7147456" y="4813046"/>
                </a:lnTo>
                <a:close/>
                <a:moveTo>
                  <a:pt x="6881367" y="4783444"/>
                </a:moveTo>
                <a:lnTo>
                  <a:pt x="6910970" y="4783444"/>
                </a:lnTo>
                <a:lnTo>
                  <a:pt x="6910970" y="4813046"/>
                </a:lnTo>
                <a:lnTo>
                  <a:pt x="6881367" y="4813046"/>
                </a:lnTo>
                <a:close/>
                <a:moveTo>
                  <a:pt x="6615170" y="4783444"/>
                </a:moveTo>
                <a:lnTo>
                  <a:pt x="6644773" y="4783444"/>
                </a:lnTo>
                <a:lnTo>
                  <a:pt x="6644773" y="4813046"/>
                </a:lnTo>
                <a:lnTo>
                  <a:pt x="6615170" y="4813046"/>
                </a:lnTo>
                <a:close/>
                <a:moveTo>
                  <a:pt x="6349081" y="4783444"/>
                </a:moveTo>
                <a:lnTo>
                  <a:pt x="6378683" y="4783444"/>
                </a:lnTo>
                <a:lnTo>
                  <a:pt x="6378683" y="4813046"/>
                </a:lnTo>
                <a:lnTo>
                  <a:pt x="6349081" y="4813046"/>
                </a:lnTo>
                <a:close/>
                <a:moveTo>
                  <a:pt x="6082884" y="4783444"/>
                </a:moveTo>
                <a:lnTo>
                  <a:pt x="6112486" y="4783444"/>
                </a:lnTo>
                <a:lnTo>
                  <a:pt x="6112486" y="4813046"/>
                </a:lnTo>
                <a:lnTo>
                  <a:pt x="6082884" y="4813046"/>
                </a:lnTo>
                <a:close/>
                <a:moveTo>
                  <a:pt x="5825310" y="4783444"/>
                </a:moveTo>
                <a:lnTo>
                  <a:pt x="5854913" y="4783444"/>
                </a:lnTo>
                <a:lnTo>
                  <a:pt x="5854913" y="4813046"/>
                </a:lnTo>
                <a:lnTo>
                  <a:pt x="5825310" y="4813046"/>
                </a:lnTo>
                <a:close/>
                <a:moveTo>
                  <a:pt x="5559113" y="4783444"/>
                </a:moveTo>
                <a:lnTo>
                  <a:pt x="5588715" y="4783444"/>
                </a:lnTo>
                <a:lnTo>
                  <a:pt x="5588715" y="4813046"/>
                </a:lnTo>
                <a:lnTo>
                  <a:pt x="5559113" y="4813046"/>
                </a:lnTo>
                <a:close/>
                <a:moveTo>
                  <a:pt x="5293024" y="4783444"/>
                </a:moveTo>
                <a:lnTo>
                  <a:pt x="5322626" y="4783444"/>
                </a:lnTo>
                <a:lnTo>
                  <a:pt x="5322626" y="4813046"/>
                </a:lnTo>
                <a:lnTo>
                  <a:pt x="5293024" y="4813046"/>
                </a:lnTo>
                <a:close/>
                <a:moveTo>
                  <a:pt x="5026827" y="4783444"/>
                </a:moveTo>
                <a:lnTo>
                  <a:pt x="5056429" y="4783444"/>
                </a:lnTo>
                <a:lnTo>
                  <a:pt x="5056429" y="4813046"/>
                </a:lnTo>
                <a:lnTo>
                  <a:pt x="5026827" y="4813046"/>
                </a:lnTo>
                <a:close/>
                <a:moveTo>
                  <a:pt x="4760630" y="4783444"/>
                </a:moveTo>
                <a:lnTo>
                  <a:pt x="4790340" y="4783444"/>
                </a:lnTo>
                <a:lnTo>
                  <a:pt x="4790340" y="4813046"/>
                </a:lnTo>
                <a:lnTo>
                  <a:pt x="4760630" y="4813046"/>
                </a:lnTo>
                <a:close/>
                <a:moveTo>
                  <a:pt x="4494541" y="4783444"/>
                </a:moveTo>
                <a:lnTo>
                  <a:pt x="4524144" y="4783444"/>
                </a:lnTo>
                <a:lnTo>
                  <a:pt x="4524144" y="4813046"/>
                </a:lnTo>
                <a:lnTo>
                  <a:pt x="4494541" y="4813046"/>
                </a:lnTo>
                <a:close/>
                <a:moveTo>
                  <a:pt x="4228344" y="4783444"/>
                </a:moveTo>
                <a:lnTo>
                  <a:pt x="4257946" y="4783444"/>
                </a:lnTo>
                <a:lnTo>
                  <a:pt x="4257946" y="4813046"/>
                </a:lnTo>
                <a:lnTo>
                  <a:pt x="4228344" y="4813046"/>
                </a:lnTo>
                <a:close/>
                <a:moveTo>
                  <a:pt x="3962255" y="4783444"/>
                </a:moveTo>
                <a:lnTo>
                  <a:pt x="3991857" y="4783444"/>
                </a:lnTo>
                <a:lnTo>
                  <a:pt x="3991857" y="4813046"/>
                </a:lnTo>
                <a:lnTo>
                  <a:pt x="3962255" y="4813046"/>
                </a:lnTo>
                <a:close/>
                <a:moveTo>
                  <a:pt x="3696058" y="4783444"/>
                </a:moveTo>
                <a:lnTo>
                  <a:pt x="3725661" y="4783444"/>
                </a:lnTo>
                <a:lnTo>
                  <a:pt x="3725661" y="4813046"/>
                </a:lnTo>
                <a:lnTo>
                  <a:pt x="3696058" y="4813046"/>
                </a:lnTo>
                <a:close/>
                <a:moveTo>
                  <a:pt x="3429969" y="4783444"/>
                </a:moveTo>
                <a:lnTo>
                  <a:pt x="3459572" y="4783444"/>
                </a:lnTo>
                <a:lnTo>
                  <a:pt x="3459572" y="4813046"/>
                </a:lnTo>
                <a:lnTo>
                  <a:pt x="3429969" y="4813046"/>
                </a:lnTo>
                <a:close/>
                <a:moveTo>
                  <a:pt x="3163772" y="4783444"/>
                </a:moveTo>
                <a:lnTo>
                  <a:pt x="3193374" y="4783444"/>
                </a:lnTo>
                <a:lnTo>
                  <a:pt x="3193374" y="4813046"/>
                </a:lnTo>
                <a:lnTo>
                  <a:pt x="3163772" y="4813046"/>
                </a:lnTo>
                <a:close/>
                <a:moveTo>
                  <a:pt x="2897575" y="4783444"/>
                </a:moveTo>
                <a:lnTo>
                  <a:pt x="2927178" y="4783444"/>
                </a:lnTo>
                <a:lnTo>
                  <a:pt x="2927178" y="4813046"/>
                </a:lnTo>
                <a:lnTo>
                  <a:pt x="2897575" y="4813046"/>
                </a:lnTo>
                <a:close/>
                <a:moveTo>
                  <a:pt x="2631378" y="4783444"/>
                </a:moveTo>
                <a:lnTo>
                  <a:pt x="2660980" y="4783444"/>
                </a:lnTo>
                <a:lnTo>
                  <a:pt x="2660980" y="4813046"/>
                </a:lnTo>
                <a:lnTo>
                  <a:pt x="2631378" y="4813046"/>
                </a:lnTo>
                <a:close/>
                <a:moveTo>
                  <a:pt x="2365289" y="4783444"/>
                </a:moveTo>
                <a:lnTo>
                  <a:pt x="2394892" y="4783444"/>
                </a:lnTo>
                <a:lnTo>
                  <a:pt x="2394892" y="4813046"/>
                </a:lnTo>
                <a:lnTo>
                  <a:pt x="2365289" y="4813046"/>
                </a:lnTo>
                <a:close/>
                <a:moveTo>
                  <a:pt x="2099092" y="4783444"/>
                </a:moveTo>
                <a:lnTo>
                  <a:pt x="2128695" y="4783444"/>
                </a:lnTo>
                <a:lnTo>
                  <a:pt x="2128695" y="4813046"/>
                </a:lnTo>
                <a:lnTo>
                  <a:pt x="2099092" y="4813046"/>
                </a:lnTo>
                <a:close/>
                <a:moveTo>
                  <a:pt x="1832898" y="4783444"/>
                </a:moveTo>
                <a:lnTo>
                  <a:pt x="1862498" y="4783444"/>
                </a:lnTo>
                <a:lnTo>
                  <a:pt x="1862498" y="4813046"/>
                </a:lnTo>
                <a:lnTo>
                  <a:pt x="1832898" y="4813046"/>
                </a:lnTo>
                <a:close/>
                <a:moveTo>
                  <a:pt x="1566808" y="4783444"/>
                </a:moveTo>
                <a:lnTo>
                  <a:pt x="1596409" y="4783444"/>
                </a:lnTo>
                <a:lnTo>
                  <a:pt x="1596409" y="4813046"/>
                </a:lnTo>
                <a:lnTo>
                  <a:pt x="1566808" y="4813046"/>
                </a:lnTo>
                <a:close/>
                <a:moveTo>
                  <a:pt x="1300611" y="4783444"/>
                </a:moveTo>
                <a:lnTo>
                  <a:pt x="1330213" y="4783444"/>
                </a:lnTo>
                <a:lnTo>
                  <a:pt x="1330213" y="4813046"/>
                </a:lnTo>
                <a:lnTo>
                  <a:pt x="1300611" y="4813046"/>
                </a:lnTo>
                <a:close/>
                <a:moveTo>
                  <a:pt x="1034520" y="4783444"/>
                </a:moveTo>
                <a:lnTo>
                  <a:pt x="1064123" y="4783444"/>
                </a:lnTo>
                <a:lnTo>
                  <a:pt x="1064123" y="4813046"/>
                </a:lnTo>
                <a:lnTo>
                  <a:pt x="1034520" y="4813046"/>
                </a:lnTo>
                <a:close/>
                <a:moveTo>
                  <a:pt x="768327" y="4783444"/>
                </a:moveTo>
                <a:lnTo>
                  <a:pt x="797926" y="4783444"/>
                </a:lnTo>
                <a:lnTo>
                  <a:pt x="797926" y="4813046"/>
                </a:lnTo>
                <a:lnTo>
                  <a:pt x="768327" y="4813046"/>
                </a:lnTo>
                <a:close/>
                <a:moveTo>
                  <a:pt x="502237" y="4783444"/>
                </a:moveTo>
                <a:lnTo>
                  <a:pt x="531839" y="4783444"/>
                </a:lnTo>
                <a:lnTo>
                  <a:pt x="531839" y="4813046"/>
                </a:lnTo>
                <a:lnTo>
                  <a:pt x="502237" y="4813046"/>
                </a:lnTo>
                <a:close/>
                <a:moveTo>
                  <a:pt x="236038" y="4783444"/>
                </a:moveTo>
                <a:lnTo>
                  <a:pt x="265640" y="4783444"/>
                </a:lnTo>
                <a:lnTo>
                  <a:pt x="265640" y="4813046"/>
                </a:lnTo>
                <a:lnTo>
                  <a:pt x="236038" y="4813046"/>
                </a:lnTo>
                <a:close/>
                <a:moveTo>
                  <a:pt x="2" y="4783444"/>
                </a:moveTo>
                <a:lnTo>
                  <a:pt x="29604" y="4783444"/>
                </a:lnTo>
                <a:lnTo>
                  <a:pt x="29604" y="4813046"/>
                </a:lnTo>
                <a:lnTo>
                  <a:pt x="2" y="4813046"/>
                </a:lnTo>
                <a:close/>
                <a:moveTo>
                  <a:pt x="11672158" y="4517679"/>
                </a:moveTo>
                <a:lnTo>
                  <a:pt x="11701760" y="4517679"/>
                </a:lnTo>
                <a:lnTo>
                  <a:pt x="11701760" y="4547281"/>
                </a:lnTo>
                <a:lnTo>
                  <a:pt x="11672158" y="4547281"/>
                </a:lnTo>
                <a:close/>
                <a:moveTo>
                  <a:pt x="11405961" y="4517679"/>
                </a:moveTo>
                <a:lnTo>
                  <a:pt x="11435563" y="4517679"/>
                </a:lnTo>
                <a:lnTo>
                  <a:pt x="11435563" y="4547281"/>
                </a:lnTo>
                <a:lnTo>
                  <a:pt x="11405961" y="4547281"/>
                </a:lnTo>
                <a:close/>
                <a:moveTo>
                  <a:pt x="11139872" y="4517679"/>
                </a:moveTo>
                <a:lnTo>
                  <a:pt x="11169474" y="4517679"/>
                </a:lnTo>
                <a:lnTo>
                  <a:pt x="11169474" y="4547281"/>
                </a:lnTo>
                <a:lnTo>
                  <a:pt x="11139872" y="4547281"/>
                </a:lnTo>
                <a:close/>
                <a:moveTo>
                  <a:pt x="10873675" y="4517679"/>
                </a:moveTo>
                <a:lnTo>
                  <a:pt x="10903277" y="4517679"/>
                </a:lnTo>
                <a:lnTo>
                  <a:pt x="10903277" y="4547281"/>
                </a:lnTo>
                <a:lnTo>
                  <a:pt x="10873675" y="4547281"/>
                </a:lnTo>
                <a:close/>
                <a:moveTo>
                  <a:pt x="10607478" y="4517679"/>
                </a:moveTo>
                <a:lnTo>
                  <a:pt x="10637188" y="4517679"/>
                </a:lnTo>
                <a:lnTo>
                  <a:pt x="10637188" y="4547281"/>
                </a:lnTo>
                <a:lnTo>
                  <a:pt x="10607478" y="4547281"/>
                </a:lnTo>
                <a:close/>
                <a:moveTo>
                  <a:pt x="10341389" y="4517679"/>
                </a:moveTo>
                <a:lnTo>
                  <a:pt x="10370992" y="4517679"/>
                </a:lnTo>
                <a:lnTo>
                  <a:pt x="10370992" y="4547281"/>
                </a:lnTo>
                <a:lnTo>
                  <a:pt x="10341389" y="4547281"/>
                </a:lnTo>
                <a:close/>
                <a:moveTo>
                  <a:pt x="10075192" y="4517679"/>
                </a:moveTo>
                <a:lnTo>
                  <a:pt x="10104794" y="4517679"/>
                </a:lnTo>
                <a:lnTo>
                  <a:pt x="10104794" y="4547281"/>
                </a:lnTo>
                <a:lnTo>
                  <a:pt x="10075192" y="4547281"/>
                </a:lnTo>
                <a:close/>
                <a:moveTo>
                  <a:pt x="9809103" y="4517679"/>
                </a:moveTo>
                <a:lnTo>
                  <a:pt x="9838705" y="4517679"/>
                </a:lnTo>
                <a:lnTo>
                  <a:pt x="9838705" y="4547281"/>
                </a:lnTo>
                <a:lnTo>
                  <a:pt x="9809103" y="4547281"/>
                </a:lnTo>
                <a:close/>
                <a:moveTo>
                  <a:pt x="9542906" y="4517679"/>
                </a:moveTo>
                <a:lnTo>
                  <a:pt x="9572509" y="4517679"/>
                </a:lnTo>
                <a:lnTo>
                  <a:pt x="9572509" y="4547281"/>
                </a:lnTo>
                <a:lnTo>
                  <a:pt x="9542906" y="4547281"/>
                </a:lnTo>
                <a:close/>
                <a:moveTo>
                  <a:pt x="9276817" y="4517679"/>
                </a:moveTo>
                <a:lnTo>
                  <a:pt x="9306420" y="4517679"/>
                </a:lnTo>
                <a:lnTo>
                  <a:pt x="9306420" y="4547281"/>
                </a:lnTo>
                <a:lnTo>
                  <a:pt x="9276817" y="4547281"/>
                </a:lnTo>
                <a:close/>
                <a:moveTo>
                  <a:pt x="9010620" y="4517679"/>
                </a:moveTo>
                <a:lnTo>
                  <a:pt x="9040222" y="4517679"/>
                </a:lnTo>
                <a:lnTo>
                  <a:pt x="9040222" y="4547281"/>
                </a:lnTo>
                <a:lnTo>
                  <a:pt x="9010620" y="4547281"/>
                </a:lnTo>
                <a:close/>
                <a:moveTo>
                  <a:pt x="8744423" y="4517679"/>
                </a:moveTo>
                <a:lnTo>
                  <a:pt x="8774026" y="4517679"/>
                </a:lnTo>
                <a:lnTo>
                  <a:pt x="8774026" y="4547281"/>
                </a:lnTo>
                <a:lnTo>
                  <a:pt x="8744423" y="4547281"/>
                </a:lnTo>
                <a:close/>
                <a:moveTo>
                  <a:pt x="8478226" y="4517679"/>
                </a:moveTo>
                <a:lnTo>
                  <a:pt x="8507828" y="4517679"/>
                </a:lnTo>
                <a:lnTo>
                  <a:pt x="8507828" y="4547281"/>
                </a:lnTo>
                <a:lnTo>
                  <a:pt x="8478226" y="4547281"/>
                </a:lnTo>
                <a:close/>
                <a:moveTo>
                  <a:pt x="8212137" y="4517679"/>
                </a:moveTo>
                <a:lnTo>
                  <a:pt x="8241740" y="4517679"/>
                </a:lnTo>
                <a:lnTo>
                  <a:pt x="8241740" y="4547281"/>
                </a:lnTo>
                <a:lnTo>
                  <a:pt x="8212137" y="4547281"/>
                </a:lnTo>
                <a:close/>
                <a:moveTo>
                  <a:pt x="7945940" y="4517679"/>
                </a:moveTo>
                <a:lnTo>
                  <a:pt x="7975543" y="4517679"/>
                </a:lnTo>
                <a:lnTo>
                  <a:pt x="7975543" y="4547281"/>
                </a:lnTo>
                <a:lnTo>
                  <a:pt x="7945940" y="4547281"/>
                </a:lnTo>
                <a:close/>
                <a:moveTo>
                  <a:pt x="7679743" y="4517679"/>
                </a:moveTo>
                <a:lnTo>
                  <a:pt x="7709346" y="4517679"/>
                </a:lnTo>
                <a:lnTo>
                  <a:pt x="7709346" y="4547281"/>
                </a:lnTo>
                <a:lnTo>
                  <a:pt x="7679743" y="4547281"/>
                </a:lnTo>
                <a:close/>
                <a:moveTo>
                  <a:pt x="7413653" y="4517679"/>
                </a:moveTo>
                <a:lnTo>
                  <a:pt x="7443256" y="4517679"/>
                </a:lnTo>
                <a:lnTo>
                  <a:pt x="7443256" y="4547281"/>
                </a:lnTo>
                <a:lnTo>
                  <a:pt x="7413653" y="4547281"/>
                </a:lnTo>
                <a:close/>
                <a:moveTo>
                  <a:pt x="7147456" y="4517679"/>
                </a:moveTo>
                <a:lnTo>
                  <a:pt x="7177058" y="4517679"/>
                </a:lnTo>
                <a:lnTo>
                  <a:pt x="7177058" y="4547281"/>
                </a:lnTo>
                <a:lnTo>
                  <a:pt x="7147456" y="4547281"/>
                </a:lnTo>
                <a:close/>
                <a:moveTo>
                  <a:pt x="6881367" y="4517679"/>
                </a:moveTo>
                <a:lnTo>
                  <a:pt x="6910970" y="4517679"/>
                </a:lnTo>
                <a:lnTo>
                  <a:pt x="6910970" y="4547281"/>
                </a:lnTo>
                <a:lnTo>
                  <a:pt x="6881367" y="4547281"/>
                </a:lnTo>
                <a:close/>
                <a:moveTo>
                  <a:pt x="6615170" y="4517679"/>
                </a:moveTo>
                <a:lnTo>
                  <a:pt x="6644773" y="4517679"/>
                </a:lnTo>
                <a:lnTo>
                  <a:pt x="6644773" y="4547281"/>
                </a:lnTo>
                <a:lnTo>
                  <a:pt x="6615170" y="4547281"/>
                </a:lnTo>
                <a:close/>
                <a:moveTo>
                  <a:pt x="6349081" y="4517679"/>
                </a:moveTo>
                <a:lnTo>
                  <a:pt x="6378683" y="4517679"/>
                </a:lnTo>
                <a:lnTo>
                  <a:pt x="6378683" y="4547281"/>
                </a:lnTo>
                <a:lnTo>
                  <a:pt x="6349081" y="4547281"/>
                </a:lnTo>
                <a:close/>
                <a:moveTo>
                  <a:pt x="6082884" y="4517679"/>
                </a:moveTo>
                <a:lnTo>
                  <a:pt x="6112486" y="4517679"/>
                </a:lnTo>
                <a:lnTo>
                  <a:pt x="6112486" y="4547281"/>
                </a:lnTo>
                <a:lnTo>
                  <a:pt x="6082884" y="4547281"/>
                </a:lnTo>
                <a:close/>
                <a:moveTo>
                  <a:pt x="5825310" y="4517679"/>
                </a:moveTo>
                <a:lnTo>
                  <a:pt x="5854913" y="4517679"/>
                </a:lnTo>
                <a:lnTo>
                  <a:pt x="5854913" y="4547281"/>
                </a:lnTo>
                <a:lnTo>
                  <a:pt x="5825310" y="4547281"/>
                </a:lnTo>
                <a:close/>
                <a:moveTo>
                  <a:pt x="5559113" y="4517679"/>
                </a:moveTo>
                <a:lnTo>
                  <a:pt x="5588715" y="4517679"/>
                </a:lnTo>
                <a:lnTo>
                  <a:pt x="5588715" y="4547281"/>
                </a:lnTo>
                <a:lnTo>
                  <a:pt x="5559113" y="4547281"/>
                </a:lnTo>
                <a:close/>
                <a:moveTo>
                  <a:pt x="5293024" y="4517679"/>
                </a:moveTo>
                <a:lnTo>
                  <a:pt x="5322626" y="4517679"/>
                </a:lnTo>
                <a:lnTo>
                  <a:pt x="5322626" y="4547281"/>
                </a:lnTo>
                <a:lnTo>
                  <a:pt x="5293024" y="4547281"/>
                </a:lnTo>
                <a:close/>
                <a:moveTo>
                  <a:pt x="5026827" y="4517679"/>
                </a:moveTo>
                <a:lnTo>
                  <a:pt x="5056429" y="4517679"/>
                </a:lnTo>
                <a:lnTo>
                  <a:pt x="5056429" y="4547281"/>
                </a:lnTo>
                <a:lnTo>
                  <a:pt x="5026827" y="4547281"/>
                </a:lnTo>
                <a:close/>
                <a:moveTo>
                  <a:pt x="4760630" y="4517679"/>
                </a:moveTo>
                <a:lnTo>
                  <a:pt x="4790340" y="4517679"/>
                </a:lnTo>
                <a:lnTo>
                  <a:pt x="4790340" y="4547281"/>
                </a:lnTo>
                <a:lnTo>
                  <a:pt x="4760630" y="4547281"/>
                </a:lnTo>
                <a:close/>
                <a:moveTo>
                  <a:pt x="4494541" y="4517679"/>
                </a:moveTo>
                <a:lnTo>
                  <a:pt x="4524144" y="4517679"/>
                </a:lnTo>
                <a:lnTo>
                  <a:pt x="4524144" y="4547281"/>
                </a:lnTo>
                <a:lnTo>
                  <a:pt x="4494541" y="4547281"/>
                </a:lnTo>
                <a:close/>
                <a:moveTo>
                  <a:pt x="4228344" y="4517679"/>
                </a:moveTo>
                <a:lnTo>
                  <a:pt x="4257946" y="4517679"/>
                </a:lnTo>
                <a:lnTo>
                  <a:pt x="4257946" y="4547281"/>
                </a:lnTo>
                <a:lnTo>
                  <a:pt x="4228344" y="4547281"/>
                </a:lnTo>
                <a:close/>
                <a:moveTo>
                  <a:pt x="3962255" y="4517679"/>
                </a:moveTo>
                <a:lnTo>
                  <a:pt x="3991857" y="4517679"/>
                </a:lnTo>
                <a:lnTo>
                  <a:pt x="3991857" y="4547281"/>
                </a:lnTo>
                <a:lnTo>
                  <a:pt x="3962255" y="4547281"/>
                </a:lnTo>
                <a:close/>
                <a:moveTo>
                  <a:pt x="3696058" y="4517679"/>
                </a:moveTo>
                <a:lnTo>
                  <a:pt x="3725661" y="4517679"/>
                </a:lnTo>
                <a:lnTo>
                  <a:pt x="3725661" y="4547281"/>
                </a:lnTo>
                <a:lnTo>
                  <a:pt x="3696058" y="4547281"/>
                </a:lnTo>
                <a:close/>
                <a:moveTo>
                  <a:pt x="3429969" y="4517679"/>
                </a:moveTo>
                <a:lnTo>
                  <a:pt x="3459572" y="4517679"/>
                </a:lnTo>
                <a:lnTo>
                  <a:pt x="3459572" y="4547281"/>
                </a:lnTo>
                <a:lnTo>
                  <a:pt x="3429969" y="4547281"/>
                </a:lnTo>
                <a:close/>
                <a:moveTo>
                  <a:pt x="3163772" y="4517679"/>
                </a:moveTo>
                <a:lnTo>
                  <a:pt x="3193374" y="4517679"/>
                </a:lnTo>
                <a:lnTo>
                  <a:pt x="3193374" y="4547281"/>
                </a:lnTo>
                <a:lnTo>
                  <a:pt x="3163772" y="4547281"/>
                </a:lnTo>
                <a:close/>
                <a:moveTo>
                  <a:pt x="2897575" y="4517679"/>
                </a:moveTo>
                <a:lnTo>
                  <a:pt x="2927178" y="4517679"/>
                </a:lnTo>
                <a:lnTo>
                  <a:pt x="2927178" y="4547281"/>
                </a:lnTo>
                <a:lnTo>
                  <a:pt x="2897575" y="4547281"/>
                </a:lnTo>
                <a:close/>
                <a:moveTo>
                  <a:pt x="2631378" y="4517679"/>
                </a:moveTo>
                <a:lnTo>
                  <a:pt x="2660980" y="4517679"/>
                </a:lnTo>
                <a:lnTo>
                  <a:pt x="2660980" y="4547281"/>
                </a:lnTo>
                <a:lnTo>
                  <a:pt x="2631378" y="4547281"/>
                </a:lnTo>
                <a:close/>
                <a:moveTo>
                  <a:pt x="2365289" y="4517679"/>
                </a:moveTo>
                <a:lnTo>
                  <a:pt x="2394892" y="4517679"/>
                </a:lnTo>
                <a:lnTo>
                  <a:pt x="2394892" y="4547281"/>
                </a:lnTo>
                <a:lnTo>
                  <a:pt x="2365289" y="4547281"/>
                </a:lnTo>
                <a:close/>
                <a:moveTo>
                  <a:pt x="2099092" y="4517679"/>
                </a:moveTo>
                <a:lnTo>
                  <a:pt x="2128695" y="4517679"/>
                </a:lnTo>
                <a:lnTo>
                  <a:pt x="2128695" y="4547281"/>
                </a:lnTo>
                <a:lnTo>
                  <a:pt x="2099092" y="4547281"/>
                </a:lnTo>
                <a:close/>
                <a:moveTo>
                  <a:pt x="1832898" y="4517679"/>
                </a:moveTo>
                <a:lnTo>
                  <a:pt x="1862498" y="4517679"/>
                </a:lnTo>
                <a:lnTo>
                  <a:pt x="1862498" y="4547281"/>
                </a:lnTo>
                <a:lnTo>
                  <a:pt x="1832898" y="4547281"/>
                </a:lnTo>
                <a:close/>
                <a:moveTo>
                  <a:pt x="1566808" y="4517679"/>
                </a:moveTo>
                <a:lnTo>
                  <a:pt x="1596409" y="4517679"/>
                </a:lnTo>
                <a:lnTo>
                  <a:pt x="1596409" y="4547281"/>
                </a:lnTo>
                <a:lnTo>
                  <a:pt x="1566808" y="4547281"/>
                </a:lnTo>
                <a:close/>
                <a:moveTo>
                  <a:pt x="1300611" y="4517679"/>
                </a:moveTo>
                <a:lnTo>
                  <a:pt x="1330213" y="4517679"/>
                </a:lnTo>
                <a:lnTo>
                  <a:pt x="1330213" y="4547281"/>
                </a:lnTo>
                <a:lnTo>
                  <a:pt x="1300611" y="4547281"/>
                </a:lnTo>
                <a:close/>
                <a:moveTo>
                  <a:pt x="1034520" y="4517679"/>
                </a:moveTo>
                <a:lnTo>
                  <a:pt x="1064123" y="4517679"/>
                </a:lnTo>
                <a:lnTo>
                  <a:pt x="1064123" y="4547281"/>
                </a:lnTo>
                <a:lnTo>
                  <a:pt x="1034520" y="4547281"/>
                </a:lnTo>
                <a:close/>
                <a:moveTo>
                  <a:pt x="768327" y="4517679"/>
                </a:moveTo>
                <a:lnTo>
                  <a:pt x="797926" y="4517679"/>
                </a:lnTo>
                <a:lnTo>
                  <a:pt x="797926" y="4547281"/>
                </a:lnTo>
                <a:lnTo>
                  <a:pt x="768327" y="4547281"/>
                </a:lnTo>
                <a:close/>
                <a:moveTo>
                  <a:pt x="502236" y="4517679"/>
                </a:moveTo>
                <a:lnTo>
                  <a:pt x="531839" y="4517679"/>
                </a:lnTo>
                <a:lnTo>
                  <a:pt x="531839" y="4547281"/>
                </a:lnTo>
                <a:lnTo>
                  <a:pt x="502236" y="4547281"/>
                </a:lnTo>
                <a:close/>
                <a:moveTo>
                  <a:pt x="236037" y="4517679"/>
                </a:moveTo>
                <a:lnTo>
                  <a:pt x="265640" y="4517679"/>
                </a:lnTo>
                <a:lnTo>
                  <a:pt x="265640" y="4547281"/>
                </a:lnTo>
                <a:lnTo>
                  <a:pt x="236037" y="4547281"/>
                </a:lnTo>
                <a:close/>
                <a:moveTo>
                  <a:pt x="2" y="4517679"/>
                </a:moveTo>
                <a:lnTo>
                  <a:pt x="29603" y="4517679"/>
                </a:lnTo>
                <a:lnTo>
                  <a:pt x="29603" y="4547281"/>
                </a:lnTo>
                <a:lnTo>
                  <a:pt x="2" y="4547281"/>
                </a:lnTo>
                <a:close/>
                <a:moveTo>
                  <a:pt x="11672158" y="4252022"/>
                </a:moveTo>
                <a:lnTo>
                  <a:pt x="11701760" y="4252022"/>
                </a:lnTo>
                <a:lnTo>
                  <a:pt x="11701760" y="4281516"/>
                </a:lnTo>
                <a:lnTo>
                  <a:pt x="11672158" y="4281516"/>
                </a:lnTo>
                <a:close/>
                <a:moveTo>
                  <a:pt x="11405961" y="4252022"/>
                </a:moveTo>
                <a:lnTo>
                  <a:pt x="11435563" y="4252022"/>
                </a:lnTo>
                <a:lnTo>
                  <a:pt x="11435563" y="4281516"/>
                </a:lnTo>
                <a:lnTo>
                  <a:pt x="11405961" y="4281516"/>
                </a:lnTo>
                <a:close/>
                <a:moveTo>
                  <a:pt x="11139872" y="4252022"/>
                </a:moveTo>
                <a:lnTo>
                  <a:pt x="11169474" y="4252022"/>
                </a:lnTo>
                <a:lnTo>
                  <a:pt x="11169474" y="4281516"/>
                </a:lnTo>
                <a:lnTo>
                  <a:pt x="11139872" y="4281516"/>
                </a:lnTo>
                <a:close/>
                <a:moveTo>
                  <a:pt x="10873675" y="4252022"/>
                </a:moveTo>
                <a:lnTo>
                  <a:pt x="10903277" y="4252022"/>
                </a:lnTo>
                <a:lnTo>
                  <a:pt x="10903277" y="4281516"/>
                </a:lnTo>
                <a:lnTo>
                  <a:pt x="10873675" y="4281516"/>
                </a:lnTo>
                <a:close/>
                <a:moveTo>
                  <a:pt x="10607478" y="4252022"/>
                </a:moveTo>
                <a:lnTo>
                  <a:pt x="10637188" y="4252022"/>
                </a:lnTo>
                <a:lnTo>
                  <a:pt x="10637188" y="4281516"/>
                </a:lnTo>
                <a:lnTo>
                  <a:pt x="10607478" y="4281516"/>
                </a:lnTo>
                <a:close/>
                <a:moveTo>
                  <a:pt x="10341389" y="4252022"/>
                </a:moveTo>
                <a:lnTo>
                  <a:pt x="10370992" y="4252022"/>
                </a:lnTo>
                <a:lnTo>
                  <a:pt x="10370992" y="4281516"/>
                </a:lnTo>
                <a:lnTo>
                  <a:pt x="10341389" y="4281516"/>
                </a:lnTo>
                <a:close/>
                <a:moveTo>
                  <a:pt x="10075192" y="4252022"/>
                </a:moveTo>
                <a:lnTo>
                  <a:pt x="10104794" y="4252022"/>
                </a:lnTo>
                <a:lnTo>
                  <a:pt x="10104794" y="4281516"/>
                </a:lnTo>
                <a:lnTo>
                  <a:pt x="10075192" y="4281516"/>
                </a:lnTo>
                <a:close/>
                <a:moveTo>
                  <a:pt x="9809103" y="4252022"/>
                </a:moveTo>
                <a:lnTo>
                  <a:pt x="9838705" y="4252022"/>
                </a:lnTo>
                <a:lnTo>
                  <a:pt x="9838705" y="4281516"/>
                </a:lnTo>
                <a:lnTo>
                  <a:pt x="9809103" y="4281516"/>
                </a:lnTo>
                <a:close/>
                <a:moveTo>
                  <a:pt x="9542906" y="4252022"/>
                </a:moveTo>
                <a:lnTo>
                  <a:pt x="9572509" y="4252022"/>
                </a:lnTo>
                <a:lnTo>
                  <a:pt x="9572509" y="4281516"/>
                </a:lnTo>
                <a:lnTo>
                  <a:pt x="9542906" y="4281516"/>
                </a:lnTo>
                <a:close/>
                <a:moveTo>
                  <a:pt x="9276817" y="4252022"/>
                </a:moveTo>
                <a:lnTo>
                  <a:pt x="9306420" y="4252022"/>
                </a:lnTo>
                <a:lnTo>
                  <a:pt x="9306420" y="4281516"/>
                </a:lnTo>
                <a:lnTo>
                  <a:pt x="9276817" y="4281516"/>
                </a:lnTo>
                <a:close/>
                <a:moveTo>
                  <a:pt x="9010620" y="4252022"/>
                </a:moveTo>
                <a:lnTo>
                  <a:pt x="9040222" y="4252022"/>
                </a:lnTo>
                <a:lnTo>
                  <a:pt x="9040222" y="4281516"/>
                </a:lnTo>
                <a:lnTo>
                  <a:pt x="9010620" y="4281516"/>
                </a:lnTo>
                <a:close/>
                <a:moveTo>
                  <a:pt x="8744423" y="4252022"/>
                </a:moveTo>
                <a:lnTo>
                  <a:pt x="8774026" y="4252022"/>
                </a:lnTo>
                <a:lnTo>
                  <a:pt x="8774026" y="4281516"/>
                </a:lnTo>
                <a:lnTo>
                  <a:pt x="8744423" y="4281516"/>
                </a:lnTo>
                <a:close/>
                <a:moveTo>
                  <a:pt x="8478226" y="4252022"/>
                </a:moveTo>
                <a:lnTo>
                  <a:pt x="8507828" y="4252022"/>
                </a:lnTo>
                <a:lnTo>
                  <a:pt x="8507828" y="4281516"/>
                </a:lnTo>
                <a:lnTo>
                  <a:pt x="8478226" y="4281516"/>
                </a:lnTo>
                <a:close/>
                <a:moveTo>
                  <a:pt x="8212137" y="4252022"/>
                </a:moveTo>
                <a:lnTo>
                  <a:pt x="8241740" y="4252022"/>
                </a:lnTo>
                <a:lnTo>
                  <a:pt x="8241740" y="4281516"/>
                </a:lnTo>
                <a:lnTo>
                  <a:pt x="8212137" y="4281516"/>
                </a:lnTo>
                <a:close/>
                <a:moveTo>
                  <a:pt x="7945940" y="4252022"/>
                </a:moveTo>
                <a:lnTo>
                  <a:pt x="7975543" y="4252022"/>
                </a:lnTo>
                <a:lnTo>
                  <a:pt x="7975543" y="4281516"/>
                </a:lnTo>
                <a:lnTo>
                  <a:pt x="7945940" y="4281516"/>
                </a:lnTo>
                <a:close/>
                <a:moveTo>
                  <a:pt x="7679743" y="4252022"/>
                </a:moveTo>
                <a:lnTo>
                  <a:pt x="7709346" y="4252022"/>
                </a:lnTo>
                <a:lnTo>
                  <a:pt x="7709346" y="4281516"/>
                </a:lnTo>
                <a:lnTo>
                  <a:pt x="7679743" y="4281516"/>
                </a:lnTo>
                <a:close/>
                <a:moveTo>
                  <a:pt x="7413653" y="4252022"/>
                </a:moveTo>
                <a:lnTo>
                  <a:pt x="7443256" y="4252022"/>
                </a:lnTo>
                <a:lnTo>
                  <a:pt x="7443256" y="4281516"/>
                </a:lnTo>
                <a:lnTo>
                  <a:pt x="7413653" y="4281516"/>
                </a:lnTo>
                <a:close/>
                <a:moveTo>
                  <a:pt x="7147456" y="4252022"/>
                </a:moveTo>
                <a:lnTo>
                  <a:pt x="7177058" y="4252022"/>
                </a:lnTo>
                <a:lnTo>
                  <a:pt x="7177058" y="4281516"/>
                </a:lnTo>
                <a:lnTo>
                  <a:pt x="7147456" y="4281516"/>
                </a:lnTo>
                <a:close/>
                <a:moveTo>
                  <a:pt x="6881367" y="4252022"/>
                </a:moveTo>
                <a:lnTo>
                  <a:pt x="6910970" y="4252022"/>
                </a:lnTo>
                <a:lnTo>
                  <a:pt x="6910970" y="4281516"/>
                </a:lnTo>
                <a:lnTo>
                  <a:pt x="6881367" y="4281516"/>
                </a:lnTo>
                <a:close/>
                <a:moveTo>
                  <a:pt x="6615170" y="4252022"/>
                </a:moveTo>
                <a:lnTo>
                  <a:pt x="6644773" y="4252022"/>
                </a:lnTo>
                <a:lnTo>
                  <a:pt x="6644773" y="4281516"/>
                </a:lnTo>
                <a:lnTo>
                  <a:pt x="6615170" y="4281516"/>
                </a:lnTo>
                <a:close/>
                <a:moveTo>
                  <a:pt x="6349081" y="4252022"/>
                </a:moveTo>
                <a:lnTo>
                  <a:pt x="6378683" y="4252022"/>
                </a:lnTo>
                <a:lnTo>
                  <a:pt x="6378683" y="4281516"/>
                </a:lnTo>
                <a:lnTo>
                  <a:pt x="6349081" y="4281516"/>
                </a:lnTo>
                <a:close/>
                <a:moveTo>
                  <a:pt x="6082884" y="4252022"/>
                </a:moveTo>
                <a:lnTo>
                  <a:pt x="6112486" y="4252022"/>
                </a:lnTo>
                <a:lnTo>
                  <a:pt x="6112486" y="4281516"/>
                </a:lnTo>
                <a:lnTo>
                  <a:pt x="6082884" y="4281516"/>
                </a:lnTo>
                <a:close/>
                <a:moveTo>
                  <a:pt x="5825310" y="4252022"/>
                </a:moveTo>
                <a:lnTo>
                  <a:pt x="5854913" y="4252022"/>
                </a:lnTo>
                <a:lnTo>
                  <a:pt x="5854913" y="4281516"/>
                </a:lnTo>
                <a:lnTo>
                  <a:pt x="5825310" y="4281516"/>
                </a:lnTo>
                <a:close/>
                <a:moveTo>
                  <a:pt x="5559113" y="4252022"/>
                </a:moveTo>
                <a:lnTo>
                  <a:pt x="5588715" y="4252022"/>
                </a:lnTo>
                <a:lnTo>
                  <a:pt x="5588715" y="4281516"/>
                </a:lnTo>
                <a:lnTo>
                  <a:pt x="5559113" y="4281516"/>
                </a:lnTo>
                <a:close/>
                <a:moveTo>
                  <a:pt x="5293024" y="4252022"/>
                </a:moveTo>
                <a:lnTo>
                  <a:pt x="5322626" y="4252022"/>
                </a:lnTo>
                <a:lnTo>
                  <a:pt x="5322626" y="4281516"/>
                </a:lnTo>
                <a:lnTo>
                  <a:pt x="5293024" y="4281516"/>
                </a:lnTo>
                <a:close/>
                <a:moveTo>
                  <a:pt x="5026827" y="4252022"/>
                </a:moveTo>
                <a:lnTo>
                  <a:pt x="5056429" y="4252022"/>
                </a:lnTo>
                <a:lnTo>
                  <a:pt x="5056429" y="4281516"/>
                </a:lnTo>
                <a:lnTo>
                  <a:pt x="5026827" y="4281516"/>
                </a:lnTo>
                <a:close/>
                <a:moveTo>
                  <a:pt x="4760630" y="4252022"/>
                </a:moveTo>
                <a:lnTo>
                  <a:pt x="4790340" y="4252022"/>
                </a:lnTo>
                <a:lnTo>
                  <a:pt x="4790340" y="4281516"/>
                </a:lnTo>
                <a:lnTo>
                  <a:pt x="4760630" y="4281516"/>
                </a:lnTo>
                <a:close/>
                <a:moveTo>
                  <a:pt x="4494541" y="4252022"/>
                </a:moveTo>
                <a:lnTo>
                  <a:pt x="4524144" y="4252022"/>
                </a:lnTo>
                <a:lnTo>
                  <a:pt x="4524144" y="4281516"/>
                </a:lnTo>
                <a:lnTo>
                  <a:pt x="4494541" y="4281516"/>
                </a:lnTo>
                <a:close/>
                <a:moveTo>
                  <a:pt x="4228344" y="4252022"/>
                </a:moveTo>
                <a:lnTo>
                  <a:pt x="4257946" y="4252022"/>
                </a:lnTo>
                <a:lnTo>
                  <a:pt x="4257946" y="4281516"/>
                </a:lnTo>
                <a:lnTo>
                  <a:pt x="4228344" y="4281516"/>
                </a:lnTo>
                <a:close/>
                <a:moveTo>
                  <a:pt x="3962255" y="4252022"/>
                </a:moveTo>
                <a:lnTo>
                  <a:pt x="3991857" y="4252022"/>
                </a:lnTo>
                <a:lnTo>
                  <a:pt x="3991857" y="4281516"/>
                </a:lnTo>
                <a:lnTo>
                  <a:pt x="3962255" y="4281516"/>
                </a:lnTo>
                <a:close/>
                <a:moveTo>
                  <a:pt x="3696058" y="4252022"/>
                </a:moveTo>
                <a:lnTo>
                  <a:pt x="3725661" y="4252022"/>
                </a:lnTo>
                <a:lnTo>
                  <a:pt x="3725661" y="4281516"/>
                </a:lnTo>
                <a:lnTo>
                  <a:pt x="3696058" y="4281516"/>
                </a:lnTo>
                <a:close/>
                <a:moveTo>
                  <a:pt x="3429969" y="4252022"/>
                </a:moveTo>
                <a:lnTo>
                  <a:pt x="3459572" y="4252022"/>
                </a:lnTo>
                <a:lnTo>
                  <a:pt x="3459572" y="4281516"/>
                </a:lnTo>
                <a:lnTo>
                  <a:pt x="3429969" y="4281516"/>
                </a:lnTo>
                <a:close/>
                <a:moveTo>
                  <a:pt x="3163772" y="4252022"/>
                </a:moveTo>
                <a:lnTo>
                  <a:pt x="3193374" y="4252022"/>
                </a:lnTo>
                <a:lnTo>
                  <a:pt x="3193374" y="4281516"/>
                </a:lnTo>
                <a:lnTo>
                  <a:pt x="3163772" y="4281516"/>
                </a:lnTo>
                <a:close/>
                <a:moveTo>
                  <a:pt x="2897575" y="4252022"/>
                </a:moveTo>
                <a:lnTo>
                  <a:pt x="2927178" y="4252022"/>
                </a:lnTo>
                <a:lnTo>
                  <a:pt x="2927178" y="4281516"/>
                </a:lnTo>
                <a:lnTo>
                  <a:pt x="2897575" y="4281516"/>
                </a:lnTo>
                <a:close/>
                <a:moveTo>
                  <a:pt x="2631378" y="4252022"/>
                </a:moveTo>
                <a:lnTo>
                  <a:pt x="2660980" y="4252022"/>
                </a:lnTo>
                <a:lnTo>
                  <a:pt x="2660980" y="4281516"/>
                </a:lnTo>
                <a:lnTo>
                  <a:pt x="2631378" y="4281516"/>
                </a:lnTo>
                <a:close/>
                <a:moveTo>
                  <a:pt x="2365289" y="4252022"/>
                </a:moveTo>
                <a:lnTo>
                  <a:pt x="2394892" y="4252022"/>
                </a:lnTo>
                <a:lnTo>
                  <a:pt x="2394892" y="4281516"/>
                </a:lnTo>
                <a:lnTo>
                  <a:pt x="2365289" y="4281516"/>
                </a:lnTo>
                <a:close/>
                <a:moveTo>
                  <a:pt x="2099092" y="4252022"/>
                </a:moveTo>
                <a:lnTo>
                  <a:pt x="2128695" y="4252022"/>
                </a:lnTo>
                <a:lnTo>
                  <a:pt x="2128695" y="4281516"/>
                </a:lnTo>
                <a:lnTo>
                  <a:pt x="2099092" y="4281516"/>
                </a:lnTo>
                <a:close/>
                <a:moveTo>
                  <a:pt x="1832898" y="4252022"/>
                </a:moveTo>
                <a:lnTo>
                  <a:pt x="1862498" y="4252022"/>
                </a:lnTo>
                <a:lnTo>
                  <a:pt x="1862498" y="4281516"/>
                </a:lnTo>
                <a:lnTo>
                  <a:pt x="1832898" y="4281516"/>
                </a:lnTo>
                <a:close/>
                <a:moveTo>
                  <a:pt x="1566808" y="4252022"/>
                </a:moveTo>
                <a:lnTo>
                  <a:pt x="1596409" y="4252022"/>
                </a:lnTo>
                <a:lnTo>
                  <a:pt x="1596409" y="4281516"/>
                </a:lnTo>
                <a:lnTo>
                  <a:pt x="1566808" y="4281516"/>
                </a:lnTo>
                <a:close/>
                <a:moveTo>
                  <a:pt x="1300611" y="4252022"/>
                </a:moveTo>
                <a:lnTo>
                  <a:pt x="1330213" y="4252022"/>
                </a:lnTo>
                <a:lnTo>
                  <a:pt x="1330213" y="4281516"/>
                </a:lnTo>
                <a:lnTo>
                  <a:pt x="1300611" y="4281516"/>
                </a:lnTo>
                <a:close/>
                <a:moveTo>
                  <a:pt x="1034520" y="4252022"/>
                </a:moveTo>
                <a:lnTo>
                  <a:pt x="1064123" y="4252022"/>
                </a:lnTo>
                <a:lnTo>
                  <a:pt x="1064123" y="4281516"/>
                </a:lnTo>
                <a:lnTo>
                  <a:pt x="1034520" y="4281516"/>
                </a:lnTo>
                <a:close/>
                <a:moveTo>
                  <a:pt x="768327" y="4252022"/>
                </a:moveTo>
                <a:lnTo>
                  <a:pt x="797926" y="4252022"/>
                </a:lnTo>
                <a:lnTo>
                  <a:pt x="797926" y="4281516"/>
                </a:lnTo>
                <a:lnTo>
                  <a:pt x="768327" y="4281516"/>
                </a:lnTo>
                <a:close/>
                <a:moveTo>
                  <a:pt x="502236" y="4252022"/>
                </a:moveTo>
                <a:lnTo>
                  <a:pt x="531839" y="4252022"/>
                </a:lnTo>
                <a:lnTo>
                  <a:pt x="531839" y="4281516"/>
                </a:lnTo>
                <a:lnTo>
                  <a:pt x="502236" y="4281516"/>
                </a:lnTo>
                <a:close/>
                <a:moveTo>
                  <a:pt x="236037" y="4252022"/>
                </a:moveTo>
                <a:lnTo>
                  <a:pt x="265640" y="4252022"/>
                </a:lnTo>
                <a:lnTo>
                  <a:pt x="265640" y="4281516"/>
                </a:lnTo>
                <a:lnTo>
                  <a:pt x="236037" y="4281516"/>
                </a:lnTo>
                <a:close/>
                <a:moveTo>
                  <a:pt x="1" y="4252022"/>
                </a:moveTo>
                <a:lnTo>
                  <a:pt x="29603" y="4252022"/>
                </a:lnTo>
                <a:lnTo>
                  <a:pt x="29603" y="4281516"/>
                </a:lnTo>
                <a:lnTo>
                  <a:pt x="1" y="4281516"/>
                </a:lnTo>
                <a:close/>
                <a:moveTo>
                  <a:pt x="11672158" y="3986257"/>
                </a:moveTo>
                <a:lnTo>
                  <a:pt x="11701760" y="3986257"/>
                </a:lnTo>
                <a:lnTo>
                  <a:pt x="11701760" y="4015859"/>
                </a:lnTo>
                <a:lnTo>
                  <a:pt x="11672158" y="4015859"/>
                </a:lnTo>
                <a:close/>
                <a:moveTo>
                  <a:pt x="11405961" y="3986257"/>
                </a:moveTo>
                <a:lnTo>
                  <a:pt x="11435563" y="3986257"/>
                </a:lnTo>
                <a:lnTo>
                  <a:pt x="11435563" y="4015859"/>
                </a:lnTo>
                <a:lnTo>
                  <a:pt x="11405961" y="4015859"/>
                </a:lnTo>
                <a:close/>
                <a:moveTo>
                  <a:pt x="11139872" y="3986257"/>
                </a:moveTo>
                <a:lnTo>
                  <a:pt x="11169474" y="3986257"/>
                </a:lnTo>
                <a:lnTo>
                  <a:pt x="11169474" y="4015859"/>
                </a:lnTo>
                <a:lnTo>
                  <a:pt x="11139872" y="4015859"/>
                </a:lnTo>
                <a:close/>
                <a:moveTo>
                  <a:pt x="10873675" y="3986257"/>
                </a:moveTo>
                <a:lnTo>
                  <a:pt x="10903277" y="3986257"/>
                </a:lnTo>
                <a:lnTo>
                  <a:pt x="10903277" y="4015859"/>
                </a:lnTo>
                <a:lnTo>
                  <a:pt x="10873675" y="4015859"/>
                </a:lnTo>
                <a:close/>
                <a:moveTo>
                  <a:pt x="10607478" y="3986257"/>
                </a:moveTo>
                <a:lnTo>
                  <a:pt x="10637188" y="3986257"/>
                </a:lnTo>
                <a:lnTo>
                  <a:pt x="10637188" y="4015859"/>
                </a:lnTo>
                <a:lnTo>
                  <a:pt x="10607478" y="4015859"/>
                </a:lnTo>
                <a:close/>
                <a:moveTo>
                  <a:pt x="10341389" y="3986257"/>
                </a:moveTo>
                <a:lnTo>
                  <a:pt x="10370992" y="3986257"/>
                </a:lnTo>
                <a:lnTo>
                  <a:pt x="10370992" y="4015859"/>
                </a:lnTo>
                <a:lnTo>
                  <a:pt x="10341389" y="4015859"/>
                </a:lnTo>
                <a:close/>
                <a:moveTo>
                  <a:pt x="10075192" y="3986257"/>
                </a:moveTo>
                <a:lnTo>
                  <a:pt x="10104794" y="3986257"/>
                </a:lnTo>
                <a:lnTo>
                  <a:pt x="10104794" y="4015859"/>
                </a:lnTo>
                <a:lnTo>
                  <a:pt x="10075192" y="4015859"/>
                </a:lnTo>
                <a:close/>
                <a:moveTo>
                  <a:pt x="9809103" y="3986257"/>
                </a:moveTo>
                <a:lnTo>
                  <a:pt x="9838705" y="3986257"/>
                </a:lnTo>
                <a:lnTo>
                  <a:pt x="9838705" y="4015859"/>
                </a:lnTo>
                <a:lnTo>
                  <a:pt x="9809103" y="4015859"/>
                </a:lnTo>
                <a:close/>
                <a:moveTo>
                  <a:pt x="9542906" y="3986257"/>
                </a:moveTo>
                <a:lnTo>
                  <a:pt x="9572509" y="3986257"/>
                </a:lnTo>
                <a:lnTo>
                  <a:pt x="9572509" y="4015859"/>
                </a:lnTo>
                <a:lnTo>
                  <a:pt x="9542906" y="4015859"/>
                </a:lnTo>
                <a:close/>
                <a:moveTo>
                  <a:pt x="9276817" y="3986257"/>
                </a:moveTo>
                <a:lnTo>
                  <a:pt x="9306420" y="3986257"/>
                </a:lnTo>
                <a:lnTo>
                  <a:pt x="9306420" y="4015859"/>
                </a:lnTo>
                <a:lnTo>
                  <a:pt x="9276817" y="4015859"/>
                </a:lnTo>
                <a:close/>
                <a:moveTo>
                  <a:pt x="9010620" y="3986257"/>
                </a:moveTo>
                <a:lnTo>
                  <a:pt x="9040222" y="3986257"/>
                </a:lnTo>
                <a:lnTo>
                  <a:pt x="9040222" y="4015859"/>
                </a:lnTo>
                <a:lnTo>
                  <a:pt x="9010620" y="4015859"/>
                </a:lnTo>
                <a:close/>
                <a:moveTo>
                  <a:pt x="8744423" y="3986257"/>
                </a:moveTo>
                <a:lnTo>
                  <a:pt x="8774026" y="3986257"/>
                </a:lnTo>
                <a:lnTo>
                  <a:pt x="8774026" y="4015859"/>
                </a:lnTo>
                <a:lnTo>
                  <a:pt x="8744423" y="4015859"/>
                </a:lnTo>
                <a:close/>
                <a:moveTo>
                  <a:pt x="8478226" y="3986257"/>
                </a:moveTo>
                <a:lnTo>
                  <a:pt x="8507828" y="3986257"/>
                </a:lnTo>
                <a:lnTo>
                  <a:pt x="8507828" y="4015859"/>
                </a:lnTo>
                <a:lnTo>
                  <a:pt x="8478226" y="4015859"/>
                </a:lnTo>
                <a:close/>
                <a:moveTo>
                  <a:pt x="8212137" y="3986257"/>
                </a:moveTo>
                <a:lnTo>
                  <a:pt x="8241740" y="3986257"/>
                </a:lnTo>
                <a:lnTo>
                  <a:pt x="8241740" y="4015859"/>
                </a:lnTo>
                <a:lnTo>
                  <a:pt x="8212137" y="4015859"/>
                </a:lnTo>
                <a:close/>
                <a:moveTo>
                  <a:pt x="7945940" y="3986257"/>
                </a:moveTo>
                <a:lnTo>
                  <a:pt x="7975543" y="3986257"/>
                </a:lnTo>
                <a:lnTo>
                  <a:pt x="7975543" y="4015859"/>
                </a:lnTo>
                <a:lnTo>
                  <a:pt x="7945940" y="4015859"/>
                </a:lnTo>
                <a:close/>
                <a:moveTo>
                  <a:pt x="7679743" y="3986257"/>
                </a:moveTo>
                <a:lnTo>
                  <a:pt x="7709346" y="3986257"/>
                </a:lnTo>
                <a:lnTo>
                  <a:pt x="7709346" y="4015859"/>
                </a:lnTo>
                <a:lnTo>
                  <a:pt x="7679743" y="4015859"/>
                </a:lnTo>
                <a:close/>
                <a:moveTo>
                  <a:pt x="7413653" y="3986257"/>
                </a:moveTo>
                <a:lnTo>
                  <a:pt x="7443256" y="3986257"/>
                </a:lnTo>
                <a:lnTo>
                  <a:pt x="7443256" y="4015859"/>
                </a:lnTo>
                <a:lnTo>
                  <a:pt x="7413653" y="4015859"/>
                </a:lnTo>
                <a:close/>
                <a:moveTo>
                  <a:pt x="7147456" y="3986257"/>
                </a:moveTo>
                <a:lnTo>
                  <a:pt x="7177058" y="3986257"/>
                </a:lnTo>
                <a:lnTo>
                  <a:pt x="7177058" y="4015859"/>
                </a:lnTo>
                <a:lnTo>
                  <a:pt x="7147456" y="4015859"/>
                </a:lnTo>
                <a:close/>
                <a:moveTo>
                  <a:pt x="6881367" y="3986257"/>
                </a:moveTo>
                <a:lnTo>
                  <a:pt x="6910970" y="3986257"/>
                </a:lnTo>
                <a:lnTo>
                  <a:pt x="6910970" y="4015859"/>
                </a:lnTo>
                <a:lnTo>
                  <a:pt x="6881367" y="4015859"/>
                </a:lnTo>
                <a:close/>
                <a:moveTo>
                  <a:pt x="6615170" y="3986257"/>
                </a:moveTo>
                <a:lnTo>
                  <a:pt x="6644773" y="3986257"/>
                </a:lnTo>
                <a:lnTo>
                  <a:pt x="6644773" y="4015859"/>
                </a:lnTo>
                <a:lnTo>
                  <a:pt x="6615170" y="4015859"/>
                </a:lnTo>
                <a:close/>
                <a:moveTo>
                  <a:pt x="6349081" y="3986257"/>
                </a:moveTo>
                <a:lnTo>
                  <a:pt x="6378683" y="3986257"/>
                </a:lnTo>
                <a:lnTo>
                  <a:pt x="6378683" y="4015859"/>
                </a:lnTo>
                <a:lnTo>
                  <a:pt x="6349081" y="4015859"/>
                </a:lnTo>
                <a:close/>
                <a:moveTo>
                  <a:pt x="6082884" y="3986257"/>
                </a:moveTo>
                <a:lnTo>
                  <a:pt x="6112486" y="3986257"/>
                </a:lnTo>
                <a:lnTo>
                  <a:pt x="6112486" y="4015859"/>
                </a:lnTo>
                <a:lnTo>
                  <a:pt x="6082884" y="4015859"/>
                </a:lnTo>
                <a:close/>
                <a:moveTo>
                  <a:pt x="5825310" y="3986257"/>
                </a:moveTo>
                <a:lnTo>
                  <a:pt x="5854913" y="3986257"/>
                </a:lnTo>
                <a:lnTo>
                  <a:pt x="5854913" y="4015859"/>
                </a:lnTo>
                <a:lnTo>
                  <a:pt x="5825310" y="4015859"/>
                </a:lnTo>
                <a:close/>
                <a:moveTo>
                  <a:pt x="5559113" y="3986257"/>
                </a:moveTo>
                <a:lnTo>
                  <a:pt x="5588715" y="3986257"/>
                </a:lnTo>
                <a:lnTo>
                  <a:pt x="5588715" y="4015859"/>
                </a:lnTo>
                <a:lnTo>
                  <a:pt x="5559113" y="4015859"/>
                </a:lnTo>
                <a:close/>
                <a:moveTo>
                  <a:pt x="5293024" y="3986257"/>
                </a:moveTo>
                <a:lnTo>
                  <a:pt x="5322626" y="3986257"/>
                </a:lnTo>
                <a:lnTo>
                  <a:pt x="5322626" y="4015859"/>
                </a:lnTo>
                <a:lnTo>
                  <a:pt x="5293024" y="4015859"/>
                </a:lnTo>
                <a:close/>
                <a:moveTo>
                  <a:pt x="5026827" y="3986257"/>
                </a:moveTo>
                <a:lnTo>
                  <a:pt x="5056429" y="3986257"/>
                </a:lnTo>
                <a:lnTo>
                  <a:pt x="5056429" y="4015859"/>
                </a:lnTo>
                <a:lnTo>
                  <a:pt x="5026827" y="4015859"/>
                </a:lnTo>
                <a:close/>
                <a:moveTo>
                  <a:pt x="4760630" y="3986257"/>
                </a:moveTo>
                <a:lnTo>
                  <a:pt x="4790340" y="3986257"/>
                </a:lnTo>
                <a:lnTo>
                  <a:pt x="4790340" y="4015859"/>
                </a:lnTo>
                <a:lnTo>
                  <a:pt x="4760630" y="4015859"/>
                </a:lnTo>
                <a:close/>
                <a:moveTo>
                  <a:pt x="4494541" y="3986257"/>
                </a:moveTo>
                <a:lnTo>
                  <a:pt x="4524144" y="3986257"/>
                </a:lnTo>
                <a:lnTo>
                  <a:pt x="4524144" y="4015859"/>
                </a:lnTo>
                <a:lnTo>
                  <a:pt x="4494541" y="4015859"/>
                </a:lnTo>
                <a:close/>
                <a:moveTo>
                  <a:pt x="4228344" y="3986257"/>
                </a:moveTo>
                <a:lnTo>
                  <a:pt x="4257946" y="3986257"/>
                </a:lnTo>
                <a:lnTo>
                  <a:pt x="4257946" y="4015859"/>
                </a:lnTo>
                <a:lnTo>
                  <a:pt x="4228344" y="4015859"/>
                </a:lnTo>
                <a:close/>
                <a:moveTo>
                  <a:pt x="3962255" y="3986257"/>
                </a:moveTo>
                <a:lnTo>
                  <a:pt x="3991857" y="3986257"/>
                </a:lnTo>
                <a:lnTo>
                  <a:pt x="3991857" y="4015859"/>
                </a:lnTo>
                <a:lnTo>
                  <a:pt x="3962255" y="4015859"/>
                </a:lnTo>
                <a:close/>
                <a:moveTo>
                  <a:pt x="3696058" y="3986257"/>
                </a:moveTo>
                <a:lnTo>
                  <a:pt x="3725661" y="3986257"/>
                </a:lnTo>
                <a:lnTo>
                  <a:pt x="3725661" y="4015859"/>
                </a:lnTo>
                <a:lnTo>
                  <a:pt x="3696058" y="4015859"/>
                </a:lnTo>
                <a:close/>
                <a:moveTo>
                  <a:pt x="3429969" y="3986257"/>
                </a:moveTo>
                <a:lnTo>
                  <a:pt x="3459572" y="3986257"/>
                </a:lnTo>
                <a:lnTo>
                  <a:pt x="3459572" y="4015859"/>
                </a:lnTo>
                <a:lnTo>
                  <a:pt x="3429969" y="4015859"/>
                </a:lnTo>
                <a:close/>
                <a:moveTo>
                  <a:pt x="3163772" y="3986257"/>
                </a:moveTo>
                <a:lnTo>
                  <a:pt x="3193374" y="3986257"/>
                </a:lnTo>
                <a:lnTo>
                  <a:pt x="3193374" y="4015859"/>
                </a:lnTo>
                <a:lnTo>
                  <a:pt x="3163772" y="4015859"/>
                </a:lnTo>
                <a:close/>
                <a:moveTo>
                  <a:pt x="2897575" y="3986257"/>
                </a:moveTo>
                <a:lnTo>
                  <a:pt x="2927178" y="3986257"/>
                </a:lnTo>
                <a:lnTo>
                  <a:pt x="2927178" y="4015859"/>
                </a:lnTo>
                <a:lnTo>
                  <a:pt x="2897575" y="4015859"/>
                </a:lnTo>
                <a:close/>
                <a:moveTo>
                  <a:pt x="2631378" y="3986257"/>
                </a:moveTo>
                <a:lnTo>
                  <a:pt x="2660980" y="3986257"/>
                </a:lnTo>
                <a:lnTo>
                  <a:pt x="2660980" y="4015859"/>
                </a:lnTo>
                <a:lnTo>
                  <a:pt x="2631378" y="4015859"/>
                </a:lnTo>
                <a:close/>
                <a:moveTo>
                  <a:pt x="2365289" y="3986257"/>
                </a:moveTo>
                <a:lnTo>
                  <a:pt x="2394892" y="3986257"/>
                </a:lnTo>
                <a:lnTo>
                  <a:pt x="2394892" y="4015859"/>
                </a:lnTo>
                <a:lnTo>
                  <a:pt x="2365289" y="4015859"/>
                </a:lnTo>
                <a:close/>
                <a:moveTo>
                  <a:pt x="2099092" y="3986257"/>
                </a:moveTo>
                <a:lnTo>
                  <a:pt x="2128695" y="3986257"/>
                </a:lnTo>
                <a:lnTo>
                  <a:pt x="2128695" y="4015859"/>
                </a:lnTo>
                <a:lnTo>
                  <a:pt x="2099092" y="4015859"/>
                </a:lnTo>
                <a:close/>
                <a:moveTo>
                  <a:pt x="1832898" y="3986257"/>
                </a:moveTo>
                <a:lnTo>
                  <a:pt x="1862498" y="3986257"/>
                </a:lnTo>
                <a:lnTo>
                  <a:pt x="1862498" y="4015859"/>
                </a:lnTo>
                <a:lnTo>
                  <a:pt x="1832898" y="4015859"/>
                </a:lnTo>
                <a:close/>
                <a:moveTo>
                  <a:pt x="1566808" y="3986257"/>
                </a:moveTo>
                <a:lnTo>
                  <a:pt x="1596409" y="3986257"/>
                </a:lnTo>
                <a:lnTo>
                  <a:pt x="1596409" y="4015859"/>
                </a:lnTo>
                <a:lnTo>
                  <a:pt x="1566808" y="4015859"/>
                </a:lnTo>
                <a:close/>
                <a:moveTo>
                  <a:pt x="1300611" y="3986257"/>
                </a:moveTo>
                <a:lnTo>
                  <a:pt x="1330213" y="3986257"/>
                </a:lnTo>
                <a:lnTo>
                  <a:pt x="1330213" y="4015859"/>
                </a:lnTo>
                <a:lnTo>
                  <a:pt x="1300611" y="4015859"/>
                </a:lnTo>
                <a:close/>
                <a:moveTo>
                  <a:pt x="1034520" y="3986257"/>
                </a:moveTo>
                <a:lnTo>
                  <a:pt x="1064123" y="3986257"/>
                </a:lnTo>
                <a:lnTo>
                  <a:pt x="1064123" y="4015859"/>
                </a:lnTo>
                <a:lnTo>
                  <a:pt x="1034520" y="4015859"/>
                </a:lnTo>
                <a:close/>
                <a:moveTo>
                  <a:pt x="768327" y="3986257"/>
                </a:moveTo>
                <a:lnTo>
                  <a:pt x="797926" y="3986257"/>
                </a:lnTo>
                <a:lnTo>
                  <a:pt x="797926" y="4015859"/>
                </a:lnTo>
                <a:lnTo>
                  <a:pt x="768327" y="4015859"/>
                </a:lnTo>
                <a:close/>
                <a:moveTo>
                  <a:pt x="502236" y="3986257"/>
                </a:moveTo>
                <a:lnTo>
                  <a:pt x="531839" y="3986257"/>
                </a:lnTo>
                <a:lnTo>
                  <a:pt x="531839" y="4015859"/>
                </a:lnTo>
                <a:lnTo>
                  <a:pt x="502236" y="4015859"/>
                </a:lnTo>
                <a:close/>
                <a:moveTo>
                  <a:pt x="236037" y="3986257"/>
                </a:moveTo>
                <a:lnTo>
                  <a:pt x="265640" y="3986257"/>
                </a:lnTo>
                <a:lnTo>
                  <a:pt x="265640" y="4015859"/>
                </a:lnTo>
                <a:lnTo>
                  <a:pt x="236037" y="4015859"/>
                </a:lnTo>
                <a:close/>
                <a:moveTo>
                  <a:pt x="1" y="3986257"/>
                </a:moveTo>
                <a:lnTo>
                  <a:pt x="29603" y="3986257"/>
                </a:lnTo>
                <a:lnTo>
                  <a:pt x="29603" y="4015859"/>
                </a:lnTo>
                <a:lnTo>
                  <a:pt x="1" y="4015859"/>
                </a:lnTo>
                <a:close/>
                <a:moveTo>
                  <a:pt x="11672158" y="3720492"/>
                </a:moveTo>
                <a:lnTo>
                  <a:pt x="11701760" y="3720492"/>
                </a:lnTo>
                <a:lnTo>
                  <a:pt x="11701760" y="3750094"/>
                </a:lnTo>
                <a:lnTo>
                  <a:pt x="11672158" y="3750094"/>
                </a:lnTo>
                <a:close/>
                <a:moveTo>
                  <a:pt x="11405961" y="3720492"/>
                </a:moveTo>
                <a:lnTo>
                  <a:pt x="11435563" y="3720492"/>
                </a:lnTo>
                <a:lnTo>
                  <a:pt x="11435563" y="3750094"/>
                </a:lnTo>
                <a:lnTo>
                  <a:pt x="11405961" y="3750094"/>
                </a:lnTo>
                <a:close/>
                <a:moveTo>
                  <a:pt x="11139872" y="3720492"/>
                </a:moveTo>
                <a:lnTo>
                  <a:pt x="11169474" y="3720492"/>
                </a:lnTo>
                <a:lnTo>
                  <a:pt x="11169474" y="3750094"/>
                </a:lnTo>
                <a:lnTo>
                  <a:pt x="11139872" y="3750094"/>
                </a:lnTo>
                <a:close/>
                <a:moveTo>
                  <a:pt x="10873675" y="3720492"/>
                </a:moveTo>
                <a:lnTo>
                  <a:pt x="10903277" y="3720492"/>
                </a:lnTo>
                <a:lnTo>
                  <a:pt x="10903277" y="3750094"/>
                </a:lnTo>
                <a:lnTo>
                  <a:pt x="10873675" y="3750094"/>
                </a:lnTo>
                <a:close/>
                <a:moveTo>
                  <a:pt x="10607478" y="3720492"/>
                </a:moveTo>
                <a:lnTo>
                  <a:pt x="10637188" y="3720492"/>
                </a:lnTo>
                <a:lnTo>
                  <a:pt x="10637188" y="3750094"/>
                </a:lnTo>
                <a:lnTo>
                  <a:pt x="10607478" y="3750094"/>
                </a:lnTo>
                <a:close/>
                <a:moveTo>
                  <a:pt x="10341389" y="3720492"/>
                </a:moveTo>
                <a:lnTo>
                  <a:pt x="10370992" y="3720492"/>
                </a:lnTo>
                <a:lnTo>
                  <a:pt x="10370992" y="3750094"/>
                </a:lnTo>
                <a:lnTo>
                  <a:pt x="10341389" y="3750094"/>
                </a:lnTo>
                <a:close/>
                <a:moveTo>
                  <a:pt x="10075192" y="3720492"/>
                </a:moveTo>
                <a:lnTo>
                  <a:pt x="10104794" y="3720492"/>
                </a:lnTo>
                <a:lnTo>
                  <a:pt x="10104794" y="3750094"/>
                </a:lnTo>
                <a:lnTo>
                  <a:pt x="10075192" y="3750094"/>
                </a:lnTo>
                <a:close/>
                <a:moveTo>
                  <a:pt x="9809103" y="3720492"/>
                </a:moveTo>
                <a:lnTo>
                  <a:pt x="9838705" y="3720492"/>
                </a:lnTo>
                <a:lnTo>
                  <a:pt x="9838705" y="3750094"/>
                </a:lnTo>
                <a:lnTo>
                  <a:pt x="9809103" y="3750094"/>
                </a:lnTo>
                <a:close/>
                <a:moveTo>
                  <a:pt x="9542906" y="3720492"/>
                </a:moveTo>
                <a:lnTo>
                  <a:pt x="9572509" y="3720492"/>
                </a:lnTo>
                <a:lnTo>
                  <a:pt x="9572509" y="3750094"/>
                </a:lnTo>
                <a:lnTo>
                  <a:pt x="9542906" y="3750094"/>
                </a:lnTo>
                <a:close/>
                <a:moveTo>
                  <a:pt x="9276817" y="3720492"/>
                </a:moveTo>
                <a:lnTo>
                  <a:pt x="9306420" y="3720492"/>
                </a:lnTo>
                <a:lnTo>
                  <a:pt x="9306420" y="3750094"/>
                </a:lnTo>
                <a:lnTo>
                  <a:pt x="9276817" y="3750094"/>
                </a:lnTo>
                <a:close/>
                <a:moveTo>
                  <a:pt x="9010620" y="3720492"/>
                </a:moveTo>
                <a:lnTo>
                  <a:pt x="9040222" y="3720492"/>
                </a:lnTo>
                <a:lnTo>
                  <a:pt x="9040222" y="3750094"/>
                </a:lnTo>
                <a:lnTo>
                  <a:pt x="9010620" y="3750094"/>
                </a:lnTo>
                <a:close/>
                <a:moveTo>
                  <a:pt x="8744423" y="3720492"/>
                </a:moveTo>
                <a:lnTo>
                  <a:pt x="8774026" y="3720492"/>
                </a:lnTo>
                <a:lnTo>
                  <a:pt x="8774026" y="3750094"/>
                </a:lnTo>
                <a:lnTo>
                  <a:pt x="8744423" y="3750094"/>
                </a:lnTo>
                <a:close/>
                <a:moveTo>
                  <a:pt x="8478226" y="3720492"/>
                </a:moveTo>
                <a:lnTo>
                  <a:pt x="8507828" y="3720492"/>
                </a:lnTo>
                <a:lnTo>
                  <a:pt x="8507828" y="3750094"/>
                </a:lnTo>
                <a:lnTo>
                  <a:pt x="8478226" y="3750094"/>
                </a:lnTo>
                <a:close/>
                <a:moveTo>
                  <a:pt x="8212137" y="3720492"/>
                </a:moveTo>
                <a:lnTo>
                  <a:pt x="8241740" y="3720492"/>
                </a:lnTo>
                <a:lnTo>
                  <a:pt x="8241740" y="3750094"/>
                </a:lnTo>
                <a:lnTo>
                  <a:pt x="8212137" y="3750094"/>
                </a:lnTo>
                <a:close/>
                <a:moveTo>
                  <a:pt x="7945940" y="3720492"/>
                </a:moveTo>
                <a:lnTo>
                  <a:pt x="7975543" y="3720492"/>
                </a:lnTo>
                <a:lnTo>
                  <a:pt x="7975543" y="3750094"/>
                </a:lnTo>
                <a:lnTo>
                  <a:pt x="7945940" y="3750094"/>
                </a:lnTo>
                <a:close/>
                <a:moveTo>
                  <a:pt x="7679743" y="3720492"/>
                </a:moveTo>
                <a:lnTo>
                  <a:pt x="7709346" y="3720492"/>
                </a:lnTo>
                <a:lnTo>
                  <a:pt x="7709346" y="3750094"/>
                </a:lnTo>
                <a:lnTo>
                  <a:pt x="7679743" y="3750094"/>
                </a:lnTo>
                <a:close/>
                <a:moveTo>
                  <a:pt x="7413653" y="3720492"/>
                </a:moveTo>
                <a:lnTo>
                  <a:pt x="7443256" y="3720492"/>
                </a:lnTo>
                <a:lnTo>
                  <a:pt x="7443256" y="3750094"/>
                </a:lnTo>
                <a:lnTo>
                  <a:pt x="7413653" y="3750094"/>
                </a:lnTo>
                <a:close/>
                <a:moveTo>
                  <a:pt x="7147456" y="3720492"/>
                </a:moveTo>
                <a:lnTo>
                  <a:pt x="7177058" y="3720492"/>
                </a:lnTo>
                <a:lnTo>
                  <a:pt x="7177058" y="3750094"/>
                </a:lnTo>
                <a:lnTo>
                  <a:pt x="7147456" y="3750094"/>
                </a:lnTo>
                <a:close/>
                <a:moveTo>
                  <a:pt x="6881367" y="3720492"/>
                </a:moveTo>
                <a:lnTo>
                  <a:pt x="6910970" y="3720492"/>
                </a:lnTo>
                <a:lnTo>
                  <a:pt x="6910970" y="3750094"/>
                </a:lnTo>
                <a:lnTo>
                  <a:pt x="6881367" y="3750094"/>
                </a:lnTo>
                <a:close/>
                <a:moveTo>
                  <a:pt x="6615170" y="3720492"/>
                </a:moveTo>
                <a:lnTo>
                  <a:pt x="6644773" y="3720492"/>
                </a:lnTo>
                <a:lnTo>
                  <a:pt x="6644773" y="3750094"/>
                </a:lnTo>
                <a:lnTo>
                  <a:pt x="6615170" y="3750094"/>
                </a:lnTo>
                <a:close/>
                <a:moveTo>
                  <a:pt x="6349081" y="3720492"/>
                </a:moveTo>
                <a:lnTo>
                  <a:pt x="6378683" y="3720492"/>
                </a:lnTo>
                <a:lnTo>
                  <a:pt x="6378683" y="3750094"/>
                </a:lnTo>
                <a:lnTo>
                  <a:pt x="6349081" y="3750094"/>
                </a:lnTo>
                <a:close/>
                <a:moveTo>
                  <a:pt x="6082884" y="3720492"/>
                </a:moveTo>
                <a:lnTo>
                  <a:pt x="6112486" y="3720492"/>
                </a:lnTo>
                <a:lnTo>
                  <a:pt x="6112486" y="3750094"/>
                </a:lnTo>
                <a:lnTo>
                  <a:pt x="6082884" y="3750094"/>
                </a:lnTo>
                <a:close/>
                <a:moveTo>
                  <a:pt x="5825310" y="3720492"/>
                </a:moveTo>
                <a:lnTo>
                  <a:pt x="5854913" y="3720492"/>
                </a:lnTo>
                <a:lnTo>
                  <a:pt x="5854913" y="3750094"/>
                </a:lnTo>
                <a:lnTo>
                  <a:pt x="5825310" y="3750094"/>
                </a:lnTo>
                <a:close/>
                <a:moveTo>
                  <a:pt x="5559113" y="3720492"/>
                </a:moveTo>
                <a:lnTo>
                  <a:pt x="5588715" y="3720492"/>
                </a:lnTo>
                <a:lnTo>
                  <a:pt x="5588715" y="3750094"/>
                </a:lnTo>
                <a:lnTo>
                  <a:pt x="5559113" y="3750094"/>
                </a:lnTo>
                <a:close/>
                <a:moveTo>
                  <a:pt x="5293024" y="3720492"/>
                </a:moveTo>
                <a:lnTo>
                  <a:pt x="5322626" y="3720492"/>
                </a:lnTo>
                <a:lnTo>
                  <a:pt x="5322626" y="3750094"/>
                </a:lnTo>
                <a:lnTo>
                  <a:pt x="5293024" y="3750094"/>
                </a:lnTo>
                <a:close/>
                <a:moveTo>
                  <a:pt x="5026827" y="3720492"/>
                </a:moveTo>
                <a:lnTo>
                  <a:pt x="5056429" y="3720492"/>
                </a:lnTo>
                <a:lnTo>
                  <a:pt x="5056429" y="3750094"/>
                </a:lnTo>
                <a:lnTo>
                  <a:pt x="5026827" y="3750094"/>
                </a:lnTo>
                <a:close/>
                <a:moveTo>
                  <a:pt x="4760630" y="3720492"/>
                </a:moveTo>
                <a:lnTo>
                  <a:pt x="4790340" y="3720492"/>
                </a:lnTo>
                <a:lnTo>
                  <a:pt x="4790340" y="3750094"/>
                </a:lnTo>
                <a:lnTo>
                  <a:pt x="4760630" y="3750094"/>
                </a:lnTo>
                <a:close/>
                <a:moveTo>
                  <a:pt x="4494541" y="3720492"/>
                </a:moveTo>
                <a:lnTo>
                  <a:pt x="4524144" y="3720492"/>
                </a:lnTo>
                <a:lnTo>
                  <a:pt x="4524144" y="3750094"/>
                </a:lnTo>
                <a:lnTo>
                  <a:pt x="4494541" y="3750094"/>
                </a:lnTo>
                <a:close/>
                <a:moveTo>
                  <a:pt x="4228344" y="3720492"/>
                </a:moveTo>
                <a:lnTo>
                  <a:pt x="4257946" y="3720492"/>
                </a:lnTo>
                <a:lnTo>
                  <a:pt x="4257946" y="3750094"/>
                </a:lnTo>
                <a:lnTo>
                  <a:pt x="4228344" y="3750094"/>
                </a:lnTo>
                <a:close/>
                <a:moveTo>
                  <a:pt x="3962255" y="3720492"/>
                </a:moveTo>
                <a:lnTo>
                  <a:pt x="3991857" y="3720492"/>
                </a:lnTo>
                <a:lnTo>
                  <a:pt x="3991857" y="3750094"/>
                </a:lnTo>
                <a:lnTo>
                  <a:pt x="3962255" y="3750094"/>
                </a:lnTo>
                <a:close/>
                <a:moveTo>
                  <a:pt x="3696058" y="3720492"/>
                </a:moveTo>
                <a:lnTo>
                  <a:pt x="3725661" y="3720492"/>
                </a:lnTo>
                <a:lnTo>
                  <a:pt x="3725661" y="3750094"/>
                </a:lnTo>
                <a:lnTo>
                  <a:pt x="3696058" y="3750094"/>
                </a:lnTo>
                <a:close/>
                <a:moveTo>
                  <a:pt x="3429969" y="3720492"/>
                </a:moveTo>
                <a:lnTo>
                  <a:pt x="3459572" y="3720492"/>
                </a:lnTo>
                <a:lnTo>
                  <a:pt x="3459572" y="3750094"/>
                </a:lnTo>
                <a:lnTo>
                  <a:pt x="3429969" y="3750094"/>
                </a:lnTo>
                <a:close/>
                <a:moveTo>
                  <a:pt x="3163772" y="3720492"/>
                </a:moveTo>
                <a:lnTo>
                  <a:pt x="3193374" y="3720492"/>
                </a:lnTo>
                <a:lnTo>
                  <a:pt x="3193374" y="3750094"/>
                </a:lnTo>
                <a:lnTo>
                  <a:pt x="3163772" y="3750094"/>
                </a:lnTo>
                <a:close/>
                <a:moveTo>
                  <a:pt x="2897575" y="3720492"/>
                </a:moveTo>
                <a:lnTo>
                  <a:pt x="2927178" y="3720492"/>
                </a:lnTo>
                <a:lnTo>
                  <a:pt x="2927178" y="3750094"/>
                </a:lnTo>
                <a:lnTo>
                  <a:pt x="2897575" y="3750094"/>
                </a:lnTo>
                <a:close/>
                <a:moveTo>
                  <a:pt x="2631378" y="3720492"/>
                </a:moveTo>
                <a:lnTo>
                  <a:pt x="2660980" y="3720492"/>
                </a:lnTo>
                <a:lnTo>
                  <a:pt x="2660980" y="3750094"/>
                </a:lnTo>
                <a:lnTo>
                  <a:pt x="2631378" y="3750094"/>
                </a:lnTo>
                <a:close/>
                <a:moveTo>
                  <a:pt x="2365289" y="3720492"/>
                </a:moveTo>
                <a:lnTo>
                  <a:pt x="2394892" y="3720492"/>
                </a:lnTo>
                <a:lnTo>
                  <a:pt x="2394892" y="3750094"/>
                </a:lnTo>
                <a:lnTo>
                  <a:pt x="2365289" y="3750094"/>
                </a:lnTo>
                <a:close/>
                <a:moveTo>
                  <a:pt x="2099092" y="3720492"/>
                </a:moveTo>
                <a:lnTo>
                  <a:pt x="2128695" y="3720492"/>
                </a:lnTo>
                <a:lnTo>
                  <a:pt x="2128695" y="3750094"/>
                </a:lnTo>
                <a:lnTo>
                  <a:pt x="2099092" y="3750094"/>
                </a:lnTo>
                <a:close/>
                <a:moveTo>
                  <a:pt x="1832898" y="3720492"/>
                </a:moveTo>
                <a:lnTo>
                  <a:pt x="1862498" y="3720492"/>
                </a:lnTo>
                <a:lnTo>
                  <a:pt x="1862498" y="3750094"/>
                </a:lnTo>
                <a:lnTo>
                  <a:pt x="1832898" y="3750094"/>
                </a:lnTo>
                <a:close/>
                <a:moveTo>
                  <a:pt x="1566808" y="3720492"/>
                </a:moveTo>
                <a:lnTo>
                  <a:pt x="1596409" y="3720492"/>
                </a:lnTo>
                <a:lnTo>
                  <a:pt x="1596409" y="3750094"/>
                </a:lnTo>
                <a:lnTo>
                  <a:pt x="1566808" y="3750094"/>
                </a:lnTo>
                <a:close/>
                <a:moveTo>
                  <a:pt x="1300611" y="3720492"/>
                </a:moveTo>
                <a:lnTo>
                  <a:pt x="1330213" y="3720492"/>
                </a:lnTo>
                <a:lnTo>
                  <a:pt x="1330213" y="3750094"/>
                </a:lnTo>
                <a:lnTo>
                  <a:pt x="1300611" y="3750094"/>
                </a:lnTo>
                <a:close/>
                <a:moveTo>
                  <a:pt x="1034520" y="3720492"/>
                </a:moveTo>
                <a:lnTo>
                  <a:pt x="1064123" y="3720492"/>
                </a:lnTo>
                <a:lnTo>
                  <a:pt x="1064123" y="3750094"/>
                </a:lnTo>
                <a:lnTo>
                  <a:pt x="1034520" y="3750094"/>
                </a:lnTo>
                <a:close/>
                <a:moveTo>
                  <a:pt x="768327" y="3720492"/>
                </a:moveTo>
                <a:lnTo>
                  <a:pt x="797926" y="3720492"/>
                </a:lnTo>
                <a:lnTo>
                  <a:pt x="797926" y="3750094"/>
                </a:lnTo>
                <a:lnTo>
                  <a:pt x="768327" y="3750094"/>
                </a:lnTo>
                <a:close/>
                <a:moveTo>
                  <a:pt x="502236" y="3720492"/>
                </a:moveTo>
                <a:lnTo>
                  <a:pt x="531839" y="3720492"/>
                </a:lnTo>
                <a:lnTo>
                  <a:pt x="531839" y="3750094"/>
                </a:lnTo>
                <a:lnTo>
                  <a:pt x="502236" y="3750094"/>
                </a:lnTo>
                <a:close/>
                <a:moveTo>
                  <a:pt x="236037" y="3720492"/>
                </a:moveTo>
                <a:lnTo>
                  <a:pt x="265640" y="3720492"/>
                </a:lnTo>
                <a:lnTo>
                  <a:pt x="265640" y="3750094"/>
                </a:lnTo>
                <a:lnTo>
                  <a:pt x="236037" y="3750094"/>
                </a:lnTo>
                <a:close/>
                <a:moveTo>
                  <a:pt x="1" y="3720492"/>
                </a:moveTo>
                <a:lnTo>
                  <a:pt x="29603" y="3720492"/>
                </a:lnTo>
                <a:lnTo>
                  <a:pt x="29603" y="3750094"/>
                </a:lnTo>
                <a:lnTo>
                  <a:pt x="1" y="3750094"/>
                </a:lnTo>
                <a:close/>
                <a:moveTo>
                  <a:pt x="11672158" y="3454727"/>
                </a:moveTo>
                <a:lnTo>
                  <a:pt x="11701760" y="3454727"/>
                </a:lnTo>
                <a:lnTo>
                  <a:pt x="11701760" y="3484330"/>
                </a:lnTo>
                <a:lnTo>
                  <a:pt x="11672158" y="3484330"/>
                </a:lnTo>
                <a:close/>
                <a:moveTo>
                  <a:pt x="11405961" y="3454727"/>
                </a:moveTo>
                <a:lnTo>
                  <a:pt x="11435563" y="3454727"/>
                </a:lnTo>
                <a:lnTo>
                  <a:pt x="11435563" y="3484330"/>
                </a:lnTo>
                <a:lnTo>
                  <a:pt x="11405961" y="3484330"/>
                </a:lnTo>
                <a:close/>
                <a:moveTo>
                  <a:pt x="11139872" y="3454727"/>
                </a:moveTo>
                <a:lnTo>
                  <a:pt x="11169474" y="3454727"/>
                </a:lnTo>
                <a:lnTo>
                  <a:pt x="11169474" y="3484330"/>
                </a:lnTo>
                <a:lnTo>
                  <a:pt x="11139872" y="3484330"/>
                </a:lnTo>
                <a:close/>
                <a:moveTo>
                  <a:pt x="10873675" y="3454727"/>
                </a:moveTo>
                <a:lnTo>
                  <a:pt x="10903277" y="3454727"/>
                </a:lnTo>
                <a:lnTo>
                  <a:pt x="10903277" y="3484330"/>
                </a:lnTo>
                <a:lnTo>
                  <a:pt x="10873675" y="3484330"/>
                </a:lnTo>
                <a:close/>
                <a:moveTo>
                  <a:pt x="10607478" y="3454727"/>
                </a:moveTo>
                <a:lnTo>
                  <a:pt x="10637188" y="3454727"/>
                </a:lnTo>
                <a:lnTo>
                  <a:pt x="10637188" y="3484330"/>
                </a:lnTo>
                <a:lnTo>
                  <a:pt x="10607478" y="3484330"/>
                </a:lnTo>
                <a:close/>
                <a:moveTo>
                  <a:pt x="10341389" y="3454727"/>
                </a:moveTo>
                <a:lnTo>
                  <a:pt x="10370992" y="3454727"/>
                </a:lnTo>
                <a:lnTo>
                  <a:pt x="10370992" y="3484330"/>
                </a:lnTo>
                <a:lnTo>
                  <a:pt x="10341389" y="3484330"/>
                </a:lnTo>
                <a:close/>
                <a:moveTo>
                  <a:pt x="10075192" y="3454727"/>
                </a:moveTo>
                <a:lnTo>
                  <a:pt x="10104794" y="3454727"/>
                </a:lnTo>
                <a:lnTo>
                  <a:pt x="10104794" y="3484330"/>
                </a:lnTo>
                <a:lnTo>
                  <a:pt x="10075192" y="3484330"/>
                </a:lnTo>
                <a:close/>
                <a:moveTo>
                  <a:pt x="9809103" y="3454727"/>
                </a:moveTo>
                <a:lnTo>
                  <a:pt x="9838705" y="3454727"/>
                </a:lnTo>
                <a:lnTo>
                  <a:pt x="9838705" y="3484330"/>
                </a:lnTo>
                <a:lnTo>
                  <a:pt x="9809103" y="3484330"/>
                </a:lnTo>
                <a:close/>
                <a:moveTo>
                  <a:pt x="9542906" y="3454727"/>
                </a:moveTo>
                <a:lnTo>
                  <a:pt x="9572509" y="3454727"/>
                </a:lnTo>
                <a:lnTo>
                  <a:pt x="9572509" y="3484330"/>
                </a:lnTo>
                <a:lnTo>
                  <a:pt x="9542906" y="3484330"/>
                </a:lnTo>
                <a:close/>
                <a:moveTo>
                  <a:pt x="9276817" y="3454727"/>
                </a:moveTo>
                <a:lnTo>
                  <a:pt x="9306420" y="3454727"/>
                </a:lnTo>
                <a:lnTo>
                  <a:pt x="9306420" y="3484330"/>
                </a:lnTo>
                <a:lnTo>
                  <a:pt x="9276817" y="3484330"/>
                </a:lnTo>
                <a:close/>
                <a:moveTo>
                  <a:pt x="9010620" y="3454727"/>
                </a:moveTo>
                <a:lnTo>
                  <a:pt x="9040222" y="3454727"/>
                </a:lnTo>
                <a:lnTo>
                  <a:pt x="9040222" y="3484330"/>
                </a:lnTo>
                <a:lnTo>
                  <a:pt x="9010620" y="3484330"/>
                </a:lnTo>
                <a:close/>
                <a:moveTo>
                  <a:pt x="8744423" y="3454727"/>
                </a:moveTo>
                <a:lnTo>
                  <a:pt x="8774026" y="3454727"/>
                </a:lnTo>
                <a:lnTo>
                  <a:pt x="8774026" y="3484330"/>
                </a:lnTo>
                <a:lnTo>
                  <a:pt x="8744423" y="3484330"/>
                </a:lnTo>
                <a:close/>
                <a:moveTo>
                  <a:pt x="8478226" y="3454727"/>
                </a:moveTo>
                <a:lnTo>
                  <a:pt x="8507828" y="3454727"/>
                </a:lnTo>
                <a:lnTo>
                  <a:pt x="8507828" y="3484330"/>
                </a:lnTo>
                <a:lnTo>
                  <a:pt x="8478226" y="3484330"/>
                </a:lnTo>
                <a:close/>
                <a:moveTo>
                  <a:pt x="8212137" y="3454727"/>
                </a:moveTo>
                <a:lnTo>
                  <a:pt x="8241740" y="3454727"/>
                </a:lnTo>
                <a:lnTo>
                  <a:pt x="8241740" y="3484330"/>
                </a:lnTo>
                <a:lnTo>
                  <a:pt x="8212137" y="3484330"/>
                </a:lnTo>
                <a:close/>
                <a:moveTo>
                  <a:pt x="7945940" y="3454727"/>
                </a:moveTo>
                <a:lnTo>
                  <a:pt x="7975543" y="3454727"/>
                </a:lnTo>
                <a:lnTo>
                  <a:pt x="7975543" y="3484330"/>
                </a:lnTo>
                <a:lnTo>
                  <a:pt x="7945940" y="3484330"/>
                </a:lnTo>
                <a:close/>
                <a:moveTo>
                  <a:pt x="7679743" y="3454727"/>
                </a:moveTo>
                <a:lnTo>
                  <a:pt x="7709346" y="3454727"/>
                </a:lnTo>
                <a:lnTo>
                  <a:pt x="7709346" y="3484330"/>
                </a:lnTo>
                <a:lnTo>
                  <a:pt x="7679743" y="3484330"/>
                </a:lnTo>
                <a:close/>
                <a:moveTo>
                  <a:pt x="7413653" y="3454727"/>
                </a:moveTo>
                <a:lnTo>
                  <a:pt x="7443256" y="3454727"/>
                </a:lnTo>
                <a:lnTo>
                  <a:pt x="7443256" y="3484330"/>
                </a:lnTo>
                <a:lnTo>
                  <a:pt x="7413653" y="3484330"/>
                </a:lnTo>
                <a:close/>
                <a:moveTo>
                  <a:pt x="7147456" y="3454727"/>
                </a:moveTo>
                <a:lnTo>
                  <a:pt x="7177058" y="3454727"/>
                </a:lnTo>
                <a:lnTo>
                  <a:pt x="7177058" y="3484330"/>
                </a:lnTo>
                <a:lnTo>
                  <a:pt x="7147456" y="3484330"/>
                </a:lnTo>
                <a:close/>
                <a:moveTo>
                  <a:pt x="6881367" y="3454727"/>
                </a:moveTo>
                <a:lnTo>
                  <a:pt x="6910970" y="3454727"/>
                </a:lnTo>
                <a:lnTo>
                  <a:pt x="6910970" y="3484330"/>
                </a:lnTo>
                <a:lnTo>
                  <a:pt x="6881367" y="3484330"/>
                </a:lnTo>
                <a:close/>
                <a:moveTo>
                  <a:pt x="6615170" y="3454727"/>
                </a:moveTo>
                <a:lnTo>
                  <a:pt x="6644773" y="3454727"/>
                </a:lnTo>
                <a:lnTo>
                  <a:pt x="6644773" y="3484330"/>
                </a:lnTo>
                <a:lnTo>
                  <a:pt x="6615170" y="3484330"/>
                </a:lnTo>
                <a:close/>
                <a:moveTo>
                  <a:pt x="6349081" y="3454727"/>
                </a:moveTo>
                <a:lnTo>
                  <a:pt x="6378683" y="3454727"/>
                </a:lnTo>
                <a:lnTo>
                  <a:pt x="6378683" y="3484330"/>
                </a:lnTo>
                <a:lnTo>
                  <a:pt x="6349081" y="3484330"/>
                </a:lnTo>
                <a:close/>
                <a:moveTo>
                  <a:pt x="6082884" y="3454727"/>
                </a:moveTo>
                <a:lnTo>
                  <a:pt x="6112486" y="3454727"/>
                </a:lnTo>
                <a:lnTo>
                  <a:pt x="6112486" y="3484330"/>
                </a:lnTo>
                <a:lnTo>
                  <a:pt x="6082884" y="3484330"/>
                </a:lnTo>
                <a:close/>
                <a:moveTo>
                  <a:pt x="5825310" y="3454727"/>
                </a:moveTo>
                <a:lnTo>
                  <a:pt x="5854913" y="3454727"/>
                </a:lnTo>
                <a:lnTo>
                  <a:pt x="5854913" y="3484330"/>
                </a:lnTo>
                <a:lnTo>
                  <a:pt x="5825310" y="3484330"/>
                </a:lnTo>
                <a:close/>
                <a:moveTo>
                  <a:pt x="5559113" y="3454727"/>
                </a:moveTo>
                <a:lnTo>
                  <a:pt x="5588715" y="3454727"/>
                </a:lnTo>
                <a:lnTo>
                  <a:pt x="5588715" y="3484330"/>
                </a:lnTo>
                <a:lnTo>
                  <a:pt x="5559113" y="3484330"/>
                </a:lnTo>
                <a:close/>
                <a:moveTo>
                  <a:pt x="5293024" y="3454727"/>
                </a:moveTo>
                <a:lnTo>
                  <a:pt x="5322626" y="3454727"/>
                </a:lnTo>
                <a:lnTo>
                  <a:pt x="5322626" y="3484330"/>
                </a:lnTo>
                <a:lnTo>
                  <a:pt x="5293024" y="3484330"/>
                </a:lnTo>
                <a:close/>
                <a:moveTo>
                  <a:pt x="5026827" y="3454727"/>
                </a:moveTo>
                <a:lnTo>
                  <a:pt x="5056429" y="3454727"/>
                </a:lnTo>
                <a:lnTo>
                  <a:pt x="5056429" y="3484330"/>
                </a:lnTo>
                <a:lnTo>
                  <a:pt x="5026827" y="3484330"/>
                </a:lnTo>
                <a:close/>
                <a:moveTo>
                  <a:pt x="4760630" y="3454727"/>
                </a:moveTo>
                <a:lnTo>
                  <a:pt x="4790340" y="3454727"/>
                </a:lnTo>
                <a:lnTo>
                  <a:pt x="4790340" y="3484330"/>
                </a:lnTo>
                <a:lnTo>
                  <a:pt x="4760630" y="3484330"/>
                </a:lnTo>
                <a:close/>
                <a:moveTo>
                  <a:pt x="4494541" y="3454727"/>
                </a:moveTo>
                <a:lnTo>
                  <a:pt x="4524144" y="3454727"/>
                </a:lnTo>
                <a:lnTo>
                  <a:pt x="4524144" y="3484330"/>
                </a:lnTo>
                <a:lnTo>
                  <a:pt x="4494541" y="3484330"/>
                </a:lnTo>
                <a:close/>
                <a:moveTo>
                  <a:pt x="4228344" y="3454727"/>
                </a:moveTo>
                <a:lnTo>
                  <a:pt x="4257946" y="3454727"/>
                </a:lnTo>
                <a:lnTo>
                  <a:pt x="4257946" y="3484330"/>
                </a:lnTo>
                <a:lnTo>
                  <a:pt x="4228344" y="3484330"/>
                </a:lnTo>
                <a:close/>
                <a:moveTo>
                  <a:pt x="3962255" y="3454727"/>
                </a:moveTo>
                <a:lnTo>
                  <a:pt x="3991857" y="3454727"/>
                </a:lnTo>
                <a:lnTo>
                  <a:pt x="3991857" y="3484330"/>
                </a:lnTo>
                <a:lnTo>
                  <a:pt x="3962255" y="3484330"/>
                </a:lnTo>
                <a:close/>
                <a:moveTo>
                  <a:pt x="3696058" y="3454727"/>
                </a:moveTo>
                <a:lnTo>
                  <a:pt x="3725661" y="3454727"/>
                </a:lnTo>
                <a:lnTo>
                  <a:pt x="3725661" y="3484330"/>
                </a:lnTo>
                <a:lnTo>
                  <a:pt x="3696058" y="3484330"/>
                </a:lnTo>
                <a:close/>
                <a:moveTo>
                  <a:pt x="3429969" y="3454727"/>
                </a:moveTo>
                <a:lnTo>
                  <a:pt x="3459572" y="3454727"/>
                </a:lnTo>
                <a:lnTo>
                  <a:pt x="3459572" y="3484330"/>
                </a:lnTo>
                <a:lnTo>
                  <a:pt x="3429969" y="3484330"/>
                </a:lnTo>
                <a:close/>
                <a:moveTo>
                  <a:pt x="3163772" y="3454727"/>
                </a:moveTo>
                <a:lnTo>
                  <a:pt x="3193374" y="3454727"/>
                </a:lnTo>
                <a:lnTo>
                  <a:pt x="3193374" y="3484330"/>
                </a:lnTo>
                <a:lnTo>
                  <a:pt x="3163772" y="3484330"/>
                </a:lnTo>
                <a:close/>
                <a:moveTo>
                  <a:pt x="2897575" y="3454727"/>
                </a:moveTo>
                <a:lnTo>
                  <a:pt x="2927178" y="3454727"/>
                </a:lnTo>
                <a:lnTo>
                  <a:pt x="2927178" y="3484330"/>
                </a:lnTo>
                <a:lnTo>
                  <a:pt x="2897575" y="3484330"/>
                </a:lnTo>
                <a:close/>
                <a:moveTo>
                  <a:pt x="2631378" y="3454727"/>
                </a:moveTo>
                <a:lnTo>
                  <a:pt x="2660980" y="3454727"/>
                </a:lnTo>
                <a:lnTo>
                  <a:pt x="2660980" y="3484330"/>
                </a:lnTo>
                <a:lnTo>
                  <a:pt x="2631378" y="3484330"/>
                </a:lnTo>
                <a:close/>
                <a:moveTo>
                  <a:pt x="2365289" y="3454727"/>
                </a:moveTo>
                <a:lnTo>
                  <a:pt x="2394892" y="3454727"/>
                </a:lnTo>
                <a:lnTo>
                  <a:pt x="2394892" y="3484330"/>
                </a:lnTo>
                <a:lnTo>
                  <a:pt x="2365289" y="3484330"/>
                </a:lnTo>
                <a:close/>
                <a:moveTo>
                  <a:pt x="2099092" y="3454727"/>
                </a:moveTo>
                <a:lnTo>
                  <a:pt x="2128695" y="3454727"/>
                </a:lnTo>
                <a:lnTo>
                  <a:pt x="2128695" y="3484330"/>
                </a:lnTo>
                <a:lnTo>
                  <a:pt x="2099092" y="3484330"/>
                </a:lnTo>
                <a:close/>
                <a:moveTo>
                  <a:pt x="1832898" y="3454727"/>
                </a:moveTo>
                <a:lnTo>
                  <a:pt x="1862498" y="3454727"/>
                </a:lnTo>
                <a:lnTo>
                  <a:pt x="1862498" y="3484330"/>
                </a:lnTo>
                <a:lnTo>
                  <a:pt x="1832898" y="3484330"/>
                </a:lnTo>
                <a:close/>
                <a:moveTo>
                  <a:pt x="1566808" y="3454727"/>
                </a:moveTo>
                <a:lnTo>
                  <a:pt x="1596409" y="3454727"/>
                </a:lnTo>
                <a:lnTo>
                  <a:pt x="1596409" y="3484330"/>
                </a:lnTo>
                <a:lnTo>
                  <a:pt x="1566808" y="3484330"/>
                </a:lnTo>
                <a:close/>
                <a:moveTo>
                  <a:pt x="1300611" y="3454727"/>
                </a:moveTo>
                <a:lnTo>
                  <a:pt x="1330213" y="3454727"/>
                </a:lnTo>
                <a:lnTo>
                  <a:pt x="1330213" y="3484330"/>
                </a:lnTo>
                <a:lnTo>
                  <a:pt x="1300611" y="3484330"/>
                </a:lnTo>
                <a:close/>
                <a:moveTo>
                  <a:pt x="1034520" y="3454727"/>
                </a:moveTo>
                <a:lnTo>
                  <a:pt x="1064123" y="3454727"/>
                </a:lnTo>
                <a:lnTo>
                  <a:pt x="1064123" y="3484330"/>
                </a:lnTo>
                <a:lnTo>
                  <a:pt x="1034520" y="3484330"/>
                </a:lnTo>
                <a:close/>
                <a:moveTo>
                  <a:pt x="768327" y="3454727"/>
                </a:moveTo>
                <a:lnTo>
                  <a:pt x="797926" y="3454727"/>
                </a:lnTo>
                <a:lnTo>
                  <a:pt x="797926" y="3484330"/>
                </a:lnTo>
                <a:lnTo>
                  <a:pt x="768327" y="3484330"/>
                </a:lnTo>
                <a:close/>
                <a:moveTo>
                  <a:pt x="502236" y="3454727"/>
                </a:moveTo>
                <a:lnTo>
                  <a:pt x="531839" y="3454727"/>
                </a:lnTo>
                <a:lnTo>
                  <a:pt x="531839" y="3484330"/>
                </a:lnTo>
                <a:lnTo>
                  <a:pt x="502236" y="3484330"/>
                </a:lnTo>
                <a:close/>
                <a:moveTo>
                  <a:pt x="236037" y="3454727"/>
                </a:moveTo>
                <a:lnTo>
                  <a:pt x="265640" y="3454727"/>
                </a:lnTo>
                <a:lnTo>
                  <a:pt x="265640" y="3484330"/>
                </a:lnTo>
                <a:lnTo>
                  <a:pt x="236037" y="3484330"/>
                </a:lnTo>
                <a:close/>
                <a:moveTo>
                  <a:pt x="1" y="3454727"/>
                </a:moveTo>
                <a:lnTo>
                  <a:pt x="29603" y="3454727"/>
                </a:lnTo>
                <a:lnTo>
                  <a:pt x="29603" y="3484330"/>
                </a:lnTo>
                <a:lnTo>
                  <a:pt x="1" y="3484330"/>
                </a:lnTo>
                <a:close/>
                <a:moveTo>
                  <a:pt x="11672158" y="3189089"/>
                </a:moveTo>
                <a:lnTo>
                  <a:pt x="11701760" y="3189089"/>
                </a:lnTo>
                <a:lnTo>
                  <a:pt x="11701760" y="3218566"/>
                </a:lnTo>
                <a:lnTo>
                  <a:pt x="11672158" y="3218566"/>
                </a:lnTo>
                <a:close/>
                <a:moveTo>
                  <a:pt x="11405961" y="3189089"/>
                </a:moveTo>
                <a:lnTo>
                  <a:pt x="11435563" y="3189089"/>
                </a:lnTo>
                <a:lnTo>
                  <a:pt x="11435563" y="3218566"/>
                </a:lnTo>
                <a:lnTo>
                  <a:pt x="11405961" y="3218566"/>
                </a:lnTo>
                <a:close/>
                <a:moveTo>
                  <a:pt x="5825310" y="3189089"/>
                </a:moveTo>
                <a:lnTo>
                  <a:pt x="5854913" y="3189089"/>
                </a:lnTo>
                <a:lnTo>
                  <a:pt x="5854913" y="3218566"/>
                </a:lnTo>
                <a:lnTo>
                  <a:pt x="5825310" y="3218566"/>
                </a:lnTo>
                <a:close/>
                <a:moveTo>
                  <a:pt x="5559113" y="3189089"/>
                </a:moveTo>
                <a:lnTo>
                  <a:pt x="5588715" y="3189089"/>
                </a:lnTo>
                <a:lnTo>
                  <a:pt x="5588715" y="3218566"/>
                </a:lnTo>
                <a:lnTo>
                  <a:pt x="5559113" y="3218566"/>
                </a:lnTo>
                <a:close/>
                <a:moveTo>
                  <a:pt x="11139872" y="3189087"/>
                </a:moveTo>
                <a:lnTo>
                  <a:pt x="11169474" y="3189087"/>
                </a:lnTo>
                <a:lnTo>
                  <a:pt x="11169474" y="3218566"/>
                </a:lnTo>
                <a:lnTo>
                  <a:pt x="11139872" y="3218566"/>
                </a:lnTo>
                <a:close/>
                <a:moveTo>
                  <a:pt x="10873675" y="3189087"/>
                </a:moveTo>
                <a:lnTo>
                  <a:pt x="10903277" y="3189087"/>
                </a:lnTo>
                <a:lnTo>
                  <a:pt x="10903277" y="3218566"/>
                </a:lnTo>
                <a:lnTo>
                  <a:pt x="10873675" y="3218566"/>
                </a:lnTo>
                <a:close/>
                <a:moveTo>
                  <a:pt x="5293024" y="3189087"/>
                </a:moveTo>
                <a:lnTo>
                  <a:pt x="5322626" y="3189087"/>
                </a:lnTo>
                <a:lnTo>
                  <a:pt x="5322626" y="3218566"/>
                </a:lnTo>
                <a:lnTo>
                  <a:pt x="5293024" y="3218566"/>
                </a:lnTo>
                <a:close/>
                <a:moveTo>
                  <a:pt x="5026827" y="3189087"/>
                </a:moveTo>
                <a:lnTo>
                  <a:pt x="5056429" y="3189087"/>
                </a:lnTo>
                <a:lnTo>
                  <a:pt x="5056429" y="3218566"/>
                </a:lnTo>
                <a:lnTo>
                  <a:pt x="5026827" y="3218566"/>
                </a:lnTo>
                <a:close/>
                <a:moveTo>
                  <a:pt x="10607478" y="3189086"/>
                </a:moveTo>
                <a:lnTo>
                  <a:pt x="10637188" y="3189086"/>
                </a:lnTo>
                <a:lnTo>
                  <a:pt x="10637188" y="3218566"/>
                </a:lnTo>
                <a:lnTo>
                  <a:pt x="10607478" y="3218566"/>
                </a:lnTo>
                <a:close/>
                <a:moveTo>
                  <a:pt x="4760630" y="3189086"/>
                </a:moveTo>
                <a:lnTo>
                  <a:pt x="4790340" y="3189086"/>
                </a:lnTo>
                <a:lnTo>
                  <a:pt x="4790340" y="3218566"/>
                </a:lnTo>
                <a:lnTo>
                  <a:pt x="4760630" y="3218566"/>
                </a:lnTo>
                <a:close/>
                <a:moveTo>
                  <a:pt x="10341389" y="3189085"/>
                </a:moveTo>
                <a:lnTo>
                  <a:pt x="10370992" y="3189085"/>
                </a:lnTo>
                <a:lnTo>
                  <a:pt x="10370992" y="3218566"/>
                </a:lnTo>
                <a:lnTo>
                  <a:pt x="10341389" y="3218566"/>
                </a:lnTo>
                <a:close/>
                <a:moveTo>
                  <a:pt x="4494541" y="3189085"/>
                </a:moveTo>
                <a:lnTo>
                  <a:pt x="4524144" y="3189085"/>
                </a:lnTo>
                <a:lnTo>
                  <a:pt x="4524144" y="3218566"/>
                </a:lnTo>
                <a:lnTo>
                  <a:pt x="4494541" y="3218566"/>
                </a:lnTo>
                <a:close/>
                <a:moveTo>
                  <a:pt x="10075192" y="3189084"/>
                </a:moveTo>
                <a:lnTo>
                  <a:pt x="10104794" y="3189084"/>
                </a:lnTo>
                <a:lnTo>
                  <a:pt x="10104794" y="3218566"/>
                </a:lnTo>
                <a:lnTo>
                  <a:pt x="10075192" y="3218566"/>
                </a:lnTo>
                <a:close/>
                <a:moveTo>
                  <a:pt x="4228344" y="3189084"/>
                </a:moveTo>
                <a:lnTo>
                  <a:pt x="4257946" y="3189084"/>
                </a:lnTo>
                <a:lnTo>
                  <a:pt x="4257946" y="3218566"/>
                </a:lnTo>
                <a:lnTo>
                  <a:pt x="4228344" y="3218566"/>
                </a:lnTo>
                <a:close/>
                <a:moveTo>
                  <a:pt x="9809103" y="3189083"/>
                </a:moveTo>
                <a:lnTo>
                  <a:pt x="9838705" y="3189083"/>
                </a:lnTo>
                <a:lnTo>
                  <a:pt x="9838705" y="3218566"/>
                </a:lnTo>
                <a:lnTo>
                  <a:pt x="9809103" y="3218566"/>
                </a:lnTo>
                <a:close/>
                <a:moveTo>
                  <a:pt x="3962255" y="3189083"/>
                </a:moveTo>
                <a:lnTo>
                  <a:pt x="3991857" y="3189083"/>
                </a:lnTo>
                <a:lnTo>
                  <a:pt x="3991857" y="3218566"/>
                </a:lnTo>
                <a:lnTo>
                  <a:pt x="3962255" y="3218566"/>
                </a:lnTo>
                <a:close/>
                <a:moveTo>
                  <a:pt x="9542906" y="3189082"/>
                </a:moveTo>
                <a:lnTo>
                  <a:pt x="9572509" y="3189082"/>
                </a:lnTo>
                <a:lnTo>
                  <a:pt x="9572509" y="3218566"/>
                </a:lnTo>
                <a:lnTo>
                  <a:pt x="9542906" y="3218566"/>
                </a:lnTo>
                <a:close/>
                <a:moveTo>
                  <a:pt x="3696058" y="3189082"/>
                </a:moveTo>
                <a:lnTo>
                  <a:pt x="3725661" y="3189082"/>
                </a:lnTo>
                <a:lnTo>
                  <a:pt x="3725661" y="3218566"/>
                </a:lnTo>
                <a:lnTo>
                  <a:pt x="3696058" y="3218566"/>
                </a:lnTo>
                <a:close/>
                <a:moveTo>
                  <a:pt x="9276817" y="3189081"/>
                </a:moveTo>
                <a:lnTo>
                  <a:pt x="9306420" y="3189081"/>
                </a:lnTo>
                <a:lnTo>
                  <a:pt x="9306420" y="3218566"/>
                </a:lnTo>
                <a:lnTo>
                  <a:pt x="9276817" y="3218566"/>
                </a:lnTo>
                <a:close/>
                <a:moveTo>
                  <a:pt x="9010620" y="3189081"/>
                </a:moveTo>
                <a:lnTo>
                  <a:pt x="9040222" y="3189081"/>
                </a:lnTo>
                <a:lnTo>
                  <a:pt x="9040222" y="3218566"/>
                </a:lnTo>
                <a:lnTo>
                  <a:pt x="9010620" y="3218566"/>
                </a:lnTo>
                <a:close/>
                <a:moveTo>
                  <a:pt x="3429969" y="3189081"/>
                </a:moveTo>
                <a:lnTo>
                  <a:pt x="3459572" y="3189081"/>
                </a:lnTo>
                <a:lnTo>
                  <a:pt x="3459572" y="3218566"/>
                </a:lnTo>
                <a:lnTo>
                  <a:pt x="3429969" y="3218566"/>
                </a:lnTo>
                <a:close/>
                <a:moveTo>
                  <a:pt x="3163772" y="3189081"/>
                </a:moveTo>
                <a:lnTo>
                  <a:pt x="3193374" y="3189081"/>
                </a:lnTo>
                <a:lnTo>
                  <a:pt x="3193374" y="3218566"/>
                </a:lnTo>
                <a:lnTo>
                  <a:pt x="3163772" y="3218566"/>
                </a:lnTo>
                <a:close/>
                <a:moveTo>
                  <a:pt x="8744423" y="3189080"/>
                </a:moveTo>
                <a:lnTo>
                  <a:pt x="8774026" y="3189080"/>
                </a:lnTo>
                <a:lnTo>
                  <a:pt x="8774026" y="3218566"/>
                </a:lnTo>
                <a:lnTo>
                  <a:pt x="8744423" y="3218566"/>
                </a:lnTo>
                <a:close/>
                <a:moveTo>
                  <a:pt x="2897575" y="3189080"/>
                </a:moveTo>
                <a:lnTo>
                  <a:pt x="2927178" y="3189080"/>
                </a:lnTo>
                <a:lnTo>
                  <a:pt x="2927178" y="3218566"/>
                </a:lnTo>
                <a:lnTo>
                  <a:pt x="2897575" y="3218566"/>
                </a:lnTo>
                <a:close/>
                <a:moveTo>
                  <a:pt x="8478226" y="3189079"/>
                </a:moveTo>
                <a:lnTo>
                  <a:pt x="8507828" y="3189079"/>
                </a:lnTo>
                <a:lnTo>
                  <a:pt x="8507828" y="3218566"/>
                </a:lnTo>
                <a:lnTo>
                  <a:pt x="8478226" y="3218566"/>
                </a:lnTo>
                <a:close/>
                <a:moveTo>
                  <a:pt x="2631378" y="3189079"/>
                </a:moveTo>
                <a:lnTo>
                  <a:pt x="2660980" y="3189079"/>
                </a:lnTo>
                <a:lnTo>
                  <a:pt x="2660980" y="3218566"/>
                </a:lnTo>
                <a:lnTo>
                  <a:pt x="2631378" y="3218566"/>
                </a:lnTo>
                <a:close/>
                <a:moveTo>
                  <a:pt x="8212137" y="3189078"/>
                </a:moveTo>
                <a:lnTo>
                  <a:pt x="8241740" y="3189078"/>
                </a:lnTo>
                <a:lnTo>
                  <a:pt x="8241740" y="3218566"/>
                </a:lnTo>
                <a:lnTo>
                  <a:pt x="8212137" y="3218566"/>
                </a:lnTo>
                <a:close/>
                <a:moveTo>
                  <a:pt x="2365289" y="3189078"/>
                </a:moveTo>
                <a:lnTo>
                  <a:pt x="2394892" y="3189078"/>
                </a:lnTo>
                <a:lnTo>
                  <a:pt x="2394892" y="3218566"/>
                </a:lnTo>
                <a:lnTo>
                  <a:pt x="2365289" y="3218566"/>
                </a:lnTo>
                <a:close/>
                <a:moveTo>
                  <a:pt x="7945940" y="3189077"/>
                </a:moveTo>
                <a:lnTo>
                  <a:pt x="7975543" y="3189077"/>
                </a:lnTo>
                <a:lnTo>
                  <a:pt x="7975543" y="3218566"/>
                </a:lnTo>
                <a:lnTo>
                  <a:pt x="7945940" y="3218566"/>
                </a:lnTo>
                <a:close/>
                <a:moveTo>
                  <a:pt x="2099092" y="3189077"/>
                </a:moveTo>
                <a:lnTo>
                  <a:pt x="2128695" y="3189077"/>
                </a:lnTo>
                <a:lnTo>
                  <a:pt x="2128695" y="3218566"/>
                </a:lnTo>
                <a:lnTo>
                  <a:pt x="2099092" y="3218566"/>
                </a:lnTo>
                <a:close/>
                <a:moveTo>
                  <a:pt x="7679743" y="3189076"/>
                </a:moveTo>
                <a:lnTo>
                  <a:pt x="7709346" y="3189076"/>
                </a:lnTo>
                <a:lnTo>
                  <a:pt x="7709346" y="3218566"/>
                </a:lnTo>
                <a:lnTo>
                  <a:pt x="7679743" y="3218566"/>
                </a:lnTo>
                <a:close/>
                <a:moveTo>
                  <a:pt x="7413653" y="3189076"/>
                </a:moveTo>
                <a:lnTo>
                  <a:pt x="7443256" y="3189076"/>
                </a:lnTo>
                <a:lnTo>
                  <a:pt x="7443256" y="3218566"/>
                </a:lnTo>
                <a:lnTo>
                  <a:pt x="7413653" y="3218566"/>
                </a:lnTo>
                <a:close/>
                <a:moveTo>
                  <a:pt x="1832898" y="3189076"/>
                </a:moveTo>
                <a:lnTo>
                  <a:pt x="1862498" y="3189076"/>
                </a:lnTo>
                <a:lnTo>
                  <a:pt x="1862498" y="3218566"/>
                </a:lnTo>
                <a:lnTo>
                  <a:pt x="1832898" y="3218566"/>
                </a:lnTo>
                <a:close/>
                <a:moveTo>
                  <a:pt x="1566808" y="3189076"/>
                </a:moveTo>
                <a:lnTo>
                  <a:pt x="1596409" y="3189076"/>
                </a:lnTo>
                <a:lnTo>
                  <a:pt x="1596409" y="3218566"/>
                </a:lnTo>
                <a:lnTo>
                  <a:pt x="1566808" y="3218566"/>
                </a:lnTo>
                <a:close/>
                <a:moveTo>
                  <a:pt x="7147456" y="3189075"/>
                </a:moveTo>
                <a:lnTo>
                  <a:pt x="7177058" y="3189075"/>
                </a:lnTo>
                <a:lnTo>
                  <a:pt x="7177058" y="3218566"/>
                </a:lnTo>
                <a:lnTo>
                  <a:pt x="7147456" y="3218566"/>
                </a:lnTo>
                <a:close/>
                <a:moveTo>
                  <a:pt x="1300611" y="3189075"/>
                </a:moveTo>
                <a:lnTo>
                  <a:pt x="1330213" y="3189075"/>
                </a:lnTo>
                <a:lnTo>
                  <a:pt x="1330213" y="3218566"/>
                </a:lnTo>
                <a:lnTo>
                  <a:pt x="1300611" y="3218566"/>
                </a:lnTo>
                <a:close/>
                <a:moveTo>
                  <a:pt x="6881367" y="3189074"/>
                </a:moveTo>
                <a:lnTo>
                  <a:pt x="6910970" y="3189074"/>
                </a:lnTo>
                <a:lnTo>
                  <a:pt x="6910970" y="3218566"/>
                </a:lnTo>
                <a:lnTo>
                  <a:pt x="6881367" y="3218566"/>
                </a:lnTo>
                <a:close/>
                <a:moveTo>
                  <a:pt x="1034520" y="3189074"/>
                </a:moveTo>
                <a:lnTo>
                  <a:pt x="1064123" y="3189074"/>
                </a:lnTo>
                <a:lnTo>
                  <a:pt x="1064123" y="3218566"/>
                </a:lnTo>
                <a:lnTo>
                  <a:pt x="1034520" y="3218566"/>
                </a:lnTo>
                <a:close/>
                <a:moveTo>
                  <a:pt x="6615170" y="3189073"/>
                </a:moveTo>
                <a:lnTo>
                  <a:pt x="6644773" y="3189073"/>
                </a:lnTo>
                <a:lnTo>
                  <a:pt x="6644773" y="3218566"/>
                </a:lnTo>
                <a:lnTo>
                  <a:pt x="6615170" y="3218566"/>
                </a:lnTo>
                <a:close/>
                <a:moveTo>
                  <a:pt x="768327" y="3189073"/>
                </a:moveTo>
                <a:lnTo>
                  <a:pt x="797926" y="3189073"/>
                </a:lnTo>
                <a:lnTo>
                  <a:pt x="797926" y="3218566"/>
                </a:lnTo>
                <a:lnTo>
                  <a:pt x="768327" y="3218566"/>
                </a:lnTo>
                <a:close/>
                <a:moveTo>
                  <a:pt x="6349081" y="3189072"/>
                </a:moveTo>
                <a:lnTo>
                  <a:pt x="6378683" y="3189072"/>
                </a:lnTo>
                <a:lnTo>
                  <a:pt x="6378683" y="3218566"/>
                </a:lnTo>
                <a:lnTo>
                  <a:pt x="6349081" y="3218566"/>
                </a:lnTo>
                <a:close/>
                <a:moveTo>
                  <a:pt x="502236" y="3189072"/>
                </a:moveTo>
                <a:lnTo>
                  <a:pt x="531839" y="3189072"/>
                </a:lnTo>
                <a:lnTo>
                  <a:pt x="531839" y="3218566"/>
                </a:lnTo>
                <a:lnTo>
                  <a:pt x="502236" y="3218566"/>
                </a:lnTo>
                <a:close/>
                <a:moveTo>
                  <a:pt x="6082884" y="3189071"/>
                </a:moveTo>
                <a:lnTo>
                  <a:pt x="6112486" y="3189071"/>
                </a:lnTo>
                <a:lnTo>
                  <a:pt x="6112486" y="3218566"/>
                </a:lnTo>
                <a:lnTo>
                  <a:pt x="6082884" y="3218566"/>
                </a:lnTo>
                <a:close/>
                <a:moveTo>
                  <a:pt x="236037" y="3189071"/>
                </a:moveTo>
                <a:lnTo>
                  <a:pt x="265639" y="3189071"/>
                </a:lnTo>
                <a:lnTo>
                  <a:pt x="265639" y="3218566"/>
                </a:lnTo>
                <a:lnTo>
                  <a:pt x="236037" y="3218566"/>
                </a:lnTo>
                <a:close/>
                <a:moveTo>
                  <a:pt x="1" y="3189071"/>
                </a:moveTo>
                <a:lnTo>
                  <a:pt x="29603" y="3189071"/>
                </a:lnTo>
                <a:lnTo>
                  <a:pt x="29603" y="3218566"/>
                </a:lnTo>
                <a:lnTo>
                  <a:pt x="1" y="3218566"/>
                </a:lnTo>
                <a:close/>
                <a:moveTo>
                  <a:pt x="11672158" y="2923329"/>
                </a:moveTo>
                <a:lnTo>
                  <a:pt x="11701760" y="2923329"/>
                </a:lnTo>
                <a:lnTo>
                  <a:pt x="11701760" y="2952824"/>
                </a:lnTo>
                <a:lnTo>
                  <a:pt x="11672158" y="2952824"/>
                </a:lnTo>
                <a:close/>
                <a:moveTo>
                  <a:pt x="5825310" y="2923329"/>
                </a:moveTo>
                <a:lnTo>
                  <a:pt x="5854913" y="2923329"/>
                </a:lnTo>
                <a:lnTo>
                  <a:pt x="5854913" y="2952824"/>
                </a:lnTo>
                <a:lnTo>
                  <a:pt x="5825310" y="2952824"/>
                </a:lnTo>
                <a:close/>
                <a:moveTo>
                  <a:pt x="11405961" y="2923328"/>
                </a:moveTo>
                <a:lnTo>
                  <a:pt x="11435563" y="2923328"/>
                </a:lnTo>
                <a:lnTo>
                  <a:pt x="11435563" y="2952823"/>
                </a:lnTo>
                <a:lnTo>
                  <a:pt x="11405961" y="2952823"/>
                </a:lnTo>
                <a:close/>
                <a:moveTo>
                  <a:pt x="5559113" y="2923328"/>
                </a:moveTo>
                <a:lnTo>
                  <a:pt x="5588715" y="2923328"/>
                </a:lnTo>
                <a:lnTo>
                  <a:pt x="5588715" y="2952823"/>
                </a:lnTo>
                <a:lnTo>
                  <a:pt x="5559113" y="2952823"/>
                </a:lnTo>
                <a:close/>
                <a:moveTo>
                  <a:pt x="11139872" y="2923327"/>
                </a:moveTo>
                <a:lnTo>
                  <a:pt x="11169474" y="2923327"/>
                </a:lnTo>
                <a:lnTo>
                  <a:pt x="11169474" y="2952822"/>
                </a:lnTo>
                <a:lnTo>
                  <a:pt x="11139872" y="2952822"/>
                </a:lnTo>
                <a:close/>
                <a:moveTo>
                  <a:pt x="5293024" y="2923327"/>
                </a:moveTo>
                <a:lnTo>
                  <a:pt x="5322626" y="2923327"/>
                </a:lnTo>
                <a:lnTo>
                  <a:pt x="5322626" y="2952822"/>
                </a:lnTo>
                <a:lnTo>
                  <a:pt x="5293024" y="2952822"/>
                </a:lnTo>
                <a:close/>
                <a:moveTo>
                  <a:pt x="10873675" y="2923326"/>
                </a:moveTo>
                <a:lnTo>
                  <a:pt x="10903277" y="2923326"/>
                </a:lnTo>
                <a:lnTo>
                  <a:pt x="10903277" y="2952821"/>
                </a:lnTo>
                <a:lnTo>
                  <a:pt x="10873675" y="2952821"/>
                </a:lnTo>
                <a:close/>
                <a:moveTo>
                  <a:pt x="5026827" y="2923326"/>
                </a:moveTo>
                <a:lnTo>
                  <a:pt x="5056429" y="2923326"/>
                </a:lnTo>
                <a:lnTo>
                  <a:pt x="5056429" y="2952821"/>
                </a:lnTo>
                <a:lnTo>
                  <a:pt x="5026827" y="2952821"/>
                </a:lnTo>
                <a:close/>
                <a:moveTo>
                  <a:pt x="10607478" y="2923325"/>
                </a:moveTo>
                <a:lnTo>
                  <a:pt x="10637188" y="2923325"/>
                </a:lnTo>
                <a:lnTo>
                  <a:pt x="10637188" y="2952820"/>
                </a:lnTo>
                <a:lnTo>
                  <a:pt x="10607478" y="2952820"/>
                </a:lnTo>
                <a:close/>
                <a:moveTo>
                  <a:pt x="4760630" y="2923325"/>
                </a:moveTo>
                <a:lnTo>
                  <a:pt x="4790340" y="2923325"/>
                </a:lnTo>
                <a:lnTo>
                  <a:pt x="4790340" y="2952820"/>
                </a:lnTo>
                <a:lnTo>
                  <a:pt x="4760630" y="2952820"/>
                </a:lnTo>
                <a:close/>
                <a:moveTo>
                  <a:pt x="10341389" y="2923323"/>
                </a:moveTo>
                <a:lnTo>
                  <a:pt x="10370992" y="2923323"/>
                </a:lnTo>
                <a:lnTo>
                  <a:pt x="10370992" y="2952819"/>
                </a:lnTo>
                <a:lnTo>
                  <a:pt x="10341389" y="2952819"/>
                </a:lnTo>
                <a:close/>
                <a:moveTo>
                  <a:pt x="4494541" y="2923323"/>
                </a:moveTo>
                <a:lnTo>
                  <a:pt x="4524144" y="2923323"/>
                </a:lnTo>
                <a:lnTo>
                  <a:pt x="4524144" y="2952819"/>
                </a:lnTo>
                <a:lnTo>
                  <a:pt x="4494541" y="2952819"/>
                </a:lnTo>
                <a:close/>
                <a:moveTo>
                  <a:pt x="10075192" y="2923322"/>
                </a:moveTo>
                <a:lnTo>
                  <a:pt x="10104794" y="2923322"/>
                </a:lnTo>
                <a:lnTo>
                  <a:pt x="10104794" y="2952818"/>
                </a:lnTo>
                <a:lnTo>
                  <a:pt x="10075192" y="2952818"/>
                </a:lnTo>
                <a:close/>
                <a:moveTo>
                  <a:pt x="4228344" y="2923322"/>
                </a:moveTo>
                <a:lnTo>
                  <a:pt x="4257946" y="2923322"/>
                </a:lnTo>
                <a:lnTo>
                  <a:pt x="4257946" y="2952818"/>
                </a:lnTo>
                <a:lnTo>
                  <a:pt x="4228344" y="2952818"/>
                </a:lnTo>
                <a:close/>
                <a:moveTo>
                  <a:pt x="9809103" y="2923321"/>
                </a:moveTo>
                <a:lnTo>
                  <a:pt x="9838705" y="2923321"/>
                </a:lnTo>
                <a:lnTo>
                  <a:pt x="9838705" y="2952817"/>
                </a:lnTo>
                <a:lnTo>
                  <a:pt x="9809103" y="2952817"/>
                </a:lnTo>
                <a:close/>
                <a:moveTo>
                  <a:pt x="3962255" y="2923321"/>
                </a:moveTo>
                <a:lnTo>
                  <a:pt x="3991857" y="2923321"/>
                </a:lnTo>
                <a:lnTo>
                  <a:pt x="3991857" y="2952817"/>
                </a:lnTo>
                <a:lnTo>
                  <a:pt x="3962255" y="2952817"/>
                </a:lnTo>
                <a:close/>
                <a:moveTo>
                  <a:pt x="9542906" y="2923320"/>
                </a:moveTo>
                <a:lnTo>
                  <a:pt x="9572509" y="2923320"/>
                </a:lnTo>
                <a:lnTo>
                  <a:pt x="9572509" y="2952815"/>
                </a:lnTo>
                <a:lnTo>
                  <a:pt x="9542906" y="2952815"/>
                </a:lnTo>
                <a:close/>
                <a:moveTo>
                  <a:pt x="3696058" y="2923320"/>
                </a:moveTo>
                <a:lnTo>
                  <a:pt x="3725661" y="2923320"/>
                </a:lnTo>
                <a:lnTo>
                  <a:pt x="3725661" y="2952815"/>
                </a:lnTo>
                <a:lnTo>
                  <a:pt x="3696058" y="2952815"/>
                </a:lnTo>
                <a:close/>
                <a:moveTo>
                  <a:pt x="9276817" y="2923319"/>
                </a:moveTo>
                <a:lnTo>
                  <a:pt x="9306420" y="2923319"/>
                </a:lnTo>
                <a:lnTo>
                  <a:pt x="9306420" y="2952814"/>
                </a:lnTo>
                <a:lnTo>
                  <a:pt x="9276817" y="2952814"/>
                </a:lnTo>
                <a:close/>
                <a:moveTo>
                  <a:pt x="3429969" y="2923319"/>
                </a:moveTo>
                <a:lnTo>
                  <a:pt x="3459572" y="2923319"/>
                </a:lnTo>
                <a:lnTo>
                  <a:pt x="3459572" y="2952814"/>
                </a:lnTo>
                <a:lnTo>
                  <a:pt x="3429969" y="2952814"/>
                </a:lnTo>
                <a:close/>
                <a:moveTo>
                  <a:pt x="9010620" y="2923318"/>
                </a:moveTo>
                <a:lnTo>
                  <a:pt x="9040222" y="2923318"/>
                </a:lnTo>
                <a:lnTo>
                  <a:pt x="9040222" y="2952813"/>
                </a:lnTo>
                <a:lnTo>
                  <a:pt x="9010620" y="2952813"/>
                </a:lnTo>
                <a:close/>
                <a:moveTo>
                  <a:pt x="3163772" y="2923318"/>
                </a:moveTo>
                <a:lnTo>
                  <a:pt x="3193374" y="2923318"/>
                </a:lnTo>
                <a:lnTo>
                  <a:pt x="3193374" y="2952813"/>
                </a:lnTo>
                <a:lnTo>
                  <a:pt x="3163772" y="2952813"/>
                </a:lnTo>
                <a:close/>
                <a:moveTo>
                  <a:pt x="8744423" y="2923317"/>
                </a:moveTo>
                <a:lnTo>
                  <a:pt x="8774026" y="2923317"/>
                </a:lnTo>
                <a:lnTo>
                  <a:pt x="8774026" y="2952812"/>
                </a:lnTo>
                <a:lnTo>
                  <a:pt x="8744423" y="2952812"/>
                </a:lnTo>
                <a:close/>
                <a:moveTo>
                  <a:pt x="2897575" y="2923317"/>
                </a:moveTo>
                <a:lnTo>
                  <a:pt x="2927178" y="2923317"/>
                </a:lnTo>
                <a:lnTo>
                  <a:pt x="2927178" y="2952812"/>
                </a:lnTo>
                <a:lnTo>
                  <a:pt x="2897575" y="2952812"/>
                </a:lnTo>
                <a:close/>
                <a:moveTo>
                  <a:pt x="8478226" y="2923316"/>
                </a:moveTo>
                <a:lnTo>
                  <a:pt x="8507828" y="2923316"/>
                </a:lnTo>
                <a:lnTo>
                  <a:pt x="8507828" y="2952811"/>
                </a:lnTo>
                <a:lnTo>
                  <a:pt x="8478226" y="2952811"/>
                </a:lnTo>
                <a:close/>
                <a:moveTo>
                  <a:pt x="2631378" y="2923316"/>
                </a:moveTo>
                <a:lnTo>
                  <a:pt x="2660980" y="2923316"/>
                </a:lnTo>
                <a:lnTo>
                  <a:pt x="2660980" y="2952811"/>
                </a:lnTo>
                <a:lnTo>
                  <a:pt x="2631378" y="2952811"/>
                </a:lnTo>
                <a:close/>
                <a:moveTo>
                  <a:pt x="8212137" y="2923315"/>
                </a:moveTo>
                <a:lnTo>
                  <a:pt x="8241740" y="2923315"/>
                </a:lnTo>
                <a:lnTo>
                  <a:pt x="8241740" y="2952810"/>
                </a:lnTo>
                <a:lnTo>
                  <a:pt x="8212137" y="2952810"/>
                </a:lnTo>
                <a:close/>
                <a:moveTo>
                  <a:pt x="2365289" y="2923315"/>
                </a:moveTo>
                <a:lnTo>
                  <a:pt x="2394892" y="2923315"/>
                </a:lnTo>
                <a:lnTo>
                  <a:pt x="2394892" y="2952810"/>
                </a:lnTo>
                <a:lnTo>
                  <a:pt x="2365289" y="2952810"/>
                </a:lnTo>
                <a:close/>
                <a:moveTo>
                  <a:pt x="7945940" y="2923314"/>
                </a:moveTo>
                <a:lnTo>
                  <a:pt x="7975543" y="2923314"/>
                </a:lnTo>
                <a:lnTo>
                  <a:pt x="7975543" y="2952809"/>
                </a:lnTo>
                <a:lnTo>
                  <a:pt x="7945940" y="2952809"/>
                </a:lnTo>
                <a:close/>
                <a:moveTo>
                  <a:pt x="2099092" y="2923314"/>
                </a:moveTo>
                <a:lnTo>
                  <a:pt x="2128695" y="2923314"/>
                </a:lnTo>
                <a:lnTo>
                  <a:pt x="2128695" y="2952809"/>
                </a:lnTo>
                <a:lnTo>
                  <a:pt x="2099092" y="2952809"/>
                </a:lnTo>
                <a:close/>
                <a:moveTo>
                  <a:pt x="7679743" y="2923313"/>
                </a:moveTo>
                <a:lnTo>
                  <a:pt x="7709346" y="2923313"/>
                </a:lnTo>
                <a:lnTo>
                  <a:pt x="7709346" y="2952808"/>
                </a:lnTo>
                <a:lnTo>
                  <a:pt x="7679743" y="2952808"/>
                </a:lnTo>
                <a:close/>
                <a:moveTo>
                  <a:pt x="1832898" y="2923313"/>
                </a:moveTo>
                <a:lnTo>
                  <a:pt x="1862498" y="2923313"/>
                </a:lnTo>
                <a:lnTo>
                  <a:pt x="1862498" y="2952808"/>
                </a:lnTo>
                <a:lnTo>
                  <a:pt x="1832898" y="2952808"/>
                </a:lnTo>
                <a:close/>
                <a:moveTo>
                  <a:pt x="7413653" y="2923312"/>
                </a:moveTo>
                <a:lnTo>
                  <a:pt x="7443256" y="2923312"/>
                </a:lnTo>
                <a:lnTo>
                  <a:pt x="7443256" y="2952807"/>
                </a:lnTo>
                <a:lnTo>
                  <a:pt x="7413653" y="2952807"/>
                </a:lnTo>
                <a:close/>
                <a:moveTo>
                  <a:pt x="1566808" y="2923312"/>
                </a:moveTo>
                <a:lnTo>
                  <a:pt x="1596409" y="2923312"/>
                </a:lnTo>
                <a:lnTo>
                  <a:pt x="1596409" y="2952807"/>
                </a:lnTo>
                <a:lnTo>
                  <a:pt x="1566808" y="2952807"/>
                </a:lnTo>
                <a:close/>
                <a:moveTo>
                  <a:pt x="7147456" y="2923311"/>
                </a:moveTo>
                <a:lnTo>
                  <a:pt x="7177058" y="2923311"/>
                </a:lnTo>
                <a:lnTo>
                  <a:pt x="7177058" y="2952806"/>
                </a:lnTo>
                <a:lnTo>
                  <a:pt x="7147456" y="2952806"/>
                </a:lnTo>
                <a:close/>
                <a:moveTo>
                  <a:pt x="1300611" y="2923311"/>
                </a:moveTo>
                <a:lnTo>
                  <a:pt x="1330213" y="2923311"/>
                </a:lnTo>
                <a:lnTo>
                  <a:pt x="1330213" y="2952806"/>
                </a:lnTo>
                <a:lnTo>
                  <a:pt x="1300611" y="2952806"/>
                </a:lnTo>
                <a:close/>
                <a:moveTo>
                  <a:pt x="6881367" y="2923310"/>
                </a:moveTo>
                <a:lnTo>
                  <a:pt x="6910970" y="2923310"/>
                </a:lnTo>
                <a:lnTo>
                  <a:pt x="6910970" y="2952805"/>
                </a:lnTo>
                <a:lnTo>
                  <a:pt x="6881367" y="2952805"/>
                </a:lnTo>
                <a:close/>
                <a:moveTo>
                  <a:pt x="1034520" y="2923310"/>
                </a:moveTo>
                <a:lnTo>
                  <a:pt x="1064123" y="2923310"/>
                </a:lnTo>
                <a:lnTo>
                  <a:pt x="1064123" y="2952805"/>
                </a:lnTo>
                <a:lnTo>
                  <a:pt x="1034520" y="2952805"/>
                </a:lnTo>
                <a:close/>
                <a:moveTo>
                  <a:pt x="6615170" y="2923309"/>
                </a:moveTo>
                <a:lnTo>
                  <a:pt x="6644773" y="2923309"/>
                </a:lnTo>
                <a:lnTo>
                  <a:pt x="6644773" y="2952804"/>
                </a:lnTo>
                <a:lnTo>
                  <a:pt x="6615170" y="2952804"/>
                </a:lnTo>
                <a:close/>
                <a:moveTo>
                  <a:pt x="768327" y="2923309"/>
                </a:moveTo>
                <a:lnTo>
                  <a:pt x="797926" y="2923309"/>
                </a:lnTo>
                <a:lnTo>
                  <a:pt x="797926" y="2952804"/>
                </a:lnTo>
                <a:lnTo>
                  <a:pt x="768327" y="2952804"/>
                </a:lnTo>
                <a:close/>
                <a:moveTo>
                  <a:pt x="6349081" y="2923308"/>
                </a:moveTo>
                <a:lnTo>
                  <a:pt x="6378683" y="2923308"/>
                </a:lnTo>
                <a:lnTo>
                  <a:pt x="6378683" y="2952803"/>
                </a:lnTo>
                <a:lnTo>
                  <a:pt x="6349081" y="2952803"/>
                </a:lnTo>
                <a:close/>
                <a:moveTo>
                  <a:pt x="502236" y="2923308"/>
                </a:moveTo>
                <a:lnTo>
                  <a:pt x="531838" y="2923308"/>
                </a:lnTo>
                <a:lnTo>
                  <a:pt x="531838" y="2952803"/>
                </a:lnTo>
                <a:lnTo>
                  <a:pt x="502236" y="2952803"/>
                </a:lnTo>
                <a:close/>
                <a:moveTo>
                  <a:pt x="6082884" y="2923307"/>
                </a:moveTo>
                <a:lnTo>
                  <a:pt x="6112486" y="2923307"/>
                </a:lnTo>
                <a:lnTo>
                  <a:pt x="6112486" y="2952802"/>
                </a:lnTo>
                <a:lnTo>
                  <a:pt x="6082884" y="2952802"/>
                </a:lnTo>
                <a:close/>
                <a:moveTo>
                  <a:pt x="236037" y="2923307"/>
                </a:moveTo>
                <a:lnTo>
                  <a:pt x="265639" y="2923307"/>
                </a:lnTo>
                <a:lnTo>
                  <a:pt x="265639" y="2952802"/>
                </a:lnTo>
                <a:lnTo>
                  <a:pt x="236037" y="2952802"/>
                </a:lnTo>
                <a:close/>
                <a:moveTo>
                  <a:pt x="1" y="2923307"/>
                </a:moveTo>
                <a:lnTo>
                  <a:pt x="29603" y="2923307"/>
                </a:lnTo>
                <a:lnTo>
                  <a:pt x="29603" y="2952802"/>
                </a:lnTo>
                <a:lnTo>
                  <a:pt x="1" y="2952802"/>
                </a:lnTo>
                <a:close/>
                <a:moveTo>
                  <a:pt x="11672158" y="2657500"/>
                </a:moveTo>
                <a:lnTo>
                  <a:pt x="11701760" y="2657500"/>
                </a:lnTo>
                <a:lnTo>
                  <a:pt x="11701760" y="2687101"/>
                </a:lnTo>
                <a:lnTo>
                  <a:pt x="11672158" y="2687101"/>
                </a:lnTo>
                <a:close/>
                <a:moveTo>
                  <a:pt x="5825310" y="2657500"/>
                </a:moveTo>
                <a:lnTo>
                  <a:pt x="5854913" y="2657500"/>
                </a:lnTo>
                <a:lnTo>
                  <a:pt x="5854913" y="2687101"/>
                </a:lnTo>
                <a:lnTo>
                  <a:pt x="5825310" y="2687101"/>
                </a:lnTo>
                <a:close/>
                <a:moveTo>
                  <a:pt x="11405961" y="2657497"/>
                </a:moveTo>
                <a:lnTo>
                  <a:pt x="11435563" y="2657497"/>
                </a:lnTo>
                <a:lnTo>
                  <a:pt x="11435563" y="2687099"/>
                </a:lnTo>
                <a:lnTo>
                  <a:pt x="11405961" y="2687099"/>
                </a:lnTo>
                <a:close/>
                <a:moveTo>
                  <a:pt x="5559113" y="2657497"/>
                </a:moveTo>
                <a:lnTo>
                  <a:pt x="5588715" y="2657497"/>
                </a:lnTo>
                <a:lnTo>
                  <a:pt x="5588715" y="2687099"/>
                </a:lnTo>
                <a:lnTo>
                  <a:pt x="5559113" y="2687099"/>
                </a:lnTo>
                <a:close/>
                <a:moveTo>
                  <a:pt x="11139872" y="2657494"/>
                </a:moveTo>
                <a:lnTo>
                  <a:pt x="11169474" y="2657494"/>
                </a:lnTo>
                <a:lnTo>
                  <a:pt x="11169474" y="2687096"/>
                </a:lnTo>
                <a:lnTo>
                  <a:pt x="11139872" y="2687096"/>
                </a:lnTo>
                <a:close/>
                <a:moveTo>
                  <a:pt x="5293024" y="2657494"/>
                </a:moveTo>
                <a:lnTo>
                  <a:pt x="5322626" y="2657494"/>
                </a:lnTo>
                <a:lnTo>
                  <a:pt x="5322626" y="2687096"/>
                </a:lnTo>
                <a:lnTo>
                  <a:pt x="5293024" y="2687096"/>
                </a:lnTo>
                <a:close/>
                <a:moveTo>
                  <a:pt x="10873675" y="2657491"/>
                </a:moveTo>
                <a:lnTo>
                  <a:pt x="10903277" y="2657491"/>
                </a:lnTo>
                <a:lnTo>
                  <a:pt x="10903277" y="2687093"/>
                </a:lnTo>
                <a:lnTo>
                  <a:pt x="10873675" y="2687093"/>
                </a:lnTo>
                <a:close/>
                <a:moveTo>
                  <a:pt x="5026827" y="2657491"/>
                </a:moveTo>
                <a:lnTo>
                  <a:pt x="5056429" y="2657491"/>
                </a:lnTo>
                <a:lnTo>
                  <a:pt x="5056429" y="2687093"/>
                </a:lnTo>
                <a:lnTo>
                  <a:pt x="5026827" y="2687093"/>
                </a:lnTo>
                <a:close/>
                <a:moveTo>
                  <a:pt x="10607478" y="2657488"/>
                </a:moveTo>
                <a:lnTo>
                  <a:pt x="10637188" y="2657488"/>
                </a:lnTo>
                <a:lnTo>
                  <a:pt x="10637188" y="2687090"/>
                </a:lnTo>
                <a:lnTo>
                  <a:pt x="10607478" y="2687090"/>
                </a:lnTo>
                <a:close/>
                <a:moveTo>
                  <a:pt x="4760630" y="2657488"/>
                </a:moveTo>
                <a:lnTo>
                  <a:pt x="4790340" y="2657488"/>
                </a:lnTo>
                <a:lnTo>
                  <a:pt x="4790340" y="2687090"/>
                </a:lnTo>
                <a:lnTo>
                  <a:pt x="4760630" y="2687090"/>
                </a:lnTo>
                <a:close/>
                <a:moveTo>
                  <a:pt x="10341389" y="2657485"/>
                </a:moveTo>
                <a:lnTo>
                  <a:pt x="10370992" y="2657485"/>
                </a:lnTo>
                <a:lnTo>
                  <a:pt x="10370992" y="2687087"/>
                </a:lnTo>
                <a:lnTo>
                  <a:pt x="10341389" y="2687087"/>
                </a:lnTo>
                <a:close/>
                <a:moveTo>
                  <a:pt x="4494541" y="2657485"/>
                </a:moveTo>
                <a:lnTo>
                  <a:pt x="4524144" y="2657485"/>
                </a:lnTo>
                <a:lnTo>
                  <a:pt x="4524144" y="2687087"/>
                </a:lnTo>
                <a:lnTo>
                  <a:pt x="4494541" y="2687087"/>
                </a:lnTo>
                <a:close/>
                <a:moveTo>
                  <a:pt x="10075192" y="2657482"/>
                </a:moveTo>
                <a:lnTo>
                  <a:pt x="10104794" y="2657482"/>
                </a:lnTo>
                <a:lnTo>
                  <a:pt x="10104794" y="2687083"/>
                </a:lnTo>
                <a:lnTo>
                  <a:pt x="10075192" y="2687083"/>
                </a:lnTo>
                <a:close/>
                <a:moveTo>
                  <a:pt x="4228344" y="2657482"/>
                </a:moveTo>
                <a:lnTo>
                  <a:pt x="4257946" y="2657482"/>
                </a:lnTo>
                <a:lnTo>
                  <a:pt x="4257946" y="2687083"/>
                </a:lnTo>
                <a:lnTo>
                  <a:pt x="4228344" y="2687083"/>
                </a:lnTo>
                <a:close/>
                <a:moveTo>
                  <a:pt x="9809103" y="2657478"/>
                </a:moveTo>
                <a:lnTo>
                  <a:pt x="9838705" y="2657478"/>
                </a:lnTo>
                <a:lnTo>
                  <a:pt x="9838705" y="2687080"/>
                </a:lnTo>
                <a:lnTo>
                  <a:pt x="9809103" y="2687080"/>
                </a:lnTo>
                <a:close/>
                <a:moveTo>
                  <a:pt x="3962255" y="2657478"/>
                </a:moveTo>
                <a:lnTo>
                  <a:pt x="3991857" y="2657478"/>
                </a:lnTo>
                <a:lnTo>
                  <a:pt x="3991857" y="2687080"/>
                </a:lnTo>
                <a:lnTo>
                  <a:pt x="3962255" y="2687080"/>
                </a:lnTo>
                <a:close/>
                <a:moveTo>
                  <a:pt x="9542906" y="2657475"/>
                </a:moveTo>
                <a:lnTo>
                  <a:pt x="9572509" y="2657475"/>
                </a:lnTo>
                <a:lnTo>
                  <a:pt x="9572509" y="2687077"/>
                </a:lnTo>
                <a:lnTo>
                  <a:pt x="9542906" y="2687077"/>
                </a:lnTo>
                <a:close/>
                <a:moveTo>
                  <a:pt x="3696058" y="2657475"/>
                </a:moveTo>
                <a:lnTo>
                  <a:pt x="3725661" y="2657475"/>
                </a:lnTo>
                <a:lnTo>
                  <a:pt x="3725661" y="2687077"/>
                </a:lnTo>
                <a:lnTo>
                  <a:pt x="3696058" y="2687077"/>
                </a:lnTo>
                <a:close/>
                <a:moveTo>
                  <a:pt x="9276817" y="2657472"/>
                </a:moveTo>
                <a:lnTo>
                  <a:pt x="9306420" y="2657472"/>
                </a:lnTo>
                <a:lnTo>
                  <a:pt x="9306420" y="2687074"/>
                </a:lnTo>
                <a:lnTo>
                  <a:pt x="9276817" y="2687074"/>
                </a:lnTo>
                <a:close/>
                <a:moveTo>
                  <a:pt x="3429969" y="2657472"/>
                </a:moveTo>
                <a:lnTo>
                  <a:pt x="3459572" y="2657472"/>
                </a:lnTo>
                <a:lnTo>
                  <a:pt x="3459572" y="2687074"/>
                </a:lnTo>
                <a:lnTo>
                  <a:pt x="3429969" y="2687074"/>
                </a:lnTo>
                <a:close/>
                <a:moveTo>
                  <a:pt x="9010620" y="2657469"/>
                </a:moveTo>
                <a:lnTo>
                  <a:pt x="9040222" y="2657469"/>
                </a:lnTo>
                <a:lnTo>
                  <a:pt x="9040222" y="2687071"/>
                </a:lnTo>
                <a:lnTo>
                  <a:pt x="9010620" y="2687071"/>
                </a:lnTo>
                <a:close/>
                <a:moveTo>
                  <a:pt x="3163772" y="2657469"/>
                </a:moveTo>
                <a:lnTo>
                  <a:pt x="3193374" y="2657469"/>
                </a:lnTo>
                <a:lnTo>
                  <a:pt x="3193374" y="2687071"/>
                </a:lnTo>
                <a:lnTo>
                  <a:pt x="3163772" y="2687071"/>
                </a:lnTo>
                <a:close/>
                <a:moveTo>
                  <a:pt x="8744423" y="2657466"/>
                </a:moveTo>
                <a:lnTo>
                  <a:pt x="8774026" y="2657466"/>
                </a:lnTo>
                <a:lnTo>
                  <a:pt x="8774026" y="2687068"/>
                </a:lnTo>
                <a:lnTo>
                  <a:pt x="8744423" y="2687068"/>
                </a:lnTo>
                <a:close/>
                <a:moveTo>
                  <a:pt x="2897575" y="2657466"/>
                </a:moveTo>
                <a:lnTo>
                  <a:pt x="2927178" y="2657466"/>
                </a:lnTo>
                <a:lnTo>
                  <a:pt x="2927178" y="2687068"/>
                </a:lnTo>
                <a:lnTo>
                  <a:pt x="2897575" y="2687068"/>
                </a:lnTo>
                <a:close/>
                <a:moveTo>
                  <a:pt x="8478226" y="2657462"/>
                </a:moveTo>
                <a:lnTo>
                  <a:pt x="8507828" y="2657462"/>
                </a:lnTo>
                <a:lnTo>
                  <a:pt x="8507828" y="2687064"/>
                </a:lnTo>
                <a:lnTo>
                  <a:pt x="8478226" y="2687064"/>
                </a:lnTo>
                <a:close/>
                <a:moveTo>
                  <a:pt x="2631378" y="2657462"/>
                </a:moveTo>
                <a:lnTo>
                  <a:pt x="2660980" y="2657462"/>
                </a:lnTo>
                <a:lnTo>
                  <a:pt x="2660980" y="2687064"/>
                </a:lnTo>
                <a:lnTo>
                  <a:pt x="2631378" y="2687064"/>
                </a:lnTo>
                <a:close/>
                <a:moveTo>
                  <a:pt x="8212137" y="2657459"/>
                </a:moveTo>
                <a:lnTo>
                  <a:pt x="8241740" y="2657459"/>
                </a:lnTo>
                <a:lnTo>
                  <a:pt x="8241740" y="2687061"/>
                </a:lnTo>
                <a:lnTo>
                  <a:pt x="8212137" y="2687061"/>
                </a:lnTo>
                <a:close/>
                <a:moveTo>
                  <a:pt x="2365289" y="2657459"/>
                </a:moveTo>
                <a:lnTo>
                  <a:pt x="2394892" y="2657459"/>
                </a:lnTo>
                <a:lnTo>
                  <a:pt x="2394892" y="2687061"/>
                </a:lnTo>
                <a:lnTo>
                  <a:pt x="2365289" y="2687061"/>
                </a:lnTo>
                <a:close/>
                <a:moveTo>
                  <a:pt x="7945940" y="2657456"/>
                </a:moveTo>
                <a:lnTo>
                  <a:pt x="7975543" y="2657456"/>
                </a:lnTo>
                <a:lnTo>
                  <a:pt x="7975543" y="2687058"/>
                </a:lnTo>
                <a:lnTo>
                  <a:pt x="7945940" y="2687058"/>
                </a:lnTo>
                <a:close/>
                <a:moveTo>
                  <a:pt x="2099092" y="2657456"/>
                </a:moveTo>
                <a:lnTo>
                  <a:pt x="2128695" y="2657456"/>
                </a:lnTo>
                <a:lnTo>
                  <a:pt x="2128695" y="2687058"/>
                </a:lnTo>
                <a:lnTo>
                  <a:pt x="2099092" y="2687058"/>
                </a:lnTo>
                <a:close/>
                <a:moveTo>
                  <a:pt x="7679743" y="2657453"/>
                </a:moveTo>
                <a:lnTo>
                  <a:pt x="7709346" y="2657453"/>
                </a:lnTo>
                <a:lnTo>
                  <a:pt x="7709346" y="2687055"/>
                </a:lnTo>
                <a:lnTo>
                  <a:pt x="7679743" y="2687055"/>
                </a:lnTo>
                <a:close/>
                <a:moveTo>
                  <a:pt x="1832898" y="2657453"/>
                </a:moveTo>
                <a:lnTo>
                  <a:pt x="1862498" y="2657453"/>
                </a:lnTo>
                <a:lnTo>
                  <a:pt x="1862498" y="2687055"/>
                </a:lnTo>
                <a:lnTo>
                  <a:pt x="1832898" y="2687055"/>
                </a:lnTo>
                <a:close/>
                <a:moveTo>
                  <a:pt x="7413653" y="2657450"/>
                </a:moveTo>
                <a:lnTo>
                  <a:pt x="7443256" y="2657450"/>
                </a:lnTo>
                <a:lnTo>
                  <a:pt x="7443256" y="2687052"/>
                </a:lnTo>
                <a:lnTo>
                  <a:pt x="7413653" y="2687052"/>
                </a:lnTo>
                <a:close/>
                <a:moveTo>
                  <a:pt x="1566808" y="2657450"/>
                </a:moveTo>
                <a:lnTo>
                  <a:pt x="1596409" y="2657450"/>
                </a:lnTo>
                <a:lnTo>
                  <a:pt x="1596409" y="2687052"/>
                </a:lnTo>
                <a:lnTo>
                  <a:pt x="1566808" y="2687052"/>
                </a:lnTo>
                <a:close/>
                <a:moveTo>
                  <a:pt x="7147456" y="2657447"/>
                </a:moveTo>
                <a:lnTo>
                  <a:pt x="7177058" y="2657447"/>
                </a:lnTo>
                <a:lnTo>
                  <a:pt x="7177058" y="2687049"/>
                </a:lnTo>
                <a:lnTo>
                  <a:pt x="7147456" y="2687049"/>
                </a:lnTo>
                <a:close/>
                <a:moveTo>
                  <a:pt x="1300611" y="2657447"/>
                </a:moveTo>
                <a:lnTo>
                  <a:pt x="1330213" y="2657447"/>
                </a:lnTo>
                <a:lnTo>
                  <a:pt x="1330213" y="2687049"/>
                </a:lnTo>
                <a:lnTo>
                  <a:pt x="1300611" y="2687049"/>
                </a:lnTo>
                <a:close/>
                <a:moveTo>
                  <a:pt x="6881367" y="2657443"/>
                </a:moveTo>
                <a:lnTo>
                  <a:pt x="6910970" y="2657443"/>
                </a:lnTo>
                <a:lnTo>
                  <a:pt x="6910970" y="2687045"/>
                </a:lnTo>
                <a:lnTo>
                  <a:pt x="6881367" y="2687045"/>
                </a:lnTo>
                <a:close/>
                <a:moveTo>
                  <a:pt x="1034520" y="2657443"/>
                </a:moveTo>
                <a:lnTo>
                  <a:pt x="1064123" y="2657443"/>
                </a:lnTo>
                <a:lnTo>
                  <a:pt x="1064123" y="2687045"/>
                </a:lnTo>
                <a:lnTo>
                  <a:pt x="1034520" y="2687045"/>
                </a:lnTo>
                <a:close/>
                <a:moveTo>
                  <a:pt x="6615170" y="2657440"/>
                </a:moveTo>
                <a:lnTo>
                  <a:pt x="6644773" y="2657440"/>
                </a:lnTo>
                <a:lnTo>
                  <a:pt x="6644773" y="2687042"/>
                </a:lnTo>
                <a:lnTo>
                  <a:pt x="6615170" y="2687042"/>
                </a:lnTo>
                <a:close/>
                <a:moveTo>
                  <a:pt x="768327" y="2657440"/>
                </a:moveTo>
                <a:lnTo>
                  <a:pt x="797926" y="2657440"/>
                </a:lnTo>
                <a:lnTo>
                  <a:pt x="797926" y="2687042"/>
                </a:lnTo>
                <a:lnTo>
                  <a:pt x="768327" y="2687042"/>
                </a:lnTo>
                <a:close/>
                <a:moveTo>
                  <a:pt x="6349081" y="2657437"/>
                </a:moveTo>
                <a:lnTo>
                  <a:pt x="6378683" y="2657437"/>
                </a:lnTo>
                <a:lnTo>
                  <a:pt x="6378683" y="2687039"/>
                </a:lnTo>
                <a:lnTo>
                  <a:pt x="6349081" y="2687039"/>
                </a:lnTo>
                <a:close/>
                <a:moveTo>
                  <a:pt x="502236" y="2657437"/>
                </a:moveTo>
                <a:lnTo>
                  <a:pt x="531838" y="2657437"/>
                </a:lnTo>
                <a:lnTo>
                  <a:pt x="531838" y="2687039"/>
                </a:lnTo>
                <a:lnTo>
                  <a:pt x="502236" y="2687039"/>
                </a:lnTo>
                <a:close/>
                <a:moveTo>
                  <a:pt x="6082884" y="2657434"/>
                </a:moveTo>
                <a:lnTo>
                  <a:pt x="6112486" y="2657434"/>
                </a:lnTo>
                <a:lnTo>
                  <a:pt x="6112486" y="2687036"/>
                </a:lnTo>
                <a:lnTo>
                  <a:pt x="6082884" y="2687036"/>
                </a:lnTo>
                <a:close/>
                <a:moveTo>
                  <a:pt x="236037" y="2657434"/>
                </a:moveTo>
                <a:lnTo>
                  <a:pt x="265639" y="2657434"/>
                </a:lnTo>
                <a:lnTo>
                  <a:pt x="265639" y="2687036"/>
                </a:lnTo>
                <a:lnTo>
                  <a:pt x="236037" y="2687036"/>
                </a:lnTo>
                <a:close/>
                <a:moveTo>
                  <a:pt x="1" y="2657434"/>
                </a:moveTo>
                <a:lnTo>
                  <a:pt x="29603" y="2657434"/>
                </a:lnTo>
                <a:lnTo>
                  <a:pt x="29603" y="2687036"/>
                </a:lnTo>
                <a:lnTo>
                  <a:pt x="1" y="2687036"/>
                </a:lnTo>
                <a:close/>
                <a:moveTo>
                  <a:pt x="11672158" y="2391735"/>
                </a:moveTo>
                <a:lnTo>
                  <a:pt x="11701760" y="2391735"/>
                </a:lnTo>
                <a:lnTo>
                  <a:pt x="11701760" y="2421368"/>
                </a:lnTo>
                <a:lnTo>
                  <a:pt x="11672158" y="2421368"/>
                </a:lnTo>
                <a:close/>
                <a:moveTo>
                  <a:pt x="5825310" y="2391735"/>
                </a:moveTo>
                <a:lnTo>
                  <a:pt x="5854913" y="2391735"/>
                </a:lnTo>
                <a:lnTo>
                  <a:pt x="5854913" y="2421368"/>
                </a:lnTo>
                <a:lnTo>
                  <a:pt x="5825310" y="2421368"/>
                </a:lnTo>
                <a:close/>
                <a:moveTo>
                  <a:pt x="11405961" y="2391732"/>
                </a:moveTo>
                <a:lnTo>
                  <a:pt x="11435563" y="2391732"/>
                </a:lnTo>
                <a:lnTo>
                  <a:pt x="11435563" y="2421368"/>
                </a:lnTo>
                <a:lnTo>
                  <a:pt x="11405961" y="2421368"/>
                </a:lnTo>
                <a:close/>
                <a:moveTo>
                  <a:pt x="5559113" y="2391732"/>
                </a:moveTo>
                <a:lnTo>
                  <a:pt x="5588715" y="2391732"/>
                </a:lnTo>
                <a:lnTo>
                  <a:pt x="5588715" y="2421368"/>
                </a:lnTo>
                <a:lnTo>
                  <a:pt x="5559113" y="2421368"/>
                </a:lnTo>
                <a:close/>
                <a:moveTo>
                  <a:pt x="11139872" y="2391729"/>
                </a:moveTo>
                <a:lnTo>
                  <a:pt x="11169474" y="2391729"/>
                </a:lnTo>
                <a:lnTo>
                  <a:pt x="11169474" y="2421364"/>
                </a:lnTo>
                <a:lnTo>
                  <a:pt x="11139872" y="2421364"/>
                </a:lnTo>
                <a:close/>
                <a:moveTo>
                  <a:pt x="5293024" y="2391729"/>
                </a:moveTo>
                <a:lnTo>
                  <a:pt x="5322626" y="2391729"/>
                </a:lnTo>
                <a:lnTo>
                  <a:pt x="5322626" y="2421364"/>
                </a:lnTo>
                <a:lnTo>
                  <a:pt x="5293024" y="2421364"/>
                </a:lnTo>
                <a:close/>
                <a:moveTo>
                  <a:pt x="10873675" y="2391726"/>
                </a:moveTo>
                <a:lnTo>
                  <a:pt x="10903277" y="2391726"/>
                </a:lnTo>
                <a:lnTo>
                  <a:pt x="10903277" y="2421359"/>
                </a:lnTo>
                <a:lnTo>
                  <a:pt x="10873675" y="2421359"/>
                </a:lnTo>
                <a:close/>
                <a:moveTo>
                  <a:pt x="5026827" y="2391726"/>
                </a:moveTo>
                <a:lnTo>
                  <a:pt x="5056429" y="2391726"/>
                </a:lnTo>
                <a:lnTo>
                  <a:pt x="5056429" y="2421359"/>
                </a:lnTo>
                <a:lnTo>
                  <a:pt x="5026827" y="2421359"/>
                </a:lnTo>
                <a:close/>
                <a:moveTo>
                  <a:pt x="10607478" y="2391725"/>
                </a:moveTo>
                <a:lnTo>
                  <a:pt x="10637188" y="2391725"/>
                </a:lnTo>
                <a:lnTo>
                  <a:pt x="10637188" y="2421354"/>
                </a:lnTo>
                <a:lnTo>
                  <a:pt x="10607478" y="2421354"/>
                </a:lnTo>
                <a:close/>
                <a:moveTo>
                  <a:pt x="4760630" y="2391725"/>
                </a:moveTo>
                <a:lnTo>
                  <a:pt x="4790340" y="2391725"/>
                </a:lnTo>
                <a:lnTo>
                  <a:pt x="4790340" y="2421354"/>
                </a:lnTo>
                <a:lnTo>
                  <a:pt x="4760630" y="2421354"/>
                </a:lnTo>
                <a:close/>
                <a:moveTo>
                  <a:pt x="10341389" y="2391720"/>
                </a:moveTo>
                <a:lnTo>
                  <a:pt x="10370992" y="2391720"/>
                </a:lnTo>
                <a:lnTo>
                  <a:pt x="10370992" y="2421349"/>
                </a:lnTo>
                <a:lnTo>
                  <a:pt x="10341389" y="2421349"/>
                </a:lnTo>
                <a:close/>
                <a:moveTo>
                  <a:pt x="4494541" y="2391720"/>
                </a:moveTo>
                <a:lnTo>
                  <a:pt x="4524144" y="2391720"/>
                </a:lnTo>
                <a:lnTo>
                  <a:pt x="4524144" y="2421349"/>
                </a:lnTo>
                <a:lnTo>
                  <a:pt x="4494541" y="2421349"/>
                </a:lnTo>
                <a:close/>
                <a:moveTo>
                  <a:pt x="10075192" y="2391716"/>
                </a:moveTo>
                <a:lnTo>
                  <a:pt x="10104794" y="2391716"/>
                </a:lnTo>
                <a:lnTo>
                  <a:pt x="10104794" y="2421345"/>
                </a:lnTo>
                <a:lnTo>
                  <a:pt x="10075192" y="2421345"/>
                </a:lnTo>
                <a:close/>
                <a:moveTo>
                  <a:pt x="4228344" y="2391716"/>
                </a:moveTo>
                <a:lnTo>
                  <a:pt x="4257946" y="2391716"/>
                </a:lnTo>
                <a:lnTo>
                  <a:pt x="4257946" y="2421345"/>
                </a:lnTo>
                <a:lnTo>
                  <a:pt x="4228344" y="2421345"/>
                </a:lnTo>
                <a:close/>
                <a:moveTo>
                  <a:pt x="9809103" y="2391713"/>
                </a:moveTo>
                <a:lnTo>
                  <a:pt x="9838705" y="2391713"/>
                </a:lnTo>
                <a:lnTo>
                  <a:pt x="9838705" y="2421340"/>
                </a:lnTo>
                <a:lnTo>
                  <a:pt x="9809103" y="2421340"/>
                </a:lnTo>
                <a:close/>
                <a:moveTo>
                  <a:pt x="3962255" y="2391713"/>
                </a:moveTo>
                <a:lnTo>
                  <a:pt x="3991857" y="2391713"/>
                </a:lnTo>
                <a:lnTo>
                  <a:pt x="3991857" y="2421340"/>
                </a:lnTo>
                <a:lnTo>
                  <a:pt x="3962255" y="2421340"/>
                </a:lnTo>
                <a:close/>
                <a:moveTo>
                  <a:pt x="9542906" y="2391710"/>
                </a:moveTo>
                <a:lnTo>
                  <a:pt x="9572509" y="2391710"/>
                </a:lnTo>
                <a:lnTo>
                  <a:pt x="9572509" y="2421336"/>
                </a:lnTo>
                <a:lnTo>
                  <a:pt x="9542906" y="2421336"/>
                </a:lnTo>
                <a:close/>
                <a:moveTo>
                  <a:pt x="3696058" y="2391710"/>
                </a:moveTo>
                <a:lnTo>
                  <a:pt x="3725661" y="2391710"/>
                </a:lnTo>
                <a:lnTo>
                  <a:pt x="3725661" y="2421336"/>
                </a:lnTo>
                <a:lnTo>
                  <a:pt x="3696058" y="2421336"/>
                </a:lnTo>
                <a:close/>
                <a:moveTo>
                  <a:pt x="9276817" y="2391707"/>
                </a:moveTo>
                <a:lnTo>
                  <a:pt x="9306420" y="2391707"/>
                </a:lnTo>
                <a:lnTo>
                  <a:pt x="9306420" y="2421331"/>
                </a:lnTo>
                <a:lnTo>
                  <a:pt x="9276817" y="2421331"/>
                </a:lnTo>
                <a:close/>
                <a:moveTo>
                  <a:pt x="3429969" y="2391707"/>
                </a:moveTo>
                <a:lnTo>
                  <a:pt x="3459572" y="2391707"/>
                </a:lnTo>
                <a:lnTo>
                  <a:pt x="3459572" y="2421331"/>
                </a:lnTo>
                <a:lnTo>
                  <a:pt x="3429969" y="2421331"/>
                </a:lnTo>
                <a:close/>
                <a:moveTo>
                  <a:pt x="9010620" y="2391706"/>
                </a:moveTo>
                <a:lnTo>
                  <a:pt x="9040222" y="2391706"/>
                </a:lnTo>
                <a:lnTo>
                  <a:pt x="9040222" y="2421326"/>
                </a:lnTo>
                <a:lnTo>
                  <a:pt x="9010620" y="2421326"/>
                </a:lnTo>
                <a:close/>
                <a:moveTo>
                  <a:pt x="3163772" y="2391706"/>
                </a:moveTo>
                <a:lnTo>
                  <a:pt x="3193374" y="2391706"/>
                </a:lnTo>
                <a:lnTo>
                  <a:pt x="3193374" y="2421326"/>
                </a:lnTo>
                <a:lnTo>
                  <a:pt x="3163772" y="2421326"/>
                </a:lnTo>
                <a:close/>
                <a:moveTo>
                  <a:pt x="8744423" y="2391701"/>
                </a:moveTo>
                <a:lnTo>
                  <a:pt x="8774026" y="2391701"/>
                </a:lnTo>
                <a:lnTo>
                  <a:pt x="8774026" y="2421321"/>
                </a:lnTo>
                <a:lnTo>
                  <a:pt x="8744423" y="2421321"/>
                </a:lnTo>
                <a:close/>
                <a:moveTo>
                  <a:pt x="2897575" y="2391701"/>
                </a:moveTo>
                <a:lnTo>
                  <a:pt x="2927178" y="2391701"/>
                </a:lnTo>
                <a:lnTo>
                  <a:pt x="2927178" y="2421321"/>
                </a:lnTo>
                <a:lnTo>
                  <a:pt x="2897575" y="2421321"/>
                </a:lnTo>
                <a:close/>
                <a:moveTo>
                  <a:pt x="8478226" y="2391697"/>
                </a:moveTo>
                <a:lnTo>
                  <a:pt x="8507828" y="2391697"/>
                </a:lnTo>
                <a:lnTo>
                  <a:pt x="8507828" y="2421317"/>
                </a:lnTo>
                <a:lnTo>
                  <a:pt x="8478226" y="2421317"/>
                </a:lnTo>
                <a:close/>
                <a:moveTo>
                  <a:pt x="2631378" y="2391697"/>
                </a:moveTo>
                <a:lnTo>
                  <a:pt x="2660980" y="2391697"/>
                </a:lnTo>
                <a:lnTo>
                  <a:pt x="2660980" y="2421317"/>
                </a:lnTo>
                <a:lnTo>
                  <a:pt x="2631378" y="2421317"/>
                </a:lnTo>
                <a:close/>
                <a:moveTo>
                  <a:pt x="8212137" y="2391694"/>
                </a:moveTo>
                <a:lnTo>
                  <a:pt x="8241740" y="2391694"/>
                </a:lnTo>
                <a:lnTo>
                  <a:pt x="8241740" y="2421312"/>
                </a:lnTo>
                <a:lnTo>
                  <a:pt x="8212137" y="2421312"/>
                </a:lnTo>
                <a:close/>
                <a:moveTo>
                  <a:pt x="2365289" y="2391694"/>
                </a:moveTo>
                <a:lnTo>
                  <a:pt x="2394892" y="2391694"/>
                </a:lnTo>
                <a:lnTo>
                  <a:pt x="2394892" y="2421312"/>
                </a:lnTo>
                <a:lnTo>
                  <a:pt x="2365289" y="2421312"/>
                </a:lnTo>
                <a:close/>
                <a:moveTo>
                  <a:pt x="7945940" y="2391691"/>
                </a:moveTo>
                <a:lnTo>
                  <a:pt x="7975543" y="2391691"/>
                </a:lnTo>
                <a:lnTo>
                  <a:pt x="7975543" y="2421307"/>
                </a:lnTo>
                <a:lnTo>
                  <a:pt x="7945940" y="2421307"/>
                </a:lnTo>
                <a:close/>
                <a:moveTo>
                  <a:pt x="2099092" y="2391691"/>
                </a:moveTo>
                <a:lnTo>
                  <a:pt x="2128695" y="2391691"/>
                </a:lnTo>
                <a:lnTo>
                  <a:pt x="2128695" y="2421307"/>
                </a:lnTo>
                <a:lnTo>
                  <a:pt x="2099092" y="2421307"/>
                </a:lnTo>
                <a:close/>
                <a:moveTo>
                  <a:pt x="7679743" y="2391688"/>
                </a:moveTo>
                <a:lnTo>
                  <a:pt x="7709346" y="2391688"/>
                </a:lnTo>
                <a:lnTo>
                  <a:pt x="7709346" y="2421302"/>
                </a:lnTo>
                <a:lnTo>
                  <a:pt x="7679743" y="2421302"/>
                </a:lnTo>
                <a:close/>
                <a:moveTo>
                  <a:pt x="1832898" y="2391688"/>
                </a:moveTo>
                <a:lnTo>
                  <a:pt x="1862498" y="2391688"/>
                </a:lnTo>
                <a:lnTo>
                  <a:pt x="1862498" y="2421302"/>
                </a:lnTo>
                <a:lnTo>
                  <a:pt x="1832898" y="2421302"/>
                </a:lnTo>
                <a:close/>
                <a:moveTo>
                  <a:pt x="7413653" y="2391687"/>
                </a:moveTo>
                <a:lnTo>
                  <a:pt x="7443256" y="2391687"/>
                </a:lnTo>
                <a:lnTo>
                  <a:pt x="7443256" y="2421298"/>
                </a:lnTo>
                <a:lnTo>
                  <a:pt x="7413653" y="2421298"/>
                </a:lnTo>
                <a:close/>
                <a:moveTo>
                  <a:pt x="1566808" y="2391687"/>
                </a:moveTo>
                <a:lnTo>
                  <a:pt x="1596409" y="2391687"/>
                </a:lnTo>
                <a:lnTo>
                  <a:pt x="1596409" y="2421298"/>
                </a:lnTo>
                <a:lnTo>
                  <a:pt x="1566808" y="2421298"/>
                </a:lnTo>
                <a:close/>
                <a:moveTo>
                  <a:pt x="7147456" y="2391682"/>
                </a:moveTo>
                <a:lnTo>
                  <a:pt x="7177058" y="2391682"/>
                </a:lnTo>
                <a:lnTo>
                  <a:pt x="7177058" y="2421293"/>
                </a:lnTo>
                <a:lnTo>
                  <a:pt x="7147456" y="2421293"/>
                </a:lnTo>
                <a:close/>
                <a:moveTo>
                  <a:pt x="1300611" y="2391682"/>
                </a:moveTo>
                <a:lnTo>
                  <a:pt x="1330213" y="2391682"/>
                </a:lnTo>
                <a:lnTo>
                  <a:pt x="1330213" y="2421293"/>
                </a:lnTo>
                <a:lnTo>
                  <a:pt x="1300611" y="2421293"/>
                </a:lnTo>
                <a:close/>
                <a:moveTo>
                  <a:pt x="6881367" y="2391678"/>
                </a:moveTo>
                <a:lnTo>
                  <a:pt x="6910970" y="2391678"/>
                </a:lnTo>
                <a:lnTo>
                  <a:pt x="6910970" y="2421288"/>
                </a:lnTo>
                <a:lnTo>
                  <a:pt x="6881367" y="2421288"/>
                </a:lnTo>
                <a:close/>
                <a:moveTo>
                  <a:pt x="1034520" y="2391678"/>
                </a:moveTo>
                <a:lnTo>
                  <a:pt x="1064123" y="2391678"/>
                </a:lnTo>
                <a:lnTo>
                  <a:pt x="1064123" y="2421288"/>
                </a:lnTo>
                <a:lnTo>
                  <a:pt x="1034520" y="2421288"/>
                </a:lnTo>
                <a:close/>
                <a:moveTo>
                  <a:pt x="6615170" y="2391675"/>
                </a:moveTo>
                <a:lnTo>
                  <a:pt x="6644773" y="2391675"/>
                </a:lnTo>
                <a:lnTo>
                  <a:pt x="6644773" y="2421283"/>
                </a:lnTo>
                <a:lnTo>
                  <a:pt x="6615170" y="2421283"/>
                </a:lnTo>
                <a:close/>
                <a:moveTo>
                  <a:pt x="768327" y="2391675"/>
                </a:moveTo>
                <a:lnTo>
                  <a:pt x="797926" y="2391675"/>
                </a:lnTo>
                <a:lnTo>
                  <a:pt x="797926" y="2421283"/>
                </a:lnTo>
                <a:lnTo>
                  <a:pt x="768327" y="2421283"/>
                </a:lnTo>
                <a:close/>
                <a:moveTo>
                  <a:pt x="6349081" y="2391672"/>
                </a:moveTo>
                <a:lnTo>
                  <a:pt x="6378683" y="2391672"/>
                </a:lnTo>
                <a:lnTo>
                  <a:pt x="6378683" y="2421278"/>
                </a:lnTo>
                <a:lnTo>
                  <a:pt x="6349081" y="2421278"/>
                </a:lnTo>
                <a:close/>
                <a:moveTo>
                  <a:pt x="502236" y="2391672"/>
                </a:moveTo>
                <a:lnTo>
                  <a:pt x="531838" y="2391672"/>
                </a:lnTo>
                <a:lnTo>
                  <a:pt x="531838" y="2421278"/>
                </a:lnTo>
                <a:lnTo>
                  <a:pt x="502236" y="2421278"/>
                </a:lnTo>
                <a:close/>
                <a:moveTo>
                  <a:pt x="6082884" y="2391669"/>
                </a:moveTo>
                <a:lnTo>
                  <a:pt x="6112486" y="2391669"/>
                </a:lnTo>
                <a:lnTo>
                  <a:pt x="6112486" y="2421272"/>
                </a:lnTo>
                <a:lnTo>
                  <a:pt x="6082884" y="2421272"/>
                </a:lnTo>
                <a:close/>
                <a:moveTo>
                  <a:pt x="236037" y="2391669"/>
                </a:moveTo>
                <a:lnTo>
                  <a:pt x="265639" y="2391669"/>
                </a:lnTo>
                <a:lnTo>
                  <a:pt x="265639" y="2421272"/>
                </a:lnTo>
                <a:lnTo>
                  <a:pt x="236037" y="2421272"/>
                </a:lnTo>
                <a:close/>
                <a:moveTo>
                  <a:pt x="1" y="2391669"/>
                </a:moveTo>
                <a:lnTo>
                  <a:pt x="29603" y="2391669"/>
                </a:lnTo>
                <a:lnTo>
                  <a:pt x="29603" y="2421272"/>
                </a:lnTo>
                <a:lnTo>
                  <a:pt x="1" y="2421272"/>
                </a:lnTo>
                <a:close/>
                <a:moveTo>
                  <a:pt x="11672158" y="2126064"/>
                </a:moveTo>
                <a:lnTo>
                  <a:pt x="11701760" y="2126064"/>
                </a:lnTo>
                <a:lnTo>
                  <a:pt x="11701760" y="2155577"/>
                </a:lnTo>
                <a:lnTo>
                  <a:pt x="11672158" y="2155577"/>
                </a:lnTo>
                <a:close/>
                <a:moveTo>
                  <a:pt x="5825310" y="2126064"/>
                </a:moveTo>
                <a:lnTo>
                  <a:pt x="5854913" y="2126064"/>
                </a:lnTo>
                <a:lnTo>
                  <a:pt x="5854913" y="2155577"/>
                </a:lnTo>
                <a:lnTo>
                  <a:pt x="5825310" y="2155577"/>
                </a:lnTo>
                <a:close/>
                <a:moveTo>
                  <a:pt x="11405961" y="2126062"/>
                </a:moveTo>
                <a:lnTo>
                  <a:pt x="11435563" y="2126062"/>
                </a:lnTo>
                <a:lnTo>
                  <a:pt x="11435563" y="2155575"/>
                </a:lnTo>
                <a:lnTo>
                  <a:pt x="11405961" y="2155575"/>
                </a:lnTo>
                <a:close/>
                <a:moveTo>
                  <a:pt x="5559113" y="2126062"/>
                </a:moveTo>
                <a:lnTo>
                  <a:pt x="5588715" y="2126062"/>
                </a:lnTo>
                <a:lnTo>
                  <a:pt x="5588715" y="2155575"/>
                </a:lnTo>
                <a:lnTo>
                  <a:pt x="5559113" y="2155575"/>
                </a:lnTo>
                <a:close/>
                <a:moveTo>
                  <a:pt x="11139872" y="2126061"/>
                </a:moveTo>
                <a:lnTo>
                  <a:pt x="11169474" y="2126061"/>
                </a:lnTo>
                <a:lnTo>
                  <a:pt x="11169474" y="2155572"/>
                </a:lnTo>
                <a:lnTo>
                  <a:pt x="11139872" y="2155572"/>
                </a:lnTo>
                <a:close/>
                <a:moveTo>
                  <a:pt x="5293024" y="2126061"/>
                </a:moveTo>
                <a:lnTo>
                  <a:pt x="5322626" y="2126061"/>
                </a:lnTo>
                <a:lnTo>
                  <a:pt x="5322626" y="2155572"/>
                </a:lnTo>
                <a:lnTo>
                  <a:pt x="5293024" y="2155572"/>
                </a:lnTo>
                <a:close/>
                <a:moveTo>
                  <a:pt x="10873675" y="2126058"/>
                </a:moveTo>
                <a:lnTo>
                  <a:pt x="10903277" y="2126058"/>
                </a:lnTo>
                <a:lnTo>
                  <a:pt x="10903277" y="2155569"/>
                </a:lnTo>
                <a:lnTo>
                  <a:pt x="10873675" y="2155569"/>
                </a:lnTo>
                <a:close/>
                <a:moveTo>
                  <a:pt x="5026827" y="2126058"/>
                </a:moveTo>
                <a:lnTo>
                  <a:pt x="5056429" y="2126058"/>
                </a:lnTo>
                <a:lnTo>
                  <a:pt x="5056429" y="2155569"/>
                </a:lnTo>
                <a:lnTo>
                  <a:pt x="5026827" y="2155569"/>
                </a:lnTo>
                <a:close/>
                <a:moveTo>
                  <a:pt x="10607478" y="2126055"/>
                </a:moveTo>
                <a:lnTo>
                  <a:pt x="10637188" y="2126055"/>
                </a:lnTo>
                <a:lnTo>
                  <a:pt x="10637188" y="2155565"/>
                </a:lnTo>
                <a:lnTo>
                  <a:pt x="10607478" y="2155565"/>
                </a:lnTo>
                <a:close/>
                <a:moveTo>
                  <a:pt x="4760630" y="2126055"/>
                </a:moveTo>
                <a:lnTo>
                  <a:pt x="4790340" y="2126055"/>
                </a:lnTo>
                <a:lnTo>
                  <a:pt x="4790340" y="2155565"/>
                </a:lnTo>
                <a:lnTo>
                  <a:pt x="4760630" y="2155565"/>
                </a:lnTo>
                <a:close/>
                <a:moveTo>
                  <a:pt x="10341389" y="2126052"/>
                </a:moveTo>
                <a:lnTo>
                  <a:pt x="10370992" y="2126052"/>
                </a:lnTo>
                <a:lnTo>
                  <a:pt x="10370992" y="2155561"/>
                </a:lnTo>
                <a:lnTo>
                  <a:pt x="10341389" y="2155561"/>
                </a:lnTo>
                <a:close/>
                <a:moveTo>
                  <a:pt x="4494541" y="2126052"/>
                </a:moveTo>
                <a:lnTo>
                  <a:pt x="4524144" y="2126052"/>
                </a:lnTo>
                <a:lnTo>
                  <a:pt x="4524144" y="2155561"/>
                </a:lnTo>
                <a:lnTo>
                  <a:pt x="4494541" y="2155561"/>
                </a:lnTo>
                <a:close/>
                <a:moveTo>
                  <a:pt x="10075192" y="2126049"/>
                </a:moveTo>
                <a:lnTo>
                  <a:pt x="10104794" y="2126049"/>
                </a:lnTo>
                <a:lnTo>
                  <a:pt x="10104794" y="2155558"/>
                </a:lnTo>
                <a:lnTo>
                  <a:pt x="10075192" y="2155558"/>
                </a:lnTo>
                <a:close/>
                <a:moveTo>
                  <a:pt x="4228344" y="2126049"/>
                </a:moveTo>
                <a:lnTo>
                  <a:pt x="4257946" y="2126049"/>
                </a:lnTo>
                <a:lnTo>
                  <a:pt x="4257946" y="2155558"/>
                </a:lnTo>
                <a:lnTo>
                  <a:pt x="4228344" y="2155558"/>
                </a:lnTo>
                <a:close/>
                <a:moveTo>
                  <a:pt x="9809103" y="2126047"/>
                </a:moveTo>
                <a:lnTo>
                  <a:pt x="9838705" y="2126047"/>
                </a:lnTo>
                <a:lnTo>
                  <a:pt x="9838705" y="2155554"/>
                </a:lnTo>
                <a:lnTo>
                  <a:pt x="9809103" y="2155554"/>
                </a:lnTo>
                <a:close/>
                <a:moveTo>
                  <a:pt x="3962255" y="2126047"/>
                </a:moveTo>
                <a:lnTo>
                  <a:pt x="3991857" y="2126047"/>
                </a:lnTo>
                <a:lnTo>
                  <a:pt x="3991857" y="2155554"/>
                </a:lnTo>
                <a:lnTo>
                  <a:pt x="3962255" y="2155554"/>
                </a:lnTo>
                <a:close/>
                <a:moveTo>
                  <a:pt x="9542906" y="2126044"/>
                </a:moveTo>
                <a:lnTo>
                  <a:pt x="9572509" y="2126044"/>
                </a:lnTo>
                <a:lnTo>
                  <a:pt x="9572509" y="2155551"/>
                </a:lnTo>
                <a:lnTo>
                  <a:pt x="9542906" y="2155551"/>
                </a:lnTo>
                <a:close/>
                <a:moveTo>
                  <a:pt x="3696058" y="2126044"/>
                </a:moveTo>
                <a:lnTo>
                  <a:pt x="3725661" y="2126044"/>
                </a:lnTo>
                <a:lnTo>
                  <a:pt x="3725661" y="2155551"/>
                </a:lnTo>
                <a:lnTo>
                  <a:pt x="3696058" y="2155551"/>
                </a:lnTo>
                <a:close/>
                <a:moveTo>
                  <a:pt x="9276817" y="2126042"/>
                </a:moveTo>
                <a:lnTo>
                  <a:pt x="9306420" y="2126042"/>
                </a:lnTo>
                <a:lnTo>
                  <a:pt x="9306420" y="2155548"/>
                </a:lnTo>
                <a:lnTo>
                  <a:pt x="9276817" y="2155548"/>
                </a:lnTo>
                <a:close/>
                <a:moveTo>
                  <a:pt x="3429969" y="2126042"/>
                </a:moveTo>
                <a:lnTo>
                  <a:pt x="3459572" y="2126042"/>
                </a:lnTo>
                <a:lnTo>
                  <a:pt x="3459572" y="2155548"/>
                </a:lnTo>
                <a:lnTo>
                  <a:pt x="3429969" y="2155548"/>
                </a:lnTo>
                <a:close/>
                <a:moveTo>
                  <a:pt x="9010620" y="2126039"/>
                </a:moveTo>
                <a:lnTo>
                  <a:pt x="9040222" y="2126039"/>
                </a:lnTo>
                <a:lnTo>
                  <a:pt x="9040222" y="2155544"/>
                </a:lnTo>
                <a:lnTo>
                  <a:pt x="9010620" y="2155544"/>
                </a:lnTo>
                <a:close/>
                <a:moveTo>
                  <a:pt x="3163772" y="2126039"/>
                </a:moveTo>
                <a:lnTo>
                  <a:pt x="3193374" y="2126039"/>
                </a:lnTo>
                <a:lnTo>
                  <a:pt x="3193374" y="2155544"/>
                </a:lnTo>
                <a:lnTo>
                  <a:pt x="3163772" y="2155544"/>
                </a:lnTo>
                <a:close/>
                <a:moveTo>
                  <a:pt x="8744423" y="2126036"/>
                </a:moveTo>
                <a:lnTo>
                  <a:pt x="8774026" y="2126036"/>
                </a:lnTo>
                <a:lnTo>
                  <a:pt x="8774026" y="2155541"/>
                </a:lnTo>
                <a:lnTo>
                  <a:pt x="8744423" y="2155541"/>
                </a:lnTo>
                <a:close/>
                <a:moveTo>
                  <a:pt x="2897575" y="2126036"/>
                </a:moveTo>
                <a:lnTo>
                  <a:pt x="2927178" y="2126036"/>
                </a:lnTo>
                <a:lnTo>
                  <a:pt x="2927178" y="2155541"/>
                </a:lnTo>
                <a:lnTo>
                  <a:pt x="2897575" y="2155541"/>
                </a:lnTo>
                <a:close/>
                <a:moveTo>
                  <a:pt x="8478226" y="2126033"/>
                </a:moveTo>
                <a:lnTo>
                  <a:pt x="8507828" y="2126033"/>
                </a:lnTo>
                <a:lnTo>
                  <a:pt x="8507828" y="2155537"/>
                </a:lnTo>
                <a:lnTo>
                  <a:pt x="8478226" y="2155537"/>
                </a:lnTo>
                <a:close/>
                <a:moveTo>
                  <a:pt x="2631378" y="2126033"/>
                </a:moveTo>
                <a:lnTo>
                  <a:pt x="2660980" y="2126033"/>
                </a:lnTo>
                <a:lnTo>
                  <a:pt x="2660980" y="2155537"/>
                </a:lnTo>
                <a:lnTo>
                  <a:pt x="2631378" y="2155537"/>
                </a:lnTo>
                <a:close/>
                <a:moveTo>
                  <a:pt x="8212137" y="2126031"/>
                </a:moveTo>
                <a:lnTo>
                  <a:pt x="8241740" y="2126031"/>
                </a:lnTo>
                <a:lnTo>
                  <a:pt x="8241740" y="2155534"/>
                </a:lnTo>
                <a:lnTo>
                  <a:pt x="8212137" y="2155534"/>
                </a:lnTo>
                <a:close/>
                <a:moveTo>
                  <a:pt x="2365289" y="2126031"/>
                </a:moveTo>
                <a:lnTo>
                  <a:pt x="2394892" y="2126031"/>
                </a:lnTo>
                <a:lnTo>
                  <a:pt x="2394892" y="2155534"/>
                </a:lnTo>
                <a:lnTo>
                  <a:pt x="2365289" y="2155534"/>
                </a:lnTo>
                <a:close/>
                <a:moveTo>
                  <a:pt x="7945940" y="2126030"/>
                </a:moveTo>
                <a:lnTo>
                  <a:pt x="7975543" y="2126030"/>
                </a:lnTo>
                <a:lnTo>
                  <a:pt x="7975543" y="2155531"/>
                </a:lnTo>
                <a:lnTo>
                  <a:pt x="7945940" y="2155531"/>
                </a:lnTo>
                <a:close/>
                <a:moveTo>
                  <a:pt x="2099092" y="2126030"/>
                </a:moveTo>
                <a:lnTo>
                  <a:pt x="2128695" y="2126030"/>
                </a:lnTo>
                <a:lnTo>
                  <a:pt x="2128695" y="2155531"/>
                </a:lnTo>
                <a:lnTo>
                  <a:pt x="2099092" y="2155531"/>
                </a:lnTo>
                <a:close/>
                <a:moveTo>
                  <a:pt x="7679743" y="2126028"/>
                </a:moveTo>
                <a:lnTo>
                  <a:pt x="7709346" y="2126028"/>
                </a:lnTo>
                <a:lnTo>
                  <a:pt x="7709346" y="2155527"/>
                </a:lnTo>
                <a:lnTo>
                  <a:pt x="7679743" y="2155527"/>
                </a:lnTo>
                <a:close/>
                <a:moveTo>
                  <a:pt x="1832898" y="2126028"/>
                </a:moveTo>
                <a:lnTo>
                  <a:pt x="1862498" y="2126028"/>
                </a:lnTo>
                <a:lnTo>
                  <a:pt x="1862498" y="2155527"/>
                </a:lnTo>
                <a:lnTo>
                  <a:pt x="1832898" y="2155527"/>
                </a:lnTo>
                <a:close/>
                <a:moveTo>
                  <a:pt x="7413653" y="2126025"/>
                </a:moveTo>
                <a:lnTo>
                  <a:pt x="7443256" y="2126025"/>
                </a:lnTo>
                <a:lnTo>
                  <a:pt x="7443256" y="2155523"/>
                </a:lnTo>
                <a:lnTo>
                  <a:pt x="7413653" y="2155523"/>
                </a:lnTo>
                <a:close/>
                <a:moveTo>
                  <a:pt x="1566808" y="2126025"/>
                </a:moveTo>
                <a:lnTo>
                  <a:pt x="1596409" y="2126025"/>
                </a:lnTo>
                <a:lnTo>
                  <a:pt x="1596409" y="2155523"/>
                </a:lnTo>
                <a:lnTo>
                  <a:pt x="1566808" y="2155523"/>
                </a:lnTo>
                <a:close/>
                <a:moveTo>
                  <a:pt x="7147456" y="2126023"/>
                </a:moveTo>
                <a:lnTo>
                  <a:pt x="7177058" y="2126023"/>
                </a:lnTo>
                <a:lnTo>
                  <a:pt x="7177058" y="2155520"/>
                </a:lnTo>
                <a:lnTo>
                  <a:pt x="7147456" y="2155520"/>
                </a:lnTo>
                <a:close/>
                <a:moveTo>
                  <a:pt x="1300611" y="2126023"/>
                </a:moveTo>
                <a:lnTo>
                  <a:pt x="1330213" y="2126023"/>
                </a:lnTo>
                <a:lnTo>
                  <a:pt x="1330213" y="2155520"/>
                </a:lnTo>
                <a:lnTo>
                  <a:pt x="1300611" y="2155520"/>
                </a:lnTo>
                <a:close/>
                <a:moveTo>
                  <a:pt x="6881367" y="2126020"/>
                </a:moveTo>
                <a:lnTo>
                  <a:pt x="6910970" y="2126020"/>
                </a:lnTo>
                <a:lnTo>
                  <a:pt x="6910970" y="2155517"/>
                </a:lnTo>
                <a:lnTo>
                  <a:pt x="6881367" y="2155517"/>
                </a:lnTo>
                <a:close/>
                <a:moveTo>
                  <a:pt x="1034520" y="2126020"/>
                </a:moveTo>
                <a:lnTo>
                  <a:pt x="1064123" y="2126020"/>
                </a:lnTo>
                <a:lnTo>
                  <a:pt x="1064123" y="2155517"/>
                </a:lnTo>
                <a:lnTo>
                  <a:pt x="1034520" y="2155517"/>
                </a:lnTo>
                <a:close/>
                <a:moveTo>
                  <a:pt x="6615170" y="2126017"/>
                </a:moveTo>
                <a:lnTo>
                  <a:pt x="6644773" y="2126017"/>
                </a:lnTo>
                <a:lnTo>
                  <a:pt x="6644773" y="2155513"/>
                </a:lnTo>
                <a:lnTo>
                  <a:pt x="6615170" y="2155513"/>
                </a:lnTo>
                <a:close/>
                <a:moveTo>
                  <a:pt x="768327" y="2126017"/>
                </a:moveTo>
                <a:lnTo>
                  <a:pt x="797926" y="2126017"/>
                </a:lnTo>
                <a:lnTo>
                  <a:pt x="797926" y="2155513"/>
                </a:lnTo>
                <a:lnTo>
                  <a:pt x="768327" y="2155513"/>
                </a:lnTo>
                <a:close/>
                <a:moveTo>
                  <a:pt x="6349081" y="2126014"/>
                </a:moveTo>
                <a:lnTo>
                  <a:pt x="6378683" y="2126014"/>
                </a:lnTo>
                <a:lnTo>
                  <a:pt x="6378683" y="2155510"/>
                </a:lnTo>
                <a:lnTo>
                  <a:pt x="6349081" y="2155510"/>
                </a:lnTo>
                <a:close/>
                <a:moveTo>
                  <a:pt x="502236" y="2126014"/>
                </a:moveTo>
                <a:lnTo>
                  <a:pt x="531838" y="2126014"/>
                </a:lnTo>
                <a:lnTo>
                  <a:pt x="531838" y="2155510"/>
                </a:lnTo>
                <a:lnTo>
                  <a:pt x="502236" y="2155510"/>
                </a:lnTo>
                <a:close/>
                <a:moveTo>
                  <a:pt x="6082884" y="2126012"/>
                </a:moveTo>
                <a:lnTo>
                  <a:pt x="6112486" y="2126012"/>
                </a:lnTo>
                <a:lnTo>
                  <a:pt x="6112486" y="2155506"/>
                </a:lnTo>
                <a:lnTo>
                  <a:pt x="6082884" y="2155506"/>
                </a:lnTo>
                <a:close/>
                <a:moveTo>
                  <a:pt x="236037" y="2126012"/>
                </a:moveTo>
                <a:lnTo>
                  <a:pt x="265639" y="2126012"/>
                </a:lnTo>
                <a:lnTo>
                  <a:pt x="265639" y="2155506"/>
                </a:lnTo>
                <a:lnTo>
                  <a:pt x="236037" y="2155506"/>
                </a:lnTo>
                <a:close/>
                <a:moveTo>
                  <a:pt x="1" y="2126012"/>
                </a:moveTo>
                <a:lnTo>
                  <a:pt x="29603" y="2126012"/>
                </a:lnTo>
                <a:lnTo>
                  <a:pt x="29603" y="2155506"/>
                </a:lnTo>
                <a:lnTo>
                  <a:pt x="1" y="2155506"/>
                </a:lnTo>
                <a:close/>
                <a:moveTo>
                  <a:pt x="11672158" y="1860298"/>
                </a:moveTo>
                <a:lnTo>
                  <a:pt x="11701760" y="1860298"/>
                </a:lnTo>
                <a:lnTo>
                  <a:pt x="11701760" y="1889774"/>
                </a:lnTo>
                <a:lnTo>
                  <a:pt x="11672158" y="1889774"/>
                </a:lnTo>
                <a:close/>
                <a:moveTo>
                  <a:pt x="5825310" y="1860298"/>
                </a:moveTo>
                <a:lnTo>
                  <a:pt x="5854913" y="1860298"/>
                </a:lnTo>
                <a:lnTo>
                  <a:pt x="5854913" y="1889774"/>
                </a:lnTo>
                <a:lnTo>
                  <a:pt x="5825310" y="1889774"/>
                </a:lnTo>
                <a:close/>
                <a:moveTo>
                  <a:pt x="11405961" y="1860296"/>
                </a:moveTo>
                <a:lnTo>
                  <a:pt x="11435563" y="1860296"/>
                </a:lnTo>
                <a:lnTo>
                  <a:pt x="11435563" y="1889774"/>
                </a:lnTo>
                <a:lnTo>
                  <a:pt x="11405961" y="1889774"/>
                </a:lnTo>
                <a:close/>
                <a:moveTo>
                  <a:pt x="5559113" y="1860296"/>
                </a:moveTo>
                <a:lnTo>
                  <a:pt x="5588715" y="1860296"/>
                </a:lnTo>
                <a:lnTo>
                  <a:pt x="5588715" y="1889774"/>
                </a:lnTo>
                <a:lnTo>
                  <a:pt x="5559113" y="1889774"/>
                </a:lnTo>
                <a:close/>
                <a:moveTo>
                  <a:pt x="11139872" y="1860293"/>
                </a:moveTo>
                <a:lnTo>
                  <a:pt x="11169474" y="1860293"/>
                </a:lnTo>
                <a:lnTo>
                  <a:pt x="11169474" y="1889772"/>
                </a:lnTo>
                <a:lnTo>
                  <a:pt x="11139872" y="1889772"/>
                </a:lnTo>
                <a:close/>
                <a:moveTo>
                  <a:pt x="5293024" y="1860293"/>
                </a:moveTo>
                <a:lnTo>
                  <a:pt x="5322626" y="1860293"/>
                </a:lnTo>
                <a:lnTo>
                  <a:pt x="5322626" y="1889772"/>
                </a:lnTo>
                <a:lnTo>
                  <a:pt x="5293024" y="1889772"/>
                </a:lnTo>
                <a:close/>
                <a:moveTo>
                  <a:pt x="10873675" y="1860291"/>
                </a:moveTo>
                <a:lnTo>
                  <a:pt x="10903277" y="1860291"/>
                </a:lnTo>
                <a:lnTo>
                  <a:pt x="10903277" y="1889770"/>
                </a:lnTo>
                <a:lnTo>
                  <a:pt x="10873675" y="1889770"/>
                </a:lnTo>
                <a:close/>
                <a:moveTo>
                  <a:pt x="5026827" y="1860291"/>
                </a:moveTo>
                <a:lnTo>
                  <a:pt x="5056429" y="1860291"/>
                </a:lnTo>
                <a:lnTo>
                  <a:pt x="5056429" y="1889770"/>
                </a:lnTo>
                <a:lnTo>
                  <a:pt x="5026827" y="1889770"/>
                </a:lnTo>
                <a:close/>
                <a:moveTo>
                  <a:pt x="10607478" y="1860288"/>
                </a:moveTo>
                <a:lnTo>
                  <a:pt x="10637188" y="1860288"/>
                </a:lnTo>
                <a:lnTo>
                  <a:pt x="10637188" y="1889769"/>
                </a:lnTo>
                <a:lnTo>
                  <a:pt x="10607478" y="1889769"/>
                </a:lnTo>
                <a:close/>
                <a:moveTo>
                  <a:pt x="4760630" y="1860288"/>
                </a:moveTo>
                <a:lnTo>
                  <a:pt x="4790340" y="1860288"/>
                </a:lnTo>
                <a:lnTo>
                  <a:pt x="4790340" y="1889769"/>
                </a:lnTo>
                <a:lnTo>
                  <a:pt x="4760630" y="1889769"/>
                </a:lnTo>
                <a:close/>
                <a:moveTo>
                  <a:pt x="10341389" y="1860286"/>
                </a:moveTo>
                <a:lnTo>
                  <a:pt x="10370992" y="1860286"/>
                </a:lnTo>
                <a:lnTo>
                  <a:pt x="10370992" y="1889767"/>
                </a:lnTo>
                <a:lnTo>
                  <a:pt x="10341389" y="1889767"/>
                </a:lnTo>
                <a:close/>
                <a:moveTo>
                  <a:pt x="4494541" y="1860286"/>
                </a:moveTo>
                <a:lnTo>
                  <a:pt x="4524144" y="1860286"/>
                </a:lnTo>
                <a:lnTo>
                  <a:pt x="4524144" y="1889767"/>
                </a:lnTo>
                <a:lnTo>
                  <a:pt x="4494541" y="1889767"/>
                </a:lnTo>
                <a:close/>
                <a:moveTo>
                  <a:pt x="10075192" y="1860283"/>
                </a:moveTo>
                <a:lnTo>
                  <a:pt x="10104794" y="1860283"/>
                </a:lnTo>
                <a:lnTo>
                  <a:pt x="10104794" y="1889766"/>
                </a:lnTo>
                <a:lnTo>
                  <a:pt x="10075192" y="1889766"/>
                </a:lnTo>
                <a:close/>
                <a:moveTo>
                  <a:pt x="4228344" y="1860283"/>
                </a:moveTo>
                <a:lnTo>
                  <a:pt x="4257946" y="1860283"/>
                </a:lnTo>
                <a:lnTo>
                  <a:pt x="4257946" y="1889766"/>
                </a:lnTo>
                <a:lnTo>
                  <a:pt x="4228344" y="1889766"/>
                </a:lnTo>
                <a:close/>
                <a:moveTo>
                  <a:pt x="9809103" y="1860281"/>
                </a:moveTo>
                <a:lnTo>
                  <a:pt x="9838705" y="1860281"/>
                </a:lnTo>
                <a:lnTo>
                  <a:pt x="9838705" y="1889764"/>
                </a:lnTo>
                <a:lnTo>
                  <a:pt x="9809103" y="1889764"/>
                </a:lnTo>
                <a:close/>
                <a:moveTo>
                  <a:pt x="3962255" y="1860281"/>
                </a:moveTo>
                <a:lnTo>
                  <a:pt x="3991857" y="1860281"/>
                </a:lnTo>
                <a:lnTo>
                  <a:pt x="3991857" y="1889764"/>
                </a:lnTo>
                <a:lnTo>
                  <a:pt x="3962255" y="1889764"/>
                </a:lnTo>
                <a:close/>
                <a:moveTo>
                  <a:pt x="9542906" y="1860278"/>
                </a:moveTo>
                <a:lnTo>
                  <a:pt x="9572509" y="1860278"/>
                </a:lnTo>
                <a:lnTo>
                  <a:pt x="9572509" y="1889763"/>
                </a:lnTo>
                <a:lnTo>
                  <a:pt x="9542906" y="1889763"/>
                </a:lnTo>
                <a:close/>
                <a:moveTo>
                  <a:pt x="3696058" y="1860278"/>
                </a:moveTo>
                <a:lnTo>
                  <a:pt x="3725661" y="1860278"/>
                </a:lnTo>
                <a:lnTo>
                  <a:pt x="3725661" y="1889763"/>
                </a:lnTo>
                <a:lnTo>
                  <a:pt x="3696058" y="1889763"/>
                </a:lnTo>
                <a:close/>
                <a:moveTo>
                  <a:pt x="9276817" y="1860276"/>
                </a:moveTo>
                <a:lnTo>
                  <a:pt x="9306420" y="1860276"/>
                </a:lnTo>
                <a:lnTo>
                  <a:pt x="9306420" y="1889762"/>
                </a:lnTo>
                <a:lnTo>
                  <a:pt x="9276817" y="1889762"/>
                </a:lnTo>
                <a:close/>
                <a:moveTo>
                  <a:pt x="3429969" y="1860276"/>
                </a:moveTo>
                <a:lnTo>
                  <a:pt x="3459572" y="1860276"/>
                </a:lnTo>
                <a:lnTo>
                  <a:pt x="3459572" y="1889762"/>
                </a:lnTo>
                <a:lnTo>
                  <a:pt x="3429969" y="1889762"/>
                </a:lnTo>
                <a:close/>
                <a:moveTo>
                  <a:pt x="9010620" y="1860273"/>
                </a:moveTo>
                <a:lnTo>
                  <a:pt x="9040222" y="1860273"/>
                </a:lnTo>
                <a:lnTo>
                  <a:pt x="9040222" y="1889761"/>
                </a:lnTo>
                <a:lnTo>
                  <a:pt x="9010620" y="1889761"/>
                </a:lnTo>
                <a:close/>
                <a:moveTo>
                  <a:pt x="3163772" y="1860273"/>
                </a:moveTo>
                <a:lnTo>
                  <a:pt x="3193374" y="1860273"/>
                </a:lnTo>
                <a:lnTo>
                  <a:pt x="3193374" y="1889761"/>
                </a:lnTo>
                <a:lnTo>
                  <a:pt x="3163772" y="1889761"/>
                </a:lnTo>
                <a:close/>
                <a:moveTo>
                  <a:pt x="8744423" y="1860271"/>
                </a:moveTo>
                <a:lnTo>
                  <a:pt x="8774026" y="1860271"/>
                </a:lnTo>
                <a:lnTo>
                  <a:pt x="8774026" y="1889759"/>
                </a:lnTo>
                <a:lnTo>
                  <a:pt x="8744423" y="1889759"/>
                </a:lnTo>
                <a:close/>
                <a:moveTo>
                  <a:pt x="2897575" y="1860271"/>
                </a:moveTo>
                <a:lnTo>
                  <a:pt x="2927178" y="1860271"/>
                </a:lnTo>
                <a:lnTo>
                  <a:pt x="2927178" y="1889759"/>
                </a:lnTo>
                <a:lnTo>
                  <a:pt x="2897575" y="1889759"/>
                </a:lnTo>
                <a:close/>
                <a:moveTo>
                  <a:pt x="8478226" y="1860268"/>
                </a:moveTo>
                <a:lnTo>
                  <a:pt x="8507828" y="1860268"/>
                </a:lnTo>
                <a:lnTo>
                  <a:pt x="8507828" y="1889757"/>
                </a:lnTo>
                <a:lnTo>
                  <a:pt x="8478226" y="1889757"/>
                </a:lnTo>
                <a:close/>
                <a:moveTo>
                  <a:pt x="2631378" y="1860268"/>
                </a:moveTo>
                <a:lnTo>
                  <a:pt x="2660980" y="1860268"/>
                </a:lnTo>
                <a:lnTo>
                  <a:pt x="2660980" y="1889757"/>
                </a:lnTo>
                <a:lnTo>
                  <a:pt x="2631378" y="1889757"/>
                </a:lnTo>
                <a:close/>
                <a:moveTo>
                  <a:pt x="8212137" y="1860266"/>
                </a:moveTo>
                <a:lnTo>
                  <a:pt x="8241740" y="1860266"/>
                </a:lnTo>
                <a:lnTo>
                  <a:pt x="8241740" y="1889755"/>
                </a:lnTo>
                <a:lnTo>
                  <a:pt x="8212137" y="1889755"/>
                </a:lnTo>
                <a:close/>
                <a:moveTo>
                  <a:pt x="2365289" y="1860266"/>
                </a:moveTo>
                <a:lnTo>
                  <a:pt x="2394892" y="1860266"/>
                </a:lnTo>
                <a:lnTo>
                  <a:pt x="2394892" y="1889755"/>
                </a:lnTo>
                <a:lnTo>
                  <a:pt x="2365289" y="1889755"/>
                </a:lnTo>
                <a:close/>
                <a:moveTo>
                  <a:pt x="7945940" y="1860264"/>
                </a:moveTo>
                <a:lnTo>
                  <a:pt x="7975543" y="1860264"/>
                </a:lnTo>
                <a:lnTo>
                  <a:pt x="7975543" y="1889753"/>
                </a:lnTo>
                <a:lnTo>
                  <a:pt x="7945940" y="1889753"/>
                </a:lnTo>
                <a:close/>
                <a:moveTo>
                  <a:pt x="2099092" y="1860264"/>
                </a:moveTo>
                <a:lnTo>
                  <a:pt x="2128695" y="1860264"/>
                </a:lnTo>
                <a:lnTo>
                  <a:pt x="2128695" y="1889753"/>
                </a:lnTo>
                <a:lnTo>
                  <a:pt x="2099092" y="1889753"/>
                </a:lnTo>
                <a:close/>
                <a:moveTo>
                  <a:pt x="7679743" y="1860261"/>
                </a:moveTo>
                <a:lnTo>
                  <a:pt x="7709346" y="1860261"/>
                </a:lnTo>
                <a:lnTo>
                  <a:pt x="7709346" y="1889751"/>
                </a:lnTo>
                <a:lnTo>
                  <a:pt x="7679743" y="1889751"/>
                </a:lnTo>
                <a:close/>
                <a:moveTo>
                  <a:pt x="1832898" y="1860261"/>
                </a:moveTo>
                <a:lnTo>
                  <a:pt x="1862498" y="1860261"/>
                </a:lnTo>
                <a:lnTo>
                  <a:pt x="1862498" y="1889751"/>
                </a:lnTo>
                <a:lnTo>
                  <a:pt x="1832898" y="1889751"/>
                </a:lnTo>
                <a:close/>
                <a:moveTo>
                  <a:pt x="7413653" y="1860259"/>
                </a:moveTo>
                <a:lnTo>
                  <a:pt x="7443256" y="1860259"/>
                </a:lnTo>
                <a:lnTo>
                  <a:pt x="7443256" y="1889750"/>
                </a:lnTo>
                <a:lnTo>
                  <a:pt x="7413653" y="1889750"/>
                </a:lnTo>
                <a:close/>
                <a:moveTo>
                  <a:pt x="1566808" y="1860259"/>
                </a:moveTo>
                <a:lnTo>
                  <a:pt x="1596409" y="1860259"/>
                </a:lnTo>
                <a:lnTo>
                  <a:pt x="1596409" y="1889750"/>
                </a:lnTo>
                <a:lnTo>
                  <a:pt x="1566808" y="1889750"/>
                </a:lnTo>
                <a:close/>
                <a:moveTo>
                  <a:pt x="7147456" y="1860256"/>
                </a:moveTo>
                <a:lnTo>
                  <a:pt x="7177058" y="1860256"/>
                </a:lnTo>
                <a:lnTo>
                  <a:pt x="7177058" y="1889748"/>
                </a:lnTo>
                <a:lnTo>
                  <a:pt x="7147456" y="1889748"/>
                </a:lnTo>
                <a:close/>
                <a:moveTo>
                  <a:pt x="1300611" y="1860256"/>
                </a:moveTo>
                <a:lnTo>
                  <a:pt x="1330213" y="1860256"/>
                </a:lnTo>
                <a:lnTo>
                  <a:pt x="1330213" y="1889748"/>
                </a:lnTo>
                <a:lnTo>
                  <a:pt x="1300611" y="1889748"/>
                </a:lnTo>
                <a:close/>
                <a:moveTo>
                  <a:pt x="6881367" y="1860254"/>
                </a:moveTo>
                <a:lnTo>
                  <a:pt x="6910970" y="1860254"/>
                </a:lnTo>
                <a:lnTo>
                  <a:pt x="6910970" y="1889747"/>
                </a:lnTo>
                <a:lnTo>
                  <a:pt x="6881367" y="1889747"/>
                </a:lnTo>
                <a:close/>
                <a:moveTo>
                  <a:pt x="1034520" y="1860254"/>
                </a:moveTo>
                <a:lnTo>
                  <a:pt x="1064123" y="1860254"/>
                </a:lnTo>
                <a:lnTo>
                  <a:pt x="1064123" y="1889747"/>
                </a:lnTo>
                <a:lnTo>
                  <a:pt x="1034520" y="1889747"/>
                </a:lnTo>
                <a:close/>
                <a:moveTo>
                  <a:pt x="6615170" y="1860252"/>
                </a:moveTo>
                <a:lnTo>
                  <a:pt x="6644773" y="1860252"/>
                </a:lnTo>
                <a:lnTo>
                  <a:pt x="6644773" y="1889745"/>
                </a:lnTo>
                <a:lnTo>
                  <a:pt x="6615170" y="1889745"/>
                </a:lnTo>
                <a:close/>
                <a:moveTo>
                  <a:pt x="768327" y="1860252"/>
                </a:moveTo>
                <a:lnTo>
                  <a:pt x="797926" y="1860252"/>
                </a:lnTo>
                <a:lnTo>
                  <a:pt x="797926" y="1889745"/>
                </a:lnTo>
                <a:lnTo>
                  <a:pt x="768327" y="1889745"/>
                </a:lnTo>
                <a:close/>
                <a:moveTo>
                  <a:pt x="6349081" y="1860249"/>
                </a:moveTo>
                <a:lnTo>
                  <a:pt x="6378683" y="1860249"/>
                </a:lnTo>
                <a:lnTo>
                  <a:pt x="6378683" y="1889744"/>
                </a:lnTo>
                <a:lnTo>
                  <a:pt x="6349081" y="1889744"/>
                </a:lnTo>
                <a:close/>
                <a:moveTo>
                  <a:pt x="502236" y="1860249"/>
                </a:moveTo>
                <a:lnTo>
                  <a:pt x="531838" y="1860249"/>
                </a:lnTo>
                <a:lnTo>
                  <a:pt x="531838" y="1889744"/>
                </a:lnTo>
                <a:lnTo>
                  <a:pt x="502236" y="1889744"/>
                </a:lnTo>
                <a:close/>
                <a:moveTo>
                  <a:pt x="6082884" y="1860247"/>
                </a:moveTo>
                <a:lnTo>
                  <a:pt x="6112486" y="1860247"/>
                </a:lnTo>
                <a:lnTo>
                  <a:pt x="6112486" y="1889742"/>
                </a:lnTo>
                <a:lnTo>
                  <a:pt x="6082884" y="1889742"/>
                </a:lnTo>
                <a:close/>
                <a:moveTo>
                  <a:pt x="236037" y="1860247"/>
                </a:moveTo>
                <a:lnTo>
                  <a:pt x="265639" y="1860247"/>
                </a:lnTo>
                <a:lnTo>
                  <a:pt x="265639" y="1889742"/>
                </a:lnTo>
                <a:lnTo>
                  <a:pt x="236037" y="1889742"/>
                </a:lnTo>
                <a:close/>
                <a:moveTo>
                  <a:pt x="1" y="1860247"/>
                </a:moveTo>
                <a:lnTo>
                  <a:pt x="29603" y="1860247"/>
                </a:lnTo>
                <a:lnTo>
                  <a:pt x="29603" y="1889742"/>
                </a:lnTo>
                <a:lnTo>
                  <a:pt x="1" y="1889742"/>
                </a:lnTo>
                <a:close/>
                <a:moveTo>
                  <a:pt x="11672158" y="1594533"/>
                </a:moveTo>
                <a:lnTo>
                  <a:pt x="11701760" y="1594533"/>
                </a:lnTo>
                <a:lnTo>
                  <a:pt x="11701760" y="1624136"/>
                </a:lnTo>
                <a:lnTo>
                  <a:pt x="11672158" y="1624136"/>
                </a:lnTo>
                <a:close/>
                <a:moveTo>
                  <a:pt x="5825310" y="1594533"/>
                </a:moveTo>
                <a:lnTo>
                  <a:pt x="5854913" y="1594533"/>
                </a:lnTo>
                <a:lnTo>
                  <a:pt x="5854913" y="1624136"/>
                </a:lnTo>
                <a:lnTo>
                  <a:pt x="5825310" y="1624136"/>
                </a:lnTo>
                <a:close/>
                <a:moveTo>
                  <a:pt x="11405961" y="1594531"/>
                </a:moveTo>
                <a:lnTo>
                  <a:pt x="11435563" y="1594531"/>
                </a:lnTo>
                <a:lnTo>
                  <a:pt x="11435563" y="1624134"/>
                </a:lnTo>
                <a:lnTo>
                  <a:pt x="11405961" y="1624134"/>
                </a:lnTo>
                <a:close/>
                <a:moveTo>
                  <a:pt x="5559113" y="1594531"/>
                </a:moveTo>
                <a:lnTo>
                  <a:pt x="5588715" y="1594531"/>
                </a:lnTo>
                <a:lnTo>
                  <a:pt x="5588715" y="1624134"/>
                </a:lnTo>
                <a:lnTo>
                  <a:pt x="5559113" y="1624134"/>
                </a:lnTo>
                <a:close/>
                <a:moveTo>
                  <a:pt x="11139872" y="1594528"/>
                </a:moveTo>
                <a:lnTo>
                  <a:pt x="11169474" y="1594528"/>
                </a:lnTo>
                <a:lnTo>
                  <a:pt x="11169474" y="1624131"/>
                </a:lnTo>
                <a:lnTo>
                  <a:pt x="11139872" y="1624131"/>
                </a:lnTo>
                <a:close/>
                <a:moveTo>
                  <a:pt x="5293024" y="1594528"/>
                </a:moveTo>
                <a:lnTo>
                  <a:pt x="5322626" y="1594528"/>
                </a:lnTo>
                <a:lnTo>
                  <a:pt x="5322626" y="1624131"/>
                </a:lnTo>
                <a:lnTo>
                  <a:pt x="5293024" y="1624131"/>
                </a:lnTo>
                <a:close/>
                <a:moveTo>
                  <a:pt x="10873675" y="1594526"/>
                </a:moveTo>
                <a:lnTo>
                  <a:pt x="10903277" y="1594526"/>
                </a:lnTo>
                <a:lnTo>
                  <a:pt x="10903277" y="1624129"/>
                </a:lnTo>
                <a:lnTo>
                  <a:pt x="10873675" y="1624129"/>
                </a:lnTo>
                <a:close/>
                <a:moveTo>
                  <a:pt x="5026827" y="1594526"/>
                </a:moveTo>
                <a:lnTo>
                  <a:pt x="5056429" y="1594526"/>
                </a:lnTo>
                <a:lnTo>
                  <a:pt x="5056429" y="1624129"/>
                </a:lnTo>
                <a:lnTo>
                  <a:pt x="5026827" y="1624129"/>
                </a:lnTo>
                <a:close/>
                <a:moveTo>
                  <a:pt x="10607478" y="1594523"/>
                </a:moveTo>
                <a:lnTo>
                  <a:pt x="10637188" y="1594523"/>
                </a:lnTo>
                <a:lnTo>
                  <a:pt x="10637188" y="1624127"/>
                </a:lnTo>
                <a:lnTo>
                  <a:pt x="10607478" y="1624127"/>
                </a:lnTo>
                <a:close/>
                <a:moveTo>
                  <a:pt x="4760630" y="1594523"/>
                </a:moveTo>
                <a:lnTo>
                  <a:pt x="4790340" y="1594523"/>
                </a:lnTo>
                <a:lnTo>
                  <a:pt x="4790340" y="1624127"/>
                </a:lnTo>
                <a:lnTo>
                  <a:pt x="4760630" y="1624127"/>
                </a:lnTo>
                <a:close/>
                <a:moveTo>
                  <a:pt x="10341389" y="1594521"/>
                </a:moveTo>
                <a:lnTo>
                  <a:pt x="10370992" y="1594521"/>
                </a:lnTo>
                <a:lnTo>
                  <a:pt x="10370992" y="1624124"/>
                </a:lnTo>
                <a:lnTo>
                  <a:pt x="10341389" y="1624124"/>
                </a:lnTo>
                <a:close/>
                <a:moveTo>
                  <a:pt x="4494541" y="1594521"/>
                </a:moveTo>
                <a:lnTo>
                  <a:pt x="4524144" y="1594521"/>
                </a:lnTo>
                <a:lnTo>
                  <a:pt x="4524144" y="1624124"/>
                </a:lnTo>
                <a:lnTo>
                  <a:pt x="4494541" y="1624124"/>
                </a:lnTo>
                <a:close/>
                <a:moveTo>
                  <a:pt x="10075192" y="1594518"/>
                </a:moveTo>
                <a:lnTo>
                  <a:pt x="10104794" y="1594518"/>
                </a:lnTo>
                <a:lnTo>
                  <a:pt x="10104794" y="1624122"/>
                </a:lnTo>
                <a:lnTo>
                  <a:pt x="10075192" y="1624122"/>
                </a:lnTo>
                <a:close/>
                <a:moveTo>
                  <a:pt x="4228344" y="1594518"/>
                </a:moveTo>
                <a:lnTo>
                  <a:pt x="4257946" y="1594518"/>
                </a:lnTo>
                <a:lnTo>
                  <a:pt x="4257946" y="1624122"/>
                </a:lnTo>
                <a:lnTo>
                  <a:pt x="4228344" y="1624122"/>
                </a:lnTo>
                <a:close/>
                <a:moveTo>
                  <a:pt x="9809103" y="1594516"/>
                </a:moveTo>
                <a:lnTo>
                  <a:pt x="9838705" y="1594516"/>
                </a:lnTo>
                <a:lnTo>
                  <a:pt x="9838705" y="1624120"/>
                </a:lnTo>
                <a:lnTo>
                  <a:pt x="9809103" y="1624120"/>
                </a:lnTo>
                <a:close/>
                <a:moveTo>
                  <a:pt x="3962255" y="1594516"/>
                </a:moveTo>
                <a:lnTo>
                  <a:pt x="3991857" y="1594516"/>
                </a:lnTo>
                <a:lnTo>
                  <a:pt x="3991857" y="1624120"/>
                </a:lnTo>
                <a:lnTo>
                  <a:pt x="3962255" y="1624120"/>
                </a:lnTo>
                <a:close/>
                <a:moveTo>
                  <a:pt x="9542906" y="1594514"/>
                </a:moveTo>
                <a:lnTo>
                  <a:pt x="9572509" y="1594514"/>
                </a:lnTo>
                <a:lnTo>
                  <a:pt x="9572509" y="1624117"/>
                </a:lnTo>
                <a:lnTo>
                  <a:pt x="9542906" y="1624117"/>
                </a:lnTo>
                <a:close/>
                <a:moveTo>
                  <a:pt x="3696058" y="1594514"/>
                </a:moveTo>
                <a:lnTo>
                  <a:pt x="3725661" y="1594514"/>
                </a:lnTo>
                <a:lnTo>
                  <a:pt x="3725661" y="1624117"/>
                </a:lnTo>
                <a:lnTo>
                  <a:pt x="3696058" y="1624117"/>
                </a:lnTo>
                <a:close/>
                <a:moveTo>
                  <a:pt x="9276817" y="1594511"/>
                </a:moveTo>
                <a:lnTo>
                  <a:pt x="9306420" y="1594511"/>
                </a:lnTo>
                <a:lnTo>
                  <a:pt x="9306420" y="1624114"/>
                </a:lnTo>
                <a:lnTo>
                  <a:pt x="9276817" y="1624114"/>
                </a:lnTo>
                <a:close/>
                <a:moveTo>
                  <a:pt x="3429969" y="1594511"/>
                </a:moveTo>
                <a:lnTo>
                  <a:pt x="3459572" y="1594511"/>
                </a:lnTo>
                <a:lnTo>
                  <a:pt x="3459572" y="1624114"/>
                </a:lnTo>
                <a:lnTo>
                  <a:pt x="3429969" y="1624114"/>
                </a:lnTo>
                <a:close/>
                <a:moveTo>
                  <a:pt x="9010620" y="1594509"/>
                </a:moveTo>
                <a:lnTo>
                  <a:pt x="9040222" y="1594509"/>
                </a:lnTo>
                <a:lnTo>
                  <a:pt x="9040222" y="1624112"/>
                </a:lnTo>
                <a:lnTo>
                  <a:pt x="9010620" y="1624112"/>
                </a:lnTo>
                <a:close/>
                <a:moveTo>
                  <a:pt x="3163772" y="1594509"/>
                </a:moveTo>
                <a:lnTo>
                  <a:pt x="3193374" y="1594509"/>
                </a:lnTo>
                <a:lnTo>
                  <a:pt x="3193374" y="1624112"/>
                </a:lnTo>
                <a:lnTo>
                  <a:pt x="3163772" y="1624112"/>
                </a:lnTo>
                <a:close/>
                <a:moveTo>
                  <a:pt x="8744423" y="1594506"/>
                </a:moveTo>
                <a:lnTo>
                  <a:pt x="8774026" y="1594506"/>
                </a:lnTo>
                <a:lnTo>
                  <a:pt x="8774026" y="1624110"/>
                </a:lnTo>
                <a:lnTo>
                  <a:pt x="8744423" y="1624110"/>
                </a:lnTo>
                <a:close/>
                <a:moveTo>
                  <a:pt x="2897575" y="1594506"/>
                </a:moveTo>
                <a:lnTo>
                  <a:pt x="2927178" y="1594506"/>
                </a:lnTo>
                <a:lnTo>
                  <a:pt x="2927178" y="1624110"/>
                </a:lnTo>
                <a:lnTo>
                  <a:pt x="2897575" y="1624110"/>
                </a:lnTo>
                <a:close/>
                <a:moveTo>
                  <a:pt x="8478226" y="1594504"/>
                </a:moveTo>
                <a:lnTo>
                  <a:pt x="8507828" y="1594504"/>
                </a:lnTo>
                <a:lnTo>
                  <a:pt x="8507828" y="1624107"/>
                </a:lnTo>
                <a:lnTo>
                  <a:pt x="8478226" y="1624107"/>
                </a:lnTo>
                <a:close/>
                <a:moveTo>
                  <a:pt x="2631378" y="1594504"/>
                </a:moveTo>
                <a:lnTo>
                  <a:pt x="2660980" y="1594504"/>
                </a:lnTo>
                <a:lnTo>
                  <a:pt x="2660980" y="1624107"/>
                </a:lnTo>
                <a:lnTo>
                  <a:pt x="2631378" y="1624107"/>
                </a:lnTo>
                <a:close/>
                <a:moveTo>
                  <a:pt x="8212137" y="1594502"/>
                </a:moveTo>
                <a:lnTo>
                  <a:pt x="8241740" y="1594502"/>
                </a:lnTo>
                <a:lnTo>
                  <a:pt x="8241740" y="1624105"/>
                </a:lnTo>
                <a:lnTo>
                  <a:pt x="8212137" y="1624105"/>
                </a:lnTo>
                <a:close/>
                <a:moveTo>
                  <a:pt x="2365289" y="1594502"/>
                </a:moveTo>
                <a:lnTo>
                  <a:pt x="2394892" y="1594502"/>
                </a:lnTo>
                <a:lnTo>
                  <a:pt x="2394892" y="1624105"/>
                </a:lnTo>
                <a:lnTo>
                  <a:pt x="2365289" y="1624105"/>
                </a:lnTo>
                <a:close/>
                <a:moveTo>
                  <a:pt x="7945940" y="1594499"/>
                </a:moveTo>
                <a:lnTo>
                  <a:pt x="7975543" y="1594499"/>
                </a:lnTo>
                <a:lnTo>
                  <a:pt x="7975543" y="1624102"/>
                </a:lnTo>
                <a:lnTo>
                  <a:pt x="7945940" y="1624102"/>
                </a:lnTo>
                <a:close/>
                <a:moveTo>
                  <a:pt x="2099092" y="1594499"/>
                </a:moveTo>
                <a:lnTo>
                  <a:pt x="2128695" y="1594499"/>
                </a:lnTo>
                <a:lnTo>
                  <a:pt x="2128695" y="1624102"/>
                </a:lnTo>
                <a:lnTo>
                  <a:pt x="2099092" y="1624102"/>
                </a:lnTo>
                <a:close/>
                <a:moveTo>
                  <a:pt x="7679743" y="1594496"/>
                </a:moveTo>
                <a:lnTo>
                  <a:pt x="7709346" y="1594496"/>
                </a:lnTo>
                <a:lnTo>
                  <a:pt x="7709346" y="1624100"/>
                </a:lnTo>
                <a:lnTo>
                  <a:pt x="7679743" y="1624100"/>
                </a:lnTo>
                <a:close/>
                <a:moveTo>
                  <a:pt x="1832898" y="1594496"/>
                </a:moveTo>
                <a:lnTo>
                  <a:pt x="1862498" y="1594496"/>
                </a:lnTo>
                <a:lnTo>
                  <a:pt x="1862498" y="1624100"/>
                </a:lnTo>
                <a:lnTo>
                  <a:pt x="1832898" y="1624100"/>
                </a:lnTo>
                <a:close/>
                <a:moveTo>
                  <a:pt x="7413653" y="1594494"/>
                </a:moveTo>
                <a:lnTo>
                  <a:pt x="7443256" y="1594494"/>
                </a:lnTo>
                <a:lnTo>
                  <a:pt x="7443256" y="1624097"/>
                </a:lnTo>
                <a:lnTo>
                  <a:pt x="7413653" y="1624097"/>
                </a:lnTo>
                <a:close/>
                <a:moveTo>
                  <a:pt x="1566808" y="1594494"/>
                </a:moveTo>
                <a:lnTo>
                  <a:pt x="1596409" y="1594494"/>
                </a:lnTo>
                <a:lnTo>
                  <a:pt x="1596409" y="1624097"/>
                </a:lnTo>
                <a:lnTo>
                  <a:pt x="1566808" y="1624097"/>
                </a:lnTo>
                <a:close/>
                <a:moveTo>
                  <a:pt x="7147456" y="1594491"/>
                </a:moveTo>
                <a:lnTo>
                  <a:pt x="7177058" y="1594491"/>
                </a:lnTo>
                <a:lnTo>
                  <a:pt x="7177058" y="1624095"/>
                </a:lnTo>
                <a:lnTo>
                  <a:pt x="7147456" y="1624095"/>
                </a:lnTo>
                <a:close/>
                <a:moveTo>
                  <a:pt x="1300611" y="1594491"/>
                </a:moveTo>
                <a:lnTo>
                  <a:pt x="1330213" y="1594491"/>
                </a:lnTo>
                <a:lnTo>
                  <a:pt x="1330213" y="1624095"/>
                </a:lnTo>
                <a:lnTo>
                  <a:pt x="1300611" y="1624095"/>
                </a:lnTo>
                <a:close/>
                <a:moveTo>
                  <a:pt x="6881367" y="1594489"/>
                </a:moveTo>
                <a:lnTo>
                  <a:pt x="6910970" y="1594489"/>
                </a:lnTo>
                <a:lnTo>
                  <a:pt x="6910970" y="1624092"/>
                </a:lnTo>
                <a:lnTo>
                  <a:pt x="6881367" y="1624092"/>
                </a:lnTo>
                <a:close/>
                <a:moveTo>
                  <a:pt x="1034520" y="1594489"/>
                </a:moveTo>
                <a:lnTo>
                  <a:pt x="1064123" y="1594489"/>
                </a:lnTo>
                <a:lnTo>
                  <a:pt x="1064123" y="1624092"/>
                </a:lnTo>
                <a:lnTo>
                  <a:pt x="1034520" y="1624092"/>
                </a:lnTo>
                <a:close/>
                <a:moveTo>
                  <a:pt x="6615170" y="1594486"/>
                </a:moveTo>
                <a:lnTo>
                  <a:pt x="6644773" y="1594486"/>
                </a:lnTo>
                <a:lnTo>
                  <a:pt x="6644773" y="1624090"/>
                </a:lnTo>
                <a:lnTo>
                  <a:pt x="6615170" y="1624090"/>
                </a:lnTo>
                <a:close/>
                <a:moveTo>
                  <a:pt x="768327" y="1594486"/>
                </a:moveTo>
                <a:lnTo>
                  <a:pt x="797926" y="1594486"/>
                </a:lnTo>
                <a:lnTo>
                  <a:pt x="797926" y="1624090"/>
                </a:lnTo>
                <a:lnTo>
                  <a:pt x="768327" y="1624090"/>
                </a:lnTo>
                <a:close/>
                <a:moveTo>
                  <a:pt x="6349081" y="1594484"/>
                </a:moveTo>
                <a:lnTo>
                  <a:pt x="6378683" y="1594484"/>
                </a:lnTo>
                <a:lnTo>
                  <a:pt x="6378683" y="1624087"/>
                </a:lnTo>
                <a:lnTo>
                  <a:pt x="6349081" y="1624087"/>
                </a:lnTo>
                <a:close/>
                <a:moveTo>
                  <a:pt x="502236" y="1594484"/>
                </a:moveTo>
                <a:lnTo>
                  <a:pt x="531838" y="1594484"/>
                </a:lnTo>
                <a:lnTo>
                  <a:pt x="531838" y="1624087"/>
                </a:lnTo>
                <a:lnTo>
                  <a:pt x="502236" y="1624087"/>
                </a:lnTo>
                <a:close/>
                <a:moveTo>
                  <a:pt x="6082884" y="1594482"/>
                </a:moveTo>
                <a:lnTo>
                  <a:pt x="6112486" y="1594482"/>
                </a:lnTo>
                <a:lnTo>
                  <a:pt x="6112486" y="1624085"/>
                </a:lnTo>
                <a:lnTo>
                  <a:pt x="6082884" y="1624085"/>
                </a:lnTo>
                <a:close/>
                <a:moveTo>
                  <a:pt x="236037" y="1594482"/>
                </a:moveTo>
                <a:lnTo>
                  <a:pt x="265639" y="1594482"/>
                </a:lnTo>
                <a:lnTo>
                  <a:pt x="265639" y="1624085"/>
                </a:lnTo>
                <a:lnTo>
                  <a:pt x="236037" y="1624085"/>
                </a:lnTo>
                <a:close/>
                <a:moveTo>
                  <a:pt x="1" y="1594482"/>
                </a:moveTo>
                <a:lnTo>
                  <a:pt x="29603" y="1594482"/>
                </a:lnTo>
                <a:lnTo>
                  <a:pt x="29603" y="1624085"/>
                </a:lnTo>
                <a:lnTo>
                  <a:pt x="1" y="1624085"/>
                </a:lnTo>
                <a:close/>
                <a:moveTo>
                  <a:pt x="11672158" y="1328772"/>
                </a:moveTo>
                <a:lnTo>
                  <a:pt x="11701760" y="1328772"/>
                </a:lnTo>
                <a:lnTo>
                  <a:pt x="11701760" y="1358375"/>
                </a:lnTo>
                <a:lnTo>
                  <a:pt x="11672158" y="1358375"/>
                </a:lnTo>
                <a:close/>
                <a:moveTo>
                  <a:pt x="5825310" y="1328772"/>
                </a:moveTo>
                <a:lnTo>
                  <a:pt x="5854913" y="1328772"/>
                </a:lnTo>
                <a:lnTo>
                  <a:pt x="5854913" y="1358375"/>
                </a:lnTo>
                <a:lnTo>
                  <a:pt x="5825310" y="1358375"/>
                </a:lnTo>
                <a:close/>
                <a:moveTo>
                  <a:pt x="11405961" y="1328769"/>
                </a:moveTo>
                <a:lnTo>
                  <a:pt x="11435563" y="1328769"/>
                </a:lnTo>
                <a:lnTo>
                  <a:pt x="11435563" y="1358372"/>
                </a:lnTo>
                <a:lnTo>
                  <a:pt x="11405961" y="1358372"/>
                </a:lnTo>
                <a:close/>
                <a:moveTo>
                  <a:pt x="5559113" y="1328769"/>
                </a:moveTo>
                <a:lnTo>
                  <a:pt x="5588715" y="1328769"/>
                </a:lnTo>
                <a:lnTo>
                  <a:pt x="5588715" y="1358372"/>
                </a:lnTo>
                <a:lnTo>
                  <a:pt x="5559113" y="1358372"/>
                </a:lnTo>
                <a:close/>
                <a:moveTo>
                  <a:pt x="11139872" y="1328766"/>
                </a:moveTo>
                <a:lnTo>
                  <a:pt x="11169474" y="1328766"/>
                </a:lnTo>
                <a:lnTo>
                  <a:pt x="11169474" y="1358370"/>
                </a:lnTo>
                <a:lnTo>
                  <a:pt x="11139872" y="1358370"/>
                </a:lnTo>
                <a:close/>
                <a:moveTo>
                  <a:pt x="5293024" y="1328766"/>
                </a:moveTo>
                <a:lnTo>
                  <a:pt x="5322626" y="1328766"/>
                </a:lnTo>
                <a:lnTo>
                  <a:pt x="5322626" y="1358370"/>
                </a:lnTo>
                <a:lnTo>
                  <a:pt x="5293024" y="1358370"/>
                </a:lnTo>
                <a:close/>
                <a:moveTo>
                  <a:pt x="10873675" y="1328764"/>
                </a:moveTo>
                <a:lnTo>
                  <a:pt x="10903277" y="1328764"/>
                </a:lnTo>
                <a:lnTo>
                  <a:pt x="10903277" y="1358367"/>
                </a:lnTo>
                <a:lnTo>
                  <a:pt x="10873675" y="1358367"/>
                </a:lnTo>
                <a:close/>
                <a:moveTo>
                  <a:pt x="5026827" y="1328764"/>
                </a:moveTo>
                <a:lnTo>
                  <a:pt x="5056429" y="1328764"/>
                </a:lnTo>
                <a:lnTo>
                  <a:pt x="5056429" y="1358367"/>
                </a:lnTo>
                <a:lnTo>
                  <a:pt x="5026827" y="1358367"/>
                </a:lnTo>
                <a:close/>
                <a:moveTo>
                  <a:pt x="10607478" y="1328761"/>
                </a:moveTo>
                <a:lnTo>
                  <a:pt x="10637188" y="1328761"/>
                </a:lnTo>
                <a:lnTo>
                  <a:pt x="10637188" y="1358365"/>
                </a:lnTo>
                <a:lnTo>
                  <a:pt x="10607478" y="1358365"/>
                </a:lnTo>
                <a:close/>
                <a:moveTo>
                  <a:pt x="4760630" y="1328761"/>
                </a:moveTo>
                <a:lnTo>
                  <a:pt x="4790340" y="1328761"/>
                </a:lnTo>
                <a:lnTo>
                  <a:pt x="4790340" y="1358365"/>
                </a:lnTo>
                <a:lnTo>
                  <a:pt x="4760630" y="1358365"/>
                </a:lnTo>
                <a:close/>
                <a:moveTo>
                  <a:pt x="10341389" y="1328759"/>
                </a:moveTo>
                <a:lnTo>
                  <a:pt x="10370992" y="1328759"/>
                </a:lnTo>
                <a:lnTo>
                  <a:pt x="10370992" y="1358362"/>
                </a:lnTo>
                <a:lnTo>
                  <a:pt x="10341389" y="1358362"/>
                </a:lnTo>
                <a:close/>
                <a:moveTo>
                  <a:pt x="4494541" y="1328759"/>
                </a:moveTo>
                <a:lnTo>
                  <a:pt x="4524144" y="1328759"/>
                </a:lnTo>
                <a:lnTo>
                  <a:pt x="4524144" y="1358362"/>
                </a:lnTo>
                <a:lnTo>
                  <a:pt x="4494541" y="1358362"/>
                </a:lnTo>
                <a:close/>
                <a:moveTo>
                  <a:pt x="10075192" y="1328756"/>
                </a:moveTo>
                <a:lnTo>
                  <a:pt x="10104794" y="1328756"/>
                </a:lnTo>
                <a:lnTo>
                  <a:pt x="10104794" y="1358359"/>
                </a:lnTo>
                <a:lnTo>
                  <a:pt x="10075192" y="1358359"/>
                </a:lnTo>
                <a:close/>
                <a:moveTo>
                  <a:pt x="4228344" y="1328756"/>
                </a:moveTo>
                <a:lnTo>
                  <a:pt x="4257946" y="1328756"/>
                </a:lnTo>
                <a:lnTo>
                  <a:pt x="4257946" y="1358359"/>
                </a:lnTo>
                <a:lnTo>
                  <a:pt x="4228344" y="1358359"/>
                </a:lnTo>
                <a:close/>
                <a:moveTo>
                  <a:pt x="9809103" y="1328753"/>
                </a:moveTo>
                <a:lnTo>
                  <a:pt x="9838705" y="1328753"/>
                </a:lnTo>
                <a:lnTo>
                  <a:pt x="9838705" y="1358357"/>
                </a:lnTo>
                <a:lnTo>
                  <a:pt x="9809103" y="1358357"/>
                </a:lnTo>
                <a:close/>
                <a:moveTo>
                  <a:pt x="3962255" y="1328753"/>
                </a:moveTo>
                <a:lnTo>
                  <a:pt x="3991857" y="1328753"/>
                </a:lnTo>
                <a:lnTo>
                  <a:pt x="3991857" y="1358357"/>
                </a:lnTo>
                <a:lnTo>
                  <a:pt x="3962255" y="1358357"/>
                </a:lnTo>
                <a:close/>
                <a:moveTo>
                  <a:pt x="9542906" y="1328751"/>
                </a:moveTo>
                <a:lnTo>
                  <a:pt x="9572509" y="1328751"/>
                </a:lnTo>
                <a:lnTo>
                  <a:pt x="9572509" y="1358354"/>
                </a:lnTo>
                <a:lnTo>
                  <a:pt x="9542906" y="1358354"/>
                </a:lnTo>
                <a:close/>
                <a:moveTo>
                  <a:pt x="3696058" y="1328751"/>
                </a:moveTo>
                <a:lnTo>
                  <a:pt x="3725661" y="1328751"/>
                </a:lnTo>
                <a:lnTo>
                  <a:pt x="3725661" y="1358354"/>
                </a:lnTo>
                <a:lnTo>
                  <a:pt x="3696058" y="1358354"/>
                </a:lnTo>
                <a:close/>
                <a:moveTo>
                  <a:pt x="9276817" y="1328748"/>
                </a:moveTo>
                <a:lnTo>
                  <a:pt x="9306420" y="1328748"/>
                </a:lnTo>
                <a:lnTo>
                  <a:pt x="9306420" y="1358351"/>
                </a:lnTo>
                <a:lnTo>
                  <a:pt x="9276817" y="1358351"/>
                </a:lnTo>
                <a:close/>
                <a:moveTo>
                  <a:pt x="3429969" y="1328748"/>
                </a:moveTo>
                <a:lnTo>
                  <a:pt x="3459572" y="1328748"/>
                </a:lnTo>
                <a:lnTo>
                  <a:pt x="3459572" y="1358351"/>
                </a:lnTo>
                <a:lnTo>
                  <a:pt x="3429969" y="1358351"/>
                </a:lnTo>
                <a:close/>
                <a:moveTo>
                  <a:pt x="9010620" y="1328745"/>
                </a:moveTo>
                <a:lnTo>
                  <a:pt x="9040222" y="1328745"/>
                </a:lnTo>
                <a:lnTo>
                  <a:pt x="9040222" y="1358349"/>
                </a:lnTo>
                <a:lnTo>
                  <a:pt x="9010620" y="1358349"/>
                </a:lnTo>
                <a:close/>
                <a:moveTo>
                  <a:pt x="3163772" y="1328745"/>
                </a:moveTo>
                <a:lnTo>
                  <a:pt x="3193374" y="1328745"/>
                </a:lnTo>
                <a:lnTo>
                  <a:pt x="3193374" y="1358349"/>
                </a:lnTo>
                <a:lnTo>
                  <a:pt x="3163772" y="1358349"/>
                </a:lnTo>
                <a:close/>
                <a:moveTo>
                  <a:pt x="8744423" y="1328743"/>
                </a:moveTo>
                <a:lnTo>
                  <a:pt x="8774026" y="1328743"/>
                </a:lnTo>
                <a:lnTo>
                  <a:pt x="8774026" y="1358346"/>
                </a:lnTo>
                <a:lnTo>
                  <a:pt x="8744423" y="1358346"/>
                </a:lnTo>
                <a:close/>
                <a:moveTo>
                  <a:pt x="2897575" y="1328743"/>
                </a:moveTo>
                <a:lnTo>
                  <a:pt x="2927178" y="1328743"/>
                </a:lnTo>
                <a:lnTo>
                  <a:pt x="2927178" y="1358346"/>
                </a:lnTo>
                <a:lnTo>
                  <a:pt x="2897575" y="1358346"/>
                </a:lnTo>
                <a:close/>
                <a:moveTo>
                  <a:pt x="8478226" y="1328740"/>
                </a:moveTo>
                <a:lnTo>
                  <a:pt x="8507828" y="1328740"/>
                </a:lnTo>
                <a:lnTo>
                  <a:pt x="8507828" y="1358344"/>
                </a:lnTo>
                <a:lnTo>
                  <a:pt x="8478226" y="1358344"/>
                </a:lnTo>
                <a:close/>
                <a:moveTo>
                  <a:pt x="2631378" y="1328740"/>
                </a:moveTo>
                <a:lnTo>
                  <a:pt x="2660980" y="1328740"/>
                </a:lnTo>
                <a:lnTo>
                  <a:pt x="2660980" y="1358344"/>
                </a:lnTo>
                <a:lnTo>
                  <a:pt x="2631378" y="1358344"/>
                </a:lnTo>
                <a:close/>
                <a:moveTo>
                  <a:pt x="8212137" y="1328738"/>
                </a:moveTo>
                <a:lnTo>
                  <a:pt x="8241740" y="1328738"/>
                </a:lnTo>
                <a:lnTo>
                  <a:pt x="8241740" y="1358341"/>
                </a:lnTo>
                <a:lnTo>
                  <a:pt x="8212137" y="1358341"/>
                </a:lnTo>
                <a:close/>
                <a:moveTo>
                  <a:pt x="2365289" y="1328738"/>
                </a:moveTo>
                <a:lnTo>
                  <a:pt x="2394892" y="1328738"/>
                </a:lnTo>
                <a:lnTo>
                  <a:pt x="2394892" y="1358341"/>
                </a:lnTo>
                <a:lnTo>
                  <a:pt x="2365289" y="1358341"/>
                </a:lnTo>
                <a:close/>
                <a:moveTo>
                  <a:pt x="7945940" y="1328735"/>
                </a:moveTo>
                <a:lnTo>
                  <a:pt x="7975543" y="1328735"/>
                </a:lnTo>
                <a:lnTo>
                  <a:pt x="7975543" y="1358338"/>
                </a:lnTo>
                <a:lnTo>
                  <a:pt x="7945940" y="1358338"/>
                </a:lnTo>
                <a:close/>
                <a:moveTo>
                  <a:pt x="2099092" y="1328735"/>
                </a:moveTo>
                <a:lnTo>
                  <a:pt x="2128695" y="1328735"/>
                </a:lnTo>
                <a:lnTo>
                  <a:pt x="2128695" y="1358338"/>
                </a:lnTo>
                <a:lnTo>
                  <a:pt x="2099092" y="1358338"/>
                </a:lnTo>
                <a:close/>
                <a:moveTo>
                  <a:pt x="7679743" y="1328732"/>
                </a:moveTo>
                <a:lnTo>
                  <a:pt x="7709346" y="1328732"/>
                </a:lnTo>
                <a:lnTo>
                  <a:pt x="7709346" y="1358336"/>
                </a:lnTo>
                <a:lnTo>
                  <a:pt x="7679743" y="1358336"/>
                </a:lnTo>
                <a:close/>
                <a:moveTo>
                  <a:pt x="1832898" y="1328732"/>
                </a:moveTo>
                <a:lnTo>
                  <a:pt x="1862498" y="1328732"/>
                </a:lnTo>
                <a:lnTo>
                  <a:pt x="1862498" y="1358336"/>
                </a:lnTo>
                <a:lnTo>
                  <a:pt x="1832898" y="1358336"/>
                </a:lnTo>
                <a:close/>
                <a:moveTo>
                  <a:pt x="7413653" y="1328730"/>
                </a:moveTo>
                <a:lnTo>
                  <a:pt x="7443256" y="1328730"/>
                </a:lnTo>
                <a:lnTo>
                  <a:pt x="7443256" y="1358333"/>
                </a:lnTo>
                <a:lnTo>
                  <a:pt x="7413653" y="1358333"/>
                </a:lnTo>
                <a:close/>
                <a:moveTo>
                  <a:pt x="1566808" y="1328730"/>
                </a:moveTo>
                <a:lnTo>
                  <a:pt x="1596409" y="1328730"/>
                </a:lnTo>
                <a:lnTo>
                  <a:pt x="1596409" y="1358333"/>
                </a:lnTo>
                <a:lnTo>
                  <a:pt x="1566808" y="1358333"/>
                </a:lnTo>
                <a:close/>
                <a:moveTo>
                  <a:pt x="7147456" y="1328727"/>
                </a:moveTo>
                <a:lnTo>
                  <a:pt x="7177058" y="1328727"/>
                </a:lnTo>
                <a:lnTo>
                  <a:pt x="7177058" y="1358330"/>
                </a:lnTo>
                <a:lnTo>
                  <a:pt x="7147456" y="1358330"/>
                </a:lnTo>
                <a:close/>
                <a:moveTo>
                  <a:pt x="1300611" y="1328727"/>
                </a:moveTo>
                <a:lnTo>
                  <a:pt x="1330213" y="1328727"/>
                </a:lnTo>
                <a:lnTo>
                  <a:pt x="1330213" y="1358330"/>
                </a:lnTo>
                <a:lnTo>
                  <a:pt x="1300611" y="1358330"/>
                </a:lnTo>
                <a:close/>
                <a:moveTo>
                  <a:pt x="6881367" y="1328724"/>
                </a:moveTo>
                <a:lnTo>
                  <a:pt x="6910970" y="1328724"/>
                </a:lnTo>
                <a:lnTo>
                  <a:pt x="6910970" y="1358328"/>
                </a:lnTo>
                <a:lnTo>
                  <a:pt x="6881367" y="1358328"/>
                </a:lnTo>
                <a:close/>
                <a:moveTo>
                  <a:pt x="1034520" y="1328724"/>
                </a:moveTo>
                <a:lnTo>
                  <a:pt x="1064123" y="1328724"/>
                </a:lnTo>
                <a:lnTo>
                  <a:pt x="1064123" y="1358328"/>
                </a:lnTo>
                <a:lnTo>
                  <a:pt x="1034520" y="1358328"/>
                </a:lnTo>
                <a:close/>
                <a:moveTo>
                  <a:pt x="6615170" y="1328722"/>
                </a:moveTo>
                <a:lnTo>
                  <a:pt x="6644773" y="1328722"/>
                </a:lnTo>
                <a:lnTo>
                  <a:pt x="6644773" y="1358325"/>
                </a:lnTo>
                <a:lnTo>
                  <a:pt x="6615170" y="1358325"/>
                </a:lnTo>
                <a:close/>
                <a:moveTo>
                  <a:pt x="768327" y="1328722"/>
                </a:moveTo>
                <a:lnTo>
                  <a:pt x="797926" y="1328722"/>
                </a:lnTo>
                <a:lnTo>
                  <a:pt x="797926" y="1358325"/>
                </a:lnTo>
                <a:lnTo>
                  <a:pt x="768327" y="1358325"/>
                </a:lnTo>
                <a:close/>
                <a:moveTo>
                  <a:pt x="6349081" y="1328719"/>
                </a:moveTo>
                <a:lnTo>
                  <a:pt x="6378683" y="1328719"/>
                </a:lnTo>
                <a:lnTo>
                  <a:pt x="6378683" y="1358323"/>
                </a:lnTo>
                <a:lnTo>
                  <a:pt x="6349081" y="1358323"/>
                </a:lnTo>
                <a:close/>
                <a:moveTo>
                  <a:pt x="502236" y="1328719"/>
                </a:moveTo>
                <a:lnTo>
                  <a:pt x="531838" y="1328719"/>
                </a:lnTo>
                <a:lnTo>
                  <a:pt x="531838" y="1358323"/>
                </a:lnTo>
                <a:lnTo>
                  <a:pt x="502236" y="1358323"/>
                </a:lnTo>
                <a:close/>
                <a:moveTo>
                  <a:pt x="6082884" y="1328717"/>
                </a:moveTo>
                <a:lnTo>
                  <a:pt x="6112486" y="1328717"/>
                </a:lnTo>
                <a:lnTo>
                  <a:pt x="6112486" y="1358320"/>
                </a:lnTo>
                <a:lnTo>
                  <a:pt x="6082884" y="1358320"/>
                </a:lnTo>
                <a:close/>
                <a:moveTo>
                  <a:pt x="236036" y="1328717"/>
                </a:moveTo>
                <a:lnTo>
                  <a:pt x="265639" y="1328717"/>
                </a:lnTo>
                <a:lnTo>
                  <a:pt x="265639" y="1358320"/>
                </a:lnTo>
                <a:lnTo>
                  <a:pt x="236036" y="1358320"/>
                </a:lnTo>
                <a:close/>
                <a:moveTo>
                  <a:pt x="1" y="1328717"/>
                </a:moveTo>
                <a:lnTo>
                  <a:pt x="29602" y="1328717"/>
                </a:lnTo>
                <a:lnTo>
                  <a:pt x="29602" y="1358320"/>
                </a:lnTo>
                <a:lnTo>
                  <a:pt x="1" y="1358320"/>
                </a:lnTo>
                <a:close/>
                <a:moveTo>
                  <a:pt x="11672158" y="1063123"/>
                </a:moveTo>
                <a:lnTo>
                  <a:pt x="11701760" y="1063123"/>
                </a:lnTo>
                <a:lnTo>
                  <a:pt x="11701760" y="1092617"/>
                </a:lnTo>
                <a:lnTo>
                  <a:pt x="11672158" y="1092617"/>
                </a:lnTo>
                <a:close/>
                <a:moveTo>
                  <a:pt x="5825310" y="1063123"/>
                </a:moveTo>
                <a:lnTo>
                  <a:pt x="5854913" y="1063123"/>
                </a:lnTo>
                <a:lnTo>
                  <a:pt x="5854913" y="1092617"/>
                </a:lnTo>
                <a:lnTo>
                  <a:pt x="5825310" y="1092617"/>
                </a:lnTo>
                <a:close/>
                <a:moveTo>
                  <a:pt x="11405961" y="1063120"/>
                </a:moveTo>
                <a:lnTo>
                  <a:pt x="11435563" y="1063120"/>
                </a:lnTo>
                <a:lnTo>
                  <a:pt x="11435563" y="1092615"/>
                </a:lnTo>
                <a:lnTo>
                  <a:pt x="11405961" y="1092615"/>
                </a:lnTo>
                <a:close/>
                <a:moveTo>
                  <a:pt x="5559113" y="1063120"/>
                </a:moveTo>
                <a:lnTo>
                  <a:pt x="5588715" y="1063120"/>
                </a:lnTo>
                <a:lnTo>
                  <a:pt x="5588715" y="1092615"/>
                </a:lnTo>
                <a:lnTo>
                  <a:pt x="5559113" y="1092615"/>
                </a:lnTo>
                <a:close/>
                <a:moveTo>
                  <a:pt x="11139872" y="1063117"/>
                </a:moveTo>
                <a:lnTo>
                  <a:pt x="11169474" y="1063117"/>
                </a:lnTo>
                <a:lnTo>
                  <a:pt x="11169474" y="1092612"/>
                </a:lnTo>
                <a:lnTo>
                  <a:pt x="11139872" y="1092612"/>
                </a:lnTo>
                <a:close/>
                <a:moveTo>
                  <a:pt x="5293024" y="1063117"/>
                </a:moveTo>
                <a:lnTo>
                  <a:pt x="5322626" y="1063117"/>
                </a:lnTo>
                <a:lnTo>
                  <a:pt x="5322626" y="1092612"/>
                </a:lnTo>
                <a:lnTo>
                  <a:pt x="5293024" y="1092612"/>
                </a:lnTo>
                <a:close/>
                <a:moveTo>
                  <a:pt x="10873675" y="1063114"/>
                </a:moveTo>
                <a:lnTo>
                  <a:pt x="10903277" y="1063114"/>
                </a:lnTo>
                <a:lnTo>
                  <a:pt x="10903277" y="1092608"/>
                </a:lnTo>
                <a:lnTo>
                  <a:pt x="10873675" y="1092608"/>
                </a:lnTo>
                <a:close/>
                <a:moveTo>
                  <a:pt x="5026827" y="1063114"/>
                </a:moveTo>
                <a:lnTo>
                  <a:pt x="5056429" y="1063114"/>
                </a:lnTo>
                <a:lnTo>
                  <a:pt x="5056429" y="1092608"/>
                </a:lnTo>
                <a:lnTo>
                  <a:pt x="5026827" y="1092608"/>
                </a:lnTo>
                <a:close/>
                <a:moveTo>
                  <a:pt x="10607478" y="1063111"/>
                </a:moveTo>
                <a:lnTo>
                  <a:pt x="10637188" y="1063111"/>
                </a:lnTo>
                <a:lnTo>
                  <a:pt x="10637188" y="1092605"/>
                </a:lnTo>
                <a:lnTo>
                  <a:pt x="10607478" y="1092605"/>
                </a:lnTo>
                <a:close/>
                <a:moveTo>
                  <a:pt x="4760630" y="1063111"/>
                </a:moveTo>
                <a:lnTo>
                  <a:pt x="4790340" y="1063111"/>
                </a:lnTo>
                <a:lnTo>
                  <a:pt x="4790340" y="1092605"/>
                </a:lnTo>
                <a:lnTo>
                  <a:pt x="4760630" y="1092605"/>
                </a:lnTo>
                <a:close/>
                <a:moveTo>
                  <a:pt x="10341389" y="1063108"/>
                </a:moveTo>
                <a:lnTo>
                  <a:pt x="10370992" y="1063108"/>
                </a:lnTo>
                <a:lnTo>
                  <a:pt x="10370992" y="1092602"/>
                </a:lnTo>
                <a:lnTo>
                  <a:pt x="10341389" y="1092602"/>
                </a:lnTo>
                <a:close/>
                <a:moveTo>
                  <a:pt x="4494541" y="1063108"/>
                </a:moveTo>
                <a:lnTo>
                  <a:pt x="4524144" y="1063108"/>
                </a:lnTo>
                <a:lnTo>
                  <a:pt x="4524144" y="1092602"/>
                </a:lnTo>
                <a:lnTo>
                  <a:pt x="4494541" y="1092602"/>
                </a:lnTo>
                <a:close/>
                <a:moveTo>
                  <a:pt x="10075192" y="1063105"/>
                </a:moveTo>
                <a:lnTo>
                  <a:pt x="10104794" y="1063105"/>
                </a:lnTo>
                <a:lnTo>
                  <a:pt x="10104794" y="1092599"/>
                </a:lnTo>
                <a:lnTo>
                  <a:pt x="10075192" y="1092599"/>
                </a:lnTo>
                <a:close/>
                <a:moveTo>
                  <a:pt x="4228344" y="1063105"/>
                </a:moveTo>
                <a:lnTo>
                  <a:pt x="4257946" y="1063105"/>
                </a:lnTo>
                <a:lnTo>
                  <a:pt x="4257946" y="1092599"/>
                </a:lnTo>
                <a:lnTo>
                  <a:pt x="4228344" y="1092599"/>
                </a:lnTo>
                <a:close/>
                <a:moveTo>
                  <a:pt x="9809103" y="1063102"/>
                </a:moveTo>
                <a:lnTo>
                  <a:pt x="9838705" y="1063102"/>
                </a:lnTo>
                <a:lnTo>
                  <a:pt x="9838705" y="1092596"/>
                </a:lnTo>
                <a:lnTo>
                  <a:pt x="9809103" y="1092596"/>
                </a:lnTo>
                <a:close/>
                <a:moveTo>
                  <a:pt x="3962255" y="1063102"/>
                </a:moveTo>
                <a:lnTo>
                  <a:pt x="3991857" y="1063102"/>
                </a:lnTo>
                <a:lnTo>
                  <a:pt x="3991857" y="1092596"/>
                </a:lnTo>
                <a:lnTo>
                  <a:pt x="3962255" y="1092596"/>
                </a:lnTo>
                <a:close/>
                <a:moveTo>
                  <a:pt x="9542906" y="1063099"/>
                </a:moveTo>
                <a:lnTo>
                  <a:pt x="9572509" y="1063099"/>
                </a:lnTo>
                <a:lnTo>
                  <a:pt x="9572509" y="1092593"/>
                </a:lnTo>
                <a:lnTo>
                  <a:pt x="9542906" y="1092593"/>
                </a:lnTo>
                <a:close/>
                <a:moveTo>
                  <a:pt x="3696058" y="1063099"/>
                </a:moveTo>
                <a:lnTo>
                  <a:pt x="3725661" y="1063099"/>
                </a:lnTo>
                <a:lnTo>
                  <a:pt x="3725661" y="1092593"/>
                </a:lnTo>
                <a:lnTo>
                  <a:pt x="3696058" y="1092593"/>
                </a:lnTo>
                <a:close/>
                <a:moveTo>
                  <a:pt x="9276817" y="1063096"/>
                </a:moveTo>
                <a:lnTo>
                  <a:pt x="9306420" y="1063096"/>
                </a:lnTo>
                <a:lnTo>
                  <a:pt x="9306420" y="1092590"/>
                </a:lnTo>
                <a:lnTo>
                  <a:pt x="9276817" y="1092590"/>
                </a:lnTo>
                <a:close/>
                <a:moveTo>
                  <a:pt x="3429969" y="1063096"/>
                </a:moveTo>
                <a:lnTo>
                  <a:pt x="3459572" y="1063096"/>
                </a:lnTo>
                <a:lnTo>
                  <a:pt x="3459572" y="1092590"/>
                </a:lnTo>
                <a:lnTo>
                  <a:pt x="3429969" y="1092590"/>
                </a:lnTo>
                <a:close/>
                <a:moveTo>
                  <a:pt x="9010620" y="1063093"/>
                </a:moveTo>
                <a:lnTo>
                  <a:pt x="9040222" y="1063093"/>
                </a:lnTo>
                <a:lnTo>
                  <a:pt x="9040222" y="1092587"/>
                </a:lnTo>
                <a:lnTo>
                  <a:pt x="9010620" y="1092587"/>
                </a:lnTo>
                <a:close/>
                <a:moveTo>
                  <a:pt x="3163772" y="1063093"/>
                </a:moveTo>
                <a:lnTo>
                  <a:pt x="3193374" y="1063093"/>
                </a:lnTo>
                <a:lnTo>
                  <a:pt x="3193374" y="1092587"/>
                </a:lnTo>
                <a:lnTo>
                  <a:pt x="3163772" y="1092587"/>
                </a:lnTo>
                <a:close/>
                <a:moveTo>
                  <a:pt x="8744423" y="1063090"/>
                </a:moveTo>
                <a:lnTo>
                  <a:pt x="8774026" y="1063090"/>
                </a:lnTo>
                <a:lnTo>
                  <a:pt x="8774026" y="1092584"/>
                </a:lnTo>
                <a:lnTo>
                  <a:pt x="8744423" y="1092584"/>
                </a:lnTo>
                <a:close/>
                <a:moveTo>
                  <a:pt x="2897575" y="1063090"/>
                </a:moveTo>
                <a:lnTo>
                  <a:pt x="2927178" y="1063090"/>
                </a:lnTo>
                <a:lnTo>
                  <a:pt x="2927178" y="1092584"/>
                </a:lnTo>
                <a:lnTo>
                  <a:pt x="2897575" y="1092584"/>
                </a:lnTo>
                <a:close/>
                <a:moveTo>
                  <a:pt x="8478226" y="1063087"/>
                </a:moveTo>
                <a:lnTo>
                  <a:pt x="8507828" y="1063087"/>
                </a:lnTo>
                <a:lnTo>
                  <a:pt x="8507828" y="1092581"/>
                </a:lnTo>
                <a:lnTo>
                  <a:pt x="8478226" y="1092581"/>
                </a:lnTo>
                <a:close/>
                <a:moveTo>
                  <a:pt x="2631378" y="1063087"/>
                </a:moveTo>
                <a:lnTo>
                  <a:pt x="2660980" y="1063087"/>
                </a:lnTo>
                <a:lnTo>
                  <a:pt x="2660980" y="1092581"/>
                </a:lnTo>
                <a:lnTo>
                  <a:pt x="2631378" y="1092581"/>
                </a:lnTo>
                <a:close/>
                <a:moveTo>
                  <a:pt x="8212137" y="1063084"/>
                </a:moveTo>
                <a:lnTo>
                  <a:pt x="8241740" y="1063084"/>
                </a:lnTo>
                <a:lnTo>
                  <a:pt x="8241740" y="1092578"/>
                </a:lnTo>
                <a:lnTo>
                  <a:pt x="8212137" y="1092578"/>
                </a:lnTo>
                <a:close/>
                <a:moveTo>
                  <a:pt x="2365289" y="1063084"/>
                </a:moveTo>
                <a:lnTo>
                  <a:pt x="2394892" y="1063084"/>
                </a:lnTo>
                <a:lnTo>
                  <a:pt x="2394892" y="1092578"/>
                </a:lnTo>
                <a:lnTo>
                  <a:pt x="2365289" y="1092578"/>
                </a:lnTo>
                <a:close/>
                <a:moveTo>
                  <a:pt x="7945940" y="1063081"/>
                </a:moveTo>
                <a:lnTo>
                  <a:pt x="7975543" y="1063081"/>
                </a:lnTo>
                <a:lnTo>
                  <a:pt x="7975543" y="1092575"/>
                </a:lnTo>
                <a:lnTo>
                  <a:pt x="7945940" y="1092575"/>
                </a:lnTo>
                <a:close/>
                <a:moveTo>
                  <a:pt x="2099092" y="1063081"/>
                </a:moveTo>
                <a:lnTo>
                  <a:pt x="2128695" y="1063081"/>
                </a:lnTo>
                <a:lnTo>
                  <a:pt x="2128695" y="1092575"/>
                </a:lnTo>
                <a:lnTo>
                  <a:pt x="2099092" y="1092575"/>
                </a:lnTo>
                <a:close/>
                <a:moveTo>
                  <a:pt x="7679743" y="1063078"/>
                </a:moveTo>
                <a:lnTo>
                  <a:pt x="7709346" y="1063078"/>
                </a:lnTo>
                <a:lnTo>
                  <a:pt x="7709346" y="1092572"/>
                </a:lnTo>
                <a:lnTo>
                  <a:pt x="7679743" y="1092572"/>
                </a:lnTo>
                <a:close/>
                <a:moveTo>
                  <a:pt x="1832898" y="1063078"/>
                </a:moveTo>
                <a:lnTo>
                  <a:pt x="1862498" y="1063078"/>
                </a:lnTo>
                <a:lnTo>
                  <a:pt x="1862498" y="1092572"/>
                </a:lnTo>
                <a:lnTo>
                  <a:pt x="1832898" y="1092572"/>
                </a:lnTo>
                <a:close/>
                <a:moveTo>
                  <a:pt x="7413653" y="1063075"/>
                </a:moveTo>
                <a:lnTo>
                  <a:pt x="7443256" y="1063075"/>
                </a:lnTo>
                <a:lnTo>
                  <a:pt x="7443256" y="1092569"/>
                </a:lnTo>
                <a:lnTo>
                  <a:pt x="7413653" y="1092569"/>
                </a:lnTo>
                <a:close/>
                <a:moveTo>
                  <a:pt x="1566808" y="1063075"/>
                </a:moveTo>
                <a:lnTo>
                  <a:pt x="1596409" y="1063075"/>
                </a:lnTo>
                <a:lnTo>
                  <a:pt x="1596409" y="1092569"/>
                </a:lnTo>
                <a:lnTo>
                  <a:pt x="1566808" y="1092569"/>
                </a:lnTo>
                <a:close/>
                <a:moveTo>
                  <a:pt x="7147456" y="1063072"/>
                </a:moveTo>
                <a:lnTo>
                  <a:pt x="7177058" y="1063072"/>
                </a:lnTo>
                <a:lnTo>
                  <a:pt x="7177058" y="1092566"/>
                </a:lnTo>
                <a:lnTo>
                  <a:pt x="7147456" y="1092566"/>
                </a:lnTo>
                <a:close/>
                <a:moveTo>
                  <a:pt x="1300611" y="1063072"/>
                </a:moveTo>
                <a:lnTo>
                  <a:pt x="1330213" y="1063072"/>
                </a:lnTo>
                <a:lnTo>
                  <a:pt x="1330213" y="1092566"/>
                </a:lnTo>
                <a:lnTo>
                  <a:pt x="1300611" y="1092566"/>
                </a:lnTo>
                <a:close/>
                <a:moveTo>
                  <a:pt x="6881367" y="1063069"/>
                </a:moveTo>
                <a:lnTo>
                  <a:pt x="6910970" y="1063069"/>
                </a:lnTo>
                <a:lnTo>
                  <a:pt x="6910970" y="1092563"/>
                </a:lnTo>
                <a:lnTo>
                  <a:pt x="6881367" y="1092563"/>
                </a:lnTo>
                <a:close/>
                <a:moveTo>
                  <a:pt x="1034520" y="1063069"/>
                </a:moveTo>
                <a:lnTo>
                  <a:pt x="1064123" y="1063069"/>
                </a:lnTo>
                <a:lnTo>
                  <a:pt x="1064123" y="1092563"/>
                </a:lnTo>
                <a:lnTo>
                  <a:pt x="1034520" y="1092563"/>
                </a:lnTo>
                <a:close/>
                <a:moveTo>
                  <a:pt x="6615170" y="1063066"/>
                </a:moveTo>
                <a:lnTo>
                  <a:pt x="6644773" y="1063066"/>
                </a:lnTo>
                <a:lnTo>
                  <a:pt x="6644773" y="1092560"/>
                </a:lnTo>
                <a:lnTo>
                  <a:pt x="6615170" y="1092560"/>
                </a:lnTo>
                <a:close/>
                <a:moveTo>
                  <a:pt x="768326" y="1063066"/>
                </a:moveTo>
                <a:lnTo>
                  <a:pt x="797926" y="1063066"/>
                </a:lnTo>
                <a:lnTo>
                  <a:pt x="797926" y="1092560"/>
                </a:lnTo>
                <a:lnTo>
                  <a:pt x="768326" y="1092560"/>
                </a:lnTo>
                <a:close/>
                <a:moveTo>
                  <a:pt x="6349081" y="1063063"/>
                </a:moveTo>
                <a:lnTo>
                  <a:pt x="6378683" y="1063063"/>
                </a:lnTo>
                <a:lnTo>
                  <a:pt x="6378683" y="1092557"/>
                </a:lnTo>
                <a:lnTo>
                  <a:pt x="6349081" y="1092557"/>
                </a:lnTo>
                <a:close/>
                <a:moveTo>
                  <a:pt x="502235" y="1063063"/>
                </a:moveTo>
                <a:lnTo>
                  <a:pt x="531838" y="1063063"/>
                </a:lnTo>
                <a:lnTo>
                  <a:pt x="531838" y="1092557"/>
                </a:lnTo>
                <a:lnTo>
                  <a:pt x="502235" y="1092557"/>
                </a:lnTo>
                <a:close/>
                <a:moveTo>
                  <a:pt x="6082884" y="1063059"/>
                </a:moveTo>
                <a:lnTo>
                  <a:pt x="6112486" y="1063059"/>
                </a:lnTo>
                <a:lnTo>
                  <a:pt x="6112486" y="1092554"/>
                </a:lnTo>
                <a:lnTo>
                  <a:pt x="6082884" y="1092554"/>
                </a:lnTo>
                <a:close/>
                <a:moveTo>
                  <a:pt x="236036" y="1063059"/>
                </a:moveTo>
                <a:lnTo>
                  <a:pt x="265639" y="1063059"/>
                </a:lnTo>
                <a:lnTo>
                  <a:pt x="265639" y="1092554"/>
                </a:lnTo>
                <a:lnTo>
                  <a:pt x="236036" y="1092554"/>
                </a:lnTo>
                <a:close/>
                <a:moveTo>
                  <a:pt x="0" y="1063059"/>
                </a:moveTo>
                <a:lnTo>
                  <a:pt x="29602" y="1063059"/>
                </a:lnTo>
                <a:lnTo>
                  <a:pt x="29602" y="1092554"/>
                </a:lnTo>
                <a:lnTo>
                  <a:pt x="0" y="1092554"/>
                </a:lnTo>
                <a:close/>
                <a:moveTo>
                  <a:pt x="11672158" y="797337"/>
                </a:moveTo>
                <a:lnTo>
                  <a:pt x="11701760" y="797337"/>
                </a:lnTo>
                <a:lnTo>
                  <a:pt x="11701760" y="826844"/>
                </a:lnTo>
                <a:lnTo>
                  <a:pt x="11672158" y="826844"/>
                </a:lnTo>
                <a:close/>
                <a:moveTo>
                  <a:pt x="5825310" y="797337"/>
                </a:moveTo>
                <a:lnTo>
                  <a:pt x="5854913" y="797337"/>
                </a:lnTo>
                <a:lnTo>
                  <a:pt x="5854913" y="826844"/>
                </a:lnTo>
                <a:lnTo>
                  <a:pt x="5825310" y="826844"/>
                </a:lnTo>
                <a:close/>
                <a:moveTo>
                  <a:pt x="11405961" y="797335"/>
                </a:moveTo>
                <a:lnTo>
                  <a:pt x="11435563" y="797335"/>
                </a:lnTo>
                <a:lnTo>
                  <a:pt x="11435563" y="826841"/>
                </a:lnTo>
                <a:lnTo>
                  <a:pt x="11405961" y="826841"/>
                </a:lnTo>
                <a:close/>
                <a:moveTo>
                  <a:pt x="5559113" y="797335"/>
                </a:moveTo>
                <a:lnTo>
                  <a:pt x="5588715" y="797335"/>
                </a:lnTo>
                <a:lnTo>
                  <a:pt x="5588715" y="826841"/>
                </a:lnTo>
                <a:lnTo>
                  <a:pt x="5559113" y="826841"/>
                </a:lnTo>
                <a:close/>
                <a:moveTo>
                  <a:pt x="11139872" y="797333"/>
                </a:moveTo>
                <a:lnTo>
                  <a:pt x="11169474" y="797333"/>
                </a:lnTo>
                <a:lnTo>
                  <a:pt x="11169474" y="826839"/>
                </a:lnTo>
                <a:lnTo>
                  <a:pt x="11139872" y="826839"/>
                </a:lnTo>
                <a:close/>
                <a:moveTo>
                  <a:pt x="5293024" y="797333"/>
                </a:moveTo>
                <a:lnTo>
                  <a:pt x="5322626" y="797333"/>
                </a:lnTo>
                <a:lnTo>
                  <a:pt x="5322626" y="826839"/>
                </a:lnTo>
                <a:lnTo>
                  <a:pt x="5293024" y="826839"/>
                </a:lnTo>
                <a:close/>
                <a:moveTo>
                  <a:pt x="10873675" y="797331"/>
                </a:moveTo>
                <a:lnTo>
                  <a:pt x="10903277" y="797331"/>
                </a:lnTo>
                <a:lnTo>
                  <a:pt x="10903277" y="826836"/>
                </a:lnTo>
                <a:lnTo>
                  <a:pt x="10873675" y="826836"/>
                </a:lnTo>
                <a:close/>
                <a:moveTo>
                  <a:pt x="5026827" y="797331"/>
                </a:moveTo>
                <a:lnTo>
                  <a:pt x="5056429" y="797331"/>
                </a:lnTo>
                <a:lnTo>
                  <a:pt x="5056429" y="826836"/>
                </a:lnTo>
                <a:lnTo>
                  <a:pt x="5026827" y="826836"/>
                </a:lnTo>
                <a:close/>
                <a:moveTo>
                  <a:pt x="10607478" y="797329"/>
                </a:moveTo>
                <a:lnTo>
                  <a:pt x="10637188" y="797329"/>
                </a:lnTo>
                <a:lnTo>
                  <a:pt x="10637188" y="826833"/>
                </a:lnTo>
                <a:lnTo>
                  <a:pt x="10607478" y="826833"/>
                </a:lnTo>
                <a:close/>
                <a:moveTo>
                  <a:pt x="4760630" y="797329"/>
                </a:moveTo>
                <a:lnTo>
                  <a:pt x="4790340" y="797329"/>
                </a:lnTo>
                <a:lnTo>
                  <a:pt x="4790340" y="826833"/>
                </a:lnTo>
                <a:lnTo>
                  <a:pt x="4760630" y="826833"/>
                </a:lnTo>
                <a:close/>
                <a:moveTo>
                  <a:pt x="10341389" y="797327"/>
                </a:moveTo>
                <a:lnTo>
                  <a:pt x="10370992" y="797327"/>
                </a:lnTo>
                <a:lnTo>
                  <a:pt x="10370992" y="826831"/>
                </a:lnTo>
                <a:lnTo>
                  <a:pt x="10341389" y="826831"/>
                </a:lnTo>
                <a:close/>
                <a:moveTo>
                  <a:pt x="4494541" y="797327"/>
                </a:moveTo>
                <a:lnTo>
                  <a:pt x="4524144" y="797327"/>
                </a:lnTo>
                <a:lnTo>
                  <a:pt x="4524144" y="826831"/>
                </a:lnTo>
                <a:lnTo>
                  <a:pt x="4494541" y="826831"/>
                </a:lnTo>
                <a:close/>
                <a:moveTo>
                  <a:pt x="10075192" y="797325"/>
                </a:moveTo>
                <a:lnTo>
                  <a:pt x="10104794" y="797325"/>
                </a:lnTo>
                <a:lnTo>
                  <a:pt x="10104794" y="826828"/>
                </a:lnTo>
                <a:lnTo>
                  <a:pt x="10075192" y="826828"/>
                </a:lnTo>
                <a:close/>
                <a:moveTo>
                  <a:pt x="4228344" y="797325"/>
                </a:moveTo>
                <a:lnTo>
                  <a:pt x="4257946" y="797325"/>
                </a:lnTo>
                <a:lnTo>
                  <a:pt x="4257946" y="826828"/>
                </a:lnTo>
                <a:lnTo>
                  <a:pt x="4228344" y="826828"/>
                </a:lnTo>
                <a:close/>
                <a:moveTo>
                  <a:pt x="9809103" y="797323"/>
                </a:moveTo>
                <a:lnTo>
                  <a:pt x="9838705" y="797323"/>
                </a:lnTo>
                <a:lnTo>
                  <a:pt x="9838705" y="826826"/>
                </a:lnTo>
                <a:lnTo>
                  <a:pt x="9809103" y="826826"/>
                </a:lnTo>
                <a:close/>
                <a:moveTo>
                  <a:pt x="3962255" y="797323"/>
                </a:moveTo>
                <a:lnTo>
                  <a:pt x="3991857" y="797323"/>
                </a:lnTo>
                <a:lnTo>
                  <a:pt x="3991857" y="826826"/>
                </a:lnTo>
                <a:lnTo>
                  <a:pt x="3962255" y="826826"/>
                </a:lnTo>
                <a:close/>
                <a:moveTo>
                  <a:pt x="9542906" y="797321"/>
                </a:moveTo>
                <a:lnTo>
                  <a:pt x="9572509" y="797321"/>
                </a:lnTo>
                <a:lnTo>
                  <a:pt x="9572509" y="826823"/>
                </a:lnTo>
                <a:lnTo>
                  <a:pt x="9542906" y="826823"/>
                </a:lnTo>
                <a:close/>
                <a:moveTo>
                  <a:pt x="3696058" y="797321"/>
                </a:moveTo>
                <a:lnTo>
                  <a:pt x="3725661" y="797321"/>
                </a:lnTo>
                <a:lnTo>
                  <a:pt x="3725661" y="826823"/>
                </a:lnTo>
                <a:lnTo>
                  <a:pt x="3696058" y="826823"/>
                </a:lnTo>
                <a:close/>
                <a:moveTo>
                  <a:pt x="9276817" y="797319"/>
                </a:moveTo>
                <a:lnTo>
                  <a:pt x="9306420" y="797319"/>
                </a:lnTo>
                <a:lnTo>
                  <a:pt x="9306420" y="826820"/>
                </a:lnTo>
                <a:lnTo>
                  <a:pt x="9276817" y="826820"/>
                </a:lnTo>
                <a:close/>
                <a:moveTo>
                  <a:pt x="3429969" y="797319"/>
                </a:moveTo>
                <a:lnTo>
                  <a:pt x="3459572" y="797319"/>
                </a:lnTo>
                <a:lnTo>
                  <a:pt x="3459572" y="826820"/>
                </a:lnTo>
                <a:lnTo>
                  <a:pt x="3429969" y="826820"/>
                </a:lnTo>
                <a:close/>
                <a:moveTo>
                  <a:pt x="9010620" y="797317"/>
                </a:moveTo>
                <a:lnTo>
                  <a:pt x="9040222" y="797317"/>
                </a:lnTo>
                <a:lnTo>
                  <a:pt x="9040222" y="826818"/>
                </a:lnTo>
                <a:lnTo>
                  <a:pt x="9010620" y="826818"/>
                </a:lnTo>
                <a:close/>
                <a:moveTo>
                  <a:pt x="3163772" y="797317"/>
                </a:moveTo>
                <a:lnTo>
                  <a:pt x="3193374" y="797317"/>
                </a:lnTo>
                <a:lnTo>
                  <a:pt x="3193374" y="826818"/>
                </a:lnTo>
                <a:lnTo>
                  <a:pt x="3163772" y="826818"/>
                </a:lnTo>
                <a:close/>
                <a:moveTo>
                  <a:pt x="8744423" y="797315"/>
                </a:moveTo>
                <a:lnTo>
                  <a:pt x="8774026" y="797315"/>
                </a:lnTo>
                <a:lnTo>
                  <a:pt x="8774026" y="826815"/>
                </a:lnTo>
                <a:lnTo>
                  <a:pt x="8744423" y="826815"/>
                </a:lnTo>
                <a:close/>
                <a:moveTo>
                  <a:pt x="2897575" y="797315"/>
                </a:moveTo>
                <a:lnTo>
                  <a:pt x="2927178" y="797315"/>
                </a:lnTo>
                <a:lnTo>
                  <a:pt x="2927178" y="826815"/>
                </a:lnTo>
                <a:lnTo>
                  <a:pt x="2897575" y="826815"/>
                </a:lnTo>
                <a:close/>
                <a:moveTo>
                  <a:pt x="8478226" y="797312"/>
                </a:moveTo>
                <a:lnTo>
                  <a:pt x="8507828" y="797312"/>
                </a:lnTo>
                <a:lnTo>
                  <a:pt x="8507828" y="826812"/>
                </a:lnTo>
                <a:lnTo>
                  <a:pt x="8478226" y="826812"/>
                </a:lnTo>
                <a:close/>
                <a:moveTo>
                  <a:pt x="2631378" y="797312"/>
                </a:moveTo>
                <a:lnTo>
                  <a:pt x="2660980" y="797312"/>
                </a:lnTo>
                <a:lnTo>
                  <a:pt x="2660980" y="826812"/>
                </a:lnTo>
                <a:lnTo>
                  <a:pt x="2631378" y="826812"/>
                </a:lnTo>
                <a:close/>
                <a:moveTo>
                  <a:pt x="8212137" y="797310"/>
                </a:moveTo>
                <a:lnTo>
                  <a:pt x="8241740" y="797310"/>
                </a:lnTo>
                <a:lnTo>
                  <a:pt x="8241740" y="826810"/>
                </a:lnTo>
                <a:lnTo>
                  <a:pt x="8212137" y="826810"/>
                </a:lnTo>
                <a:close/>
                <a:moveTo>
                  <a:pt x="2365289" y="797310"/>
                </a:moveTo>
                <a:lnTo>
                  <a:pt x="2394892" y="797310"/>
                </a:lnTo>
                <a:lnTo>
                  <a:pt x="2394892" y="826810"/>
                </a:lnTo>
                <a:lnTo>
                  <a:pt x="2365289" y="826810"/>
                </a:lnTo>
                <a:close/>
                <a:moveTo>
                  <a:pt x="7945940" y="797308"/>
                </a:moveTo>
                <a:lnTo>
                  <a:pt x="7975543" y="797308"/>
                </a:lnTo>
                <a:lnTo>
                  <a:pt x="7975543" y="826807"/>
                </a:lnTo>
                <a:lnTo>
                  <a:pt x="7945940" y="826807"/>
                </a:lnTo>
                <a:close/>
                <a:moveTo>
                  <a:pt x="2099092" y="797308"/>
                </a:moveTo>
                <a:lnTo>
                  <a:pt x="2128695" y="797308"/>
                </a:lnTo>
                <a:lnTo>
                  <a:pt x="2128695" y="826807"/>
                </a:lnTo>
                <a:lnTo>
                  <a:pt x="2099092" y="826807"/>
                </a:lnTo>
                <a:close/>
                <a:moveTo>
                  <a:pt x="7679743" y="797306"/>
                </a:moveTo>
                <a:lnTo>
                  <a:pt x="7709346" y="797306"/>
                </a:lnTo>
                <a:lnTo>
                  <a:pt x="7709346" y="826805"/>
                </a:lnTo>
                <a:lnTo>
                  <a:pt x="7679743" y="826805"/>
                </a:lnTo>
                <a:close/>
                <a:moveTo>
                  <a:pt x="1832898" y="797306"/>
                </a:moveTo>
                <a:lnTo>
                  <a:pt x="1862498" y="797306"/>
                </a:lnTo>
                <a:lnTo>
                  <a:pt x="1862498" y="826805"/>
                </a:lnTo>
                <a:lnTo>
                  <a:pt x="1832898" y="826805"/>
                </a:lnTo>
                <a:close/>
                <a:moveTo>
                  <a:pt x="7413653" y="797304"/>
                </a:moveTo>
                <a:lnTo>
                  <a:pt x="7443256" y="797304"/>
                </a:lnTo>
                <a:lnTo>
                  <a:pt x="7443256" y="826802"/>
                </a:lnTo>
                <a:lnTo>
                  <a:pt x="7413653" y="826802"/>
                </a:lnTo>
                <a:close/>
                <a:moveTo>
                  <a:pt x="1566808" y="797304"/>
                </a:moveTo>
                <a:lnTo>
                  <a:pt x="1596409" y="797304"/>
                </a:lnTo>
                <a:lnTo>
                  <a:pt x="1596409" y="826802"/>
                </a:lnTo>
                <a:lnTo>
                  <a:pt x="1566808" y="826802"/>
                </a:lnTo>
                <a:close/>
                <a:moveTo>
                  <a:pt x="7147456" y="797302"/>
                </a:moveTo>
                <a:lnTo>
                  <a:pt x="7177058" y="797302"/>
                </a:lnTo>
                <a:lnTo>
                  <a:pt x="7177058" y="826799"/>
                </a:lnTo>
                <a:lnTo>
                  <a:pt x="7147456" y="826799"/>
                </a:lnTo>
                <a:close/>
                <a:moveTo>
                  <a:pt x="1300611" y="797302"/>
                </a:moveTo>
                <a:lnTo>
                  <a:pt x="1330213" y="797302"/>
                </a:lnTo>
                <a:lnTo>
                  <a:pt x="1330213" y="826799"/>
                </a:lnTo>
                <a:lnTo>
                  <a:pt x="1300611" y="826799"/>
                </a:lnTo>
                <a:close/>
                <a:moveTo>
                  <a:pt x="6881367" y="797300"/>
                </a:moveTo>
                <a:lnTo>
                  <a:pt x="6910970" y="797300"/>
                </a:lnTo>
                <a:lnTo>
                  <a:pt x="6910970" y="826797"/>
                </a:lnTo>
                <a:lnTo>
                  <a:pt x="6881367" y="826797"/>
                </a:lnTo>
                <a:close/>
                <a:moveTo>
                  <a:pt x="1034520" y="797300"/>
                </a:moveTo>
                <a:lnTo>
                  <a:pt x="1064123" y="797300"/>
                </a:lnTo>
                <a:lnTo>
                  <a:pt x="1064123" y="826797"/>
                </a:lnTo>
                <a:lnTo>
                  <a:pt x="1034520" y="826797"/>
                </a:lnTo>
                <a:close/>
                <a:moveTo>
                  <a:pt x="6615170" y="797298"/>
                </a:moveTo>
                <a:lnTo>
                  <a:pt x="6644773" y="797298"/>
                </a:lnTo>
                <a:lnTo>
                  <a:pt x="6644773" y="826794"/>
                </a:lnTo>
                <a:lnTo>
                  <a:pt x="6615170" y="826794"/>
                </a:lnTo>
                <a:close/>
                <a:moveTo>
                  <a:pt x="768326" y="797298"/>
                </a:moveTo>
                <a:lnTo>
                  <a:pt x="797926" y="797298"/>
                </a:lnTo>
                <a:lnTo>
                  <a:pt x="797926" y="826794"/>
                </a:lnTo>
                <a:lnTo>
                  <a:pt x="768326" y="826794"/>
                </a:lnTo>
                <a:close/>
                <a:moveTo>
                  <a:pt x="6349081" y="797296"/>
                </a:moveTo>
                <a:lnTo>
                  <a:pt x="6378683" y="797296"/>
                </a:lnTo>
                <a:lnTo>
                  <a:pt x="6378683" y="826792"/>
                </a:lnTo>
                <a:lnTo>
                  <a:pt x="6349081" y="826792"/>
                </a:lnTo>
                <a:close/>
                <a:moveTo>
                  <a:pt x="502235" y="797296"/>
                </a:moveTo>
                <a:lnTo>
                  <a:pt x="531838" y="797296"/>
                </a:lnTo>
                <a:lnTo>
                  <a:pt x="531838" y="826792"/>
                </a:lnTo>
                <a:lnTo>
                  <a:pt x="502235" y="826792"/>
                </a:lnTo>
                <a:close/>
                <a:moveTo>
                  <a:pt x="6082884" y="797294"/>
                </a:moveTo>
                <a:lnTo>
                  <a:pt x="6112486" y="797294"/>
                </a:lnTo>
                <a:lnTo>
                  <a:pt x="6112486" y="826789"/>
                </a:lnTo>
                <a:lnTo>
                  <a:pt x="6082884" y="826789"/>
                </a:lnTo>
                <a:close/>
                <a:moveTo>
                  <a:pt x="236036" y="797294"/>
                </a:moveTo>
                <a:lnTo>
                  <a:pt x="265639" y="797294"/>
                </a:lnTo>
                <a:lnTo>
                  <a:pt x="265639" y="826789"/>
                </a:lnTo>
                <a:lnTo>
                  <a:pt x="236036" y="826789"/>
                </a:lnTo>
                <a:close/>
                <a:moveTo>
                  <a:pt x="0" y="797294"/>
                </a:moveTo>
                <a:lnTo>
                  <a:pt x="29602" y="797294"/>
                </a:lnTo>
                <a:lnTo>
                  <a:pt x="29602" y="826789"/>
                </a:lnTo>
                <a:lnTo>
                  <a:pt x="0" y="826789"/>
                </a:lnTo>
                <a:close/>
                <a:moveTo>
                  <a:pt x="11672158" y="531575"/>
                </a:moveTo>
                <a:lnTo>
                  <a:pt x="11701760" y="531575"/>
                </a:lnTo>
                <a:lnTo>
                  <a:pt x="11701760" y="561177"/>
                </a:lnTo>
                <a:lnTo>
                  <a:pt x="11672158" y="561177"/>
                </a:lnTo>
                <a:close/>
                <a:moveTo>
                  <a:pt x="5825310" y="531575"/>
                </a:moveTo>
                <a:lnTo>
                  <a:pt x="5854913" y="531575"/>
                </a:lnTo>
                <a:lnTo>
                  <a:pt x="5854913" y="561177"/>
                </a:lnTo>
                <a:lnTo>
                  <a:pt x="5825310" y="561177"/>
                </a:lnTo>
                <a:close/>
                <a:moveTo>
                  <a:pt x="11405961" y="531573"/>
                </a:moveTo>
                <a:lnTo>
                  <a:pt x="11435563" y="531573"/>
                </a:lnTo>
                <a:lnTo>
                  <a:pt x="11435563" y="561175"/>
                </a:lnTo>
                <a:lnTo>
                  <a:pt x="11405961" y="561175"/>
                </a:lnTo>
                <a:close/>
                <a:moveTo>
                  <a:pt x="5559113" y="531573"/>
                </a:moveTo>
                <a:lnTo>
                  <a:pt x="5588715" y="531573"/>
                </a:lnTo>
                <a:lnTo>
                  <a:pt x="5588715" y="561175"/>
                </a:lnTo>
                <a:lnTo>
                  <a:pt x="5559113" y="561175"/>
                </a:lnTo>
                <a:close/>
                <a:moveTo>
                  <a:pt x="11139872" y="531571"/>
                </a:moveTo>
                <a:lnTo>
                  <a:pt x="11169474" y="531571"/>
                </a:lnTo>
                <a:lnTo>
                  <a:pt x="11169474" y="561173"/>
                </a:lnTo>
                <a:lnTo>
                  <a:pt x="11139872" y="561173"/>
                </a:lnTo>
                <a:close/>
                <a:moveTo>
                  <a:pt x="5293024" y="531571"/>
                </a:moveTo>
                <a:lnTo>
                  <a:pt x="5322626" y="531571"/>
                </a:lnTo>
                <a:lnTo>
                  <a:pt x="5322626" y="561173"/>
                </a:lnTo>
                <a:lnTo>
                  <a:pt x="5293024" y="561173"/>
                </a:lnTo>
                <a:close/>
                <a:moveTo>
                  <a:pt x="10873675" y="531568"/>
                </a:moveTo>
                <a:lnTo>
                  <a:pt x="10903277" y="531568"/>
                </a:lnTo>
                <a:lnTo>
                  <a:pt x="10903277" y="561170"/>
                </a:lnTo>
                <a:lnTo>
                  <a:pt x="10873675" y="561170"/>
                </a:lnTo>
                <a:close/>
                <a:moveTo>
                  <a:pt x="5026827" y="531568"/>
                </a:moveTo>
                <a:lnTo>
                  <a:pt x="5056429" y="531568"/>
                </a:lnTo>
                <a:lnTo>
                  <a:pt x="5056429" y="561170"/>
                </a:lnTo>
                <a:lnTo>
                  <a:pt x="5026827" y="561170"/>
                </a:lnTo>
                <a:close/>
                <a:moveTo>
                  <a:pt x="10607478" y="531566"/>
                </a:moveTo>
                <a:lnTo>
                  <a:pt x="10637188" y="531566"/>
                </a:lnTo>
                <a:lnTo>
                  <a:pt x="10637188" y="561168"/>
                </a:lnTo>
                <a:lnTo>
                  <a:pt x="10607478" y="561168"/>
                </a:lnTo>
                <a:close/>
                <a:moveTo>
                  <a:pt x="4760630" y="531566"/>
                </a:moveTo>
                <a:lnTo>
                  <a:pt x="4790340" y="531566"/>
                </a:lnTo>
                <a:lnTo>
                  <a:pt x="4790340" y="561168"/>
                </a:lnTo>
                <a:lnTo>
                  <a:pt x="4760630" y="561168"/>
                </a:lnTo>
                <a:close/>
                <a:moveTo>
                  <a:pt x="10341389" y="531564"/>
                </a:moveTo>
                <a:lnTo>
                  <a:pt x="10370992" y="531564"/>
                </a:lnTo>
                <a:lnTo>
                  <a:pt x="10370992" y="561166"/>
                </a:lnTo>
                <a:lnTo>
                  <a:pt x="10341389" y="561166"/>
                </a:lnTo>
                <a:close/>
                <a:moveTo>
                  <a:pt x="4494541" y="531564"/>
                </a:moveTo>
                <a:lnTo>
                  <a:pt x="4524144" y="531564"/>
                </a:lnTo>
                <a:lnTo>
                  <a:pt x="4524144" y="561166"/>
                </a:lnTo>
                <a:lnTo>
                  <a:pt x="4494541" y="561166"/>
                </a:lnTo>
                <a:close/>
                <a:moveTo>
                  <a:pt x="10075192" y="531562"/>
                </a:moveTo>
                <a:lnTo>
                  <a:pt x="10104794" y="531562"/>
                </a:lnTo>
                <a:lnTo>
                  <a:pt x="10104794" y="561164"/>
                </a:lnTo>
                <a:lnTo>
                  <a:pt x="10075192" y="561164"/>
                </a:lnTo>
                <a:close/>
                <a:moveTo>
                  <a:pt x="4228344" y="531562"/>
                </a:moveTo>
                <a:lnTo>
                  <a:pt x="4257946" y="531562"/>
                </a:lnTo>
                <a:lnTo>
                  <a:pt x="4257946" y="561164"/>
                </a:lnTo>
                <a:lnTo>
                  <a:pt x="4228344" y="561164"/>
                </a:lnTo>
                <a:close/>
                <a:moveTo>
                  <a:pt x="9809103" y="531560"/>
                </a:moveTo>
                <a:lnTo>
                  <a:pt x="9838705" y="531560"/>
                </a:lnTo>
                <a:lnTo>
                  <a:pt x="9838705" y="561162"/>
                </a:lnTo>
                <a:lnTo>
                  <a:pt x="9809103" y="561162"/>
                </a:lnTo>
                <a:close/>
                <a:moveTo>
                  <a:pt x="3962255" y="531560"/>
                </a:moveTo>
                <a:lnTo>
                  <a:pt x="3991857" y="531560"/>
                </a:lnTo>
                <a:lnTo>
                  <a:pt x="3991857" y="561162"/>
                </a:lnTo>
                <a:lnTo>
                  <a:pt x="3962255" y="561162"/>
                </a:lnTo>
                <a:close/>
                <a:moveTo>
                  <a:pt x="9542906" y="531558"/>
                </a:moveTo>
                <a:lnTo>
                  <a:pt x="9572509" y="531558"/>
                </a:lnTo>
                <a:lnTo>
                  <a:pt x="9572509" y="561160"/>
                </a:lnTo>
                <a:lnTo>
                  <a:pt x="9542906" y="561160"/>
                </a:lnTo>
                <a:close/>
                <a:moveTo>
                  <a:pt x="3696058" y="531558"/>
                </a:moveTo>
                <a:lnTo>
                  <a:pt x="3725661" y="531558"/>
                </a:lnTo>
                <a:lnTo>
                  <a:pt x="3725661" y="561160"/>
                </a:lnTo>
                <a:lnTo>
                  <a:pt x="3696058" y="561160"/>
                </a:lnTo>
                <a:close/>
                <a:moveTo>
                  <a:pt x="9276817" y="531556"/>
                </a:moveTo>
                <a:lnTo>
                  <a:pt x="9306420" y="531556"/>
                </a:lnTo>
                <a:lnTo>
                  <a:pt x="9306420" y="561158"/>
                </a:lnTo>
                <a:lnTo>
                  <a:pt x="9276817" y="561158"/>
                </a:lnTo>
                <a:close/>
                <a:moveTo>
                  <a:pt x="3429969" y="531556"/>
                </a:moveTo>
                <a:lnTo>
                  <a:pt x="3459572" y="531556"/>
                </a:lnTo>
                <a:lnTo>
                  <a:pt x="3459572" y="561158"/>
                </a:lnTo>
                <a:lnTo>
                  <a:pt x="3429969" y="561158"/>
                </a:lnTo>
                <a:close/>
                <a:moveTo>
                  <a:pt x="9010620" y="531554"/>
                </a:moveTo>
                <a:lnTo>
                  <a:pt x="9040222" y="531554"/>
                </a:lnTo>
                <a:lnTo>
                  <a:pt x="9040222" y="561156"/>
                </a:lnTo>
                <a:lnTo>
                  <a:pt x="9010620" y="561156"/>
                </a:lnTo>
                <a:close/>
                <a:moveTo>
                  <a:pt x="3163772" y="531554"/>
                </a:moveTo>
                <a:lnTo>
                  <a:pt x="3193374" y="531554"/>
                </a:lnTo>
                <a:lnTo>
                  <a:pt x="3193374" y="561156"/>
                </a:lnTo>
                <a:lnTo>
                  <a:pt x="3163772" y="561156"/>
                </a:lnTo>
                <a:close/>
                <a:moveTo>
                  <a:pt x="8744423" y="531551"/>
                </a:moveTo>
                <a:lnTo>
                  <a:pt x="8774026" y="531551"/>
                </a:lnTo>
                <a:lnTo>
                  <a:pt x="8774026" y="561154"/>
                </a:lnTo>
                <a:lnTo>
                  <a:pt x="8744423" y="561154"/>
                </a:lnTo>
                <a:close/>
                <a:moveTo>
                  <a:pt x="2897575" y="531551"/>
                </a:moveTo>
                <a:lnTo>
                  <a:pt x="2927178" y="531551"/>
                </a:lnTo>
                <a:lnTo>
                  <a:pt x="2927178" y="561154"/>
                </a:lnTo>
                <a:lnTo>
                  <a:pt x="2897575" y="561154"/>
                </a:lnTo>
                <a:close/>
                <a:moveTo>
                  <a:pt x="8478226" y="531549"/>
                </a:moveTo>
                <a:lnTo>
                  <a:pt x="8507828" y="531549"/>
                </a:lnTo>
                <a:lnTo>
                  <a:pt x="8507828" y="561152"/>
                </a:lnTo>
                <a:lnTo>
                  <a:pt x="8478226" y="561152"/>
                </a:lnTo>
                <a:close/>
                <a:moveTo>
                  <a:pt x="2631378" y="531549"/>
                </a:moveTo>
                <a:lnTo>
                  <a:pt x="2660980" y="531549"/>
                </a:lnTo>
                <a:lnTo>
                  <a:pt x="2660980" y="561152"/>
                </a:lnTo>
                <a:lnTo>
                  <a:pt x="2631378" y="561152"/>
                </a:lnTo>
                <a:close/>
                <a:moveTo>
                  <a:pt x="8212137" y="531547"/>
                </a:moveTo>
                <a:lnTo>
                  <a:pt x="8241740" y="531547"/>
                </a:lnTo>
                <a:lnTo>
                  <a:pt x="8241740" y="561149"/>
                </a:lnTo>
                <a:lnTo>
                  <a:pt x="8212137" y="561149"/>
                </a:lnTo>
                <a:close/>
                <a:moveTo>
                  <a:pt x="2365289" y="531547"/>
                </a:moveTo>
                <a:lnTo>
                  <a:pt x="2394892" y="531547"/>
                </a:lnTo>
                <a:lnTo>
                  <a:pt x="2394892" y="561149"/>
                </a:lnTo>
                <a:lnTo>
                  <a:pt x="2365289" y="561149"/>
                </a:lnTo>
                <a:close/>
                <a:moveTo>
                  <a:pt x="7945940" y="531545"/>
                </a:moveTo>
                <a:lnTo>
                  <a:pt x="7975543" y="531545"/>
                </a:lnTo>
                <a:lnTo>
                  <a:pt x="7975543" y="561147"/>
                </a:lnTo>
                <a:lnTo>
                  <a:pt x="7945940" y="561147"/>
                </a:lnTo>
                <a:close/>
                <a:moveTo>
                  <a:pt x="2099092" y="531545"/>
                </a:moveTo>
                <a:lnTo>
                  <a:pt x="2128695" y="531545"/>
                </a:lnTo>
                <a:lnTo>
                  <a:pt x="2128695" y="561147"/>
                </a:lnTo>
                <a:lnTo>
                  <a:pt x="2099092" y="561147"/>
                </a:lnTo>
                <a:close/>
                <a:moveTo>
                  <a:pt x="7679743" y="531543"/>
                </a:moveTo>
                <a:lnTo>
                  <a:pt x="7709346" y="531543"/>
                </a:lnTo>
                <a:lnTo>
                  <a:pt x="7709346" y="561145"/>
                </a:lnTo>
                <a:lnTo>
                  <a:pt x="7679743" y="561145"/>
                </a:lnTo>
                <a:close/>
                <a:moveTo>
                  <a:pt x="1832898" y="531543"/>
                </a:moveTo>
                <a:lnTo>
                  <a:pt x="1862498" y="531543"/>
                </a:lnTo>
                <a:lnTo>
                  <a:pt x="1862498" y="561145"/>
                </a:lnTo>
                <a:lnTo>
                  <a:pt x="1832898" y="561145"/>
                </a:lnTo>
                <a:close/>
                <a:moveTo>
                  <a:pt x="7413653" y="531541"/>
                </a:moveTo>
                <a:lnTo>
                  <a:pt x="7443256" y="531541"/>
                </a:lnTo>
                <a:lnTo>
                  <a:pt x="7443256" y="561143"/>
                </a:lnTo>
                <a:lnTo>
                  <a:pt x="7413653" y="561143"/>
                </a:lnTo>
                <a:close/>
                <a:moveTo>
                  <a:pt x="1566808" y="531541"/>
                </a:moveTo>
                <a:lnTo>
                  <a:pt x="1596409" y="531541"/>
                </a:lnTo>
                <a:lnTo>
                  <a:pt x="1596409" y="561143"/>
                </a:lnTo>
                <a:lnTo>
                  <a:pt x="1566808" y="561143"/>
                </a:lnTo>
                <a:close/>
                <a:moveTo>
                  <a:pt x="7147456" y="531539"/>
                </a:moveTo>
                <a:lnTo>
                  <a:pt x="7177058" y="531539"/>
                </a:lnTo>
                <a:lnTo>
                  <a:pt x="7177058" y="561141"/>
                </a:lnTo>
                <a:lnTo>
                  <a:pt x="7147456" y="561141"/>
                </a:lnTo>
                <a:close/>
                <a:moveTo>
                  <a:pt x="1300611" y="531539"/>
                </a:moveTo>
                <a:lnTo>
                  <a:pt x="1330213" y="531539"/>
                </a:lnTo>
                <a:lnTo>
                  <a:pt x="1330213" y="561141"/>
                </a:lnTo>
                <a:lnTo>
                  <a:pt x="1300611" y="561141"/>
                </a:lnTo>
                <a:close/>
                <a:moveTo>
                  <a:pt x="6881367" y="531537"/>
                </a:moveTo>
                <a:lnTo>
                  <a:pt x="6910970" y="531537"/>
                </a:lnTo>
                <a:lnTo>
                  <a:pt x="6910970" y="561139"/>
                </a:lnTo>
                <a:lnTo>
                  <a:pt x="6881367" y="561139"/>
                </a:lnTo>
                <a:close/>
                <a:moveTo>
                  <a:pt x="1034520" y="531537"/>
                </a:moveTo>
                <a:lnTo>
                  <a:pt x="1064123" y="531537"/>
                </a:lnTo>
                <a:lnTo>
                  <a:pt x="1064123" y="561139"/>
                </a:lnTo>
                <a:lnTo>
                  <a:pt x="1034520" y="561139"/>
                </a:lnTo>
                <a:close/>
                <a:moveTo>
                  <a:pt x="6615170" y="531534"/>
                </a:moveTo>
                <a:lnTo>
                  <a:pt x="6644773" y="531534"/>
                </a:lnTo>
                <a:lnTo>
                  <a:pt x="6644773" y="561137"/>
                </a:lnTo>
                <a:lnTo>
                  <a:pt x="6615170" y="561137"/>
                </a:lnTo>
                <a:close/>
                <a:moveTo>
                  <a:pt x="768326" y="531534"/>
                </a:moveTo>
                <a:lnTo>
                  <a:pt x="797926" y="531534"/>
                </a:lnTo>
                <a:lnTo>
                  <a:pt x="797926" y="561137"/>
                </a:lnTo>
                <a:lnTo>
                  <a:pt x="768326" y="561137"/>
                </a:lnTo>
                <a:close/>
                <a:moveTo>
                  <a:pt x="6349081" y="531532"/>
                </a:moveTo>
                <a:lnTo>
                  <a:pt x="6378683" y="531532"/>
                </a:lnTo>
                <a:lnTo>
                  <a:pt x="6378683" y="561135"/>
                </a:lnTo>
                <a:lnTo>
                  <a:pt x="6349081" y="561135"/>
                </a:lnTo>
                <a:close/>
                <a:moveTo>
                  <a:pt x="502235" y="531532"/>
                </a:moveTo>
                <a:lnTo>
                  <a:pt x="531838" y="531532"/>
                </a:lnTo>
                <a:lnTo>
                  <a:pt x="531838" y="561135"/>
                </a:lnTo>
                <a:lnTo>
                  <a:pt x="502235" y="561135"/>
                </a:lnTo>
                <a:close/>
                <a:moveTo>
                  <a:pt x="6082884" y="531530"/>
                </a:moveTo>
                <a:lnTo>
                  <a:pt x="6112486" y="531530"/>
                </a:lnTo>
                <a:lnTo>
                  <a:pt x="6112486" y="561133"/>
                </a:lnTo>
                <a:lnTo>
                  <a:pt x="6082884" y="561133"/>
                </a:lnTo>
                <a:close/>
                <a:moveTo>
                  <a:pt x="236036" y="531530"/>
                </a:moveTo>
                <a:lnTo>
                  <a:pt x="265639" y="531530"/>
                </a:lnTo>
                <a:lnTo>
                  <a:pt x="265639" y="561133"/>
                </a:lnTo>
                <a:lnTo>
                  <a:pt x="236036" y="561133"/>
                </a:lnTo>
                <a:close/>
                <a:moveTo>
                  <a:pt x="0" y="531530"/>
                </a:moveTo>
                <a:lnTo>
                  <a:pt x="29602" y="531530"/>
                </a:lnTo>
                <a:lnTo>
                  <a:pt x="29602" y="561133"/>
                </a:lnTo>
                <a:lnTo>
                  <a:pt x="0" y="561133"/>
                </a:lnTo>
                <a:close/>
                <a:moveTo>
                  <a:pt x="11672158" y="265811"/>
                </a:moveTo>
                <a:lnTo>
                  <a:pt x="11701760" y="265811"/>
                </a:lnTo>
                <a:lnTo>
                  <a:pt x="11701760" y="295414"/>
                </a:lnTo>
                <a:lnTo>
                  <a:pt x="11672158" y="295414"/>
                </a:lnTo>
                <a:close/>
                <a:moveTo>
                  <a:pt x="5825310" y="265811"/>
                </a:moveTo>
                <a:lnTo>
                  <a:pt x="5854913" y="265811"/>
                </a:lnTo>
                <a:lnTo>
                  <a:pt x="5854913" y="295414"/>
                </a:lnTo>
                <a:lnTo>
                  <a:pt x="5825310" y="295414"/>
                </a:lnTo>
                <a:close/>
                <a:moveTo>
                  <a:pt x="11405961" y="265809"/>
                </a:moveTo>
                <a:lnTo>
                  <a:pt x="11435563" y="265809"/>
                </a:lnTo>
                <a:lnTo>
                  <a:pt x="11435563" y="295412"/>
                </a:lnTo>
                <a:lnTo>
                  <a:pt x="11405961" y="295412"/>
                </a:lnTo>
                <a:close/>
                <a:moveTo>
                  <a:pt x="5559113" y="265809"/>
                </a:moveTo>
                <a:lnTo>
                  <a:pt x="5588715" y="265809"/>
                </a:lnTo>
                <a:lnTo>
                  <a:pt x="5588715" y="295412"/>
                </a:lnTo>
                <a:lnTo>
                  <a:pt x="5559113" y="295412"/>
                </a:lnTo>
                <a:close/>
                <a:moveTo>
                  <a:pt x="11139872" y="265807"/>
                </a:moveTo>
                <a:lnTo>
                  <a:pt x="11169474" y="265807"/>
                </a:lnTo>
                <a:lnTo>
                  <a:pt x="11169474" y="295409"/>
                </a:lnTo>
                <a:lnTo>
                  <a:pt x="11139872" y="295409"/>
                </a:lnTo>
                <a:close/>
                <a:moveTo>
                  <a:pt x="5293024" y="265807"/>
                </a:moveTo>
                <a:lnTo>
                  <a:pt x="5322626" y="265807"/>
                </a:lnTo>
                <a:lnTo>
                  <a:pt x="5322626" y="295409"/>
                </a:lnTo>
                <a:lnTo>
                  <a:pt x="5293024" y="295409"/>
                </a:lnTo>
                <a:close/>
                <a:moveTo>
                  <a:pt x="10873675" y="265805"/>
                </a:moveTo>
                <a:lnTo>
                  <a:pt x="10903277" y="265805"/>
                </a:lnTo>
                <a:lnTo>
                  <a:pt x="10903277" y="295407"/>
                </a:lnTo>
                <a:lnTo>
                  <a:pt x="10873675" y="295407"/>
                </a:lnTo>
                <a:close/>
                <a:moveTo>
                  <a:pt x="5026827" y="265805"/>
                </a:moveTo>
                <a:lnTo>
                  <a:pt x="5056429" y="265805"/>
                </a:lnTo>
                <a:lnTo>
                  <a:pt x="5056429" y="295407"/>
                </a:lnTo>
                <a:lnTo>
                  <a:pt x="5026827" y="295407"/>
                </a:lnTo>
                <a:close/>
                <a:moveTo>
                  <a:pt x="10607478" y="265803"/>
                </a:moveTo>
                <a:lnTo>
                  <a:pt x="10637188" y="265803"/>
                </a:lnTo>
                <a:lnTo>
                  <a:pt x="10637188" y="295405"/>
                </a:lnTo>
                <a:lnTo>
                  <a:pt x="10607478" y="295405"/>
                </a:lnTo>
                <a:close/>
                <a:moveTo>
                  <a:pt x="4760630" y="265803"/>
                </a:moveTo>
                <a:lnTo>
                  <a:pt x="4790340" y="265803"/>
                </a:lnTo>
                <a:lnTo>
                  <a:pt x="4790340" y="295405"/>
                </a:lnTo>
                <a:lnTo>
                  <a:pt x="4760630" y="295405"/>
                </a:lnTo>
                <a:close/>
                <a:moveTo>
                  <a:pt x="10341389" y="265800"/>
                </a:moveTo>
                <a:lnTo>
                  <a:pt x="10370992" y="265800"/>
                </a:lnTo>
                <a:lnTo>
                  <a:pt x="10370992" y="295403"/>
                </a:lnTo>
                <a:lnTo>
                  <a:pt x="10341389" y="295403"/>
                </a:lnTo>
                <a:close/>
                <a:moveTo>
                  <a:pt x="4494541" y="265800"/>
                </a:moveTo>
                <a:lnTo>
                  <a:pt x="4524144" y="265800"/>
                </a:lnTo>
                <a:lnTo>
                  <a:pt x="4524144" y="295403"/>
                </a:lnTo>
                <a:lnTo>
                  <a:pt x="4494541" y="295403"/>
                </a:lnTo>
                <a:close/>
                <a:moveTo>
                  <a:pt x="10075192" y="265798"/>
                </a:moveTo>
                <a:lnTo>
                  <a:pt x="10104794" y="265798"/>
                </a:lnTo>
                <a:lnTo>
                  <a:pt x="10104794" y="295401"/>
                </a:lnTo>
                <a:lnTo>
                  <a:pt x="10075192" y="295401"/>
                </a:lnTo>
                <a:close/>
                <a:moveTo>
                  <a:pt x="4228344" y="265798"/>
                </a:moveTo>
                <a:lnTo>
                  <a:pt x="4257946" y="265798"/>
                </a:lnTo>
                <a:lnTo>
                  <a:pt x="4257946" y="295401"/>
                </a:lnTo>
                <a:lnTo>
                  <a:pt x="4228344" y="295401"/>
                </a:lnTo>
                <a:close/>
                <a:moveTo>
                  <a:pt x="9809103" y="265796"/>
                </a:moveTo>
                <a:lnTo>
                  <a:pt x="9838705" y="265796"/>
                </a:lnTo>
                <a:lnTo>
                  <a:pt x="9838705" y="295398"/>
                </a:lnTo>
                <a:lnTo>
                  <a:pt x="9809103" y="295398"/>
                </a:lnTo>
                <a:close/>
                <a:moveTo>
                  <a:pt x="3962255" y="265796"/>
                </a:moveTo>
                <a:lnTo>
                  <a:pt x="3991857" y="265796"/>
                </a:lnTo>
                <a:lnTo>
                  <a:pt x="3991857" y="295398"/>
                </a:lnTo>
                <a:lnTo>
                  <a:pt x="3962255" y="295398"/>
                </a:lnTo>
                <a:close/>
                <a:moveTo>
                  <a:pt x="9542906" y="265794"/>
                </a:moveTo>
                <a:lnTo>
                  <a:pt x="9572509" y="265794"/>
                </a:lnTo>
                <a:lnTo>
                  <a:pt x="9572509" y="295396"/>
                </a:lnTo>
                <a:lnTo>
                  <a:pt x="9542906" y="295396"/>
                </a:lnTo>
                <a:close/>
                <a:moveTo>
                  <a:pt x="3696058" y="265794"/>
                </a:moveTo>
                <a:lnTo>
                  <a:pt x="3725661" y="265794"/>
                </a:lnTo>
                <a:lnTo>
                  <a:pt x="3725661" y="295396"/>
                </a:lnTo>
                <a:lnTo>
                  <a:pt x="3696058" y="295396"/>
                </a:lnTo>
                <a:close/>
                <a:moveTo>
                  <a:pt x="9276817" y="265792"/>
                </a:moveTo>
                <a:lnTo>
                  <a:pt x="9306420" y="265792"/>
                </a:lnTo>
                <a:lnTo>
                  <a:pt x="9306420" y="295394"/>
                </a:lnTo>
                <a:lnTo>
                  <a:pt x="9276817" y="295394"/>
                </a:lnTo>
                <a:close/>
                <a:moveTo>
                  <a:pt x="3429969" y="265792"/>
                </a:moveTo>
                <a:lnTo>
                  <a:pt x="3459572" y="265792"/>
                </a:lnTo>
                <a:lnTo>
                  <a:pt x="3459572" y="295394"/>
                </a:lnTo>
                <a:lnTo>
                  <a:pt x="3429969" y="295394"/>
                </a:lnTo>
                <a:close/>
                <a:moveTo>
                  <a:pt x="9010620" y="265789"/>
                </a:moveTo>
                <a:lnTo>
                  <a:pt x="9040222" y="265789"/>
                </a:lnTo>
                <a:lnTo>
                  <a:pt x="9040222" y="295392"/>
                </a:lnTo>
                <a:lnTo>
                  <a:pt x="9010620" y="295392"/>
                </a:lnTo>
                <a:close/>
                <a:moveTo>
                  <a:pt x="3163772" y="265789"/>
                </a:moveTo>
                <a:lnTo>
                  <a:pt x="3193374" y="265789"/>
                </a:lnTo>
                <a:lnTo>
                  <a:pt x="3193374" y="295392"/>
                </a:lnTo>
                <a:lnTo>
                  <a:pt x="3163772" y="295392"/>
                </a:lnTo>
                <a:close/>
                <a:moveTo>
                  <a:pt x="8744423" y="265787"/>
                </a:moveTo>
                <a:lnTo>
                  <a:pt x="8774026" y="265787"/>
                </a:lnTo>
                <a:lnTo>
                  <a:pt x="8774026" y="295390"/>
                </a:lnTo>
                <a:lnTo>
                  <a:pt x="8744423" y="295390"/>
                </a:lnTo>
                <a:close/>
                <a:moveTo>
                  <a:pt x="2897575" y="265787"/>
                </a:moveTo>
                <a:lnTo>
                  <a:pt x="2927178" y="265787"/>
                </a:lnTo>
                <a:lnTo>
                  <a:pt x="2927178" y="295390"/>
                </a:lnTo>
                <a:lnTo>
                  <a:pt x="2897575" y="295390"/>
                </a:lnTo>
                <a:close/>
                <a:moveTo>
                  <a:pt x="8478226" y="265785"/>
                </a:moveTo>
                <a:lnTo>
                  <a:pt x="8507828" y="265785"/>
                </a:lnTo>
                <a:lnTo>
                  <a:pt x="8507828" y="295387"/>
                </a:lnTo>
                <a:lnTo>
                  <a:pt x="8478226" y="295387"/>
                </a:lnTo>
                <a:close/>
                <a:moveTo>
                  <a:pt x="2631378" y="265785"/>
                </a:moveTo>
                <a:lnTo>
                  <a:pt x="2660980" y="265785"/>
                </a:lnTo>
                <a:lnTo>
                  <a:pt x="2660980" y="295387"/>
                </a:lnTo>
                <a:lnTo>
                  <a:pt x="2631378" y="295387"/>
                </a:lnTo>
                <a:close/>
                <a:moveTo>
                  <a:pt x="8212137" y="265783"/>
                </a:moveTo>
                <a:lnTo>
                  <a:pt x="8241740" y="265783"/>
                </a:lnTo>
                <a:lnTo>
                  <a:pt x="8241740" y="295385"/>
                </a:lnTo>
                <a:lnTo>
                  <a:pt x="8212137" y="295385"/>
                </a:lnTo>
                <a:close/>
                <a:moveTo>
                  <a:pt x="2365289" y="265783"/>
                </a:moveTo>
                <a:lnTo>
                  <a:pt x="2394892" y="265783"/>
                </a:lnTo>
                <a:lnTo>
                  <a:pt x="2394892" y="295385"/>
                </a:lnTo>
                <a:lnTo>
                  <a:pt x="2365289" y="295385"/>
                </a:lnTo>
                <a:close/>
                <a:moveTo>
                  <a:pt x="7945940" y="265781"/>
                </a:moveTo>
                <a:lnTo>
                  <a:pt x="7975543" y="265781"/>
                </a:lnTo>
                <a:lnTo>
                  <a:pt x="7975543" y="295383"/>
                </a:lnTo>
                <a:lnTo>
                  <a:pt x="7945940" y="295383"/>
                </a:lnTo>
                <a:close/>
                <a:moveTo>
                  <a:pt x="2099092" y="265781"/>
                </a:moveTo>
                <a:lnTo>
                  <a:pt x="2128695" y="265781"/>
                </a:lnTo>
                <a:lnTo>
                  <a:pt x="2128695" y="295383"/>
                </a:lnTo>
                <a:lnTo>
                  <a:pt x="2099092" y="295383"/>
                </a:lnTo>
                <a:close/>
                <a:moveTo>
                  <a:pt x="7679743" y="265778"/>
                </a:moveTo>
                <a:lnTo>
                  <a:pt x="7709346" y="265778"/>
                </a:lnTo>
                <a:lnTo>
                  <a:pt x="7709346" y="295381"/>
                </a:lnTo>
                <a:lnTo>
                  <a:pt x="7679743" y="295381"/>
                </a:lnTo>
                <a:close/>
                <a:moveTo>
                  <a:pt x="1832898" y="265778"/>
                </a:moveTo>
                <a:lnTo>
                  <a:pt x="1862498" y="265778"/>
                </a:lnTo>
                <a:lnTo>
                  <a:pt x="1862498" y="295381"/>
                </a:lnTo>
                <a:lnTo>
                  <a:pt x="1832898" y="295381"/>
                </a:lnTo>
                <a:close/>
                <a:moveTo>
                  <a:pt x="7413653" y="265776"/>
                </a:moveTo>
                <a:lnTo>
                  <a:pt x="7443256" y="265776"/>
                </a:lnTo>
                <a:lnTo>
                  <a:pt x="7443256" y="295379"/>
                </a:lnTo>
                <a:lnTo>
                  <a:pt x="7413653" y="295379"/>
                </a:lnTo>
                <a:close/>
                <a:moveTo>
                  <a:pt x="1566808" y="265776"/>
                </a:moveTo>
                <a:lnTo>
                  <a:pt x="1596409" y="265776"/>
                </a:lnTo>
                <a:lnTo>
                  <a:pt x="1596409" y="295379"/>
                </a:lnTo>
                <a:lnTo>
                  <a:pt x="1566808" y="295379"/>
                </a:lnTo>
                <a:close/>
                <a:moveTo>
                  <a:pt x="7147456" y="265774"/>
                </a:moveTo>
                <a:lnTo>
                  <a:pt x="7177058" y="265774"/>
                </a:lnTo>
                <a:lnTo>
                  <a:pt x="7177058" y="295376"/>
                </a:lnTo>
                <a:lnTo>
                  <a:pt x="7147456" y="295376"/>
                </a:lnTo>
                <a:close/>
                <a:moveTo>
                  <a:pt x="1300611" y="265774"/>
                </a:moveTo>
                <a:lnTo>
                  <a:pt x="1330213" y="265774"/>
                </a:lnTo>
                <a:lnTo>
                  <a:pt x="1330213" y="295376"/>
                </a:lnTo>
                <a:lnTo>
                  <a:pt x="1300611" y="295376"/>
                </a:lnTo>
                <a:close/>
                <a:moveTo>
                  <a:pt x="6881367" y="265772"/>
                </a:moveTo>
                <a:lnTo>
                  <a:pt x="6910970" y="265772"/>
                </a:lnTo>
                <a:lnTo>
                  <a:pt x="6910970" y="295374"/>
                </a:lnTo>
                <a:lnTo>
                  <a:pt x="6881367" y="295374"/>
                </a:lnTo>
                <a:close/>
                <a:moveTo>
                  <a:pt x="1034520" y="265772"/>
                </a:moveTo>
                <a:lnTo>
                  <a:pt x="1064123" y="265772"/>
                </a:lnTo>
                <a:lnTo>
                  <a:pt x="1064123" y="295374"/>
                </a:lnTo>
                <a:lnTo>
                  <a:pt x="1034520" y="295374"/>
                </a:lnTo>
                <a:close/>
                <a:moveTo>
                  <a:pt x="6615170" y="265770"/>
                </a:moveTo>
                <a:lnTo>
                  <a:pt x="6644773" y="265770"/>
                </a:lnTo>
                <a:lnTo>
                  <a:pt x="6644773" y="295372"/>
                </a:lnTo>
                <a:lnTo>
                  <a:pt x="6615170" y="295372"/>
                </a:lnTo>
                <a:close/>
                <a:moveTo>
                  <a:pt x="768326" y="265770"/>
                </a:moveTo>
                <a:lnTo>
                  <a:pt x="797926" y="265770"/>
                </a:lnTo>
                <a:lnTo>
                  <a:pt x="797926" y="295372"/>
                </a:lnTo>
                <a:lnTo>
                  <a:pt x="768326" y="295372"/>
                </a:lnTo>
                <a:close/>
                <a:moveTo>
                  <a:pt x="6349081" y="265767"/>
                </a:moveTo>
                <a:lnTo>
                  <a:pt x="6378683" y="265767"/>
                </a:lnTo>
                <a:lnTo>
                  <a:pt x="6378683" y="295370"/>
                </a:lnTo>
                <a:lnTo>
                  <a:pt x="6349081" y="295370"/>
                </a:lnTo>
                <a:close/>
                <a:moveTo>
                  <a:pt x="502235" y="265767"/>
                </a:moveTo>
                <a:lnTo>
                  <a:pt x="531838" y="265767"/>
                </a:lnTo>
                <a:lnTo>
                  <a:pt x="531838" y="295370"/>
                </a:lnTo>
                <a:lnTo>
                  <a:pt x="502235" y="295370"/>
                </a:lnTo>
                <a:close/>
                <a:moveTo>
                  <a:pt x="6082884" y="265765"/>
                </a:moveTo>
                <a:lnTo>
                  <a:pt x="6112486" y="265765"/>
                </a:lnTo>
                <a:lnTo>
                  <a:pt x="6112486" y="295368"/>
                </a:lnTo>
                <a:lnTo>
                  <a:pt x="6082884" y="295368"/>
                </a:lnTo>
                <a:close/>
                <a:moveTo>
                  <a:pt x="236036" y="265765"/>
                </a:moveTo>
                <a:lnTo>
                  <a:pt x="265639" y="265765"/>
                </a:lnTo>
                <a:lnTo>
                  <a:pt x="265639" y="295368"/>
                </a:lnTo>
                <a:lnTo>
                  <a:pt x="236036" y="295368"/>
                </a:lnTo>
                <a:close/>
                <a:moveTo>
                  <a:pt x="0" y="265765"/>
                </a:moveTo>
                <a:lnTo>
                  <a:pt x="29602" y="265765"/>
                </a:lnTo>
                <a:lnTo>
                  <a:pt x="29602" y="295368"/>
                </a:lnTo>
                <a:lnTo>
                  <a:pt x="0" y="295368"/>
                </a:lnTo>
                <a:close/>
                <a:moveTo>
                  <a:pt x="11672158" y="48"/>
                </a:moveTo>
                <a:lnTo>
                  <a:pt x="11701760" y="48"/>
                </a:lnTo>
                <a:lnTo>
                  <a:pt x="11701760" y="29651"/>
                </a:lnTo>
                <a:lnTo>
                  <a:pt x="11672158" y="29651"/>
                </a:lnTo>
                <a:close/>
                <a:moveTo>
                  <a:pt x="5825310" y="48"/>
                </a:moveTo>
                <a:lnTo>
                  <a:pt x="5854913" y="48"/>
                </a:lnTo>
                <a:lnTo>
                  <a:pt x="5854913" y="29651"/>
                </a:lnTo>
                <a:lnTo>
                  <a:pt x="5825310" y="29651"/>
                </a:lnTo>
                <a:close/>
                <a:moveTo>
                  <a:pt x="11405961" y="46"/>
                </a:moveTo>
                <a:lnTo>
                  <a:pt x="11435563" y="46"/>
                </a:lnTo>
                <a:lnTo>
                  <a:pt x="11435563" y="29648"/>
                </a:lnTo>
                <a:lnTo>
                  <a:pt x="11405961" y="29648"/>
                </a:lnTo>
                <a:close/>
                <a:moveTo>
                  <a:pt x="5559113" y="46"/>
                </a:moveTo>
                <a:lnTo>
                  <a:pt x="5588715" y="46"/>
                </a:lnTo>
                <a:lnTo>
                  <a:pt x="5588715" y="29648"/>
                </a:lnTo>
                <a:lnTo>
                  <a:pt x="5559113" y="29648"/>
                </a:lnTo>
                <a:close/>
                <a:moveTo>
                  <a:pt x="11139872" y="44"/>
                </a:moveTo>
                <a:lnTo>
                  <a:pt x="11169474" y="44"/>
                </a:lnTo>
                <a:lnTo>
                  <a:pt x="11169474" y="29646"/>
                </a:lnTo>
                <a:lnTo>
                  <a:pt x="11139872" y="29646"/>
                </a:lnTo>
                <a:close/>
                <a:moveTo>
                  <a:pt x="5293024" y="44"/>
                </a:moveTo>
                <a:lnTo>
                  <a:pt x="5322626" y="44"/>
                </a:lnTo>
                <a:lnTo>
                  <a:pt x="5322626" y="29646"/>
                </a:lnTo>
                <a:lnTo>
                  <a:pt x="5293024" y="29646"/>
                </a:lnTo>
                <a:close/>
                <a:moveTo>
                  <a:pt x="10873675" y="41"/>
                </a:moveTo>
                <a:lnTo>
                  <a:pt x="10903277" y="41"/>
                </a:lnTo>
                <a:lnTo>
                  <a:pt x="10903277" y="29644"/>
                </a:lnTo>
                <a:lnTo>
                  <a:pt x="10873675" y="29644"/>
                </a:lnTo>
                <a:close/>
                <a:moveTo>
                  <a:pt x="5026827" y="41"/>
                </a:moveTo>
                <a:lnTo>
                  <a:pt x="5056429" y="41"/>
                </a:lnTo>
                <a:lnTo>
                  <a:pt x="5056429" y="29644"/>
                </a:lnTo>
                <a:lnTo>
                  <a:pt x="5026827" y="29644"/>
                </a:lnTo>
                <a:close/>
                <a:moveTo>
                  <a:pt x="10607478" y="39"/>
                </a:moveTo>
                <a:lnTo>
                  <a:pt x="10637188" y="39"/>
                </a:lnTo>
                <a:lnTo>
                  <a:pt x="10637188" y="29641"/>
                </a:lnTo>
                <a:lnTo>
                  <a:pt x="10607478" y="29641"/>
                </a:lnTo>
                <a:close/>
                <a:moveTo>
                  <a:pt x="4760630" y="39"/>
                </a:moveTo>
                <a:lnTo>
                  <a:pt x="4790340" y="39"/>
                </a:lnTo>
                <a:lnTo>
                  <a:pt x="4790340" y="29641"/>
                </a:lnTo>
                <a:lnTo>
                  <a:pt x="4760630" y="29641"/>
                </a:lnTo>
                <a:close/>
                <a:moveTo>
                  <a:pt x="10341389" y="37"/>
                </a:moveTo>
                <a:lnTo>
                  <a:pt x="10370992" y="37"/>
                </a:lnTo>
                <a:lnTo>
                  <a:pt x="10370992" y="29639"/>
                </a:lnTo>
                <a:lnTo>
                  <a:pt x="10341389" y="29639"/>
                </a:lnTo>
                <a:close/>
                <a:moveTo>
                  <a:pt x="4494541" y="37"/>
                </a:moveTo>
                <a:lnTo>
                  <a:pt x="4524144" y="37"/>
                </a:lnTo>
                <a:lnTo>
                  <a:pt x="4524144" y="29639"/>
                </a:lnTo>
                <a:lnTo>
                  <a:pt x="4494541" y="29639"/>
                </a:lnTo>
                <a:close/>
                <a:moveTo>
                  <a:pt x="10075192" y="34"/>
                </a:moveTo>
                <a:lnTo>
                  <a:pt x="10104794" y="34"/>
                </a:lnTo>
                <a:lnTo>
                  <a:pt x="10104794" y="29637"/>
                </a:lnTo>
                <a:lnTo>
                  <a:pt x="10075192" y="29637"/>
                </a:lnTo>
                <a:close/>
                <a:moveTo>
                  <a:pt x="4228344" y="34"/>
                </a:moveTo>
                <a:lnTo>
                  <a:pt x="4257946" y="34"/>
                </a:lnTo>
                <a:lnTo>
                  <a:pt x="4257946" y="29637"/>
                </a:lnTo>
                <a:lnTo>
                  <a:pt x="4228344" y="29637"/>
                </a:lnTo>
                <a:close/>
                <a:moveTo>
                  <a:pt x="9809103" y="32"/>
                </a:moveTo>
                <a:lnTo>
                  <a:pt x="9838705" y="32"/>
                </a:lnTo>
                <a:lnTo>
                  <a:pt x="9838705" y="29635"/>
                </a:lnTo>
                <a:lnTo>
                  <a:pt x="9809103" y="29635"/>
                </a:lnTo>
                <a:close/>
                <a:moveTo>
                  <a:pt x="3962255" y="32"/>
                </a:moveTo>
                <a:lnTo>
                  <a:pt x="3991857" y="32"/>
                </a:lnTo>
                <a:lnTo>
                  <a:pt x="3991857" y="29635"/>
                </a:lnTo>
                <a:lnTo>
                  <a:pt x="3962255" y="29635"/>
                </a:lnTo>
                <a:close/>
                <a:moveTo>
                  <a:pt x="9542906" y="30"/>
                </a:moveTo>
                <a:lnTo>
                  <a:pt x="9572509" y="30"/>
                </a:lnTo>
                <a:lnTo>
                  <a:pt x="9572509" y="29632"/>
                </a:lnTo>
                <a:lnTo>
                  <a:pt x="9542906" y="29632"/>
                </a:lnTo>
                <a:close/>
                <a:moveTo>
                  <a:pt x="3696058" y="30"/>
                </a:moveTo>
                <a:lnTo>
                  <a:pt x="3725661" y="30"/>
                </a:lnTo>
                <a:lnTo>
                  <a:pt x="3725661" y="29632"/>
                </a:lnTo>
                <a:lnTo>
                  <a:pt x="3696058" y="29632"/>
                </a:lnTo>
                <a:close/>
                <a:moveTo>
                  <a:pt x="9276817" y="28"/>
                </a:moveTo>
                <a:lnTo>
                  <a:pt x="9306420" y="28"/>
                </a:lnTo>
                <a:lnTo>
                  <a:pt x="9306420" y="29630"/>
                </a:lnTo>
                <a:lnTo>
                  <a:pt x="9276817" y="29630"/>
                </a:lnTo>
                <a:close/>
                <a:moveTo>
                  <a:pt x="3429969" y="28"/>
                </a:moveTo>
                <a:lnTo>
                  <a:pt x="3459572" y="28"/>
                </a:lnTo>
                <a:lnTo>
                  <a:pt x="3459572" y="29630"/>
                </a:lnTo>
                <a:lnTo>
                  <a:pt x="3429969" y="29630"/>
                </a:lnTo>
                <a:close/>
                <a:moveTo>
                  <a:pt x="9010620" y="25"/>
                </a:moveTo>
                <a:lnTo>
                  <a:pt x="9040222" y="25"/>
                </a:lnTo>
                <a:lnTo>
                  <a:pt x="9040222" y="29628"/>
                </a:lnTo>
                <a:lnTo>
                  <a:pt x="9010620" y="29628"/>
                </a:lnTo>
                <a:close/>
                <a:moveTo>
                  <a:pt x="3163772" y="25"/>
                </a:moveTo>
                <a:lnTo>
                  <a:pt x="3193374" y="25"/>
                </a:lnTo>
                <a:lnTo>
                  <a:pt x="3193374" y="29628"/>
                </a:lnTo>
                <a:lnTo>
                  <a:pt x="3163772" y="29628"/>
                </a:lnTo>
                <a:close/>
                <a:moveTo>
                  <a:pt x="8744423" y="23"/>
                </a:moveTo>
                <a:lnTo>
                  <a:pt x="8774026" y="23"/>
                </a:lnTo>
                <a:lnTo>
                  <a:pt x="8774026" y="29625"/>
                </a:lnTo>
                <a:lnTo>
                  <a:pt x="8744423" y="29625"/>
                </a:lnTo>
                <a:close/>
                <a:moveTo>
                  <a:pt x="2897575" y="23"/>
                </a:moveTo>
                <a:lnTo>
                  <a:pt x="2927178" y="23"/>
                </a:lnTo>
                <a:lnTo>
                  <a:pt x="2927178" y="29625"/>
                </a:lnTo>
                <a:lnTo>
                  <a:pt x="2897575" y="29625"/>
                </a:lnTo>
                <a:close/>
                <a:moveTo>
                  <a:pt x="8478226" y="21"/>
                </a:moveTo>
                <a:lnTo>
                  <a:pt x="8507828" y="21"/>
                </a:lnTo>
                <a:lnTo>
                  <a:pt x="8507828" y="29623"/>
                </a:lnTo>
                <a:lnTo>
                  <a:pt x="8478226" y="29623"/>
                </a:lnTo>
                <a:close/>
                <a:moveTo>
                  <a:pt x="2631378" y="21"/>
                </a:moveTo>
                <a:lnTo>
                  <a:pt x="2660980" y="21"/>
                </a:lnTo>
                <a:lnTo>
                  <a:pt x="2660980" y="29623"/>
                </a:lnTo>
                <a:lnTo>
                  <a:pt x="2631378" y="29623"/>
                </a:lnTo>
                <a:close/>
                <a:moveTo>
                  <a:pt x="8212137" y="18"/>
                </a:moveTo>
                <a:lnTo>
                  <a:pt x="8241740" y="18"/>
                </a:lnTo>
                <a:lnTo>
                  <a:pt x="8241740" y="29621"/>
                </a:lnTo>
                <a:lnTo>
                  <a:pt x="8212137" y="29621"/>
                </a:lnTo>
                <a:close/>
                <a:moveTo>
                  <a:pt x="2365289" y="18"/>
                </a:moveTo>
                <a:lnTo>
                  <a:pt x="2394892" y="18"/>
                </a:lnTo>
                <a:lnTo>
                  <a:pt x="2394892" y="29621"/>
                </a:lnTo>
                <a:lnTo>
                  <a:pt x="2365289" y="29621"/>
                </a:lnTo>
                <a:close/>
                <a:moveTo>
                  <a:pt x="7945940" y="16"/>
                </a:moveTo>
                <a:lnTo>
                  <a:pt x="7975543" y="16"/>
                </a:lnTo>
                <a:lnTo>
                  <a:pt x="7975543" y="29618"/>
                </a:lnTo>
                <a:lnTo>
                  <a:pt x="7945940" y="29618"/>
                </a:lnTo>
                <a:close/>
                <a:moveTo>
                  <a:pt x="2099092" y="16"/>
                </a:moveTo>
                <a:lnTo>
                  <a:pt x="2128695" y="16"/>
                </a:lnTo>
                <a:lnTo>
                  <a:pt x="2128695" y="29618"/>
                </a:lnTo>
                <a:lnTo>
                  <a:pt x="2099092" y="29618"/>
                </a:lnTo>
                <a:close/>
                <a:moveTo>
                  <a:pt x="7679743" y="14"/>
                </a:moveTo>
                <a:lnTo>
                  <a:pt x="7709346" y="14"/>
                </a:lnTo>
                <a:lnTo>
                  <a:pt x="7709346" y="29616"/>
                </a:lnTo>
                <a:lnTo>
                  <a:pt x="7679743" y="29616"/>
                </a:lnTo>
                <a:close/>
                <a:moveTo>
                  <a:pt x="1832898" y="14"/>
                </a:moveTo>
                <a:lnTo>
                  <a:pt x="1862498" y="14"/>
                </a:lnTo>
                <a:lnTo>
                  <a:pt x="1862498" y="29616"/>
                </a:lnTo>
                <a:lnTo>
                  <a:pt x="1832898" y="29616"/>
                </a:lnTo>
                <a:close/>
                <a:moveTo>
                  <a:pt x="7413653" y="12"/>
                </a:moveTo>
                <a:lnTo>
                  <a:pt x="7443256" y="12"/>
                </a:lnTo>
                <a:lnTo>
                  <a:pt x="7443256" y="29614"/>
                </a:lnTo>
                <a:lnTo>
                  <a:pt x="7413653" y="29614"/>
                </a:lnTo>
                <a:close/>
                <a:moveTo>
                  <a:pt x="1566808" y="12"/>
                </a:moveTo>
                <a:lnTo>
                  <a:pt x="1596409" y="12"/>
                </a:lnTo>
                <a:lnTo>
                  <a:pt x="1596409" y="29614"/>
                </a:lnTo>
                <a:lnTo>
                  <a:pt x="1566808" y="29614"/>
                </a:lnTo>
                <a:close/>
                <a:moveTo>
                  <a:pt x="7147456" y="9"/>
                </a:moveTo>
                <a:lnTo>
                  <a:pt x="7177058" y="9"/>
                </a:lnTo>
                <a:lnTo>
                  <a:pt x="7177058" y="29612"/>
                </a:lnTo>
                <a:lnTo>
                  <a:pt x="7147456" y="29612"/>
                </a:lnTo>
                <a:close/>
                <a:moveTo>
                  <a:pt x="1300611" y="9"/>
                </a:moveTo>
                <a:lnTo>
                  <a:pt x="1330213" y="9"/>
                </a:lnTo>
                <a:lnTo>
                  <a:pt x="1330213" y="29612"/>
                </a:lnTo>
                <a:lnTo>
                  <a:pt x="1300611" y="29612"/>
                </a:lnTo>
                <a:close/>
                <a:moveTo>
                  <a:pt x="6881367" y="7"/>
                </a:moveTo>
                <a:lnTo>
                  <a:pt x="6910970" y="7"/>
                </a:lnTo>
                <a:lnTo>
                  <a:pt x="6910970" y="29609"/>
                </a:lnTo>
                <a:lnTo>
                  <a:pt x="6881367" y="29609"/>
                </a:lnTo>
                <a:close/>
                <a:moveTo>
                  <a:pt x="1034520" y="7"/>
                </a:moveTo>
                <a:lnTo>
                  <a:pt x="1064123" y="7"/>
                </a:lnTo>
                <a:lnTo>
                  <a:pt x="1064123" y="29609"/>
                </a:lnTo>
                <a:lnTo>
                  <a:pt x="1034520" y="29609"/>
                </a:lnTo>
                <a:close/>
                <a:moveTo>
                  <a:pt x="6615170" y="5"/>
                </a:moveTo>
                <a:lnTo>
                  <a:pt x="6644773" y="5"/>
                </a:lnTo>
                <a:lnTo>
                  <a:pt x="6644773" y="29607"/>
                </a:lnTo>
                <a:lnTo>
                  <a:pt x="6615170" y="29607"/>
                </a:lnTo>
                <a:close/>
                <a:moveTo>
                  <a:pt x="768326" y="5"/>
                </a:moveTo>
                <a:lnTo>
                  <a:pt x="797926" y="5"/>
                </a:lnTo>
                <a:lnTo>
                  <a:pt x="797926" y="29607"/>
                </a:lnTo>
                <a:lnTo>
                  <a:pt x="768326" y="29607"/>
                </a:lnTo>
                <a:close/>
                <a:moveTo>
                  <a:pt x="6349081" y="2"/>
                </a:moveTo>
                <a:lnTo>
                  <a:pt x="6378683" y="2"/>
                </a:lnTo>
                <a:lnTo>
                  <a:pt x="6378683" y="29605"/>
                </a:lnTo>
                <a:lnTo>
                  <a:pt x="6349081" y="29605"/>
                </a:lnTo>
                <a:close/>
                <a:moveTo>
                  <a:pt x="502235" y="2"/>
                </a:moveTo>
                <a:lnTo>
                  <a:pt x="531838" y="2"/>
                </a:lnTo>
                <a:lnTo>
                  <a:pt x="531838" y="29605"/>
                </a:lnTo>
                <a:lnTo>
                  <a:pt x="502235" y="29605"/>
                </a:lnTo>
                <a:close/>
                <a:moveTo>
                  <a:pt x="6082884" y="0"/>
                </a:moveTo>
                <a:lnTo>
                  <a:pt x="6112486" y="0"/>
                </a:lnTo>
                <a:lnTo>
                  <a:pt x="6112486" y="29602"/>
                </a:lnTo>
                <a:lnTo>
                  <a:pt x="6082884" y="29602"/>
                </a:lnTo>
                <a:close/>
                <a:moveTo>
                  <a:pt x="236036" y="0"/>
                </a:moveTo>
                <a:lnTo>
                  <a:pt x="265638" y="0"/>
                </a:lnTo>
                <a:lnTo>
                  <a:pt x="265638" y="29602"/>
                </a:lnTo>
                <a:lnTo>
                  <a:pt x="236036" y="29602"/>
                </a:lnTo>
                <a:close/>
                <a:moveTo>
                  <a:pt x="0" y="0"/>
                </a:moveTo>
                <a:lnTo>
                  <a:pt x="29602" y="0"/>
                </a:lnTo>
                <a:lnTo>
                  <a:pt x="29602" y="29602"/>
                </a:lnTo>
                <a:lnTo>
                  <a:pt x="0" y="29602"/>
                </a:lnTo>
                <a:close/>
              </a:path>
            </a:pathLst>
          </a:custGeom>
          <a:solidFill>
            <a:schemeClr val="bg1">
              <a:alpha val="20000"/>
            </a:schemeClr>
          </a:solidFill>
          <a:ln w="1079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113" name="Text Placeholder 112">
            <a:extLst>
              <a:ext uri="{FF2B5EF4-FFF2-40B4-BE49-F238E27FC236}">
                <a16:creationId xmlns:a16="http://schemas.microsoft.com/office/drawing/2014/main" id="{8125C57E-B59E-4A8F-A31D-0A15F637D0A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264025" y="1563680"/>
            <a:ext cx="531436" cy="531432"/>
          </a:xfrm>
          <a:custGeom>
            <a:avLst/>
            <a:gdLst>
              <a:gd name="connsiteX0" fmla="*/ 265718 w 531436"/>
              <a:gd name="connsiteY0" fmla="*/ 0 h 531432"/>
              <a:gd name="connsiteX1" fmla="*/ 531436 w 531436"/>
              <a:gd name="connsiteY1" fmla="*/ 265716 h 531432"/>
              <a:gd name="connsiteX2" fmla="*/ 265718 w 531436"/>
              <a:gd name="connsiteY2" fmla="*/ 531432 h 531432"/>
              <a:gd name="connsiteX3" fmla="*/ 0 w 531436"/>
              <a:gd name="connsiteY3" fmla="*/ 265716 h 531432"/>
              <a:gd name="connsiteX4" fmla="*/ 265718 w 531436"/>
              <a:gd name="connsiteY4" fmla="*/ 0 h 531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1436" h="531432">
                <a:moveTo>
                  <a:pt x="265718" y="0"/>
                </a:moveTo>
                <a:cubicBezTo>
                  <a:pt x="412470" y="0"/>
                  <a:pt x="531436" y="118965"/>
                  <a:pt x="531436" y="265716"/>
                </a:cubicBezTo>
                <a:cubicBezTo>
                  <a:pt x="531436" y="412467"/>
                  <a:pt x="412470" y="531432"/>
                  <a:pt x="265718" y="531432"/>
                </a:cubicBezTo>
                <a:cubicBezTo>
                  <a:pt x="118966" y="531432"/>
                  <a:pt x="0" y="412467"/>
                  <a:pt x="0" y="265716"/>
                </a:cubicBezTo>
                <a:cubicBezTo>
                  <a:pt x="0" y="118965"/>
                  <a:pt x="118966" y="0"/>
                  <a:pt x="265718" y="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E2C5D4DA-7E8C-43ED-A21C-F053340146E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2972" y="1371601"/>
            <a:ext cx="5292030" cy="2157916"/>
          </a:xfr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4999" b="1" i="0" spc="-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3" name="Subtitle 2">
            <a:extLst>
              <a:ext uri="{FF2B5EF4-FFF2-40B4-BE49-F238E27FC236}">
                <a16:creationId xmlns:a16="http://schemas.microsoft.com/office/drawing/2014/main" id="{45BD93E9-63FB-4FCE-BEE5-95D1E68A981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2972" y="3583491"/>
            <a:ext cx="5292030" cy="1752600"/>
          </a:xfrm>
        </p:spPr>
        <p:txBody>
          <a:bodyPr lIns="0" tIns="0" rIns="0" bIns="0" anchor="t" anchorCtr="0">
            <a:normAutofit/>
          </a:bodyPr>
          <a:lstStyle>
            <a:lvl1pPr marL="0" indent="0" algn="l">
              <a:lnSpc>
                <a:spcPct val="85000"/>
              </a:lnSpc>
              <a:spcBef>
                <a:spcPts val="800"/>
              </a:spcBef>
              <a:buNone/>
              <a:defRPr sz="2799" b="1" i="0" spc="-50">
                <a:solidFill>
                  <a:schemeClr val="bg1"/>
                </a:solidFill>
                <a:latin typeface="Arial"/>
                <a:cs typeface="Arial"/>
              </a:defRPr>
            </a:lvl1pPr>
            <a:lvl2pPr marL="4570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subtitle styl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2E77F839-1906-4B62-993E-E3534B67AD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2972" y="330897"/>
            <a:ext cx="3712777" cy="557212"/>
          </a:xfrm>
        </p:spPr>
        <p:txBody>
          <a:bodyPr/>
          <a:lstStyle>
            <a:lvl1pPr>
              <a:spcBef>
                <a:spcPts val="0"/>
              </a:spcBef>
              <a:defRPr sz="900">
                <a:solidFill>
                  <a:schemeClr val="bg1"/>
                </a:solidFill>
              </a:defRPr>
            </a:lvl1pPr>
            <a:lvl2pPr marL="112679" indent="-112679">
              <a:spcBef>
                <a:spcPts val="0"/>
              </a:spcBef>
              <a:buClr>
                <a:schemeClr val="tx2"/>
              </a:buClr>
              <a:defRPr sz="900">
                <a:solidFill>
                  <a:schemeClr val="tx1"/>
                </a:solidFill>
              </a:defRPr>
            </a:lvl2pPr>
            <a:lvl3pPr marL="225357" indent="-112679">
              <a:spcBef>
                <a:spcPts val="0"/>
              </a:spcBef>
              <a:buClr>
                <a:schemeClr val="tx2"/>
              </a:buClr>
              <a:defRPr sz="900">
                <a:solidFill>
                  <a:schemeClr val="tx1"/>
                </a:solidFill>
              </a:defRPr>
            </a:lvl3pPr>
            <a:lvl4pPr marL="339623" indent="-114266">
              <a:spcBef>
                <a:spcPts val="0"/>
              </a:spcBef>
              <a:buClr>
                <a:schemeClr val="tx2"/>
              </a:buClr>
              <a:defRPr sz="900"/>
            </a:lvl4pPr>
            <a:lvl5pPr marL="460237" indent="-120614">
              <a:spcBef>
                <a:spcPts val="0"/>
              </a:spcBef>
              <a:buClr>
                <a:schemeClr val="tx2"/>
              </a:buClr>
              <a:tabLst/>
              <a:defRPr sz="900"/>
            </a:lvl5pPr>
          </a:lstStyle>
          <a:p>
            <a:pPr lvl="0"/>
            <a:r>
              <a:rPr lang="en-US"/>
              <a:t>Insert Date Here</a:t>
            </a:r>
          </a:p>
          <a:p>
            <a:pPr lvl="0"/>
            <a:endParaRPr lang="en-US"/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5256C4EC-2AF4-4D82-BCFB-E8A82E4DA32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415116" y="5"/>
            <a:ext cx="1059710" cy="1030447"/>
          </a:xfrm>
          <a:custGeom>
            <a:avLst/>
            <a:gdLst>
              <a:gd name="connsiteX0" fmla="*/ 0 w 1059710"/>
              <a:gd name="connsiteY0" fmla="*/ 0 h 1030447"/>
              <a:gd name="connsiteX1" fmla="*/ 530730 w 1059710"/>
              <a:gd name="connsiteY1" fmla="*/ 0 h 1030447"/>
              <a:gd name="connsiteX2" fmla="*/ 538263 w 1059710"/>
              <a:gd name="connsiteY2" fmla="*/ 74726 h 1030447"/>
              <a:gd name="connsiteX3" fmla="*/ 1059710 w 1059710"/>
              <a:gd name="connsiteY3" fmla="*/ 499718 h 1030447"/>
              <a:gd name="connsiteX4" fmla="*/ 1059710 w 1059710"/>
              <a:gd name="connsiteY4" fmla="*/ 1030447 h 1030447"/>
              <a:gd name="connsiteX5" fmla="*/ 18316 w 1059710"/>
              <a:gd name="connsiteY5" fmla="*/ 181687 h 10304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59710" h="1030447">
                <a:moveTo>
                  <a:pt x="0" y="0"/>
                </a:moveTo>
                <a:lnTo>
                  <a:pt x="530730" y="0"/>
                </a:lnTo>
                <a:lnTo>
                  <a:pt x="538263" y="74726"/>
                </a:lnTo>
                <a:cubicBezTo>
                  <a:pt x="587894" y="317268"/>
                  <a:pt x="802496" y="499718"/>
                  <a:pt x="1059710" y="499718"/>
                </a:cubicBezTo>
                <a:lnTo>
                  <a:pt x="1059710" y="1030447"/>
                </a:lnTo>
                <a:cubicBezTo>
                  <a:pt x="546021" y="1030447"/>
                  <a:pt x="117435" y="666073"/>
                  <a:pt x="18316" y="181687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0" name="Text Placeholder 49">
            <a:extLst>
              <a:ext uri="{FF2B5EF4-FFF2-40B4-BE49-F238E27FC236}">
                <a16:creationId xmlns:a16="http://schemas.microsoft.com/office/drawing/2014/main" id="{C6CC9F45-7531-4E88-BD32-13C14612216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33156" y="499015"/>
            <a:ext cx="531436" cy="531432"/>
          </a:xfrm>
          <a:custGeom>
            <a:avLst/>
            <a:gdLst>
              <a:gd name="connsiteX0" fmla="*/ 265718 w 531436"/>
              <a:gd name="connsiteY0" fmla="*/ 0 h 531432"/>
              <a:gd name="connsiteX1" fmla="*/ 531436 w 531436"/>
              <a:gd name="connsiteY1" fmla="*/ 265716 h 531432"/>
              <a:gd name="connsiteX2" fmla="*/ 265718 w 531436"/>
              <a:gd name="connsiteY2" fmla="*/ 531432 h 531432"/>
              <a:gd name="connsiteX3" fmla="*/ 0 w 531436"/>
              <a:gd name="connsiteY3" fmla="*/ 265716 h 531432"/>
              <a:gd name="connsiteX4" fmla="*/ 265718 w 531436"/>
              <a:gd name="connsiteY4" fmla="*/ 0 h 531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1436" h="531432">
                <a:moveTo>
                  <a:pt x="265718" y="0"/>
                </a:moveTo>
                <a:cubicBezTo>
                  <a:pt x="412470" y="0"/>
                  <a:pt x="531436" y="118965"/>
                  <a:pt x="531436" y="265716"/>
                </a:cubicBezTo>
                <a:cubicBezTo>
                  <a:pt x="531436" y="412467"/>
                  <a:pt x="412470" y="531432"/>
                  <a:pt x="265718" y="531432"/>
                </a:cubicBezTo>
                <a:cubicBezTo>
                  <a:pt x="118966" y="531432"/>
                  <a:pt x="0" y="412467"/>
                  <a:pt x="0" y="265716"/>
                </a:cubicBezTo>
                <a:cubicBezTo>
                  <a:pt x="0" y="118965"/>
                  <a:pt x="118966" y="0"/>
                  <a:pt x="265718" y="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3" name="Text Placeholder 52">
            <a:extLst>
              <a:ext uri="{FF2B5EF4-FFF2-40B4-BE49-F238E27FC236}">
                <a16:creationId xmlns:a16="http://schemas.microsoft.com/office/drawing/2014/main" id="{2DC57FD8-9311-4C7F-91CF-35DD9FE81DA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5847" y="3"/>
            <a:ext cx="530877" cy="1297373"/>
          </a:xfrm>
          <a:custGeom>
            <a:avLst/>
            <a:gdLst>
              <a:gd name="connsiteX0" fmla="*/ 0 w 530877"/>
              <a:gd name="connsiteY0" fmla="*/ 0 h 1297373"/>
              <a:gd name="connsiteX1" fmla="*/ 530877 w 530877"/>
              <a:gd name="connsiteY1" fmla="*/ 0 h 1297373"/>
              <a:gd name="connsiteX2" fmla="*/ 530877 w 530877"/>
              <a:gd name="connsiteY2" fmla="*/ 1297373 h 1297373"/>
              <a:gd name="connsiteX3" fmla="*/ 0 w 530877"/>
              <a:gd name="connsiteY3" fmla="*/ 1297373 h 12973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0877" h="1297373">
                <a:moveTo>
                  <a:pt x="0" y="0"/>
                </a:moveTo>
                <a:lnTo>
                  <a:pt x="530877" y="0"/>
                </a:lnTo>
                <a:lnTo>
                  <a:pt x="530877" y="1297373"/>
                </a:lnTo>
                <a:lnTo>
                  <a:pt x="0" y="1297373"/>
                </a:lnTo>
                <a:close/>
              </a:path>
            </a:pathLst>
          </a:custGeom>
          <a:solidFill>
            <a:schemeClr val="bg1">
              <a:alpha val="2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6" name="Text Placeholder 55">
            <a:extLst>
              <a:ext uri="{FF2B5EF4-FFF2-40B4-BE49-F238E27FC236}">
                <a16:creationId xmlns:a16="http://schemas.microsoft.com/office/drawing/2014/main" id="{20B6D6F3-57FA-4153-935E-C471650CE59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362966" y="2"/>
            <a:ext cx="1825857" cy="1030511"/>
          </a:xfrm>
          <a:custGeom>
            <a:avLst/>
            <a:gdLst>
              <a:gd name="connsiteX0" fmla="*/ 0 w 1825857"/>
              <a:gd name="connsiteY0" fmla="*/ 0 h 1030511"/>
              <a:gd name="connsiteX1" fmla="*/ 530728 w 1825857"/>
              <a:gd name="connsiteY1" fmla="*/ 0 h 1030511"/>
              <a:gd name="connsiteX2" fmla="*/ 538268 w 1825857"/>
              <a:gd name="connsiteY2" fmla="*/ 74789 h 1030511"/>
              <a:gd name="connsiteX3" fmla="*/ 1059716 w 1825857"/>
              <a:gd name="connsiteY3" fmla="*/ 499781 h 1030511"/>
              <a:gd name="connsiteX4" fmla="*/ 1581162 w 1825857"/>
              <a:gd name="connsiteY4" fmla="*/ 74789 h 1030511"/>
              <a:gd name="connsiteX5" fmla="*/ 1588702 w 1825857"/>
              <a:gd name="connsiteY5" fmla="*/ 0 h 1030511"/>
              <a:gd name="connsiteX6" fmla="*/ 1825857 w 1825857"/>
              <a:gd name="connsiteY6" fmla="*/ 0 h 1030511"/>
              <a:gd name="connsiteX7" fmla="*/ 1825857 w 1825857"/>
              <a:gd name="connsiteY7" fmla="*/ 703222 h 1030511"/>
              <a:gd name="connsiteX8" fmla="*/ 1811362 w 1825857"/>
              <a:gd name="connsiteY8" fmla="*/ 719168 h 1030511"/>
              <a:gd name="connsiteX9" fmla="*/ 1059716 w 1825857"/>
              <a:gd name="connsiteY9" fmla="*/ 1030511 h 1030511"/>
              <a:gd name="connsiteX10" fmla="*/ 18322 w 1825857"/>
              <a:gd name="connsiteY10" fmla="*/ 181750 h 10305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25857" h="1030511">
                <a:moveTo>
                  <a:pt x="0" y="0"/>
                </a:moveTo>
                <a:lnTo>
                  <a:pt x="530728" y="0"/>
                </a:lnTo>
                <a:lnTo>
                  <a:pt x="538268" y="74789"/>
                </a:lnTo>
                <a:cubicBezTo>
                  <a:pt x="587899" y="317331"/>
                  <a:pt x="802501" y="499781"/>
                  <a:pt x="1059716" y="499781"/>
                </a:cubicBezTo>
                <a:cubicBezTo>
                  <a:pt x="1316929" y="499781"/>
                  <a:pt x="1531531" y="317331"/>
                  <a:pt x="1581162" y="74789"/>
                </a:cubicBezTo>
                <a:lnTo>
                  <a:pt x="1588702" y="0"/>
                </a:lnTo>
                <a:lnTo>
                  <a:pt x="1825857" y="0"/>
                </a:lnTo>
                <a:lnTo>
                  <a:pt x="1825857" y="703222"/>
                </a:lnTo>
                <a:lnTo>
                  <a:pt x="1811362" y="719168"/>
                </a:lnTo>
                <a:cubicBezTo>
                  <a:pt x="1619000" y="911532"/>
                  <a:pt x="1353252" y="1030511"/>
                  <a:pt x="1059716" y="1030511"/>
                </a:cubicBezTo>
                <a:cubicBezTo>
                  <a:pt x="546026" y="1030511"/>
                  <a:pt x="117442" y="666137"/>
                  <a:pt x="18322" y="18175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2" name="Text Placeholder 61">
            <a:extLst>
              <a:ext uri="{FF2B5EF4-FFF2-40B4-BE49-F238E27FC236}">
                <a16:creationId xmlns:a16="http://schemas.microsoft.com/office/drawing/2014/main" id="{60150FAC-9C8C-42A6-9AD2-2FC9E75989C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09105" y="1035051"/>
            <a:ext cx="530877" cy="1597025"/>
          </a:xfrm>
          <a:custGeom>
            <a:avLst/>
            <a:gdLst>
              <a:gd name="connsiteX0" fmla="*/ 0 w 530877"/>
              <a:gd name="connsiteY0" fmla="*/ 0 h 1597025"/>
              <a:gd name="connsiteX1" fmla="*/ 530877 w 530877"/>
              <a:gd name="connsiteY1" fmla="*/ 0 h 1597025"/>
              <a:gd name="connsiteX2" fmla="*/ 530877 w 530877"/>
              <a:gd name="connsiteY2" fmla="*/ 1597025 h 1597025"/>
              <a:gd name="connsiteX3" fmla="*/ 0 w 530877"/>
              <a:gd name="connsiteY3" fmla="*/ 1597025 h 1597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0877" h="1597025">
                <a:moveTo>
                  <a:pt x="0" y="0"/>
                </a:moveTo>
                <a:lnTo>
                  <a:pt x="530877" y="0"/>
                </a:lnTo>
                <a:lnTo>
                  <a:pt x="530877" y="1597025"/>
                </a:lnTo>
                <a:lnTo>
                  <a:pt x="0" y="1597025"/>
                </a:lnTo>
                <a:close/>
              </a:path>
            </a:pathLst>
          </a:custGeom>
          <a:solidFill>
            <a:schemeClr val="bg1">
              <a:alpha val="2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5" name="Text Placeholder 64">
            <a:extLst>
              <a:ext uri="{FF2B5EF4-FFF2-40B4-BE49-F238E27FC236}">
                <a16:creationId xmlns:a16="http://schemas.microsoft.com/office/drawing/2014/main" id="{21C70FEF-DADA-445E-8E4F-E17B9F2C586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48846" y="1564237"/>
            <a:ext cx="1597025" cy="530877"/>
          </a:xfrm>
          <a:custGeom>
            <a:avLst/>
            <a:gdLst>
              <a:gd name="connsiteX0" fmla="*/ 0 w 1597025"/>
              <a:gd name="connsiteY0" fmla="*/ 0 h 530877"/>
              <a:gd name="connsiteX1" fmla="*/ 1597025 w 1597025"/>
              <a:gd name="connsiteY1" fmla="*/ 0 h 530877"/>
              <a:gd name="connsiteX2" fmla="*/ 1597025 w 1597025"/>
              <a:gd name="connsiteY2" fmla="*/ 530877 h 530877"/>
              <a:gd name="connsiteX3" fmla="*/ 0 w 1597025"/>
              <a:gd name="connsiteY3" fmla="*/ 530877 h 5308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97025" h="530877">
                <a:moveTo>
                  <a:pt x="0" y="0"/>
                </a:moveTo>
                <a:lnTo>
                  <a:pt x="1597025" y="0"/>
                </a:lnTo>
                <a:lnTo>
                  <a:pt x="1597025" y="530877"/>
                </a:lnTo>
                <a:lnTo>
                  <a:pt x="0" y="530877"/>
                </a:lnTo>
                <a:close/>
              </a:path>
            </a:pathLst>
          </a:custGeom>
          <a:solidFill>
            <a:schemeClr val="bg1">
              <a:alpha val="2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1" name="Text Placeholder 70">
            <a:extLst>
              <a:ext uri="{FF2B5EF4-FFF2-40B4-BE49-F238E27FC236}">
                <a16:creationId xmlns:a16="http://schemas.microsoft.com/office/drawing/2014/main" id="{28572E04-A187-4A81-9F14-F7D053F0B17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1657949" y="1564237"/>
            <a:ext cx="530877" cy="1597025"/>
          </a:xfrm>
          <a:custGeom>
            <a:avLst/>
            <a:gdLst>
              <a:gd name="connsiteX0" fmla="*/ 0 w 530877"/>
              <a:gd name="connsiteY0" fmla="*/ 0 h 1597025"/>
              <a:gd name="connsiteX1" fmla="*/ 530877 w 530877"/>
              <a:gd name="connsiteY1" fmla="*/ 0 h 1597025"/>
              <a:gd name="connsiteX2" fmla="*/ 530877 w 530877"/>
              <a:gd name="connsiteY2" fmla="*/ 1597025 h 1597025"/>
              <a:gd name="connsiteX3" fmla="*/ 0 w 530877"/>
              <a:gd name="connsiteY3" fmla="*/ 1597025 h 1597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0877" h="1597025">
                <a:moveTo>
                  <a:pt x="0" y="0"/>
                </a:moveTo>
                <a:lnTo>
                  <a:pt x="530877" y="0"/>
                </a:lnTo>
                <a:lnTo>
                  <a:pt x="530877" y="1597025"/>
                </a:lnTo>
                <a:lnTo>
                  <a:pt x="0" y="1597025"/>
                </a:lnTo>
                <a:close/>
              </a:path>
            </a:pathLst>
          </a:custGeom>
          <a:solidFill>
            <a:schemeClr val="bg1">
              <a:alpha val="2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4" name="Text Placeholder 73">
            <a:extLst>
              <a:ext uri="{FF2B5EF4-FFF2-40B4-BE49-F238E27FC236}">
                <a16:creationId xmlns:a16="http://schemas.microsoft.com/office/drawing/2014/main" id="{B6EFDC47-A97D-40C3-A8B2-E7ED840C88C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1657950" y="4225927"/>
            <a:ext cx="530877" cy="1597025"/>
          </a:xfrm>
          <a:custGeom>
            <a:avLst/>
            <a:gdLst>
              <a:gd name="connsiteX0" fmla="*/ 0 w 530877"/>
              <a:gd name="connsiteY0" fmla="*/ 0 h 1597025"/>
              <a:gd name="connsiteX1" fmla="*/ 530877 w 530877"/>
              <a:gd name="connsiteY1" fmla="*/ 0 h 1597025"/>
              <a:gd name="connsiteX2" fmla="*/ 530877 w 530877"/>
              <a:gd name="connsiteY2" fmla="*/ 1597025 h 1597025"/>
              <a:gd name="connsiteX3" fmla="*/ 0 w 530877"/>
              <a:gd name="connsiteY3" fmla="*/ 1597025 h 1597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0877" h="1597025">
                <a:moveTo>
                  <a:pt x="0" y="0"/>
                </a:moveTo>
                <a:lnTo>
                  <a:pt x="530877" y="0"/>
                </a:lnTo>
                <a:lnTo>
                  <a:pt x="530877" y="1597025"/>
                </a:lnTo>
                <a:lnTo>
                  <a:pt x="0" y="1597025"/>
                </a:lnTo>
                <a:close/>
              </a:path>
            </a:pathLst>
          </a:custGeom>
          <a:solidFill>
            <a:schemeClr val="bg1">
              <a:alpha val="2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7" name="Text Placeholder 76">
            <a:extLst>
              <a:ext uri="{FF2B5EF4-FFF2-40B4-BE49-F238E27FC236}">
                <a16:creationId xmlns:a16="http://schemas.microsoft.com/office/drawing/2014/main" id="{8D77D6CB-6907-446E-9447-73112AF2DCC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540075" y="6327125"/>
            <a:ext cx="1597025" cy="530877"/>
          </a:xfrm>
          <a:custGeom>
            <a:avLst/>
            <a:gdLst>
              <a:gd name="connsiteX0" fmla="*/ 0 w 1597025"/>
              <a:gd name="connsiteY0" fmla="*/ 0 h 530877"/>
              <a:gd name="connsiteX1" fmla="*/ 1597025 w 1597025"/>
              <a:gd name="connsiteY1" fmla="*/ 0 h 530877"/>
              <a:gd name="connsiteX2" fmla="*/ 1597025 w 1597025"/>
              <a:gd name="connsiteY2" fmla="*/ 530877 h 530877"/>
              <a:gd name="connsiteX3" fmla="*/ 0 w 1597025"/>
              <a:gd name="connsiteY3" fmla="*/ 530877 h 5308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97025" h="530877">
                <a:moveTo>
                  <a:pt x="0" y="0"/>
                </a:moveTo>
                <a:lnTo>
                  <a:pt x="1597025" y="0"/>
                </a:lnTo>
                <a:lnTo>
                  <a:pt x="1597025" y="530877"/>
                </a:lnTo>
                <a:lnTo>
                  <a:pt x="0" y="530877"/>
                </a:lnTo>
                <a:close/>
              </a:path>
            </a:pathLst>
          </a:custGeom>
          <a:solidFill>
            <a:schemeClr val="bg1">
              <a:alpha val="2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0" name="Text Placeholder 79">
            <a:extLst>
              <a:ext uri="{FF2B5EF4-FFF2-40B4-BE49-F238E27FC236}">
                <a16:creationId xmlns:a16="http://schemas.microsoft.com/office/drawing/2014/main" id="{3A0A1FBC-FC61-49D2-BE40-AD4D7552975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612870" y="4754880"/>
            <a:ext cx="531436" cy="531432"/>
          </a:xfrm>
          <a:custGeom>
            <a:avLst/>
            <a:gdLst>
              <a:gd name="connsiteX0" fmla="*/ 265718 w 531436"/>
              <a:gd name="connsiteY0" fmla="*/ 0 h 531432"/>
              <a:gd name="connsiteX1" fmla="*/ 531436 w 531436"/>
              <a:gd name="connsiteY1" fmla="*/ 265716 h 531432"/>
              <a:gd name="connsiteX2" fmla="*/ 265718 w 531436"/>
              <a:gd name="connsiteY2" fmla="*/ 531432 h 531432"/>
              <a:gd name="connsiteX3" fmla="*/ 0 w 531436"/>
              <a:gd name="connsiteY3" fmla="*/ 265716 h 531432"/>
              <a:gd name="connsiteX4" fmla="*/ 265718 w 531436"/>
              <a:gd name="connsiteY4" fmla="*/ 0 h 531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1436" h="531432">
                <a:moveTo>
                  <a:pt x="265718" y="0"/>
                </a:moveTo>
                <a:cubicBezTo>
                  <a:pt x="412470" y="0"/>
                  <a:pt x="531436" y="118965"/>
                  <a:pt x="531436" y="265716"/>
                </a:cubicBezTo>
                <a:cubicBezTo>
                  <a:pt x="531436" y="412467"/>
                  <a:pt x="412470" y="531432"/>
                  <a:pt x="265718" y="531432"/>
                </a:cubicBezTo>
                <a:cubicBezTo>
                  <a:pt x="118966" y="531432"/>
                  <a:pt x="0" y="412467"/>
                  <a:pt x="0" y="265716"/>
                </a:cubicBezTo>
                <a:cubicBezTo>
                  <a:pt x="0" y="118965"/>
                  <a:pt x="118966" y="0"/>
                  <a:pt x="265718" y="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4757CE4B-C8F1-491A-AAD8-E35C7EA7EC5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950810" y="2635330"/>
            <a:ext cx="530877" cy="1597025"/>
          </a:xfrm>
          <a:custGeom>
            <a:avLst/>
            <a:gdLst>
              <a:gd name="connsiteX0" fmla="*/ 0 w 530877"/>
              <a:gd name="connsiteY0" fmla="*/ 0 h 1597025"/>
              <a:gd name="connsiteX1" fmla="*/ 530877 w 530877"/>
              <a:gd name="connsiteY1" fmla="*/ 0 h 1597025"/>
              <a:gd name="connsiteX2" fmla="*/ 530877 w 530877"/>
              <a:gd name="connsiteY2" fmla="*/ 1597025 h 1597025"/>
              <a:gd name="connsiteX3" fmla="*/ 0 w 530877"/>
              <a:gd name="connsiteY3" fmla="*/ 1597025 h 1597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0877" h="1597025">
                <a:moveTo>
                  <a:pt x="0" y="0"/>
                </a:moveTo>
                <a:lnTo>
                  <a:pt x="530877" y="0"/>
                </a:lnTo>
                <a:lnTo>
                  <a:pt x="530877" y="1597025"/>
                </a:lnTo>
                <a:lnTo>
                  <a:pt x="0" y="1597025"/>
                </a:lnTo>
                <a:close/>
              </a:path>
            </a:pathLst>
          </a:custGeom>
          <a:solidFill>
            <a:schemeClr val="bg1">
              <a:alpha val="2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3" name="Text Placeholder 82">
            <a:extLst>
              <a:ext uri="{FF2B5EF4-FFF2-40B4-BE49-F238E27FC236}">
                <a16:creationId xmlns:a16="http://schemas.microsoft.com/office/drawing/2014/main" id="{F30B8423-0B64-491A-8333-3B3DC549236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420743" y="4743729"/>
            <a:ext cx="2125980" cy="1062991"/>
          </a:xfrm>
          <a:custGeom>
            <a:avLst/>
            <a:gdLst>
              <a:gd name="connsiteX0" fmla="*/ 0 w 2125980"/>
              <a:gd name="connsiteY0" fmla="*/ 0 h 1062991"/>
              <a:gd name="connsiteX1" fmla="*/ 530729 w 2125980"/>
              <a:gd name="connsiteY1" fmla="*/ 0 h 1062991"/>
              <a:gd name="connsiteX2" fmla="*/ 1062990 w 2125980"/>
              <a:gd name="connsiteY2" fmla="*/ 532261 h 1062991"/>
              <a:gd name="connsiteX3" fmla="*/ 1595250 w 2125980"/>
              <a:gd name="connsiteY3" fmla="*/ 0 h 1062991"/>
              <a:gd name="connsiteX4" fmla="*/ 2125980 w 2125980"/>
              <a:gd name="connsiteY4" fmla="*/ 0 h 1062991"/>
              <a:gd name="connsiteX5" fmla="*/ 1062990 w 2125980"/>
              <a:gd name="connsiteY5" fmla="*/ 1062991 h 1062991"/>
              <a:gd name="connsiteX6" fmla="*/ 0 w 2125980"/>
              <a:gd name="connsiteY6" fmla="*/ 0 h 10629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125980" h="1062991">
                <a:moveTo>
                  <a:pt x="0" y="0"/>
                </a:moveTo>
                <a:lnTo>
                  <a:pt x="530729" y="0"/>
                </a:lnTo>
                <a:cubicBezTo>
                  <a:pt x="530729" y="293959"/>
                  <a:pt x="769031" y="532261"/>
                  <a:pt x="1062990" y="532261"/>
                </a:cubicBezTo>
                <a:cubicBezTo>
                  <a:pt x="1356949" y="532261"/>
                  <a:pt x="1595250" y="293959"/>
                  <a:pt x="1595250" y="0"/>
                </a:cubicBezTo>
                <a:lnTo>
                  <a:pt x="2125980" y="0"/>
                </a:lnTo>
                <a:cubicBezTo>
                  <a:pt x="2125980" y="587074"/>
                  <a:pt x="1650063" y="1062991"/>
                  <a:pt x="1062990" y="1062991"/>
                </a:cubicBezTo>
                <a:cubicBezTo>
                  <a:pt x="475916" y="1062991"/>
                  <a:pt x="0" y="587074"/>
                  <a:pt x="0" y="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4" name="Text Placeholder 83">
            <a:extLst>
              <a:ext uri="{FF2B5EF4-FFF2-40B4-BE49-F238E27FC236}">
                <a16:creationId xmlns:a16="http://schemas.microsoft.com/office/drawing/2014/main" id="{4128161F-91E5-4282-9359-B0EF1276977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 flipV="1">
            <a:off x="9015845" y="3160397"/>
            <a:ext cx="2125980" cy="1062991"/>
          </a:xfrm>
          <a:custGeom>
            <a:avLst/>
            <a:gdLst>
              <a:gd name="connsiteX0" fmla="*/ 0 w 2125980"/>
              <a:gd name="connsiteY0" fmla="*/ 0 h 1062991"/>
              <a:gd name="connsiteX1" fmla="*/ 530729 w 2125980"/>
              <a:gd name="connsiteY1" fmla="*/ 0 h 1062991"/>
              <a:gd name="connsiteX2" fmla="*/ 1062990 w 2125980"/>
              <a:gd name="connsiteY2" fmla="*/ 532261 h 1062991"/>
              <a:gd name="connsiteX3" fmla="*/ 1595250 w 2125980"/>
              <a:gd name="connsiteY3" fmla="*/ 0 h 1062991"/>
              <a:gd name="connsiteX4" fmla="*/ 2125980 w 2125980"/>
              <a:gd name="connsiteY4" fmla="*/ 0 h 1062991"/>
              <a:gd name="connsiteX5" fmla="*/ 1062990 w 2125980"/>
              <a:gd name="connsiteY5" fmla="*/ 1062991 h 1062991"/>
              <a:gd name="connsiteX6" fmla="*/ 0 w 2125980"/>
              <a:gd name="connsiteY6" fmla="*/ 0 h 10629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125980" h="1062991">
                <a:moveTo>
                  <a:pt x="0" y="0"/>
                </a:moveTo>
                <a:lnTo>
                  <a:pt x="530729" y="0"/>
                </a:lnTo>
                <a:cubicBezTo>
                  <a:pt x="530729" y="293959"/>
                  <a:pt x="769031" y="532261"/>
                  <a:pt x="1062990" y="532261"/>
                </a:cubicBezTo>
                <a:cubicBezTo>
                  <a:pt x="1356949" y="532261"/>
                  <a:pt x="1595250" y="293959"/>
                  <a:pt x="1595250" y="0"/>
                </a:cubicBezTo>
                <a:lnTo>
                  <a:pt x="2125980" y="0"/>
                </a:lnTo>
                <a:cubicBezTo>
                  <a:pt x="2125980" y="587074"/>
                  <a:pt x="1650063" y="1062991"/>
                  <a:pt x="1062990" y="1062991"/>
                </a:cubicBezTo>
                <a:cubicBezTo>
                  <a:pt x="475916" y="1062991"/>
                  <a:pt x="0" y="587074"/>
                  <a:pt x="0" y="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5" name="Text Placeholder 84">
            <a:extLst>
              <a:ext uri="{FF2B5EF4-FFF2-40B4-BE49-F238E27FC236}">
                <a16:creationId xmlns:a16="http://schemas.microsoft.com/office/drawing/2014/main" id="{C8FA156E-9216-4AF4-84BF-0EEE74FE84D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 flipV="1">
            <a:off x="234238" y="4754883"/>
            <a:ext cx="2125980" cy="1062991"/>
          </a:xfrm>
          <a:custGeom>
            <a:avLst/>
            <a:gdLst>
              <a:gd name="connsiteX0" fmla="*/ 0 w 2125980"/>
              <a:gd name="connsiteY0" fmla="*/ 0 h 1062991"/>
              <a:gd name="connsiteX1" fmla="*/ 530729 w 2125980"/>
              <a:gd name="connsiteY1" fmla="*/ 0 h 1062991"/>
              <a:gd name="connsiteX2" fmla="*/ 1062990 w 2125980"/>
              <a:gd name="connsiteY2" fmla="*/ 532261 h 1062991"/>
              <a:gd name="connsiteX3" fmla="*/ 1595250 w 2125980"/>
              <a:gd name="connsiteY3" fmla="*/ 0 h 1062991"/>
              <a:gd name="connsiteX4" fmla="*/ 2125980 w 2125980"/>
              <a:gd name="connsiteY4" fmla="*/ 0 h 1062991"/>
              <a:gd name="connsiteX5" fmla="*/ 1062990 w 2125980"/>
              <a:gd name="connsiteY5" fmla="*/ 1062991 h 1062991"/>
              <a:gd name="connsiteX6" fmla="*/ 0 w 2125980"/>
              <a:gd name="connsiteY6" fmla="*/ 0 h 10629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125980" h="1062991">
                <a:moveTo>
                  <a:pt x="0" y="0"/>
                </a:moveTo>
                <a:lnTo>
                  <a:pt x="530729" y="0"/>
                </a:lnTo>
                <a:cubicBezTo>
                  <a:pt x="530729" y="293959"/>
                  <a:pt x="769031" y="532261"/>
                  <a:pt x="1062990" y="532261"/>
                </a:cubicBezTo>
                <a:cubicBezTo>
                  <a:pt x="1356949" y="532261"/>
                  <a:pt x="1595250" y="293959"/>
                  <a:pt x="1595250" y="0"/>
                </a:cubicBezTo>
                <a:lnTo>
                  <a:pt x="2125980" y="0"/>
                </a:lnTo>
                <a:cubicBezTo>
                  <a:pt x="2125980" y="587074"/>
                  <a:pt x="1650063" y="1062991"/>
                  <a:pt x="1062990" y="1062991"/>
                </a:cubicBezTo>
                <a:cubicBezTo>
                  <a:pt x="475916" y="1062991"/>
                  <a:pt x="0" y="587074"/>
                  <a:pt x="0" y="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6" name="Text Placeholder 85">
            <a:extLst>
              <a:ext uri="{FF2B5EF4-FFF2-40B4-BE49-F238E27FC236}">
                <a16:creationId xmlns:a16="http://schemas.microsoft.com/office/drawing/2014/main" id="{E141A1CE-3C03-445B-A009-11ECA50EF5E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898377" y="4762952"/>
            <a:ext cx="1597025" cy="530877"/>
          </a:xfrm>
          <a:custGeom>
            <a:avLst/>
            <a:gdLst>
              <a:gd name="connsiteX0" fmla="*/ 0 w 1597025"/>
              <a:gd name="connsiteY0" fmla="*/ 0 h 530877"/>
              <a:gd name="connsiteX1" fmla="*/ 1597025 w 1597025"/>
              <a:gd name="connsiteY1" fmla="*/ 0 h 530877"/>
              <a:gd name="connsiteX2" fmla="*/ 1597025 w 1597025"/>
              <a:gd name="connsiteY2" fmla="*/ 530877 h 530877"/>
              <a:gd name="connsiteX3" fmla="*/ 0 w 1597025"/>
              <a:gd name="connsiteY3" fmla="*/ 530877 h 5308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97025" h="530877">
                <a:moveTo>
                  <a:pt x="0" y="0"/>
                </a:moveTo>
                <a:lnTo>
                  <a:pt x="1597025" y="0"/>
                </a:lnTo>
                <a:lnTo>
                  <a:pt x="1597025" y="530877"/>
                </a:lnTo>
                <a:lnTo>
                  <a:pt x="0" y="530877"/>
                </a:lnTo>
                <a:close/>
              </a:path>
            </a:pathLst>
          </a:custGeom>
          <a:solidFill>
            <a:schemeClr val="bg1">
              <a:alpha val="2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12" name="Text Placeholder 111">
            <a:extLst>
              <a:ext uri="{FF2B5EF4-FFF2-40B4-BE49-F238E27FC236}">
                <a16:creationId xmlns:a16="http://schemas.microsoft.com/office/drawing/2014/main" id="{46A75F45-7CF3-47C4-95A4-46A3013CD1B2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 rot="5400000">
            <a:off x="2870252" y="5812923"/>
            <a:ext cx="1030447" cy="1059710"/>
          </a:xfrm>
          <a:custGeom>
            <a:avLst/>
            <a:gdLst>
              <a:gd name="connsiteX0" fmla="*/ 0 w 1030447"/>
              <a:gd name="connsiteY0" fmla="*/ 0 h 1059710"/>
              <a:gd name="connsiteX1" fmla="*/ 530729 w 1030447"/>
              <a:gd name="connsiteY1" fmla="*/ 0 h 1059710"/>
              <a:gd name="connsiteX2" fmla="*/ 955721 w 1030447"/>
              <a:gd name="connsiteY2" fmla="*/ 521447 h 1059710"/>
              <a:gd name="connsiteX3" fmla="*/ 1030447 w 1030447"/>
              <a:gd name="connsiteY3" fmla="*/ 528980 h 1059710"/>
              <a:gd name="connsiteX4" fmla="*/ 1030447 w 1030447"/>
              <a:gd name="connsiteY4" fmla="*/ 1059710 h 1059710"/>
              <a:gd name="connsiteX5" fmla="*/ 848760 w 1030447"/>
              <a:gd name="connsiteY5" fmla="*/ 1041394 h 1059710"/>
              <a:gd name="connsiteX6" fmla="*/ 0 w 1030447"/>
              <a:gd name="connsiteY6" fmla="*/ 0 h 10597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30447" h="1059710">
                <a:moveTo>
                  <a:pt x="0" y="0"/>
                </a:moveTo>
                <a:lnTo>
                  <a:pt x="530729" y="0"/>
                </a:lnTo>
                <a:cubicBezTo>
                  <a:pt x="530729" y="257214"/>
                  <a:pt x="713179" y="471816"/>
                  <a:pt x="955721" y="521447"/>
                </a:cubicBezTo>
                <a:lnTo>
                  <a:pt x="1030447" y="528980"/>
                </a:lnTo>
                <a:lnTo>
                  <a:pt x="1030447" y="1059710"/>
                </a:lnTo>
                <a:lnTo>
                  <a:pt x="848760" y="1041394"/>
                </a:lnTo>
                <a:cubicBezTo>
                  <a:pt x="364374" y="942275"/>
                  <a:pt x="0" y="513689"/>
                  <a:pt x="0" y="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90" name="Text Placeholder 89">
            <a:extLst>
              <a:ext uri="{FF2B5EF4-FFF2-40B4-BE49-F238E27FC236}">
                <a16:creationId xmlns:a16="http://schemas.microsoft.com/office/drawing/2014/main" id="{3F403165-99EC-43C4-8CA7-DB8217A6774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0347152" y="2103120"/>
            <a:ext cx="531436" cy="531432"/>
          </a:xfrm>
          <a:custGeom>
            <a:avLst/>
            <a:gdLst>
              <a:gd name="connsiteX0" fmla="*/ 265718 w 531436"/>
              <a:gd name="connsiteY0" fmla="*/ 0 h 531432"/>
              <a:gd name="connsiteX1" fmla="*/ 531436 w 531436"/>
              <a:gd name="connsiteY1" fmla="*/ 265716 h 531432"/>
              <a:gd name="connsiteX2" fmla="*/ 265718 w 531436"/>
              <a:gd name="connsiteY2" fmla="*/ 531432 h 531432"/>
              <a:gd name="connsiteX3" fmla="*/ 0 w 531436"/>
              <a:gd name="connsiteY3" fmla="*/ 265716 h 531432"/>
              <a:gd name="connsiteX4" fmla="*/ 265718 w 531436"/>
              <a:gd name="connsiteY4" fmla="*/ 0 h 531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1436" h="531432">
                <a:moveTo>
                  <a:pt x="265718" y="0"/>
                </a:moveTo>
                <a:cubicBezTo>
                  <a:pt x="412470" y="0"/>
                  <a:pt x="531436" y="118965"/>
                  <a:pt x="531436" y="265716"/>
                </a:cubicBezTo>
                <a:cubicBezTo>
                  <a:pt x="531436" y="412467"/>
                  <a:pt x="412470" y="531432"/>
                  <a:pt x="265718" y="531432"/>
                </a:cubicBezTo>
                <a:cubicBezTo>
                  <a:pt x="118966" y="531432"/>
                  <a:pt x="0" y="412467"/>
                  <a:pt x="0" y="265716"/>
                </a:cubicBezTo>
                <a:cubicBezTo>
                  <a:pt x="0" y="118965"/>
                  <a:pt x="118966" y="0"/>
                  <a:pt x="265718" y="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26" name="Picture 25" descr="A close up of a sign&#10;&#10;Description automatically generated">
            <a:extLst>
              <a:ext uri="{FF2B5EF4-FFF2-40B4-BE49-F238E27FC236}">
                <a16:creationId xmlns:a16="http://schemas.microsoft.com/office/drawing/2014/main" id="{748CE061-0B82-4CEE-A49E-0654F3B3547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0212" y="6081017"/>
            <a:ext cx="2448162" cy="5609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2692159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4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47DB4F7A-04F5-492B-9F9C-9DCDBC31468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942889" y="2804832"/>
            <a:ext cx="2258428" cy="2048436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lIns="182880" tIns="182880" rIns="182880" bIns="18288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399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endParaRPr lang="en-US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0904ADFB-3D8E-464B-AEAF-259637858CA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79333" y="2804832"/>
            <a:ext cx="2257193" cy="2048436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lIns="182880" tIns="182880" rIns="182880" bIns="18288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399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endParaRPr lang="en-US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3E25379D-0A79-4138-A194-901F857CFE3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014541" y="2804832"/>
            <a:ext cx="2258429" cy="2048436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lIns="182880" tIns="182880" rIns="182880" bIns="18288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399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endParaRPr lang="en-US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289AA023-A46F-450A-80A8-C6F3EBE56BA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550986" y="2804832"/>
            <a:ext cx="2258429" cy="2048436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lIns="182880" tIns="182880" rIns="182880" bIns="18288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399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endParaRPr lang="en-US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0D5DF6B6-3F3C-445E-8CC3-BAFA3D7DEC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42890" y="912311"/>
            <a:ext cx="9864935" cy="91649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38906123-3E6D-4E61-9AB6-6B1A42B7A23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941519" y="356543"/>
            <a:ext cx="3780104" cy="316558"/>
          </a:xfrm>
        </p:spPr>
        <p:txBody>
          <a:bodyPr tIns="0"/>
          <a:lstStyle>
            <a:lvl1pPr>
              <a:lnSpc>
                <a:spcPct val="100000"/>
              </a:lnSpc>
              <a:spcBef>
                <a:spcPts val="0"/>
              </a:spcBef>
              <a:defRPr sz="750"/>
            </a:lvl1pPr>
            <a:lvl2pPr marL="112679" indent="-112679">
              <a:lnSpc>
                <a:spcPct val="100000"/>
              </a:lnSpc>
              <a:spcBef>
                <a:spcPts val="0"/>
              </a:spcBef>
              <a:defRPr sz="750"/>
            </a:lvl2pPr>
            <a:lvl3pPr marL="225357" indent="-112679">
              <a:lnSpc>
                <a:spcPct val="100000"/>
              </a:lnSpc>
              <a:spcBef>
                <a:spcPts val="0"/>
              </a:spcBef>
              <a:defRPr sz="750"/>
            </a:lvl3pPr>
            <a:lvl4pPr marL="339623" indent="-114266">
              <a:lnSpc>
                <a:spcPct val="100000"/>
              </a:lnSpc>
              <a:spcBef>
                <a:spcPts val="0"/>
              </a:spcBef>
              <a:defRPr sz="900"/>
            </a:lvl4pPr>
            <a:lvl5pPr marL="460237" indent="-120614">
              <a:lnSpc>
                <a:spcPct val="100000"/>
              </a:lnSpc>
              <a:spcBef>
                <a:spcPts val="0"/>
              </a:spcBef>
              <a:defRPr sz="900"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17282021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94C30CE9-D26C-43F4-8C71-DDC8B8D2AEC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9414" y="1322388"/>
            <a:ext cx="11430000" cy="4895532"/>
          </a:xfrm>
        </p:spPr>
        <p:txBody>
          <a:bodyPr tIns="0"/>
          <a:lstStyle>
            <a:lvl1pPr>
              <a:defRPr sz="2000"/>
            </a:lvl1pPr>
            <a:lvl2pPr>
              <a:buClr>
                <a:schemeClr val="accent1"/>
              </a:buClr>
              <a:defRPr sz="2000" baseline="0"/>
            </a:lvl2pPr>
            <a:lvl3pPr>
              <a:buClr>
                <a:schemeClr val="accent1"/>
              </a:buClr>
              <a:defRPr sz="2000"/>
            </a:lvl3pPr>
            <a:lvl4pPr>
              <a:buClr>
                <a:schemeClr val="accent1"/>
              </a:buClr>
              <a:defRPr sz="2000"/>
            </a:lvl4pPr>
            <a:lvl5pPr>
              <a:buClr>
                <a:schemeClr val="accent1"/>
              </a:buCl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0FDA7E3-68DA-4728-93BB-9346E0541E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29757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FD6920A-CA0A-440A-B89B-D0A900738D6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160463" y="1322024"/>
            <a:ext cx="10648950" cy="4850176"/>
          </a:xfrm>
        </p:spPr>
        <p:txBody>
          <a:bodyPr numCol="2"/>
          <a:lstStyle>
            <a:lvl1pPr marL="365760" indent="-365760">
              <a:buClr>
                <a:schemeClr val="tx1"/>
              </a:buClr>
              <a:buFont typeface="+mj-lt"/>
              <a:buAutoNum type="arabicPeriod"/>
              <a:defRPr b="0"/>
            </a:lvl1pPr>
            <a:lvl2pPr marL="342900" indent="-342900">
              <a:buFont typeface="+mj-lt"/>
              <a:buAutoNum type="arabicPeriod"/>
              <a:defRPr/>
            </a:lvl2pPr>
            <a:lvl3pPr marL="517525" indent="-342900">
              <a:buFont typeface="+mj-lt"/>
              <a:buAutoNum type="arabicPeriod"/>
              <a:defRPr/>
            </a:lvl3pPr>
            <a:lvl4pPr marL="682625" indent="-342900">
              <a:buFont typeface="+mj-lt"/>
              <a:buAutoNum type="arabicPeriod"/>
              <a:defRPr/>
            </a:lvl4pPr>
            <a:lvl5pPr marL="855663" indent="-342900">
              <a:buFont typeface="+mj-lt"/>
              <a:buAutoNum type="arabicPeriod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C79F9E-CF3E-49D2-B8AD-365D78D209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822665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D397C2-7E40-4535-959E-784FF207E9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3DE89BB-9D11-422E-A8F5-BC75B6CC1B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513ECA-C5C6-4A8A-A676-C688726C17A1}" type="datetimeFigureOut">
              <a:rPr lang="en-US" smtClean="0"/>
              <a:t>6/12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C64C61-3812-4068-B67D-C74DCE3DC4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ACCAF-4116-4404-A610-0EF7EBBFB6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67B9FE-D959-43BC-853F-82ED17BD52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569392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B2E0FE-079C-4309-86E7-FC7AC41E09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2452C13A-84E6-42E0-920E-2DDD0DC45F1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9488" y="4433365"/>
            <a:ext cx="7019925" cy="105520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600" b="1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400" b="1"/>
            </a:lvl2pPr>
            <a:lvl3pPr marL="0" indent="0">
              <a:spcBef>
                <a:spcPts val="0"/>
              </a:spcBef>
              <a:buNone/>
              <a:defRPr sz="140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" name="Text Placeholder 21">
            <a:extLst>
              <a:ext uri="{FF2B5EF4-FFF2-40B4-BE49-F238E27FC236}">
                <a16:creationId xmlns:a16="http://schemas.microsoft.com/office/drawing/2014/main" id="{CF3E35AE-FC12-4C79-986B-4E075DBAFC0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89283" y="2000249"/>
            <a:ext cx="7020446" cy="2162799"/>
          </a:xfrm>
        </p:spPr>
        <p:txBody>
          <a:bodyPr anchor="b"/>
          <a:lstStyle>
            <a:lvl1pPr>
              <a:defRPr sz="3200"/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Picture Placeholder 18">
            <a:extLst>
              <a:ext uri="{FF2B5EF4-FFF2-40B4-BE49-F238E27FC236}">
                <a16:creationId xmlns:a16="http://schemas.microsoft.com/office/drawing/2014/main" id="{0CAD33D2-6ED7-4F78-BCE2-7680926DA15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81001" y="2000249"/>
            <a:ext cx="3467102" cy="3467100"/>
          </a:xfrm>
          <a:prstGeom prst="ellipse">
            <a:avLst/>
          </a:prstGeom>
          <a:solidFill>
            <a:srgbClr val="ECECEC"/>
          </a:solidFill>
          <a:ln w="76200"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>
              <a:defRPr lang="en-PH"/>
            </a:lvl1pPr>
          </a:lstStyle>
          <a:p>
            <a:pPr lvl="0" algn="ctr"/>
            <a:r>
              <a:rPr lang="en-US" dirty="0"/>
              <a:t>Click icon to add picture</a:t>
            </a:r>
            <a:endParaRPr lang="en-PH" dirty="0"/>
          </a:p>
        </p:txBody>
      </p:sp>
      <p:sp>
        <p:nvSpPr>
          <p:cNvPr id="6" name="Text Placeholder 21">
            <a:extLst>
              <a:ext uri="{FF2B5EF4-FFF2-40B4-BE49-F238E27FC236}">
                <a16:creationId xmlns:a16="http://schemas.microsoft.com/office/drawing/2014/main" id="{65CB8154-9C86-4F81-8743-8A30D05A9F8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22800" y="3564457"/>
            <a:ext cx="166688" cy="598591"/>
          </a:xfrm>
        </p:spPr>
        <p:txBody>
          <a:bodyPr anchor="b"/>
          <a:lstStyle>
            <a:lvl1pPr>
              <a:defRPr sz="32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“</a:t>
            </a:r>
          </a:p>
        </p:txBody>
      </p:sp>
    </p:spTree>
    <p:extLst>
      <p:ext uri="{BB962C8B-B14F-4D97-AF65-F5344CB8AC3E}">
        <p14:creationId xmlns:p14="http://schemas.microsoft.com/office/powerpoint/2010/main" val="1907025399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+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1" y="1783536"/>
            <a:ext cx="11428412" cy="4426764"/>
          </a:xfrm>
          <a:prstGeom prst="rect">
            <a:avLst/>
          </a:prstGeom>
        </p:spPr>
        <p:txBody>
          <a:bodyPr tIns="0"/>
          <a:lstStyle>
            <a:lvl2pPr>
              <a:buClr>
                <a:schemeClr val="accent1"/>
              </a:buClr>
              <a:defRPr baseline="0"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2" y="1169976"/>
            <a:ext cx="11427050" cy="489737"/>
          </a:xfrm>
          <a:prstGeom prst="rect">
            <a:avLst/>
          </a:prstGeom>
        </p:spPr>
        <p:txBody>
          <a:bodyPr tIns="0" anchor="b" anchorCtr="0"/>
          <a:lstStyle>
            <a:lvl1pPr>
              <a:lnSpc>
                <a:spcPct val="90000"/>
              </a:lnSpc>
              <a:spcBef>
                <a:spcPts val="500"/>
              </a:spcBef>
              <a:defRPr sz="1999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3FE43D3-4731-4F4C-A5C3-356B2EE894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373542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3">
            <a:extLst>
              <a:ext uri="{FF2B5EF4-FFF2-40B4-BE49-F238E27FC236}">
                <a16:creationId xmlns:a16="http://schemas.microsoft.com/office/drawing/2014/main" id="{F6851EF3-E456-437C-A6B0-4799E41CBB8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4414" y="0"/>
            <a:ext cx="6094412" cy="6858000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 baseline="0"/>
            </a:lvl1pPr>
          </a:lstStyle>
          <a:p>
            <a:r>
              <a:rPr lang="en-US"/>
              <a:t>Click icon or drag to insert imag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3" y="1781175"/>
            <a:ext cx="5341141" cy="4429127"/>
          </a:xfrm>
          <a:prstGeom prst="rect">
            <a:avLst/>
          </a:prstGeom>
        </p:spPr>
        <p:txBody>
          <a:bodyPr tIns="0"/>
          <a:lstStyle>
            <a:lvl2pPr>
              <a:buClr>
                <a:schemeClr val="accent1"/>
              </a:buClr>
              <a:defRPr baseline="0"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381083" y="1171577"/>
            <a:ext cx="5340398" cy="489737"/>
          </a:xfrm>
          <a:prstGeom prst="rect">
            <a:avLst/>
          </a:prstGeom>
        </p:spPr>
        <p:txBody>
          <a:bodyPr tIns="0" anchor="b" anchorCtr="0"/>
          <a:lstStyle>
            <a:lvl1pPr>
              <a:lnSpc>
                <a:spcPct val="90000"/>
              </a:lnSpc>
              <a:spcBef>
                <a:spcPts val="500"/>
              </a:spcBef>
              <a:defRPr sz="1999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FEC3F1-CFF8-4AA4-BEA2-C7220A4A32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453525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6848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ed Section">
    <p:bg>
      <p:bgPr>
        <a:solidFill>
          <a:srgbClr val="FA461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4">
            <a:extLst>
              <a:ext uri="{FF2B5EF4-FFF2-40B4-BE49-F238E27FC236}">
                <a16:creationId xmlns:a16="http://schemas.microsoft.com/office/drawing/2014/main" id="{F293A3D2-4F4A-7E69-3345-2D685A95B867}"/>
              </a:ext>
            </a:extLst>
          </p:cNvPr>
          <p:cNvSpPr/>
          <p:nvPr userDrawn="1"/>
        </p:nvSpPr>
        <p:spPr>
          <a:xfrm>
            <a:off x="10291997" y="1535990"/>
            <a:ext cx="1896829" cy="2168206"/>
          </a:xfrm>
          <a:custGeom>
            <a:avLst/>
            <a:gdLst/>
            <a:ahLst/>
            <a:cxnLst/>
            <a:rect l="l" t="t" r="r" b="b"/>
            <a:pathLst>
              <a:path w="2108200" h="2409190">
                <a:moveTo>
                  <a:pt x="0" y="0"/>
                </a:moveTo>
                <a:lnTo>
                  <a:pt x="2108200" y="0"/>
                </a:lnTo>
                <a:lnTo>
                  <a:pt x="2108200" y="2408745"/>
                </a:lnTo>
                <a:lnTo>
                  <a:pt x="0" y="2408745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4999"/>
            </a:srgbClr>
          </a:solidFill>
        </p:spPr>
        <p:txBody>
          <a:bodyPr wrap="square" lIns="0" tIns="0" rIns="0" bIns="0" rtlCol="0"/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object 6">
            <a:extLst>
              <a:ext uri="{FF2B5EF4-FFF2-40B4-BE49-F238E27FC236}">
                <a16:creationId xmlns:a16="http://schemas.microsoft.com/office/drawing/2014/main" id="{6EB0CA21-4C30-C47B-88C8-94452A7E4C5F}"/>
              </a:ext>
            </a:extLst>
          </p:cNvPr>
          <p:cNvSpPr/>
          <p:nvPr userDrawn="1"/>
        </p:nvSpPr>
        <p:spPr>
          <a:xfrm>
            <a:off x="0" y="0"/>
            <a:ext cx="4213017" cy="3580912"/>
          </a:xfrm>
          <a:custGeom>
            <a:avLst/>
            <a:gdLst/>
            <a:ahLst/>
            <a:cxnLst/>
            <a:rect l="l" t="t" r="r" b="b"/>
            <a:pathLst>
              <a:path w="4682490" h="3978910">
                <a:moveTo>
                  <a:pt x="4682301" y="0"/>
                </a:moveTo>
                <a:lnTo>
                  <a:pt x="2196364" y="0"/>
                </a:lnTo>
                <a:lnTo>
                  <a:pt x="2182861" y="35678"/>
                </a:lnTo>
                <a:lnTo>
                  <a:pt x="2165806" y="78255"/>
                </a:lnTo>
                <a:lnTo>
                  <a:pt x="2147969" y="120427"/>
                </a:lnTo>
                <a:lnTo>
                  <a:pt x="2129359" y="162185"/>
                </a:lnTo>
                <a:lnTo>
                  <a:pt x="2109984" y="203520"/>
                </a:lnTo>
                <a:lnTo>
                  <a:pt x="2089853" y="244424"/>
                </a:lnTo>
                <a:lnTo>
                  <a:pt x="2068977" y="284888"/>
                </a:lnTo>
                <a:lnTo>
                  <a:pt x="2047362" y="324901"/>
                </a:lnTo>
                <a:lnTo>
                  <a:pt x="2025020" y="364456"/>
                </a:lnTo>
                <a:lnTo>
                  <a:pt x="2001957" y="403544"/>
                </a:lnTo>
                <a:lnTo>
                  <a:pt x="1978185" y="442155"/>
                </a:lnTo>
                <a:lnTo>
                  <a:pt x="1953711" y="480280"/>
                </a:lnTo>
                <a:lnTo>
                  <a:pt x="1928544" y="517911"/>
                </a:lnTo>
                <a:lnTo>
                  <a:pt x="1902694" y="555038"/>
                </a:lnTo>
                <a:lnTo>
                  <a:pt x="1876169" y="591652"/>
                </a:lnTo>
                <a:lnTo>
                  <a:pt x="1848979" y="627745"/>
                </a:lnTo>
                <a:lnTo>
                  <a:pt x="1821133" y="663307"/>
                </a:lnTo>
                <a:lnTo>
                  <a:pt x="1792639" y="698330"/>
                </a:lnTo>
                <a:lnTo>
                  <a:pt x="1763506" y="732804"/>
                </a:lnTo>
                <a:lnTo>
                  <a:pt x="1733744" y="766721"/>
                </a:lnTo>
                <a:lnTo>
                  <a:pt x="1703361" y="800071"/>
                </a:lnTo>
                <a:lnTo>
                  <a:pt x="1672367" y="832846"/>
                </a:lnTo>
                <a:lnTo>
                  <a:pt x="1640771" y="865036"/>
                </a:lnTo>
                <a:lnTo>
                  <a:pt x="1608580" y="896633"/>
                </a:lnTo>
                <a:lnTo>
                  <a:pt x="1575806" y="927627"/>
                </a:lnTo>
                <a:lnTo>
                  <a:pt x="1542455" y="958009"/>
                </a:lnTo>
                <a:lnTo>
                  <a:pt x="1508539" y="987771"/>
                </a:lnTo>
                <a:lnTo>
                  <a:pt x="1474064" y="1016904"/>
                </a:lnTo>
                <a:lnTo>
                  <a:pt x="1439041" y="1045398"/>
                </a:lnTo>
                <a:lnTo>
                  <a:pt x="1403479" y="1073244"/>
                </a:lnTo>
                <a:lnTo>
                  <a:pt x="1367386" y="1100434"/>
                </a:lnTo>
                <a:lnTo>
                  <a:pt x="1330771" y="1126958"/>
                </a:lnTo>
                <a:lnTo>
                  <a:pt x="1293644" y="1152808"/>
                </a:lnTo>
                <a:lnTo>
                  <a:pt x="1256013" y="1177975"/>
                </a:lnTo>
                <a:lnTo>
                  <a:pt x="1217887" y="1202449"/>
                </a:lnTo>
                <a:lnTo>
                  <a:pt x="1179276" y="1226222"/>
                </a:lnTo>
                <a:lnTo>
                  <a:pt x="1140189" y="1249284"/>
                </a:lnTo>
                <a:lnTo>
                  <a:pt x="1100633" y="1271626"/>
                </a:lnTo>
                <a:lnTo>
                  <a:pt x="1060619" y="1293241"/>
                </a:lnTo>
                <a:lnTo>
                  <a:pt x="1020156" y="1314117"/>
                </a:lnTo>
                <a:lnTo>
                  <a:pt x="979252" y="1334248"/>
                </a:lnTo>
                <a:lnTo>
                  <a:pt x="937916" y="1353623"/>
                </a:lnTo>
                <a:lnTo>
                  <a:pt x="896158" y="1372233"/>
                </a:lnTo>
                <a:lnTo>
                  <a:pt x="853986" y="1390070"/>
                </a:lnTo>
                <a:lnTo>
                  <a:pt x="811409" y="1407125"/>
                </a:lnTo>
                <a:lnTo>
                  <a:pt x="768436" y="1423388"/>
                </a:lnTo>
                <a:lnTo>
                  <a:pt x="725077" y="1438851"/>
                </a:lnTo>
                <a:lnTo>
                  <a:pt x="681341" y="1453504"/>
                </a:lnTo>
                <a:lnTo>
                  <a:pt x="637235" y="1467339"/>
                </a:lnTo>
                <a:lnTo>
                  <a:pt x="592770" y="1480347"/>
                </a:lnTo>
                <a:lnTo>
                  <a:pt x="547955" y="1492518"/>
                </a:lnTo>
                <a:lnTo>
                  <a:pt x="502797" y="1503844"/>
                </a:lnTo>
                <a:lnTo>
                  <a:pt x="457307" y="1514315"/>
                </a:lnTo>
                <a:lnTo>
                  <a:pt x="411493" y="1523923"/>
                </a:lnTo>
                <a:lnTo>
                  <a:pt x="365365" y="1532659"/>
                </a:lnTo>
                <a:lnTo>
                  <a:pt x="318931" y="1540514"/>
                </a:lnTo>
                <a:lnTo>
                  <a:pt x="272200" y="1547478"/>
                </a:lnTo>
                <a:lnTo>
                  <a:pt x="225181" y="1553542"/>
                </a:lnTo>
                <a:lnTo>
                  <a:pt x="177884" y="1558699"/>
                </a:lnTo>
                <a:lnTo>
                  <a:pt x="130317" y="1562938"/>
                </a:lnTo>
                <a:lnTo>
                  <a:pt x="82489" y="1566250"/>
                </a:lnTo>
                <a:lnTo>
                  <a:pt x="34409" y="1568627"/>
                </a:lnTo>
                <a:lnTo>
                  <a:pt x="0" y="1569648"/>
                </a:lnTo>
                <a:lnTo>
                  <a:pt x="0" y="3978840"/>
                </a:lnTo>
                <a:lnTo>
                  <a:pt x="82146" y="3977156"/>
                </a:lnTo>
                <a:lnTo>
                  <a:pt x="177972" y="3973390"/>
                </a:lnTo>
                <a:lnTo>
                  <a:pt x="273309" y="3967766"/>
                </a:lnTo>
                <a:lnTo>
                  <a:pt x="368141" y="3960302"/>
                </a:lnTo>
                <a:lnTo>
                  <a:pt x="462449" y="3951017"/>
                </a:lnTo>
                <a:lnTo>
                  <a:pt x="556216" y="3939928"/>
                </a:lnTo>
                <a:lnTo>
                  <a:pt x="649423" y="3927052"/>
                </a:lnTo>
                <a:lnTo>
                  <a:pt x="742055" y="3912407"/>
                </a:lnTo>
                <a:lnTo>
                  <a:pt x="788149" y="3904426"/>
                </a:lnTo>
                <a:lnTo>
                  <a:pt x="834092" y="3896010"/>
                </a:lnTo>
                <a:lnTo>
                  <a:pt x="879882" y="3887161"/>
                </a:lnTo>
                <a:lnTo>
                  <a:pt x="925517" y="3877881"/>
                </a:lnTo>
                <a:lnTo>
                  <a:pt x="970994" y="3868171"/>
                </a:lnTo>
                <a:lnTo>
                  <a:pt x="1016312" y="3858035"/>
                </a:lnTo>
                <a:lnTo>
                  <a:pt x="1061469" y="3847474"/>
                </a:lnTo>
                <a:lnTo>
                  <a:pt x="1106461" y="3836491"/>
                </a:lnTo>
                <a:lnTo>
                  <a:pt x="1151287" y="3825088"/>
                </a:lnTo>
                <a:lnTo>
                  <a:pt x="1195944" y="3813267"/>
                </a:lnTo>
                <a:lnTo>
                  <a:pt x="1240431" y="3801030"/>
                </a:lnTo>
                <a:lnTo>
                  <a:pt x="1284745" y="3788379"/>
                </a:lnTo>
                <a:lnTo>
                  <a:pt x="1328884" y="3775318"/>
                </a:lnTo>
                <a:lnTo>
                  <a:pt x="1372846" y="3761847"/>
                </a:lnTo>
                <a:lnTo>
                  <a:pt x="1416628" y="3747969"/>
                </a:lnTo>
                <a:lnTo>
                  <a:pt x="1460228" y="3733687"/>
                </a:lnTo>
                <a:lnTo>
                  <a:pt x="1503645" y="3719002"/>
                </a:lnTo>
                <a:lnTo>
                  <a:pt x="1546876" y="3703916"/>
                </a:lnTo>
                <a:lnTo>
                  <a:pt x="1589918" y="3688433"/>
                </a:lnTo>
                <a:lnTo>
                  <a:pt x="1632770" y="3672554"/>
                </a:lnTo>
                <a:lnTo>
                  <a:pt x="1675429" y="3656281"/>
                </a:lnTo>
                <a:lnTo>
                  <a:pt x="1717893" y="3639617"/>
                </a:lnTo>
                <a:lnTo>
                  <a:pt x="1760160" y="3622564"/>
                </a:lnTo>
                <a:lnTo>
                  <a:pt x="1802227" y="3605123"/>
                </a:lnTo>
                <a:lnTo>
                  <a:pt x="1844093" y="3587298"/>
                </a:lnTo>
                <a:lnTo>
                  <a:pt x="1885756" y="3569090"/>
                </a:lnTo>
                <a:lnTo>
                  <a:pt x="1927212" y="3550502"/>
                </a:lnTo>
                <a:lnTo>
                  <a:pt x="1968460" y="3531536"/>
                </a:lnTo>
                <a:lnTo>
                  <a:pt x="2009498" y="3512193"/>
                </a:lnTo>
                <a:lnTo>
                  <a:pt x="2050323" y="3492477"/>
                </a:lnTo>
                <a:lnTo>
                  <a:pt x="2090933" y="3472389"/>
                </a:lnTo>
                <a:lnTo>
                  <a:pt x="2131327" y="3451932"/>
                </a:lnTo>
                <a:lnTo>
                  <a:pt x="2171501" y="3431108"/>
                </a:lnTo>
                <a:lnTo>
                  <a:pt x="2211454" y="3409919"/>
                </a:lnTo>
                <a:lnTo>
                  <a:pt x="2251183" y="3388367"/>
                </a:lnTo>
                <a:lnTo>
                  <a:pt x="2290686" y="3366454"/>
                </a:lnTo>
                <a:lnTo>
                  <a:pt x="2329961" y="3344184"/>
                </a:lnTo>
                <a:lnTo>
                  <a:pt x="2369006" y="3321557"/>
                </a:lnTo>
                <a:lnTo>
                  <a:pt x="2407819" y="3298576"/>
                </a:lnTo>
                <a:lnTo>
                  <a:pt x="2446397" y="3275244"/>
                </a:lnTo>
                <a:lnTo>
                  <a:pt x="2484738" y="3251562"/>
                </a:lnTo>
                <a:lnTo>
                  <a:pt x="2522840" y="3227532"/>
                </a:lnTo>
                <a:lnTo>
                  <a:pt x="2560700" y="3203158"/>
                </a:lnTo>
                <a:lnTo>
                  <a:pt x="2598317" y="3178441"/>
                </a:lnTo>
                <a:lnTo>
                  <a:pt x="2635689" y="3153383"/>
                </a:lnTo>
                <a:lnTo>
                  <a:pt x="2672812" y="3127987"/>
                </a:lnTo>
                <a:lnTo>
                  <a:pt x="2709685" y="3102254"/>
                </a:lnTo>
                <a:lnTo>
                  <a:pt x="2746306" y="3076188"/>
                </a:lnTo>
                <a:lnTo>
                  <a:pt x="2782673" y="3049789"/>
                </a:lnTo>
                <a:lnTo>
                  <a:pt x="2818783" y="3023061"/>
                </a:lnTo>
                <a:lnTo>
                  <a:pt x="2854633" y="2996006"/>
                </a:lnTo>
                <a:lnTo>
                  <a:pt x="2890223" y="2968626"/>
                </a:lnTo>
                <a:lnTo>
                  <a:pt x="2925549" y="2940922"/>
                </a:lnTo>
                <a:lnTo>
                  <a:pt x="2960610" y="2912898"/>
                </a:lnTo>
                <a:lnTo>
                  <a:pt x="2995403" y="2884555"/>
                </a:lnTo>
                <a:lnTo>
                  <a:pt x="3029925" y="2855895"/>
                </a:lnTo>
                <a:lnTo>
                  <a:pt x="3064176" y="2826922"/>
                </a:lnTo>
                <a:lnTo>
                  <a:pt x="3098152" y="2797637"/>
                </a:lnTo>
                <a:lnTo>
                  <a:pt x="3131852" y="2768042"/>
                </a:lnTo>
                <a:lnTo>
                  <a:pt x="3165273" y="2738139"/>
                </a:lnTo>
                <a:lnTo>
                  <a:pt x="3198412" y="2707931"/>
                </a:lnTo>
                <a:lnTo>
                  <a:pt x="3231269" y="2677420"/>
                </a:lnTo>
                <a:lnTo>
                  <a:pt x="3263840" y="2646608"/>
                </a:lnTo>
                <a:lnTo>
                  <a:pt x="3296123" y="2615497"/>
                </a:lnTo>
                <a:lnTo>
                  <a:pt x="3328117" y="2584090"/>
                </a:lnTo>
                <a:lnTo>
                  <a:pt x="3359818" y="2552388"/>
                </a:lnTo>
                <a:lnTo>
                  <a:pt x="3391225" y="2520395"/>
                </a:lnTo>
                <a:lnTo>
                  <a:pt x="3422336" y="2488112"/>
                </a:lnTo>
                <a:lnTo>
                  <a:pt x="3453148" y="2455540"/>
                </a:lnTo>
                <a:lnTo>
                  <a:pt x="3483659" y="2422684"/>
                </a:lnTo>
                <a:lnTo>
                  <a:pt x="3513867" y="2389544"/>
                </a:lnTo>
                <a:lnTo>
                  <a:pt x="3543769" y="2356123"/>
                </a:lnTo>
                <a:lnTo>
                  <a:pt x="3573364" y="2322424"/>
                </a:lnTo>
                <a:lnTo>
                  <a:pt x="3602650" y="2288447"/>
                </a:lnTo>
                <a:lnTo>
                  <a:pt x="3631623" y="2254197"/>
                </a:lnTo>
                <a:lnTo>
                  <a:pt x="3660282" y="2219674"/>
                </a:lnTo>
                <a:lnTo>
                  <a:pt x="3688625" y="2184881"/>
                </a:lnTo>
                <a:lnTo>
                  <a:pt x="3716649" y="2149820"/>
                </a:lnTo>
                <a:lnTo>
                  <a:pt x="3744353" y="2114494"/>
                </a:lnTo>
                <a:lnTo>
                  <a:pt x="3771733" y="2078904"/>
                </a:lnTo>
                <a:lnTo>
                  <a:pt x="3798789" y="2043054"/>
                </a:lnTo>
                <a:lnTo>
                  <a:pt x="3825517" y="2006944"/>
                </a:lnTo>
                <a:lnTo>
                  <a:pt x="3851915" y="1970577"/>
                </a:lnTo>
                <a:lnTo>
                  <a:pt x="3877981" y="1933956"/>
                </a:lnTo>
                <a:lnTo>
                  <a:pt x="3903714" y="1897083"/>
                </a:lnTo>
                <a:lnTo>
                  <a:pt x="3929110" y="1859960"/>
                </a:lnTo>
                <a:lnTo>
                  <a:pt x="3954168" y="1822588"/>
                </a:lnTo>
                <a:lnTo>
                  <a:pt x="3978885" y="1784971"/>
                </a:lnTo>
                <a:lnTo>
                  <a:pt x="4003259" y="1747111"/>
                </a:lnTo>
                <a:lnTo>
                  <a:pt x="4027288" y="1709009"/>
                </a:lnTo>
                <a:lnTo>
                  <a:pt x="4050970" y="1670668"/>
                </a:lnTo>
                <a:lnTo>
                  <a:pt x="4074302" y="1632090"/>
                </a:lnTo>
                <a:lnTo>
                  <a:pt x="4097283" y="1593277"/>
                </a:lnTo>
                <a:lnTo>
                  <a:pt x="4119910" y="1554232"/>
                </a:lnTo>
                <a:lnTo>
                  <a:pt x="4142181" y="1514957"/>
                </a:lnTo>
                <a:lnTo>
                  <a:pt x="4164093" y="1475454"/>
                </a:lnTo>
                <a:lnTo>
                  <a:pt x="4185645" y="1435725"/>
                </a:lnTo>
                <a:lnTo>
                  <a:pt x="4206834" y="1395772"/>
                </a:lnTo>
                <a:lnTo>
                  <a:pt x="4227658" y="1355598"/>
                </a:lnTo>
                <a:lnTo>
                  <a:pt x="4248115" y="1315204"/>
                </a:lnTo>
                <a:lnTo>
                  <a:pt x="4268203" y="1274594"/>
                </a:lnTo>
                <a:lnTo>
                  <a:pt x="4287919" y="1233769"/>
                </a:lnTo>
                <a:lnTo>
                  <a:pt x="4307261" y="1192731"/>
                </a:lnTo>
                <a:lnTo>
                  <a:pt x="4326228" y="1151483"/>
                </a:lnTo>
                <a:lnTo>
                  <a:pt x="4344816" y="1110027"/>
                </a:lnTo>
                <a:lnTo>
                  <a:pt x="4363024" y="1068364"/>
                </a:lnTo>
                <a:lnTo>
                  <a:pt x="4380849" y="1026498"/>
                </a:lnTo>
                <a:lnTo>
                  <a:pt x="4398289" y="984431"/>
                </a:lnTo>
                <a:lnTo>
                  <a:pt x="4415342" y="942164"/>
                </a:lnTo>
                <a:lnTo>
                  <a:pt x="4432006" y="899700"/>
                </a:lnTo>
                <a:lnTo>
                  <a:pt x="4448279" y="857041"/>
                </a:lnTo>
                <a:lnTo>
                  <a:pt x="4464158" y="814189"/>
                </a:lnTo>
                <a:lnTo>
                  <a:pt x="4479641" y="771147"/>
                </a:lnTo>
                <a:lnTo>
                  <a:pt x="4494726" y="727917"/>
                </a:lnTo>
                <a:lnTo>
                  <a:pt x="4509411" y="684500"/>
                </a:lnTo>
                <a:lnTo>
                  <a:pt x="4523694" y="640900"/>
                </a:lnTo>
                <a:lnTo>
                  <a:pt x="4537571" y="597117"/>
                </a:lnTo>
                <a:lnTo>
                  <a:pt x="4551042" y="553156"/>
                </a:lnTo>
                <a:lnTo>
                  <a:pt x="4564104" y="509017"/>
                </a:lnTo>
                <a:lnTo>
                  <a:pt x="4576754" y="464703"/>
                </a:lnTo>
                <a:lnTo>
                  <a:pt x="4588991" y="420216"/>
                </a:lnTo>
                <a:lnTo>
                  <a:pt x="4600812" y="375559"/>
                </a:lnTo>
                <a:lnTo>
                  <a:pt x="4612215" y="330733"/>
                </a:lnTo>
                <a:lnTo>
                  <a:pt x="4623198" y="285741"/>
                </a:lnTo>
                <a:lnTo>
                  <a:pt x="4633759" y="240585"/>
                </a:lnTo>
                <a:lnTo>
                  <a:pt x="4643895" y="195267"/>
                </a:lnTo>
                <a:lnTo>
                  <a:pt x="4653605" y="149790"/>
                </a:lnTo>
                <a:lnTo>
                  <a:pt x="4662885" y="104155"/>
                </a:lnTo>
                <a:lnTo>
                  <a:pt x="4671734" y="58365"/>
                </a:lnTo>
                <a:lnTo>
                  <a:pt x="4680150" y="12422"/>
                </a:lnTo>
                <a:lnTo>
                  <a:pt x="4682301" y="0"/>
                </a:lnTo>
                <a:close/>
              </a:path>
            </a:pathLst>
          </a:custGeom>
          <a:solidFill>
            <a:srgbClr val="FFFFFF">
              <a:alpha val="14999"/>
            </a:srgbClr>
          </a:solidFill>
        </p:spPr>
        <p:txBody>
          <a:bodyPr wrap="square" lIns="0" tIns="0" rIns="0" bIns="0" rtlCol="0"/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object 4">
            <a:extLst>
              <a:ext uri="{FF2B5EF4-FFF2-40B4-BE49-F238E27FC236}">
                <a16:creationId xmlns:a16="http://schemas.microsoft.com/office/drawing/2014/main" id="{795D36C6-A3B7-B6D0-53B4-3AE62CED2A8B}"/>
              </a:ext>
            </a:extLst>
          </p:cNvPr>
          <p:cNvSpPr/>
          <p:nvPr userDrawn="1"/>
        </p:nvSpPr>
        <p:spPr>
          <a:xfrm>
            <a:off x="1637930" y="6167120"/>
            <a:ext cx="4961676" cy="690881"/>
          </a:xfrm>
          <a:custGeom>
            <a:avLst/>
            <a:gdLst/>
            <a:ahLst/>
            <a:cxnLst/>
            <a:rect l="l" t="t" r="r" b="b"/>
            <a:pathLst>
              <a:path w="2108200" h="2409190">
                <a:moveTo>
                  <a:pt x="0" y="0"/>
                </a:moveTo>
                <a:lnTo>
                  <a:pt x="2108200" y="0"/>
                </a:lnTo>
                <a:lnTo>
                  <a:pt x="2108200" y="2408745"/>
                </a:lnTo>
                <a:lnTo>
                  <a:pt x="0" y="2408745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4999"/>
            </a:srgbClr>
          </a:solidFill>
        </p:spPr>
        <p:txBody>
          <a:bodyPr wrap="square" lIns="0" tIns="0" rIns="0" bIns="0" rtlCol="0"/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656496AA-8BD2-8AFB-1F2E-09817FEA76A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78948" y="3244851"/>
            <a:ext cx="6030929" cy="798513"/>
          </a:xfrm>
          <a:prstGeom prst="rect">
            <a:avLst/>
          </a:prstGeom>
          <a:solidFill>
            <a:schemeClr val="bg1"/>
          </a:solidFill>
        </p:spPr>
        <p:txBody>
          <a:bodyPr vert="horz" wrap="none" lIns="0" tIns="0" rIns="0" bIns="0" rtlCol="0" anchor="ctr" anchorCtr="0">
            <a:noAutofit/>
          </a:bodyPr>
          <a:lstStyle>
            <a:lvl1pPr>
              <a:defRPr kumimoji="0" lang="de-AT" sz="2799" b="1" i="0" u="none" strike="noStrike" cap="none" spc="0" normalizeH="0" baseline="0" dirty="0">
                <a:ln>
                  <a:noFill/>
                </a:ln>
                <a:solidFill>
                  <a:srgbClr val="FA4616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Open Sans Extrabold" panose="020B0906030804020204" pitchFamily="34" charset="0"/>
              </a:defRPr>
            </a:lvl1pPr>
          </a:lstStyle>
          <a:p>
            <a:pPr marR="5078" lvl="0" algn="ctr" defTabSz="914126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en-US" noProof="0"/>
              <a:t>Title</a:t>
            </a:r>
          </a:p>
        </p:txBody>
      </p:sp>
      <p:sp>
        <p:nvSpPr>
          <p:cNvPr id="2" name="object 18">
            <a:extLst>
              <a:ext uri="{FF2B5EF4-FFF2-40B4-BE49-F238E27FC236}">
                <a16:creationId xmlns:a16="http://schemas.microsoft.com/office/drawing/2014/main" id="{CF3574CE-8BF9-7215-85D8-C024638FF0DE}"/>
              </a:ext>
            </a:extLst>
          </p:cNvPr>
          <p:cNvSpPr txBox="1"/>
          <p:nvPr userDrawn="1"/>
        </p:nvSpPr>
        <p:spPr>
          <a:xfrm>
            <a:off x="2441692" y="2276505"/>
            <a:ext cx="7305441" cy="687176"/>
          </a:xfrm>
          <a:prstGeom prst="rect">
            <a:avLst/>
          </a:prstGeom>
        </p:spPr>
        <p:txBody>
          <a:bodyPr vert="horz" wrap="square" lIns="0" tIns="63483" rIns="0" bIns="0" rtlCol="0">
            <a:spAutoFit/>
          </a:bodyPr>
          <a:lstStyle/>
          <a:p>
            <a:pPr marL="12696" marR="5078" lvl="0" indent="0" algn="ctr" defTabSz="914126" rtl="0" eaLnBrk="1" fontAlgn="auto" latinLnBrk="0" hangingPunct="1">
              <a:lnSpc>
                <a:spcPct val="106100"/>
              </a:lnSpc>
              <a:spcBef>
                <a:spcPts val="84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999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UiPath Test Suite</a:t>
            </a:r>
          </a:p>
        </p:txBody>
      </p:sp>
    </p:spTree>
    <p:extLst>
      <p:ext uri="{BB962C8B-B14F-4D97-AF65-F5344CB8AC3E}">
        <p14:creationId xmlns:p14="http://schemas.microsoft.com/office/powerpoint/2010/main" val="1958289788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0B26C9-C562-4C9E-9D7E-52E44652AF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89DB295E-C37C-4211-B0AE-52425FDE08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1655" y="1171579"/>
            <a:ext cx="5497831" cy="489737"/>
          </a:xfrm>
        </p:spPr>
        <p:txBody>
          <a:bodyPr tIns="0" anchor="b" anchorCtr="0"/>
          <a:lstStyle>
            <a:lvl1pPr>
              <a:lnSpc>
                <a:spcPct val="90000"/>
              </a:lnSpc>
              <a:spcBef>
                <a:spcPts val="500"/>
              </a:spcBef>
              <a:defRPr sz="1998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94777BAB-A976-435B-9BA1-5B6E981D317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12555" y="1171579"/>
            <a:ext cx="5497831" cy="489737"/>
          </a:xfrm>
        </p:spPr>
        <p:txBody>
          <a:bodyPr tIns="0" anchor="b" anchorCtr="0"/>
          <a:lstStyle>
            <a:lvl1pPr>
              <a:lnSpc>
                <a:spcPct val="90000"/>
              </a:lnSpc>
              <a:spcBef>
                <a:spcPts val="500"/>
              </a:spcBef>
              <a:defRPr sz="1998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AFC59AEB-0C20-4BAC-A591-A240AD7D7548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381001" y="1781174"/>
            <a:ext cx="5498484" cy="4429126"/>
          </a:xfrm>
        </p:spPr>
        <p:txBody>
          <a:bodyPr tIns="0"/>
          <a:lstStyle>
            <a:lvl2pPr>
              <a:buClr>
                <a:schemeClr val="accent1"/>
              </a:buClr>
              <a:defRPr baseline="0"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14114AF-055C-4E9E-BD24-0EA4638FFBA5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6311901" y="1781174"/>
            <a:ext cx="5498484" cy="4429126"/>
          </a:xfrm>
        </p:spPr>
        <p:txBody>
          <a:bodyPr tIns="0"/>
          <a:lstStyle>
            <a:lvl2pPr>
              <a:buClr>
                <a:schemeClr val="accent1"/>
              </a:buClr>
              <a:defRPr baseline="0"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0772341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8BABC588-5798-4369-86EA-9B137E4E1DB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1001" y="1171579"/>
            <a:ext cx="3614674" cy="489737"/>
          </a:xfrm>
        </p:spPr>
        <p:txBody>
          <a:bodyPr tIns="0" anchor="b" anchorCtr="0"/>
          <a:lstStyle>
            <a:lvl1pPr>
              <a:lnSpc>
                <a:spcPct val="90000"/>
              </a:lnSpc>
              <a:spcBef>
                <a:spcPts val="500"/>
              </a:spcBef>
              <a:defRPr sz="1998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2136F9D9-C115-4CFC-8288-DA3519CE2A0C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81003" y="1781173"/>
            <a:ext cx="3620405" cy="1749300"/>
          </a:xfrm>
        </p:spPr>
        <p:txBody>
          <a:bodyPr tIns="0"/>
          <a:lstStyle>
            <a:lvl2pPr>
              <a:buClr>
                <a:schemeClr val="accent1"/>
              </a:buClr>
              <a:defRPr baseline="0"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EFCBBFC1-DBA9-47B0-8B7C-C8EF0A6DD6E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88273" y="1171579"/>
            <a:ext cx="3614674" cy="489737"/>
          </a:xfrm>
        </p:spPr>
        <p:txBody>
          <a:bodyPr tIns="0" anchor="b" anchorCtr="0"/>
          <a:lstStyle>
            <a:lvl1pPr>
              <a:lnSpc>
                <a:spcPct val="90000"/>
              </a:lnSpc>
              <a:spcBef>
                <a:spcPts val="500"/>
              </a:spcBef>
              <a:defRPr sz="1998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45F79959-0949-4FB6-BF24-B3C0EBA34E8A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4285007" y="1781173"/>
            <a:ext cx="3620405" cy="1749300"/>
          </a:xfrm>
        </p:spPr>
        <p:txBody>
          <a:bodyPr tIns="0"/>
          <a:lstStyle>
            <a:lvl2pPr>
              <a:buClr>
                <a:schemeClr val="accent1"/>
              </a:buClr>
              <a:defRPr baseline="0"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00983EFC-9FEF-46E8-9574-59C9D66F27C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195545" y="1171579"/>
            <a:ext cx="3614674" cy="489737"/>
          </a:xfrm>
        </p:spPr>
        <p:txBody>
          <a:bodyPr tIns="0" anchor="b" anchorCtr="0"/>
          <a:lstStyle>
            <a:lvl1pPr>
              <a:lnSpc>
                <a:spcPct val="90000"/>
              </a:lnSpc>
              <a:spcBef>
                <a:spcPts val="500"/>
              </a:spcBef>
              <a:defRPr sz="1998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D08D5800-8154-4234-B28D-C636F2E768A3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8189011" y="1781173"/>
            <a:ext cx="3620405" cy="1749300"/>
          </a:xfrm>
        </p:spPr>
        <p:txBody>
          <a:bodyPr tIns="0"/>
          <a:lstStyle>
            <a:lvl2pPr>
              <a:buClr>
                <a:schemeClr val="accent1"/>
              </a:buClr>
              <a:defRPr baseline="0"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3433CE7C-F359-47A8-841D-14982B8C8FE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81001" y="3831313"/>
            <a:ext cx="3614674" cy="489737"/>
          </a:xfrm>
        </p:spPr>
        <p:txBody>
          <a:bodyPr tIns="0" anchor="b" anchorCtr="0"/>
          <a:lstStyle>
            <a:lvl1pPr>
              <a:lnSpc>
                <a:spcPct val="90000"/>
              </a:lnSpc>
              <a:spcBef>
                <a:spcPts val="500"/>
              </a:spcBef>
              <a:defRPr sz="1998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641F7901-0058-4543-B156-041351228BF3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381003" y="4440912"/>
            <a:ext cx="3620405" cy="1749300"/>
          </a:xfrm>
        </p:spPr>
        <p:txBody>
          <a:bodyPr tIns="0"/>
          <a:lstStyle>
            <a:lvl2pPr>
              <a:buClr>
                <a:schemeClr val="accent1"/>
              </a:buClr>
              <a:defRPr baseline="0"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3B24EDE4-1DE9-4DA3-A5DE-8AA56EA30F8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288273" y="3831313"/>
            <a:ext cx="3614674" cy="489737"/>
          </a:xfrm>
        </p:spPr>
        <p:txBody>
          <a:bodyPr tIns="0" anchor="b" anchorCtr="0"/>
          <a:lstStyle>
            <a:lvl1pPr>
              <a:lnSpc>
                <a:spcPct val="90000"/>
              </a:lnSpc>
              <a:spcBef>
                <a:spcPts val="500"/>
              </a:spcBef>
              <a:defRPr sz="1998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C9E62CC6-7DD7-4F2C-92A7-592426B1F84C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4285007" y="4440912"/>
            <a:ext cx="3620405" cy="1749300"/>
          </a:xfrm>
        </p:spPr>
        <p:txBody>
          <a:bodyPr tIns="0"/>
          <a:lstStyle>
            <a:lvl2pPr>
              <a:buClr>
                <a:schemeClr val="accent1"/>
              </a:buClr>
              <a:defRPr baseline="0"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753DB1F1-4AE8-4CB2-9862-800506C55B5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195545" y="3831313"/>
            <a:ext cx="3614674" cy="489737"/>
          </a:xfrm>
        </p:spPr>
        <p:txBody>
          <a:bodyPr tIns="0" anchor="b" anchorCtr="0"/>
          <a:lstStyle>
            <a:lvl1pPr>
              <a:lnSpc>
                <a:spcPct val="90000"/>
              </a:lnSpc>
              <a:spcBef>
                <a:spcPts val="500"/>
              </a:spcBef>
              <a:defRPr sz="1998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62DFB085-0C55-4FCF-A2C8-2D229DB955D0}"/>
              </a:ext>
            </a:extLst>
          </p:cNvPr>
          <p:cNvSpPr>
            <a:spLocks noGrp="1"/>
          </p:cNvSpPr>
          <p:nvPr>
            <p:ph idx="30" hasCustomPrompt="1"/>
          </p:nvPr>
        </p:nvSpPr>
        <p:spPr>
          <a:xfrm>
            <a:off x="8189011" y="4440912"/>
            <a:ext cx="3620405" cy="1749300"/>
          </a:xfrm>
        </p:spPr>
        <p:txBody>
          <a:bodyPr tIns="0"/>
          <a:lstStyle>
            <a:lvl2pPr>
              <a:buClr>
                <a:schemeClr val="accent1"/>
              </a:buClr>
              <a:defRPr baseline="0"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CE697B4-F430-4CA7-935A-2F894B6230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73258652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FBF14531-4635-4BAC-8BFB-80B5D5B93B7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1001" y="1171579"/>
            <a:ext cx="2143176" cy="489737"/>
          </a:xfrm>
        </p:spPr>
        <p:txBody>
          <a:bodyPr tIns="0" anchor="b" anchorCtr="0"/>
          <a:lstStyle>
            <a:lvl1pPr>
              <a:lnSpc>
                <a:spcPct val="90000"/>
              </a:lnSpc>
              <a:spcBef>
                <a:spcPts val="500"/>
              </a:spcBef>
              <a:defRPr sz="1798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BB4E2362-E356-4A39-BFCD-3E1AEA06E41E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381001" y="1781174"/>
            <a:ext cx="2146572" cy="4429126"/>
          </a:xfrm>
        </p:spPr>
        <p:txBody>
          <a:bodyPr tIns="0"/>
          <a:lstStyle>
            <a:lvl1pPr>
              <a:defRPr sz="1798"/>
            </a:lvl1pPr>
            <a:lvl2pPr>
              <a:buClr>
                <a:schemeClr val="accent1"/>
              </a:buClr>
              <a:defRPr sz="1798" baseline="0"/>
            </a:lvl2pPr>
            <a:lvl3pPr>
              <a:buClr>
                <a:schemeClr val="accent1"/>
              </a:buClr>
              <a:defRPr sz="1798"/>
            </a:lvl3pPr>
            <a:lvl4pPr>
              <a:buClr>
                <a:schemeClr val="accent1"/>
              </a:buClr>
              <a:defRPr sz="1798"/>
            </a:lvl4pPr>
            <a:lvl5pPr>
              <a:buClr>
                <a:schemeClr val="accent1"/>
              </a:buClr>
              <a:defRPr sz="1798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2472D317-8C7C-4435-97B7-AD733CBE008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701609" y="1171579"/>
            <a:ext cx="2143176" cy="489737"/>
          </a:xfrm>
        </p:spPr>
        <p:txBody>
          <a:bodyPr tIns="0" anchor="b" anchorCtr="0"/>
          <a:lstStyle>
            <a:lvl1pPr>
              <a:lnSpc>
                <a:spcPct val="90000"/>
              </a:lnSpc>
              <a:spcBef>
                <a:spcPts val="500"/>
              </a:spcBef>
              <a:defRPr sz="1798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E4D2D360-EEE9-4391-80AA-F3022B2E44BA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2701463" y="1781174"/>
            <a:ext cx="2146572" cy="4429126"/>
          </a:xfrm>
        </p:spPr>
        <p:txBody>
          <a:bodyPr tIns="0"/>
          <a:lstStyle>
            <a:lvl1pPr>
              <a:defRPr sz="1798"/>
            </a:lvl1pPr>
            <a:lvl2pPr>
              <a:buClr>
                <a:schemeClr val="accent1"/>
              </a:buClr>
              <a:defRPr sz="1798" baseline="0"/>
            </a:lvl2pPr>
            <a:lvl3pPr>
              <a:buClr>
                <a:schemeClr val="accent1"/>
              </a:buClr>
              <a:defRPr sz="1798"/>
            </a:lvl3pPr>
            <a:lvl4pPr>
              <a:buClr>
                <a:schemeClr val="accent1"/>
              </a:buClr>
              <a:defRPr sz="1798"/>
            </a:lvl4pPr>
            <a:lvl5pPr>
              <a:buClr>
                <a:schemeClr val="accent1"/>
              </a:buClr>
              <a:defRPr sz="1798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7C950CA8-931F-42EC-8D1C-684B10BA33D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22217" y="1171579"/>
            <a:ext cx="2143176" cy="489737"/>
          </a:xfrm>
        </p:spPr>
        <p:txBody>
          <a:bodyPr tIns="0" anchor="b" anchorCtr="0"/>
          <a:lstStyle>
            <a:lvl1pPr>
              <a:lnSpc>
                <a:spcPct val="90000"/>
              </a:lnSpc>
              <a:spcBef>
                <a:spcPts val="500"/>
              </a:spcBef>
              <a:defRPr sz="1798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424531BF-7D09-4306-9D8E-78BAF0CD5048}"/>
              </a:ext>
            </a:extLst>
          </p:cNvPr>
          <p:cNvSpPr>
            <a:spLocks noGrp="1"/>
          </p:cNvSpPr>
          <p:nvPr>
            <p:ph idx="24"/>
          </p:nvPr>
        </p:nvSpPr>
        <p:spPr>
          <a:xfrm>
            <a:off x="5021921" y="1781174"/>
            <a:ext cx="2146572" cy="4429126"/>
          </a:xfrm>
        </p:spPr>
        <p:txBody>
          <a:bodyPr tIns="0"/>
          <a:lstStyle>
            <a:lvl1pPr>
              <a:defRPr sz="1798"/>
            </a:lvl1pPr>
            <a:lvl2pPr>
              <a:buClr>
                <a:schemeClr val="accent1"/>
              </a:buClr>
              <a:defRPr sz="1798" baseline="0"/>
            </a:lvl2pPr>
            <a:lvl3pPr>
              <a:buClr>
                <a:schemeClr val="accent1"/>
              </a:buClr>
              <a:defRPr sz="1798"/>
            </a:lvl3pPr>
            <a:lvl4pPr>
              <a:buClr>
                <a:schemeClr val="accent1"/>
              </a:buClr>
              <a:defRPr sz="1798"/>
            </a:lvl4pPr>
            <a:lvl5pPr>
              <a:buClr>
                <a:schemeClr val="accent1"/>
              </a:buClr>
              <a:defRPr sz="1798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1" name="Text Placeholder 14">
            <a:extLst>
              <a:ext uri="{FF2B5EF4-FFF2-40B4-BE49-F238E27FC236}">
                <a16:creationId xmlns:a16="http://schemas.microsoft.com/office/drawing/2014/main" id="{CFB36ED7-BBFD-4DB9-9421-F9BE8CD07C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342825" y="1171579"/>
            <a:ext cx="2143176" cy="489737"/>
          </a:xfrm>
        </p:spPr>
        <p:txBody>
          <a:bodyPr tIns="0" anchor="b" anchorCtr="0"/>
          <a:lstStyle>
            <a:lvl1pPr>
              <a:lnSpc>
                <a:spcPct val="90000"/>
              </a:lnSpc>
              <a:spcBef>
                <a:spcPts val="500"/>
              </a:spcBef>
              <a:defRPr sz="1798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BBEA8CD3-8F3D-4C64-8375-1733B126A69B}"/>
              </a:ext>
            </a:extLst>
          </p:cNvPr>
          <p:cNvSpPr>
            <a:spLocks noGrp="1"/>
          </p:cNvSpPr>
          <p:nvPr>
            <p:ph idx="26"/>
          </p:nvPr>
        </p:nvSpPr>
        <p:spPr>
          <a:xfrm>
            <a:off x="7342383" y="1781174"/>
            <a:ext cx="2146572" cy="4429126"/>
          </a:xfrm>
        </p:spPr>
        <p:txBody>
          <a:bodyPr tIns="0"/>
          <a:lstStyle>
            <a:lvl1pPr>
              <a:defRPr sz="1798"/>
            </a:lvl1pPr>
            <a:lvl2pPr>
              <a:buClr>
                <a:schemeClr val="accent1"/>
              </a:buClr>
              <a:defRPr sz="1798" baseline="0"/>
            </a:lvl2pPr>
            <a:lvl3pPr>
              <a:buClr>
                <a:schemeClr val="accent1"/>
              </a:buClr>
              <a:defRPr sz="1798"/>
            </a:lvl3pPr>
            <a:lvl4pPr>
              <a:buClr>
                <a:schemeClr val="accent1"/>
              </a:buClr>
              <a:defRPr sz="1798"/>
            </a:lvl4pPr>
            <a:lvl5pPr>
              <a:buClr>
                <a:schemeClr val="accent1"/>
              </a:buClr>
              <a:defRPr sz="1798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3" name="Text Placeholder 14">
            <a:extLst>
              <a:ext uri="{FF2B5EF4-FFF2-40B4-BE49-F238E27FC236}">
                <a16:creationId xmlns:a16="http://schemas.microsoft.com/office/drawing/2014/main" id="{D6519DA7-2099-4BBE-BC01-9482B3B5413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663434" y="1171579"/>
            <a:ext cx="2143176" cy="489737"/>
          </a:xfrm>
        </p:spPr>
        <p:txBody>
          <a:bodyPr tIns="0" anchor="b" anchorCtr="0"/>
          <a:lstStyle>
            <a:lvl1pPr>
              <a:lnSpc>
                <a:spcPct val="90000"/>
              </a:lnSpc>
              <a:spcBef>
                <a:spcPts val="500"/>
              </a:spcBef>
              <a:defRPr sz="1798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18DDB658-7F30-450F-B746-304E5B393DA7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9662841" y="1781174"/>
            <a:ext cx="2146572" cy="4429126"/>
          </a:xfrm>
        </p:spPr>
        <p:txBody>
          <a:bodyPr tIns="0"/>
          <a:lstStyle>
            <a:lvl1pPr>
              <a:defRPr sz="1798"/>
            </a:lvl1pPr>
            <a:lvl2pPr>
              <a:buClr>
                <a:schemeClr val="accent1"/>
              </a:buClr>
              <a:defRPr sz="1798" baseline="0"/>
            </a:lvl2pPr>
            <a:lvl3pPr>
              <a:buClr>
                <a:schemeClr val="accent1"/>
              </a:buClr>
              <a:defRPr sz="1798"/>
            </a:lvl3pPr>
            <a:lvl4pPr>
              <a:buClr>
                <a:schemeClr val="accent1"/>
              </a:buClr>
              <a:defRPr sz="1798"/>
            </a:lvl4pPr>
            <a:lvl5pPr>
              <a:buClr>
                <a:schemeClr val="accent1"/>
              </a:buClr>
              <a:defRPr sz="1798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BDFC327-60D5-4420-B53E-212D6DE488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62622083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8BABC588-5798-4369-86EA-9B137E4E1DB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1001" y="1171579"/>
            <a:ext cx="3627082" cy="489737"/>
          </a:xfrm>
        </p:spPr>
        <p:txBody>
          <a:bodyPr tIns="0" anchor="b" anchorCtr="0"/>
          <a:lstStyle>
            <a:lvl1pPr>
              <a:lnSpc>
                <a:spcPct val="90000"/>
              </a:lnSpc>
              <a:spcBef>
                <a:spcPts val="500"/>
              </a:spcBef>
              <a:defRPr sz="1998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2136F9D9-C115-4CFC-8288-DA3519CE2A0C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381001" y="1781174"/>
            <a:ext cx="3632832" cy="4412464"/>
          </a:xfrm>
        </p:spPr>
        <p:txBody>
          <a:bodyPr tIns="0"/>
          <a:lstStyle>
            <a:lvl2pPr>
              <a:buClr>
                <a:schemeClr val="accent1"/>
              </a:buClr>
              <a:defRPr baseline="0"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EFCBBFC1-DBA9-47B0-8B7C-C8EF0A6DD6E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79552" y="1171579"/>
            <a:ext cx="3627082" cy="489737"/>
          </a:xfrm>
        </p:spPr>
        <p:txBody>
          <a:bodyPr tIns="0" anchor="b" anchorCtr="0"/>
          <a:lstStyle>
            <a:lvl1pPr>
              <a:lnSpc>
                <a:spcPct val="90000"/>
              </a:lnSpc>
              <a:spcBef>
                <a:spcPts val="500"/>
              </a:spcBef>
              <a:defRPr sz="1998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45F79959-0949-4FB6-BF24-B3C0EBA34E8A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4276272" y="1781174"/>
            <a:ext cx="3632832" cy="4412464"/>
          </a:xfrm>
        </p:spPr>
        <p:txBody>
          <a:bodyPr tIns="0"/>
          <a:lstStyle>
            <a:lvl2pPr>
              <a:buClr>
                <a:schemeClr val="accent1"/>
              </a:buClr>
              <a:defRPr baseline="0"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00983EFC-9FEF-46E8-9574-59C9D66F27C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178099" y="1171579"/>
            <a:ext cx="3627082" cy="489737"/>
          </a:xfrm>
        </p:spPr>
        <p:txBody>
          <a:bodyPr tIns="0" anchor="b" anchorCtr="0"/>
          <a:lstStyle>
            <a:lvl1pPr>
              <a:lnSpc>
                <a:spcPct val="90000"/>
              </a:lnSpc>
              <a:spcBef>
                <a:spcPts val="500"/>
              </a:spcBef>
              <a:defRPr sz="1998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D08D5800-8154-4234-B28D-C636F2E768A3}"/>
              </a:ext>
            </a:extLst>
          </p:cNvPr>
          <p:cNvSpPr>
            <a:spLocks noGrp="1"/>
          </p:cNvSpPr>
          <p:nvPr>
            <p:ph idx="24"/>
          </p:nvPr>
        </p:nvSpPr>
        <p:spPr>
          <a:xfrm>
            <a:off x="8171544" y="1781174"/>
            <a:ext cx="3632832" cy="4412464"/>
          </a:xfrm>
        </p:spPr>
        <p:txBody>
          <a:bodyPr tIns="0"/>
          <a:lstStyle>
            <a:lvl2pPr>
              <a:buClr>
                <a:schemeClr val="accent1"/>
              </a:buClr>
              <a:defRPr baseline="0"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27AFD46-0A5D-43AC-A0F5-91BC9C4AE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40425711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rm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3">
            <a:extLst>
              <a:ext uri="{FF2B5EF4-FFF2-40B4-BE49-F238E27FC236}">
                <a16:creationId xmlns:a16="http://schemas.microsoft.com/office/drawing/2014/main" id="{75D73571-9EDD-4FD8-AC63-9C4CFF2319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8619" y="615129"/>
            <a:ext cx="9862366" cy="489709"/>
          </a:xfrm>
          <a:prstGeom prst="rect">
            <a:avLst/>
          </a:prstGeom>
        </p:spPr>
        <p:txBody>
          <a:bodyPr/>
          <a:lstStyle>
            <a:lvl1pPr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z="2398"/>
              <a:t>Title Slide</a:t>
            </a:r>
          </a:p>
        </p:txBody>
      </p:sp>
    </p:spTree>
    <p:extLst>
      <p:ext uri="{BB962C8B-B14F-4D97-AF65-F5344CB8AC3E}">
        <p14:creationId xmlns:p14="http://schemas.microsoft.com/office/powerpoint/2010/main" val="410765682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B2E0FE-079C-4309-86E7-FC7AC41E09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2452C13A-84E6-42E0-920E-2DDD0DC45F1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9488" y="4433365"/>
            <a:ext cx="7019925" cy="105520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600" b="1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400" b="1"/>
            </a:lvl2pPr>
            <a:lvl3pPr marL="0" indent="0">
              <a:spcBef>
                <a:spcPts val="0"/>
              </a:spcBef>
              <a:buNone/>
              <a:defRPr sz="14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Text Placeholder 21">
            <a:extLst>
              <a:ext uri="{FF2B5EF4-FFF2-40B4-BE49-F238E27FC236}">
                <a16:creationId xmlns:a16="http://schemas.microsoft.com/office/drawing/2014/main" id="{CF3E35AE-FC12-4C79-986B-4E075DBAFC0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35500" y="2000249"/>
            <a:ext cx="7174229" cy="2162799"/>
          </a:xfrm>
        </p:spPr>
        <p:txBody>
          <a:bodyPr anchor="b"/>
          <a:lstStyle>
            <a:lvl1pPr marL="137160" indent="-137160">
              <a:defRPr sz="32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“Click to edit Master text </a:t>
            </a:r>
            <a:r>
              <a:rPr lang="en-US" err="1"/>
              <a:t>loremstyle</a:t>
            </a:r>
            <a:r>
              <a:rPr lang="en-US"/>
              <a:t> Master text </a:t>
            </a:r>
            <a:r>
              <a:rPr lang="en-US" err="1"/>
              <a:t>loremstyles</a:t>
            </a:r>
            <a:r>
              <a:rPr lang="en-US"/>
              <a:t> s”</a:t>
            </a:r>
          </a:p>
        </p:txBody>
      </p:sp>
      <p:sp>
        <p:nvSpPr>
          <p:cNvPr id="5" name="Picture Placeholder 18">
            <a:extLst>
              <a:ext uri="{FF2B5EF4-FFF2-40B4-BE49-F238E27FC236}">
                <a16:creationId xmlns:a16="http://schemas.microsoft.com/office/drawing/2014/main" id="{0CAD33D2-6ED7-4F78-BCE2-7680926DA15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81001" y="2000249"/>
            <a:ext cx="3467102" cy="3467100"/>
          </a:xfrm>
          <a:prstGeom prst="ellipse">
            <a:avLst/>
          </a:prstGeom>
          <a:solidFill>
            <a:srgbClr val="ECECEC"/>
          </a:solidFill>
          <a:ln w="76200"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>
              <a:defRPr lang="en-PH"/>
            </a:lvl1pPr>
          </a:lstStyle>
          <a:p>
            <a:pPr lvl="0" algn="ctr"/>
            <a:r>
              <a:rPr lang="en-US"/>
              <a:t>Click icon to add picture</a:t>
            </a:r>
            <a:endParaRPr lang="en-PH"/>
          </a:p>
        </p:txBody>
      </p:sp>
    </p:spTree>
    <p:extLst>
      <p:ext uri="{BB962C8B-B14F-4D97-AF65-F5344CB8AC3E}">
        <p14:creationId xmlns:p14="http://schemas.microsoft.com/office/powerpoint/2010/main" val="5063425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47DB4F7A-04F5-492B-9F9C-9DCDBC31468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0207" y="2565127"/>
            <a:ext cx="3631905" cy="220105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lIns="182880" tIns="182880" rIns="182880" bIns="18288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0904ADFB-3D8E-464B-AEAF-259637858CA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79452" y="2565127"/>
            <a:ext cx="3629920" cy="2201057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lIns="182880" tIns="182880" rIns="182880" bIns="18288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3E25379D-0A79-4138-A194-901F857CFE3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77507" y="2565127"/>
            <a:ext cx="3631907" cy="2201057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lIns="182880" tIns="182880" rIns="182880" bIns="18288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4F1F6B98-0C45-4BAB-86B0-EDAB9CA7B9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8937788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47DB4F7A-04F5-492B-9F9C-9DCDBC31468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1001" y="2523099"/>
            <a:ext cx="2721380" cy="2322912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lIns="182880" tIns="182880" rIns="182880" bIns="18288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0904ADFB-3D8E-464B-AEAF-259637858CA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283841" y="2523099"/>
            <a:ext cx="2719892" cy="2322913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lIns="182880" tIns="182880" rIns="182880" bIns="18288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3E25379D-0A79-4138-A194-901F857CFE3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185193" y="2523099"/>
            <a:ext cx="2721381" cy="2322912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lIns="182880" tIns="182880" rIns="182880" bIns="18288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289AA023-A46F-450A-80A8-C6F3EBE56BA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088033" y="2523099"/>
            <a:ext cx="2721381" cy="2322912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lIns="182880" tIns="182880" rIns="182880" bIns="18288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F5953F7-BCD8-4688-B34C-D81CB08F82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4840491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5">
            <a:extLst>
              <a:ext uri="{FF2B5EF4-FFF2-40B4-BE49-F238E27FC236}">
                <a16:creationId xmlns:a16="http://schemas.microsoft.com/office/drawing/2014/main" id="{E1B3FAEE-4E78-46C7-9DB6-5C22BB3E16F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381001" y="1171575"/>
            <a:ext cx="3642338" cy="240792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9" name="Picture Placeholder 5">
            <a:extLst>
              <a:ext uri="{FF2B5EF4-FFF2-40B4-BE49-F238E27FC236}">
                <a16:creationId xmlns:a16="http://schemas.microsoft.com/office/drawing/2014/main" id="{539C5952-9101-40EA-8EFD-F1D60A1A9A08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4272451" y="1171575"/>
            <a:ext cx="3642338" cy="240792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0" name="Picture Placeholder 5">
            <a:extLst>
              <a:ext uri="{FF2B5EF4-FFF2-40B4-BE49-F238E27FC236}">
                <a16:creationId xmlns:a16="http://schemas.microsoft.com/office/drawing/2014/main" id="{6493EF8F-CCE9-4B2B-A7E6-77DBCC02838A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8163901" y="1171575"/>
            <a:ext cx="3642338" cy="240792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7" name="Picture Placeholder 5">
            <a:extLst>
              <a:ext uri="{FF2B5EF4-FFF2-40B4-BE49-F238E27FC236}">
                <a16:creationId xmlns:a16="http://schemas.microsoft.com/office/drawing/2014/main" id="{4D42B27E-18C9-491F-981A-22AFA3A63254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381001" y="3803650"/>
            <a:ext cx="3642338" cy="240792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8" name="Picture Placeholder 5">
            <a:extLst>
              <a:ext uri="{FF2B5EF4-FFF2-40B4-BE49-F238E27FC236}">
                <a16:creationId xmlns:a16="http://schemas.microsoft.com/office/drawing/2014/main" id="{1BCAF74B-6018-4C57-A90E-AB54A58B1470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4272451" y="3803650"/>
            <a:ext cx="3642338" cy="240792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9" name="Picture Placeholder 5">
            <a:extLst>
              <a:ext uri="{FF2B5EF4-FFF2-40B4-BE49-F238E27FC236}">
                <a16:creationId xmlns:a16="http://schemas.microsoft.com/office/drawing/2014/main" id="{61217ED4-3DF8-4495-9467-ABDA716D4CF1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8163901" y="3803650"/>
            <a:ext cx="3642338" cy="240792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144A2ED-0415-4F97-8542-3AEA900903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4069233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able Placeholder 5">
            <a:extLst>
              <a:ext uri="{FF2B5EF4-FFF2-40B4-BE49-F238E27FC236}">
                <a16:creationId xmlns:a16="http://schemas.microsoft.com/office/drawing/2014/main" id="{05CE8878-73D0-49A2-BE7D-7B98477652C3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381001" y="1322388"/>
            <a:ext cx="11426823" cy="4887912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D06F8458-66E1-4B4A-BC40-DD2CDA42EB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6825994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F88AD5-E949-4AE1-8644-686DA8A505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20CDC1-6B09-D5D5-2CF2-E87A08C913E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1691501"/>
            <a:ext cx="838200" cy="553998"/>
          </a:xfrm>
          <a:prstGeom prst="rect">
            <a:avLst/>
          </a:prstGeom>
          <a:noFill/>
        </p:spPr>
        <p:txBody>
          <a:bodyPr anchor="ctr">
            <a:spAutoFit/>
          </a:bodyPr>
          <a:lstStyle>
            <a:lvl1pPr algn="ctr">
              <a:defRPr sz="3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0825A02C-3FA0-0624-DE53-C67CC230DCB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2965735"/>
            <a:ext cx="838200" cy="553998"/>
          </a:xfrm>
          <a:prstGeom prst="rect">
            <a:avLst/>
          </a:prstGeom>
          <a:noFill/>
        </p:spPr>
        <p:txBody>
          <a:bodyPr anchor="ctr">
            <a:spAutoFit/>
          </a:bodyPr>
          <a:lstStyle>
            <a:lvl1pPr algn="ctr">
              <a:defRPr sz="3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E0D1A9AB-E45B-72D5-E442-2E623291A75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0" y="4239969"/>
            <a:ext cx="838200" cy="553998"/>
          </a:xfrm>
          <a:prstGeom prst="rect">
            <a:avLst/>
          </a:prstGeom>
          <a:noFill/>
        </p:spPr>
        <p:txBody>
          <a:bodyPr anchor="ctr">
            <a:spAutoFit/>
          </a:bodyPr>
          <a:lstStyle>
            <a:lvl1pPr algn="ctr">
              <a:defRPr sz="3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FFFD6734-A0C3-BE10-5DD0-416382B3D04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0" y="5514201"/>
            <a:ext cx="838200" cy="553998"/>
          </a:xfrm>
          <a:prstGeom prst="rect">
            <a:avLst/>
          </a:prstGeom>
          <a:noFill/>
        </p:spPr>
        <p:txBody>
          <a:bodyPr anchor="ctr">
            <a:spAutoFit/>
          </a:bodyPr>
          <a:lstStyle>
            <a:lvl1pPr algn="ctr">
              <a:defRPr sz="3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E891857-BFD1-0511-117F-6C5B0254477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74800" y="1814611"/>
            <a:ext cx="10234613" cy="307777"/>
          </a:xfrm>
        </p:spPr>
        <p:txBody>
          <a:bodyPr anchor="ctr">
            <a:spAutoFit/>
          </a:bodyPr>
          <a:lstStyle>
            <a:lvl1pPr>
              <a:defRPr sz="2000"/>
            </a:lvl1pPr>
          </a:lstStyle>
          <a:p>
            <a:r>
              <a:rPr lang="en-US" dirty="0"/>
              <a:t>Lorum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rempore</a:t>
            </a:r>
            <a:r>
              <a:rPr lang="en-US" dirty="0"/>
              <a:t> </a:t>
            </a:r>
            <a:r>
              <a:rPr lang="en-US" dirty="0" err="1"/>
              <a:t>aute</a:t>
            </a:r>
            <a:r>
              <a:rPr lang="en-US" dirty="0"/>
              <a:t> </a:t>
            </a:r>
            <a:r>
              <a:rPr lang="en-US" dirty="0" err="1"/>
              <a:t>nonsed</a:t>
            </a:r>
            <a:endParaRPr lang="en-US" dirty="0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63A409E0-38D8-CF6D-EAD0-5A31FA837A9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574800" y="3088844"/>
            <a:ext cx="10234613" cy="307777"/>
          </a:xfrm>
        </p:spPr>
        <p:txBody>
          <a:bodyPr anchor="ctr">
            <a:spAutoFit/>
          </a:bodyPr>
          <a:lstStyle>
            <a:lvl1pPr>
              <a:defRPr sz="2000"/>
            </a:lvl1pPr>
          </a:lstStyle>
          <a:p>
            <a:r>
              <a:rPr lang="en-US" dirty="0"/>
              <a:t>Lorum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rempore</a:t>
            </a:r>
            <a:r>
              <a:rPr lang="en-US" dirty="0"/>
              <a:t> </a:t>
            </a:r>
            <a:r>
              <a:rPr lang="en-US" dirty="0" err="1"/>
              <a:t>aute</a:t>
            </a:r>
            <a:r>
              <a:rPr lang="en-US" dirty="0"/>
              <a:t> </a:t>
            </a:r>
            <a:r>
              <a:rPr lang="en-US" dirty="0" err="1"/>
              <a:t>nonsed</a:t>
            </a:r>
            <a:endParaRPr lang="en-US" dirty="0"/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7E398C9E-702E-C7FF-4DC7-0F3BB252BC1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74800" y="4363077"/>
            <a:ext cx="10234613" cy="307777"/>
          </a:xfrm>
        </p:spPr>
        <p:txBody>
          <a:bodyPr anchor="ctr">
            <a:spAutoFit/>
          </a:bodyPr>
          <a:lstStyle>
            <a:lvl1pPr>
              <a:defRPr sz="2000"/>
            </a:lvl1pPr>
          </a:lstStyle>
          <a:p>
            <a:r>
              <a:rPr lang="en-US" dirty="0"/>
              <a:t>Lorum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rempore</a:t>
            </a:r>
            <a:r>
              <a:rPr lang="en-US" dirty="0"/>
              <a:t> </a:t>
            </a:r>
            <a:r>
              <a:rPr lang="en-US" dirty="0" err="1"/>
              <a:t>aute</a:t>
            </a:r>
            <a:r>
              <a:rPr lang="en-US" dirty="0"/>
              <a:t> </a:t>
            </a:r>
            <a:r>
              <a:rPr lang="en-US" dirty="0" err="1"/>
              <a:t>nonsed</a:t>
            </a:r>
            <a:endParaRPr lang="en-US" dirty="0"/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2E24ADF5-99FC-2682-D908-735C92327D2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574800" y="5637311"/>
            <a:ext cx="10234613" cy="307777"/>
          </a:xfrm>
        </p:spPr>
        <p:txBody>
          <a:bodyPr anchor="ctr">
            <a:spAutoFit/>
          </a:bodyPr>
          <a:lstStyle>
            <a:lvl1pPr>
              <a:defRPr sz="2000"/>
            </a:lvl1pPr>
          </a:lstStyle>
          <a:p>
            <a:r>
              <a:rPr lang="en-US" dirty="0"/>
              <a:t>Lorum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rempore</a:t>
            </a:r>
            <a:r>
              <a:rPr lang="en-US" dirty="0"/>
              <a:t> </a:t>
            </a:r>
            <a:r>
              <a:rPr lang="en-US" dirty="0" err="1"/>
              <a:t>aute</a:t>
            </a:r>
            <a:r>
              <a:rPr lang="en-US" dirty="0"/>
              <a:t> </a:t>
            </a:r>
            <a:r>
              <a:rPr lang="en-US" dirty="0" err="1"/>
              <a:t>nonsed</a:t>
            </a:r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EEBB655-33C1-F78D-05F6-BF1DBC73B6F8}"/>
              </a:ext>
            </a:extLst>
          </p:cNvPr>
          <p:cNvCxnSpPr>
            <a:cxnSpLocks/>
          </p:cNvCxnSpPr>
          <p:nvPr userDrawn="1"/>
        </p:nvCxnSpPr>
        <p:spPr>
          <a:xfrm>
            <a:off x="381000" y="2605617"/>
            <a:ext cx="11428413" cy="0"/>
          </a:xfrm>
          <a:prstGeom prst="line">
            <a:avLst/>
          </a:prstGeom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1234844F-D9AB-02F9-89A7-39C8189FCAEE}"/>
              </a:ext>
            </a:extLst>
          </p:cNvPr>
          <p:cNvCxnSpPr>
            <a:cxnSpLocks/>
          </p:cNvCxnSpPr>
          <p:nvPr userDrawn="1"/>
        </p:nvCxnSpPr>
        <p:spPr>
          <a:xfrm>
            <a:off x="381000" y="3879851"/>
            <a:ext cx="11428413" cy="0"/>
          </a:xfrm>
          <a:prstGeom prst="line">
            <a:avLst/>
          </a:prstGeom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7600946-4D21-AFA6-4683-DD27D34FD686}"/>
              </a:ext>
            </a:extLst>
          </p:cNvPr>
          <p:cNvCxnSpPr>
            <a:cxnSpLocks/>
          </p:cNvCxnSpPr>
          <p:nvPr userDrawn="1"/>
        </p:nvCxnSpPr>
        <p:spPr>
          <a:xfrm>
            <a:off x="381000" y="5154085"/>
            <a:ext cx="11428413" cy="0"/>
          </a:xfrm>
          <a:prstGeom prst="line">
            <a:avLst/>
          </a:prstGeom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036484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8 topic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F88AD5-E949-4AE1-8644-686DA8A505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20CDC1-6B09-D5D5-2CF2-E87A08C913E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1691501"/>
            <a:ext cx="838200" cy="553998"/>
          </a:xfrm>
          <a:prstGeom prst="rect">
            <a:avLst/>
          </a:prstGeom>
          <a:noFill/>
        </p:spPr>
        <p:txBody>
          <a:bodyPr anchor="ctr">
            <a:spAutoFit/>
          </a:bodyPr>
          <a:lstStyle>
            <a:lvl1pPr algn="ctr">
              <a:defRPr sz="3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0825A02C-3FA0-0624-DE53-C67CC230DCB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2965735"/>
            <a:ext cx="838200" cy="553998"/>
          </a:xfrm>
          <a:prstGeom prst="rect">
            <a:avLst/>
          </a:prstGeom>
          <a:noFill/>
        </p:spPr>
        <p:txBody>
          <a:bodyPr anchor="ctr">
            <a:spAutoFit/>
          </a:bodyPr>
          <a:lstStyle>
            <a:lvl1pPr algn="ctr">
              <a:defRPr sz="3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E0D1A9AB-E45B-72D5-E442-2E623291A75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0" y="4239969"/>
            <a:ext cx="838200" cy="553998"/>
          </a:xfrm>
          <a:prstGeom prst="rect">
            <a:avLst/>
          </a:prstGeom>
          <a:noFill/>
        </p:spPr>
        <p:txBody>
          <a:bodyPr anchor="ctr">
            <a:spAutoFit/>
          </a:bodyPr>
          <a:lstStyle>
            <a:lvl1pPr algn="ctr">
              <a:defRPr sz="3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FFFD6734-A0C3-BE10-5DD0-416382B3D04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0" y="5514201"/>
            <a:ext cx="838200" cy="553998"/>
          </a:xfrm>
          <a:prstGeom prst="rect">
            <a:avLst/>
          </a:prstGeom>
          <a:noFill/>
        </p:spPr>
        <p:txBody>
          <a:bodyPr anchor="ctr">
            <a:spAutoFit/>
          </a:bodyPr>
          <a:lstStyle>
            <a:lvl1pPr algn="ctr">
              <a:defRPr sz="3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E891857-BFD1-0511-117F-6C5B0254477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74801" y="1814611"/>
            <a:ext cx="4165600" cy="307777"/>
          </a:xfrm>
        </p:spPr>
        <p:txBody>
          <a:bodyPr anchor="ctr">
            <a:spAutoFit/>
          </a:bodyPr>
          <a:lstStyle>
            <a:lvl1pPr>
              <a:defRPr sz="2000"/>
            </a:lvl1pPr>
          </a:lstStyle>
          <a:p>
            <a:r>
              <a:rPr lang="en-US" dirty="0"/>
              <a:t>Lorum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rempore</a:t>
            </a:r>
            <a:r>
              <a:rPr lang="en-US" dirty="0"/>
              <a:t> </a:t>
            </a:r>
            <a:r>
              <a:rPr lang="en-US" dirty="0" err="1"/>
              <a:t>aute</a:t>
            </a:r>
            <a:r>
              <a:rPr lang="en-US" dirty="0"/>
              <a:t> </a:t>
            </a:r>
            <a:r>
              <a:rPr lang="en-US" dirty="0" err="1"/>
              <a:t>nonsed</a:t>
            </a:r>
            <a:endParaRPr lang="en-US" dirty="0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63A409E0-38D8-CF6D-EAD0-5A31FA837A9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574801" y="3088844"/>
            <a:ext cx="4165600" cy="307777"/>
          </a:xfrm>
        </p:spPr>
        <p:txBody>
          <a:bodyPr anchor="ctr">
            <a:spAutoFit/>
          </a:bodyPr>
          <a:lstStyle>
            <a:lvl1pPr>
              <a:defRPr sz="2000"/>
            </a:lvl1pPr>
          </a:lstStyle>
          <a:p>
            <a:r>
              <a:rPr lang="en-US" dirty="0"/>
              <a:t>Lorum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rempore</a:t>
            </a:r>
            <a:r>
              <a:rPr lang="en-US" dirty="0"/>
              <a:t> </a:t>
            </a:r>
            <a:r>
              <a:rPr lang="en-US" dirty="0" err="1"/>
              <a:t>aute</a:t>
            </a:r>
            <a:r>
              <a:rPr lang="en-US" dirty="0"/>
              <a:t> </a:t>
            </a:r>
            <a:r>
              <a:rPr lang="en-US" dirty="0" err="1"/>
              <a:t>nonsed</a:t>
            </a:r>
            <a:endParaRPr lang="en-US" dirty="0"/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7E398C9E-702E-C7FF-4DC7-0F3BB252BC1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74801" y="4363077"/>
            <a:ext cx="4165600" cy="307777"/>
          </a:xfrm>
        </p:spPr>
        <p:txBody>
          <a:bodyPr anchor="ctr">
            <a:spAutoFit/>
          </a:bodyPr>
          <a:lstStyle>
            <a:lvl1pPr>
              <a:defRPr sz="2000"/>
            </a:lvl1pPr>
          </a:lstStyle>
          <a:p>
            <a:r>
              <a:rPr lang="en-US" dirty="0"/>
              <a:t>Lorum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rempore</a:t>
            </a:r>
            <a:r>
              <a:rPr lang="en-US" dirty="0"/>
              <a:t> </a:t>
            </a:r>
            <a:r>
              <a:rPr lang="en-US" dirty="0" err="1"/>
              <a:t>aute</a:t>
            </a:r>
            <a:r>
              <a:rPr lang="en-US" dirty="0"/>
              <a:t> </a:t>
            </a:r>
            <a:r>
              <a:rPr lang="en-US" dirty="0" err="1"/>
              <a:t>nonsed</a:t>
            </a:r>
            <a:endParaRPr lang="en-US" dirty="0"/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2E24ADF5-99FC-2682-D908-735C92327D2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574801" y="5637311"/>
            <a:ext cx="4165600" cy="307777"/>
          </a:xfrm>
        </p:spPr>
        <p:txBody>
          <a:bodyPr anchor="ctr">
            <a:spAutoFit/>
          </a:bodyPr>
          <a:lstStyle>
            <a:lvl1pPr>
              <a:defRPr sz="2000"/>
            </a:lvl1pPr>
          </a:lstStyle>
          <a:p>
            <a:r>
              <a:rPr lang="en-US" dirty="0"/>
              <a:t>Lorum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rempore</a:t>
            </a:r>
            <a:r>
              <a:rPr lang="en-US" dirty="0"/>
              <a:t> </a:t>
            </a:r>
            <a:r>
              <a:rPr lang="en-US" dirty="0" err="1"/>
              <a:t>aute</a:t>
            </a:r>
            <a:r>
              <a:rPr lang="en-US" dirty="0"/>
              <a:t> </a:t>
            </a:r>
            <a:r>
              <a:rPr lang="en-US" dirty="0" err="1"/>
              <a:t>nonsed</a:t>
            </a:r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EEBB655-33C1-F78D-05F6-BF1DBC73B6F8}"/>
              </a:ext>
            </a:extLst>
          </p:cNvPr>
          <p:cNvCxnSpPr>
            <a:cxnSpLocks/>
          </p:cNvCxnSpPr>
          <p:nvPr userDrawn="1"/>
        </p:nvCxnSpPr>
        <p:spPr>
          <a:xfrm>
            <a:off x="381001" y="2605617"/>
            <a:ext cx="5359400" cy="0"/>
          </a:xfrm>
          <a:prstGeom prst="line">
            <a:avLst/>
          </a:prstGeom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1234844F-D9AB-02F9-89A7-39C8189FCAEE}"/>
              </a:ext>
            </a:extLst>
          </p:cNvPr>
          <p:cNvCxnSpPr>
            <a:cxnSpLocks/>
          </p:cNvCxnSpPr>
          <p:nvPr userDrawn="1"/>
        </p:nvCxnSpPr>
        <p:spPr>
          <a:xfrm>
            <a:off x="381001" y="3879851"/>
            <a:ext cx="5359400" cy="0"/>
          </a:xfrm>
          <a:prstGeom prst="line">
            <a:avLst/>
          </a:prstGeom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7600946-4D21-AFA6-4683-DD27D34FD686}"/>
              </a:ext>
            </a:extLst>
          </p:cNvPr>
          <p:cNvCxnSpPr>
            <a:cxnSpLocks/>
          </p:cNvCxnSpPr>
          <p:nvPr userDrawn="1"/>
        </p:nvCxnSpPr>
        <p:spPr>
          <a:xfrm>
            <a:off x="381001" y="5154085"/>
            <a:ext cx="5359400" cy="0"/>
          </a:xfrm>
          <a:prstGeom prst="line">
            <a:avLst/>
          </a:prstGeom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F19B46E7-C3DC-F99A-2DC4-CBDBAB10270F}"/>
              </a:ext>
            </a:extLst>
          </p:cNvPr>
          <p:cNvCxnSpPr>
            <a:cxnSpLocks/>
          </p:cNvCxnSpPr>
          <p:nvPr userDrawn="1"/>
        </p:nvCxnSpPr>
        <p:spPr>
          <a:xfrm>
            <a:off x="6450013" y="2605617"/>
            <a:ext cx="5359400" cy="0"/>
          </a:xfrm>
          <a:prstGeom prst="line">
            <a:avLst/>
          </a:prstGeom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1F70D2BB-912B-993E-AB13-F9254873DC07}"/>
              </a:ext>
            </a:extLst>
          </p:cNvPr>
          <p:cNvCxnSpPr>
            <a:cxnSpLocks/>
          </p:cNvCxnSpPr>
          <p:nvPr userDrawn="1"/>
        </p:nvCxnSpPr>
        <p:spPr>
          <a:xfrm>
            <a:off x="6450013" y="3879851"/>
            <a:ext cx="5359400" cy="0"/>
          </a:xfrm>
          <a:prstGeom prst="line">
            <a:avLst/>
          </a:prstGeom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7A2474F5-D166-8D03-E024-D481EF45D854}"/>
              </a:ext>
            </a:extLst>
          </p:cNvPr>
          <p:cNvCxnSpPr>
            <a:cxnSpLocks/>
          </p:cNvCxnSpPr>
          <p:nvPr userDrawn="1"/>
        </p:nvCxnSpPr>
        <p:spPr>
          <a:xfrm>
            <a:off x="6450013" y="5154085"/>
            <a:ext cx="5359400" cy="0"/>
          </a:xfrm>
          <a:prstGeom prst="line">
            <a:avLst/>
          </a:prstGeom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D3357B74-1A88-6107-B4C5-9E91F21B19D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643813" y="1814611"/>
            <a:ext cx="4165600" cy="307777"/>
          </a:xfrm>
        </p:spPr>
        <p:txBody>
          <a:bodyPr anchor="ctr">
            <a:spAutoFit/>
          </a:bodyPr>
          <a:lstStyle>
            <a:lvl1pPr>
              <a:defRPr sz="2000"/>
            </a:lvl1pPr>
          </a:lstStyle>
          <a:p>
            <a:r>
              <a:rPr lang="en-US" dirty="0"/>
              <a:t>Lorum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rempore</a:t>
            </a:r>
            <a:r>
              <a:rPr lang="en-US" dirty="0"/>
              <a:t> </a:t>
            </a:r>
            <a:r>
              <a:rPr lang="en-US" dirty="0" err="1"/>
              <a:t>aute</a:t>
            </a:r>
            <a:r>
              <a:rPr lang="en-US" dirty="0"/>
              <a:t> </a:t>
            </a:r>
            <a:r>
              <a:rPr lang="en-US" dirty="0" err="1"/>
              <a:t>nonsed</a:t>
            </a:r>
            <a:endParaRPr lang="en-US" dirty="0"/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9EF541D6-63C4-2D3F-B51B-AF4EEE09532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643813" y="3088844"/>
            <a:ext cx="4165600" cy="307777"/>
          </a:xfrm>
        </p:spPr>
        <p:txBody>
          <a:bodyPr anchor="ctr">
            <a:spAutoFit/>
          </a:bodyPr>
          <a:lstStyle>
            <a:lvl1pPr>
              <a:defRPr sz="2000"/>
            </a:lvl1pPr>
          </a:lstStyle>
          <a:p>
            <a:r>
              <a:rPr lang="en-US" dirty="0"/>
              <a:t>Lorum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rempore</a:t>
            </a:r>
            <a:r>
              <a:rPr lang="en-US" dirty="0"/>
              <a:t> </a:t>
            </a:r>
            <a:r>
              <a:rPr lang="en-US" dirty="0" err="1"/>
              <a:t>aute</a:t>
            </a:r>
            <a:r>
              <a:rPr lang="en-US" dirty="0"/>
              <a:t> </a:t>
            </a:r>
            <a:r>
              <a:rPr lang="en-US" dirty="0" err="1"/>
              <a:t>nonsed</a:t>
            </a:r>
            <a:endParaRPr lang="en-US" dirty="0"/>
          </a:p>
        </p:txBody>
      </p:sp>
      <p:sp>
        <p:nvSpPr>
          <p:cNvPr id="26" name="Text Placeholder 10">
            <a:extLst>
              <a:ext uri="{FF2B5EF4-FFF2-40B4-BE49-F238E27FC236}">
                <a16:creationId xmlns:a16="http://schemas.microsoft.com/office/drawing/2014/main" id="{C835CA98-1CB0-6524-967E-40C1B496A7C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643813" y="4363077"/>
            <a:ext cx="4165600" cy="307777"/>
          </a:xfrm>
        </p:spPr>
        <p:txBody>
          <a:bodyPr anchor="ctr">
            <a:spAutoFit/>
          </a:bodyPr>
          <a:lstStyle>
            <a:lvl1pPr>
              <a:defRPr sz="2000"/>
            </a:lvl1pPr>
          </a:lstStyle>
          <a:p>
            <a:r>
              <a:rPr lang="en-US" dirty="0"/>
              <a:t>Lorum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rempore</a:t>
            </a:r>
            <a:r>
              <a:rPr lang="en-US" dirty="0"/>
              <a:t> </a:t>
            </a:r>
            <a:r>
              <a:rPr lang="en-US" dirty="0" err="1"/>
              <a:t>aute</a:t>
            </a:r>
            <a:r>
              <a:rPr lang="en-US" dirty="0"/>
              <a:t> </a:t>
            </a:r>
            <a:r>
              <a:rPr lang="en-US" dirty="0" err="1"/>
              <a:t>nonsed</a:t>
            </a:r>
            <a:endParaRPr lang="en-US" dirty="0"/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33D88035-1F51-5D78-78FD-B40F6A5F5BB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643813" y="5637311"/>
            <a:ext cx="4165600" cy="307777"/>
          </a:xfrm>
        </p:spPr>
        <p:txBody>
          <a:bodyPr anchor="ctr">
            <a:spAutoFit/>
          </a:bodyPr>
          <a:lstStyle>
            <a:lvl1pPr>
              <a:defRPr sz="2000"/>
            </a:lvl1pPr>
          </a:lstStyle>
          <a:p>
            <a:r>
              <a:rPr lang="en-US" dirty="0"/>
              <a:t>Lorum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rempore</a:t>
            </a:r>
            <a:r>
              <a:rPr lang="en-US" dirty="0"/>
              <a:t> </a:t>
            </a:r>
            <a:r>
              <a:rPr lang="en-US" dirty="0" err="1"/>
              <a:t>aute</a:t>
            </a:r>
            <a:r>
              <a:rPr lang="en-US" dirty="0"/>
              <a:t> </a:t>
            </a:r>
            <a:r>
              <a:rPr lang="en-US" dirty="0" err="1"/>
              <a:t>nonsed</a:t>
            </a:r>
            <a:endParaRPr lang="en-US" dirty="0"/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B905CBDF-315E-ACA6-920F-C1D030DA211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50013" y="1691501"/>
            <a:ext cx="838200" cy="553998"/>
          </a:xfrm>
          <a:prstGeom prst="rect">
            <a:avLst/>
          </a:prstGeom>
          <a:noFill/>
        </p:spPr>
        <p:txBody>
          <a:bodyPr anchor="ctr">
            <a:spAutoFit/>
          </a:bodyPr>
          <a:lstStyle>
            <a:lvl1pPr algn="ctr">
              <a:defRPr sz="3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C472DCAD-35ED-3366-3AA5-D629ECD44EC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450013" y="2965735"/>
            <a:ext cx="838200" cy="553998"/>
          </a:xfrm>
          <a:prstGeom prst="rect">
            <a:avLst/>
          </a:prstGeom>
          <a:noFill/>
        </p:spPr>
        <p:txBody>
          <a:bodyPr anchor="ctr">
            <a:spAutoFit/>
          </a:bodyPr>
          <a:lstStyle>
            <a:lvl1pPr algn="ctr">
              <a:defRPr sz="3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0" name="Text Placeholder 5">
            <a:extLst>
              <a:ext uri="{FF2B5EF4-FFF2-40B4-BE49-F238E27FC236}">
                <a16:creationId xmlns:a16="http://schemas.microsoft.com/office/drawing/2014/main" id="{3E69B4E3-D925-2FF5-D9CE-D19D2131404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50013" y="4239969"/>
            <a:ext cx="838200" cy="553998"/>
          </a:xfrm>
          <a:prstGeom prst="rect">
            <a:avLst/>
          </a:prstGeom>
          <a:noFill/>
        </p:spPr>
        <p:txBody>
          <a:bodyPr anchor="ctr">
            <a:spAutoFit/>
          </a:bodyPr>
          <a:lstStyle>
            <a:lvl1pPr algn="ctr">
              <a:defRPr sz="3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0C612C77-9C64-863B-FC3E-404320C8402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50013" y="5514201"/>
            <a:ext cx="838200" cy="553998"/>
          </a:xfrm>
          <a:prstGeom prst="rect">
            <a:avLst/>
          </a:prstGeom>
          <a:noFill/>
        </p:spPr>
        <p:txBody>
          <a:bodyPr anchor="ctr">
            <a:spAutoFit/>
          </a:bodyPr>
          <a:lstStyle>
            <a:lvl1pPr algn="ctr">
              <a:defRPr sz="3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08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E40935EE-315F-CC72-C3F8-F69C5FE6D037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207" y="1549400"/>
            <a:ext cx="0" cy="4660900"/>
          </a:xfrm>
          <a:prstGeom prst="line">
            <a:avLst/>
          </a:prstGeom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753212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F88AD5-E949-4AE1-8644-686DA8A505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15" name="Table Placeholder 14">
            <a:extLst>
              <a:ext uri="{FF2B5EF4-FFF2-40B4-BE49-F238E27FC236}">
                <a16:creationId xmlns:a16="http://schemas.microsoft.com/office/drawing/2014/main" id="{A8EB8489-5004-D11B-4ADC-FB8EC28B2ACC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381000" y="1322388"/>
            <a:ext cx="11428413" cy="4887912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71778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– Grid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49">
            <a:extLst>
              <a:ext uri="{FF2B5EF4-FFF2-40B4-BE49-F238E27FC236}">
                <a16:creationId xmlns:a16="http://schemas.microsoft.com/office/drawing/2014/main" id="{C795E2C7-2480-AF84-5352-DC0544D19F29}"/>
              </a:ext>
            </a:extLst>
          </p:cNvPr>
          <p:cNvSpPr txBox="1">
            <a:spLocks/>
          </p:cNvSpPr>
          <p:nvPr userDrawn="1"/>
        </p:nvSpPr>
        <p:spPr>
          <a:xfrm>
            <a:off x="3554947" y="3895115"/>
            <a:ext cx="2120055" cy="2120038"/>
          </a:xfrm>
          <a:custGeom>
            <a:avLst/>
            <a:gdLst>
              <a:gd name="connsiteX0" fmla="*/ 265718 w 531436"/>
              <a:gd name="connsiteY0" fmla="*/ 0 h 531432"/>
              <a:gd name="connsiteX1" fmla="*/ 531436 w 531436"/>
              <a:gd name="connsiteY1" fmla="*/ 265716 h 531432"/>
              <a:gd name="connsiteX2" fmla="*/ 265718 w 531436"/>
              <a:gd name="connsiteY2" fmla="*/ 531432 h 531432"/>
              <a:gd name="connsiteX3" fmla="*/ 0 w 531436"/>
              <a:gd name="connsiteY3" fmla="*/ 265716 h 531432"/>
              <a:gd name="connsiteX4" fmla="*/ 265718 w 531436"/>
              <a:gd name="connsiteY4" fmla="*/ 0 h 531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1436" h="531432">
                <a:moveTo>
                  <a:pt x="265718" y="0"/>
                </a:moveTo>
                <a:cubicBezTo>
                  <a:pt x="412470" y="0"/>
                  <a:pt x="531436" y="118965"/>
                  <a:pt x="531436" y="265716"/>
                </a:cubicBezTo>
                <a:cubicBezTo>
                  <a:pt x="531436" y="412467"/>
                  <a:pt x="412470" y="531432"/>
                  <a:pt x="265718" y="531432"/>
                </a:cubicBezTo>
                <a:cubicBezTo>
                  <a:pt x="118966" y="531432"/>
                  <a:pt x="0" y="412467"/>
                  <a:pt x="0" y="265716"/>
                </a:cubicBezTo>
                <a:cubicBezTo>
                  <a:pt x="0" y="118965"/>
                  <a:pt x="118966" y="0"/>
                  <a:pt x="265718" y="0"/>
                </a:cubicBezTo>
                <a:close/>
              </a:path>
            </a:pathLst>
          </a:custGeom>
          <a:solidFill>
            <a:srgbClr val="E7EAEA"/>
          </a:solidFill>
        </p:spPr>
        <p:txBody>
          <a:bodyPr wrap="square">
            <a:noAutofit/>
          </a:bodyPr>
          <a:lstStyle>
            <a:defPPr>
              <a:defRPr lang="en-US"/>
            </a:defPPr>
            <a:lvl1pPr lvl="0" indent="0">
              <a:spcBef>
                <a:spcPts val="1000"/>
              </a:spcBef>
              <a:buFont typeface="Arial"/>
              <a:buNone/>
              <a:defRPr sz="2000">
                <a:solidFill>
                  <a:schemeClr val="bg1">
                    <a:alpha val="0"/>
                  </a:schemeClr>
                </a:solidFill>
                <a:latin typeface="Arial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4AE31830-24C9-FD14-C2B8-6C5E7CAA900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2972" y="2298411"/>
            <a:ext cx="5292030" cy="1231106"/>
          </a:xfrm>
        </p:spPr>
        <p:txBody>
          <a:bodyPr lIns="0" tIns="0" rIns="0" bIns="0" anchor="b" anchorCtr="0">
            <a:spAutoFit/>
          </a:bodyPr>
          <a:lstStyle>
            <a:lvl1pPr algn="l">
              <a:lnSpc>
                <a:spcPct val="80000"/>
              </a:lnSpc>
              <a:defRPr sz="5000" b="1" i="0" spc="-100">
                <a:solidFill>
                  <a:schemeClr val="tx2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A5CC6D0C-2F94-7BEB-DC67-21D0FBBA86F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2972" y="3583491"/>
            <a:ext cx="5292030" cy="366254"/>
          </a:xfrm>
        </p:spPr>
        <p:txBody>
          <a:bodyPr lIns="0" tIns="0" rIns="0" bIns="0" anchor="t" anchorCtr="0">
            <a:spAutoFit/>
          </a:bodyPr>
          <a:lstStyle>
            <a:lvl1pPr marL="0" indent="0" algn="l">
              <a:lnSpc>
                <a:spcPct val="85000"/>
              </a:lnSpc>
              <a:spcBef>
                <a:spcPts val="800"/>
              </a:spcBef>
              <a:buNone/>
              <a:defRPr sz="2800" b="1" i="0" spc="-50">
                <a:solidFill>
                  <a:schemeClr val="tx2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subtitle style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0D596B23-50C7-51BE-557E-C3757D06CEB3}"/>
              </a:ext>
            </a:extLst>
          </p:cNvPr>
          <p:cNvSpPr/>
          <p:nvPr userDrawn="1"/>
        </p:nvSpPr>
        <p:spPr>
          <a:xfrm>
            <a:off x="8125180" y="2180403"/>
            <a:ext cx="4063645" cy="4677597"/>
          </a:xfrm>
          <a:custGeom>
            <a:avLst/>
            <a:gdLst>
              <a:gd name="connsiteX0" fmla="*/ 4063645 w 4063645"/>
              <a:gd name="connsiteY0" fmla="*/ 0 h 4677597"/>
              <a:gd name="connsiteX1" fmla="*/ 4063645 w 4063645"/>
              <a:gd name="connsiteY1" fmla="*/ 2137265 h 4677597"/>
              <a:gd name="connsiteX2" fmla="*/ 3862190 w 4063645"/>
              <a:gd name="connsiteY2" fmla="*/ 2166337 h 4677597"/>
              <a:gd name="connsiteX3" fmla="*/ 2758545 w 4063645"/>
              <a:gd name="connsiteY3" fmla="*/ 2753506 h 4677597"/>
              <a:gd name="connsiteX4" fmla="*/ 2171374 w 4063645"/>
              <a:gd name="connsiteY4" fmla="*/ 4673988 h 4677597"/>
              <a:gd name="connsiteX5" fmla="*/ 2172255 w 4063645"/>
              <a:gd name="connsiteY5" fmla="*/ 4677597 h 4677597"/>
              <a:gd name="connsiteX6" fmla="*/ 19867 w 4063645"/>
              <a:gd name="connsiteY6" fmla="*/ 4677596 h 4677597"/>
              <a:gd name="connsiteX7" fmla="*/ 19545 w 4063645"/>
              <a:gd name="connsiteY7" fmla="*/ 4674915 h 4677597"/>
              <a:gd name="connsiteX8" fmla="*/ 1250832 w 4063645"/>
              <a:gd name="connsiteY8" fmla="*/ 1245793 h 4677597"/>
              <a:gd name="connsiteX9" fmla="*/ 3861258 w 4063645"/>
              <a:gd name="connsiteY9" fmla="*/ 14507 h 4677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063645" h="4677597">
                <a:moveTo>
                  <a:pt x="4063645" y="0"/>
                </a:moveTo>
                <a:lnTo>
                  <a:pt x="4063645" y="2137265"/>
                </a:lnTo>
                <a:lnTo>
                  <a:pt x="3862190" y="2166337"/>
                </a:lnTo>
                <a:cubicBezTo>
                  <a:pt x="3457826" y="2244626"/>
                  <a:pt x="3071703" y="2440348"/>
                  <a:pt x="2758545" y="2753506"/>
                </a:cubicBezTo>
                <a:cubicBezTo>
                  <a:pt x="2236616" y="3275436"/>
                  <a:pt x="2040891" y="4000046"/>
                  <a:pt x="2171374" y="4673988"/>
                </a:cubicBezTo>
                <a:lnTo>
                  <a:pt x="2172255" y="4677597"/>
                </a:lnTo>
                <a:lnTo>
                  <a:pt x="19867" y="4677596"/>
                </a:lnTo>
                <a:lnTo>
                  <a:pt x="19545" y="4674915"/>
                </a:lnTo>
                <a:cubicBezTo>
                  <a:pt x="-97720" y="3449909"/>
                  <a:pt x="312708" y="2183917"/>
                  <a:pt x="1250832" y="1245793"/>
                </a:cubicBezTo>
                <a:cubicBezTo>
                  <a:pt x="1980483" y="516142"/>
                  <a:pt x="2908474" y="105714"/>
                  <a:pt x="3861258" y="14507"/>
                </a:cubicBezTo>
                <a:close/>
              </a:path>
            </a:pathLst>
          </a:custGeom>
          <a:solidFill>
            <a:srgbClr val="E7EAEA"/>
          </a:solidFill>
        </p:spPr>
        <p:txBody>
          <a:bodyPr wrap="square">
            <a:noAutofit/>
          </a:bodyPr>
          <a:lstStyle/>
          <a:p>
            <a:pPr lvl="0" indent="0">
              <a:spcBef>
                <a:spcPts val="1000"/>
              </a:spcBef>
              <a:buFont typeface="Arial"/>
              <a:buNone/>
            </a:pPr>
            <a:endParaRPr lang="en-US" sz="2000" err="1">
              <a:solidFill>
                <a:schemeClr val="bg1">
                  <a:alpha val="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0F81E19B-60BF-BCEF-FC48-D2529F23B21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59978" y="6221029"/>
            <a:ext cx="6549436" cy="357052"/>
          </a:xfrm>
        </p:spPr>
        <p:txBody>
          <a:bodyPr anchor="b" anchorCtr="0"/>
          <a:lstStyle>
            <a:lvl1pPr algn="r">
              <a:defRPr sz="800">
                <a:solidFill>
                  <a:schemeClr val="tx2"/>
                </a:solidFill>
              </a:defRPr>
            </a:lvl1pPr>
            <a:lvl2pPr marL="0" indent="0">
              <a:buNone/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B8EA3B92-7037-D9B9-E647-220FA731898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877" y="6084140"/>
            <a:ext cx="3034341" cy="557784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9E12AC47-F85A-89C4-00A3-54815130D59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 rot="21204150">
            <a:off x="5929312" y="2387599"/>
            <a:ext cx="3470242" cy="187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980303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4FA123-6AA8-395D-1054-49EADE7957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1" y="357721"/>
            <a:ext cx="6608941" cy="69002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6396C03-C11F-4C2A-6BC1-77008E8367CE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81001" y="1322388"/>
            <a:ext cx="11430000" cy="1679947"/>
          </a:xfrm>
        </p:spPr>
        <p:txBody>
          <a:bodyPr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4732923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D06F8458-66E1-4B4A-BC40-DD2CDA42EB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8" name="Left Bracket 137">
            <a:extLst>
              <a:ext uri="{FF2B5EF4-FFF2-40B4-BE49-F238E27FC236}">
                <a16:creationId xmlns:a16="http://schemas.microsoft.com/office/drawing/2014/main" id="{1D3F1DDB-8813-46C4-9961-B51CB768D937}"/>
              </a:ext>
            </a:extLst>
          </p:cNvPr>
          <p:cNvSpPr/>
          <p:nvPr userDrawn="1"/>
        </p:nvSpPr>
        <p:spPr>
          <a:xfrm flipH="1">
            <a:off x="-6" y="1276793"/>
            <a:ext cx="3712033" cy="1619825"/>
          </a:xfrm>
          <a:prstGeom prst="leftBracket">
            <a:avLst>
              <a:gd name="adj" fmla="val 0"/>
            </a:avLst>
          </a:prstGeom>
          <a:solidFill>
            <a:schemeClr val="bg2"/>
          </a:solidFill>
          <a:ln w="1270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9" name="TextBox 138">
            <a:extLst>
              <a:ext uri="{FF2B5EF4-FFF2-40B4-BE49-F238E27FC236}">
                <a16:creationId xmlns:a16="http://schemas.microsoft.com/office/drawing/2014/main" id="{47CD39AA-2835-6FAF-D6EA-5C8DE1D7D2F4}"/>
              </a:ext>
            </a:extLst>
          </p:cNvPr>
          <p:cNvSpPr txBox="1"/>
          <p:nvPr userDrawn="1"/>
        </p:nvSpPr>
        <p:spPr>
          <a:xfrm>
            <a:off x="2068394" y="2580873"/>
            <a:ext cx="1142892" cy="215444"/>
          </a:xfrm>
          <a:prstGeom prst="rect">
            <a:avLst/>
          </a:prstGeom>
          <a:noFill/>
        </p:spPr>
        <p:txBody>
          <a:bodyPr wrap="square" lIns="0" rIns="0" anchor="ctr">
            <a:sp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Robot Attended</a:t>
            </a:r>
          </a:p>
        </p:txBody>
      </p:sp>
      <p:sp>
        <p:nvSpPr>
          <p:cNvPr id="140" name="TextBox 139">
            <a:extLst>
              <a:ext uri="{FF2B5EF4-FFF2-40B4-BE49-F238E27FC236}">
                <a16:creationId xmlns:a16="http://schemas.microsoft.com/office/drawing/2014/main" id="{30B8D328-77C0-A0F1-CF9A-CB8B7D91B557}"/>
              </a:ext>
            </a:extLst>
          </p:cNvPr>
          <p:cNvSpPr txBox="1"/>
          <p:nvPr userDrawn="1"/>
        </p:nvSpPr>
        <p:spPr>
          <a:xfrm>
            <a:off x="696686" y="2580873"/>
            <a:ext cx="961152" cy="215444"/>
          </a:xfrm>
          <a:prstGeom prst="rect">
            <a:avLst/>
          </a:prstGeom>
          <a:noFill/>
        </p:spPr>
        <p:txBody>
          <a:bodyPr wrap="square" lIns="0" rIns="0" anchor="ctr">
            <a:sp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Robot Unattended</a:t>
            </a:r>
          </a:p>
        </p:txBody>
      </p:sp>
      <p:sp>
        <p:nvSpPr>
          <p:cNvPr id="141" name="TextBox 140">
            <a:extLst>
              <a:ext uri="{FF2B5EF4-FFF2-40B4-BE49-F238E27FC236}">
                <a16:creationId xmlns:a16="http://schemas.microsoft.com/office/drawing/2014/main" id="{A9245B77-9DDE-8770-ACE3-7EC07F16F55C}"/>
              </a:ext>
            </a:extLst>
          </p:cNvPr>
          <p:cNvSpPr txBox="1"/>
          <p:nvPr userDrawn="1"/>
        </p:nvSpPr>
        <p:spPr>
          <a:xfrm>
            <a:off x="822444" y="1756657"/>
            <a:ext cx="709636" cy="215444"/>
          </a:xfrm>
          <a:prstGeom prst="rect">
            <a:avLst/>
          </a:prstGeom>
          <a:noFill/>
        </p:spPr>
        <p:txBody>
          <a:bodyPr wrap="square" lIns="0" rIns="0" anchor="ctr">
            <a:sp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Orchestrator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A074F695-9C50-96D0-20FB-B24ED1628B9B}"/>
              </a:ext>
            </a:extLst>
          </p:cNvPr>
          <p:cNvSpPr txBox="1"/>
          <p:nvPr userDrawn="1"/>
        </p:nvSpPr>
        <p:spPr>
          <a:xfrm>
            <a:off x="2478178" y="1756657"/>
            <a:ext cx="304800" cy="215444"/>
          </a:xfrm>
          <a:prstGeom prst="rect">
            <a:avLst/>
          </a:prstGeom>
          <a:noFill/>
        </p:spPr>
        <p:txBody>
          <a:bodyPr wrap="square" lIns="0" rIns="0" anchor="ctr">
            <a:sp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Studio</a:t>
            </a:r>
          </a:p>
        </p:txBody>
      </p:sp>
      <p:sp>
        <p:nvSpPr>
          <p:cNvPr id="143" name="TextBox 142">
            <a:extLst>
              <a:ext uri="{FF2B5EF4-FFF2-40B4-BE49-F238E27FC236}">
                <a16:creationId xmlns:a16="http://schemas.microsoft.com/office/drawing/2014/main" id="{F383751B-EABB-FCEA-6145-420C8CEF5CEC}"/>
              </a:ext>
            </a:extLst>
          </p:cNvPr>
          <p:cNvSpPr txBox="1"/>
          <p:nvPr userDrawn="1"/>
        </p:nvSpPr>
        <p:spPr>
          <a:xfrm>
            <a:off x="381001" y="3405089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Calendar</a:t>
            </a:r>
          </a:p>
        </p:txBody>
      </p:sp>
      <p:sp>
        <p:nvSpPr>
          <p:cNvPr id="144" name="TextBox 143">
            <a:extLst>
              <a:ext uri="{FF2B5EF4-FFF2-40B4-BE49-F238E27FC236}">
                <a16:creationId xmlns:a16="http://schemas.microsoft.com/office/drawing/2014/main" id="{8E5F58D9-DD0E-0787-B47E-52DC21686AB0}"/>
              </a:ext>
            </a:extLst>
          </p:cNvPr>
          <p:cNvSpPr txBox="1"/>
          <p:nvPr userDrawn="1"/>
        </p:nvSpPr>
        <p:spPr>
          <a:xfrm>
            <a:off x="381001" y="4229305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Course foundation</a:t>
            </a:r>
          </a:p>
        </p:txBody>
      </p:sp>
      <p:sp>
        <p:nvSpPr>
          <p:cNvPr id="145" name="TextBox 144">
            <a:extLst>
              <a:ext uri="{FF2B5EF4-FFF2-40B4-BE49-F238E27FC236}">
                <a16:creationId xmlns:a16="http://schemas.microsoft.com/office/drawing/2014/main" id="{EB5E095C-8508-68B1-853A-588E478F58B3}"/>
              </a:ext>
            </a:extLst>
          </p:cNvPr>
          <p:cNvSpPr txBox="1"/>
          <p:nvPr userDrawn="1"/>
        </p:nvSpPr>
        <p:spPr>
          <a:xfrm>
            <a:off x="381001" y="5053521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Enterprise-competency alt</a:t>
            </a:r>
          </a:p>
        </p:txBody>
      </p:sp>
      <p:sp>
        <p:nvSpPr>
          <p:cNvPr id="146" name="TextBox 145">
            <a:extLst>
              <a:ext uri="{FF2B5EF4-FFF2-40B4-BE49-F238E27FC236}">
                <a16:creationId xmlns:a16="http://schemas.microsoft.com/office/drawing/2014/main" id="{8C804E49-03A6-D38D-87E1-D837A637FF3D}"/>
              </a:ext>
            </a:extLst>
          </p:cNvPr>
          <p:cNvSpPr txBox="1"/>
          <p:nvPr userDrawn="1"/>
        </p:nvSpPr>
        <p:spPr>
          <a:xfrm>
            <a:off x="381001" y="587773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Growth</a:t>
            </a:r>
          </a:p>
        </p:txBody>
      </p:sp>
      <p:sp>
        <p:nvSpPr>
          <p:cNvPr id="147" name="TextBox 146">
            <a:extLst>
              <a:ext uri="{FF2B5EF4-FFF2-40B4-BE49-F238E27FC236}">
                <a16:creationId xmlns:a16="http://schemas.microsoft.com/office/drawing/2014/main" id="{FC75329D-89E6-43A2-BA4E-EA17DF19A7E8}"/>
              </a:ext>
            </a:extLst>
          </p:cNvPr>
          <p:cNvSpPr txBox="1"/>
          <p:nvPr userDrawn="1"/>
        </p:nvSpPr>
        <p:spPr>
          <a:xfrm>
            <a:off x="1095586" y="3405089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Certification</a:t>
            </a:r>
          </a:p>
        </p:txBody>
      </p:sp>
      <p:sp>
        <p:nvSpPr>
          <p:cNvPr id="148" name="TextBox 147">
            <a:extLst>
              <a:ext uri="{FF2B5EF4-FFF2-40B4-BE49-F238E27FC236}">
                <a16:creationId xmlns:a16="http://schemas.microsoft.com/office/drawing/2014/main" id="{FEE5D221-28BF-9B40-6F93-E882AE256B37}"/>
              </a:ext>
            </a:extLst>
          </p:cNvPr>
          <p:cNvSpPr txBox="1"/>
          <p:nvPr userDrawn="1"/>
        </p:nvSpPr>
        <p:spPr>
          <a:xfrm>
            <a:off x="1095586" y="4229305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Course foundation 2</a:t>
            </a:r>
          </a:p>
        </p:txBody>
      </p:sp>
      <p:sp>
        <p:nvSpPr>
          <p:cNvPr id="149" name="TextBox 148">
            <a:extLst>
              <a:ext uri="{FF2B5EF4-FFF2-40B4-BE49-F238E27FC236}">
                <a16:creationId xmlns:a16="http://schemas.microsoft.com/office/drawing/2014/main" id="{A5CC8AF7-D84F-D89F-1F3E-AD49A78239F4}"/>
              </a:ext>
            </a:extLst>
          </p:cNvPr>
          <p:cNvSpPr txBox="1"/>
          <p:nvPr userDrawn="1"/>
        </p:nvSpPr>
        <p:spPr>
          <a:xfrm>
            <a:off x="1095586" y="5053521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Equal</a:t>
            </a:r>
          </a:p>
        </p:txBody>
      </p:sp>
      <p:sp>
        <p:nvSpPr>
          <p:cNvPr id="150" name="TextBox 149">
            <a:extLst>
              <a:ext uri="{FF2B5EF4-FFF2-40B4-BE49-F238E27FC236}">
                <a16:creationId xmlns:a16="http://schemas.microsoft.com/office/drawing/2014/main" id="{431AEF90-A264-E0F7-A191-3FF4FAA7F787}"/>
              </a:ext>
            </a:extLst>
          </p:cNvPr>
          <p:cNvSpPr txBox="1"/>
          <p:nvPr userDrawn="1"/>
        </p:nvSpPr>
        <p:spPr>
          <a:xfrm>
            <a:off x="1095586" y="587773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Health</a:t>
            </a:r>
          </a:p>
        </p:txBody>
      </p:sp>
      <p:sp>
        <p:nvSpPr>
          <p:cNvPr id="151" name="TextBox 150">
            <a:extLst>
              <a:ext uri="{FF2B5EF4-FFF2-40B4-BE49-F238E27FC236}">
                <a16:creationId xmlns:a16="http://schemas.microsoft.com/office/drawing/2014/main" id="{8312F7C1-B38C-BCA0-6514-0B9264B757B2}"/>
              </a:ext>
            </a:extLst>
          </p:cNvPr>
          <p:cNvSpPr txBox="1"/>
          <p:nvPr userDrawn="1"/>
        </p:nvSpPr>
        <p:spPr>
          <a:xfrm>
            <a:off x="1810171" y="3405089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Chart</a:t>
            </a:r>
          </a:p>
        </p:txBody>
      </p:sp>
      <p:sp>
        <p:nvSpPr>
          <p:cNvPr id="152" name="TextBox 151">
            <a:extLst>
              <a:ext uri="{FF2B5EF4-FFF2-40B4-BE49-F238E27FC236}">
                <a16:creationId xmlns:a16="http://schemas.microsoft.com/office/drawing/2014/main" id="{3737EE03-F30E-F95E-C889-53F42A46B338}"/>
              </a:ext>
            </a:extLst>
          </p:cNvPr>
          <p:cNvSpPr txBox="1"/>
          <p:nvPr userDrawn="1"/>
        </p:nvSpPr>
        <p:spPr>
          <a:xfrm>
            <a:off x="1810171" y="4229305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Course foundation 3</a:t>
            </a:r>
          </a:p>
        </p:txBody>
      </p:sp>
      <p:sp>
        <p:nvSpPr>
          <p:cNvPr id="153" name="TextBox 152">
            <a:extLst>
              <a:ext uri="{FF2B5EF4-FFF2-40B4-BE49-F238E27FC236}">
                <a16:creationId xmlns:a16="http://schemas.microsoft.com/office/drawing/2014/main" id="{77591632-466F-6DCC-3884-B389C0B40EC1}"/>
              </a:ext>
            </a:extLst>
          </p:cNvPr>
          <p:cNvSpPr txBox="1"/>
          <p:nvPr userDrawn="1"/>
        </p:nvSpPr>
        <p:spPr>
          <a:xfrm>
            <a:off x="1810171" y="5053521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Error</a:t>
            </a:r>
          </a:p>
        </p:txBody>
      </p:sp>
      <p:sp>
        <p:nvSpPr>
          <p:cNvPr id="154" name="TextBox 153">
            <a:extLst>
              <a:ext uri="{FF2B5EF4-FFF2-40B4-BE49-F238E27FC236}">
                <a16:creationId xmlns:a16="http://schemas.microsoft.com/office/drawing/2014/main" id="{1AB9C655-B2A1-D5C8-3966-666701A09799}"/>
              </a:ext>
            </a:extLst>
          </p:cNvPr>
          <p:cNvSpPr txBox="1"/>
          <p:nvPr userDrawn="1"/>
        </p:nvSpPr>
        <p:spPr>
          <a:xfrm>
            <a:off x="1810171" y="587773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Heart</a:t>
            </a:r>
          </a:p>
        </p:txBody>
      </p:sp>
      <p:sp>
        <p:nvSpPr>
          <p:cNvPr id="155" name="TextBox 154">
            <a:extLst>
              <a:ext uri="{FF2B5EF4-FFF2-40B4-BE49-F238E27FC236}">
                <a16:creationId xmlns:a16="http://schemas.microsoft.com/office/drawing/2014/main" id="{EC83FD2D-2E1E-D092-2491-012CD11DF8A4}"/>
              </a:ext>
            </a:extLst>
          </p:cNvPr>
          <p:cNvSpPr txBox="1"/>
          <p:nvPr userDrawn="1"/>
        </p:nvSpPr>
        <p:spPr>
          <a:xfrm>
            <a:off x="2524756" y="3405089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Clock</a:t>
            </a:r>
          </a:p>
        </p:txBody>
      </p:sp>
      <p:sp>
        <p:nvSpPr>
          <p:cNvPr id="156" name="TextBox 155">
            <a:extLst>
              <a:ext uri="{FF2B5EF4-FFF2-40B4-BE49-F238E27FC236}">
                <a16:creationId xmlns:a16="http://schemas.microsoft.com/office/drawing/2014/main" id="{29CF5DBB-6688-FA59-4167-21A2908B33C4}"/>
              </a:ext>
            </a:extLst>
          </p:cNvPr>
          <p:cNvSpPr txBox="1"/>
          <p:nvPr userDrawn="1"/>
        </p:nvSpPr>
        <p:spPr>
          <a:xfrm>
            <a:off x="2524756" y="4229305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Course-orchestrator</a:t>
            </a:r>
          </a:p>
        </p:txBody>
      </p:sp>
      <p:sp>
        <p:nvSpPr>
          <p:cNvPr id="157" name="TextBox 156">
            <a:extLst>
              <a:ext uri="{FF2B5EF4-FFF2-40B4-BE49-F238E27FC236}">
                <a16:creationId xmlns:a16="http://schemas.microsoft.com/office/drawing/2014/main" id="{B24FF50C-FD70-AEF0-77C7-ABBFADE5A7CC}"/>
              </a:ext>
            </a:extLst>
          </p:cNvPr>
          <p:cNvSpPr txBox="1"/>
          <p:nvPr userDrawn="1"/>
        </p:nvSpPr>
        <p:spPr>
          <a:xfrm>
            <a:off x="2524756" y="5053521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Exception handling</a:t>
            </a:r>
          </a:p>
        </p:txBody>
      </p:sp>
      <p:sp>
        <p:nvSpPr>
          <p:cNvPr id="158" name="TextBox 157">
            <a:extLst>
              <a:ext uri="{FF2B5EF4-FFF2-40B4-BE49-F238E27FC236}">
                <a16:creationId xmlns:a16="http://schemas.microsoft.com/office/drawing/2014/main" id="{2741B9A1-4B4D-A2CA-D0DE-60F8AE441C14}"/>
              </a:ext>
            </a:extLst>
          </p:cNvPr>
          <p:cNvSpPr txBox="1"/>
          <p:nvPr userDrawn="1"/>
        </p:nvSpPr>
        <p:spPr>
          <a:xfrm>
            <a:off x="2524756" y="587773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Home</a:t>
            </a:r>
          </a:p>
        </p:txBody>
      </p:sp>
      <p:sp>
        <p:nvSpPr>
          <p:cNvPr id="159" name="TextBox 158">
            <a:extLst>
              <a:ext uri="{FF2B5EF4-FFF2-40B4-BE49-F238E27FC236}">
                <a16:creationId xmlns:a16="http://schemas.microsoft.com/office/drawing/2014/main" id="{0162E8D7-C87B-0CE1-4EEA-C2FD08848313}"/>
              </a:ext>
            </a:extLst>
          </p:cNvPr>
          <p:cNvSpPr txBox="1"/>
          <p:nvPr userDrawn="1"/>
        </p:nvSpPr>
        <p:spPr>
          <a:xfrm>
            <a:off x="3239341" y="3405089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Cloud </a:t>
            </a:r>
          </a:p>
          <a:p>
            <a:pPr algn="ctr"/>
            <a:r>
              <a:rPr lang="en-US" sz="800">
                <a:solidFill>
                  <a:schemeClr val="tx1"/>
                </a:solidFill>
              </a:rPr>
              <a:t>app</a:t>
            </a:r>
          </a:p>
        </p:txBody>
      </p:sp>
      <p:sp>
        <p:nvSpPr>
          <p:cNvPr id="160" name="TextBox 159">
            <a:extLst>
              <a:ext uri="{FF2B5EF4-FFF2-40B4-BE49-F238E27FC236}">
                <a16:creationId xmlns:a16="http://schemas.microsoft.com/office/drawing/2014/main" id="{42447CDD-9311-02F5-5ACC-D6E76331FD5A}"/>
              </a:ext>
            </a:extLst>
          </p:cNvPr>
          <p:cNvSpPr txBox="1"/>
          <p:nvPr userDrawn="1"/>
        </p:nvSpPr>
        <p:spPr>
          <a:xfrm>
            <a:off x="3239341" y="4229305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CRM</a:t>
            </a:r>
          </a:p>
        </p:txBody>
      </p:sp>
      <p:sp>
        <p:nvSpPr>
          <p:cNvPr id="161" name="TextBox 160">
            <a:extLst>
              <a:ext uri="{FF2B5EF4-FFF2-40B4-BE49-F238E27FC236}">
                <a16:creationId xmlns:a16="http://schemas.microsoft.com/office/drawing/2014/main" id="{D40C0298-0144-2F55-AA3D-4DD523EFB60C}"/>
              </a:ext>
            </a:extLst>
          </p:cNvPr>
          <p:cNvSpPr txBox="1"/>
          <p:nvPr userDrawn="1"/>
        </p:nvSpPr>
        <p:spPr>
          <a:xfrm>
            <a:off x="3239341" y="5053521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Fast ROI</a:t>
            </a:r>
          </a:p>
        </p:txBody>
      </p:sp>
      <p:sp>
        <p:nvSpPr>
          <p:cNvPr id="162" name="TextBox 161">
            <a:extLst>
              <a:ext uri="{FF2B5EF4-FFF2-40B4-BE49-F238E27FC236}">
                <a16:creationId xmlns:a16="http://schemas.microsoft.com/office/drawing/2014/main" id="{D489B2AA-E3F4-9BA6-6F4C-A1B78D9DE18E}"/>
              </a:ext>
            </a:extLst>
          </p:cNvPr>
          <p:cNvSpPr txBox="1"/>
          <p:nvPr userDrawn="1"/>
        </p:nvSpPr>
        <p:spPr>
          <a:xfrm>
            <a:off x="3239341" y="587773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Hourglass</a:t>
            </a:r>
          </a:p>
        </p:txBody>
      </p:sp>
      <p:sp>
        <p:nvSpPr>
          <p:cNvPr id="163" name="TextBox 162">
            <a:extLst>
              <a:ext uri="{FF2B5EF4-FFF2-40B4-BE49-F238E27FC236}">
                <a16:creationId xmlns:a16="http://schemas.microsoft.com/office/drawing/2014/main" id="{6FF355B1-C57A-9060-D410-771E2B0A5E21}"/>
              </a:ext>
            </a:extLst>
          </p:cNvPr>
          <p:cNvSpPr txBox="1"/>
          <p:nvPr userDrawn="1"/>
        </p:nvSpPr>
        <p:spPr>
          <a:xfrm>
            <a:off x="6097681" y="3405089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Code</a:t>
            </a:r>
          </a:p>
        </p:txBody>
      </p:sp>
      <p:sp>
        <p:nvSpPr>
          <p:cNvPr id="164" name="TextBox 163">
            <a:extLst>
              <a:ext uri="{FF2B5EF4-FFF2-40B4-BE49-F238E27FC236}">
                <a16:creationId xmlns:a16="http://schemas.microsoft.com/office/drawing/2014/main" id="{0D65DA0A-F6E3-6177-D76B-26842ECFA90C}"/>
              </a:ext>
            </a:extLst>
          </p:cNvPr>
          <p:cNvSpPr txBox="1"/>
          <p:nvPr userDrawn="1"/>
        </p:nvSpPr>
        <p:spPr>
          <a:xfrm>
            <a:off x="6097681" y="4229305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Desktop program</a:t>
            </a:r>
          </a:p>
        </p:txBody>
      </p:sp>
      <p:sp>
        <p:nvSpPr>
          <p:cNvPr id="165" name="TextBox 164">
            <a:extLst>
              <a:ext uri="{FF2B5EF4-FFF2-40B4-BE49-F238E27FC236}">
                <a16:creationId xmlns:a16="http://schemas.microsoft.com/office/drawing/2014/main" id="{F236086F-5DBE-D7A3-9F40-58FA051C327A}"/>
              </a:ext>
            </a:extLst>
          </p:cNvPr>
          <p:cNvSpPr txBox="1"/>
          <p:nvPr userDrawn="1"/>
        </p:nvSpPr>
        <p:spPr>
          <a:xfrm>
            <a:off x="6097681" y="5053521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First-link</a:t>
            </a:r>
          </a:p>
        </p:txBody>
      </p:sp>
      <p:sp>
        <p:nvSpPr>
          <p:cNvPr id="166" name="TextBox 165">
            <a:extLst>
              <a:ext uri="{FF2B5EF4-FFF2-40B4-BE49-F238E27FC236}">
                <a16:creationId xmlns:a16="http://schemas.microsoft.com/office/drawing/2014/main" id="{0781AC80-CC9D-4E14-B9A2-5BACB6AF4C8B}"/>
              </a:ext>
            </a:extLst>
          </p:cNvPr>
          <p:cNvSpPr txBox="1"/>
          <p:nvPr userDrawn="1"/>
        </p:nvSpPr>
        <p:spPr>
          <a:xfrm>
            <a:off x="6097681" y="2580873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Automated data entry</a:t>
            </a: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6F10C9AC-8359-1424-DFAF-471BFC05C578}"/>
              </a:ext>
            </a:extLst>
          </p:cNvPr>
          <p:cNvSpPr txBox="1"/>
          <p:nvPr userDrawn="1"/>
        </p:nvSpPr>
        <p:spPr>
          <a:xfrm>
            <a:off x="6097681" y="1756657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AI </a:t>
            </a:r>
          </a:p>
        </p:txBody>
      </p:sp>
      <p:sp>
        <p:nvSpPr>
          <p:cNvPr id="168" name="TextBox 167">
            <a:extLst>
              <a:ext uri="{FF2B5EF4-FFF2-40B4-BE49-F238E27FC236}">
                <a16:creationId xmlns:a16="http://schemas.microsoft.com/office/drawing/2014/main" id="{F3D6EFC5-2AF4-1826-21F1-1E2E9685F9D7}"/>
              </a:ext>
            </a:extLst>
          </p:cNvPr>
          <p:cNvSpPr txBox="1"/>
          <p:nvPr userDrawn="1"/>
        </p:nvSpPr>
        <p:spPr>
          <a:xfrm>
            <a:off x="6097681" y="587773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Keyboard</a:t>
            </a: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9F4A539A-D21B-2769-94F3-DB17C1966E97}"/>
              </a:ext>
            </a:extLst>
          </p:cNvPr>
          <p:cNvSpPr txBox="1"/>
          <p:nvPr userDrawn="1"/>
        </p:nvSpPr>
        <p:spPr>
          <a:xfrm>
            <a:off x="6812266" y="3405089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Complete </a:t>
            </a:r>
          </a:p>
          <a:p>
            <a:pPr algn="ctr"/>
            <a:r>
              <a:rPr lang="en-US" sz="800">
                <a:solidFill>
                  <a:schemeClr val="tx1"/>
                </a:solidFill>
              </a:rPr>
              <a:t>audit</a:t>
            </a: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28B05E0B-5EE0-AC18-F3E6-CE276219AA5A}"/>
              </a:ext>
            </a:extLst>
          </p:cNvPr>
          <p:cNvSpPr txBox="1"/>
          <p:nvPr userDrawn="1"/>
        </p:nvSpPr>
        <p:spPr>
          <a:xfrm>
            <a:off x="6812266" y="4229305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Document </a:t>
            </a:r>
            <a:br>
              <a:rPr lang="en-US" sz="800">
                <a:solidFill>
                  <a:schemeClr val="tx1"/>
                </a:solidFill>
              </a:rPr>
            </a:br>
            <a:endParaRPr lang="en-US" sz="800">
              <a:solidFill>
                <a:schemeClr val="tx1"/>
              </a:solidFill>
            </a:endParaRPr>
          </a:p>
        </p:txBody>
      </p:sp>
      <p:sp>
        <p:nvSpPr>
          <p:cNvPr id="171" name="TextBox 170">
            <a:extLst>
              <a:ext uri="{FF2B5EF4-FFF2-40B4-BE49-F238E27FC236}">
                <a16:creationId xmlns:a16="http://schemas.microsoft.com/office/drawing/2014/main" id="{F544142A-64D3-0076-396F-CE3A46F0187C}"/>
              </a:ext>
            </a:extLst>
          </p:cNvPr>
          <p:cNvSpPr txBox="1"/>
          <p:nvPr userDrawn="1"/>
        </p:nvSpPr>
        <p:spPr>
          <a:xfrm>
            <a:off x="6812266" y="5053521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First-mention</a:t>
            </a:r>
          </a:p>
        </p:txBody>
      </p:sp>
      <p:sp>
        <p:nvSpPr>
          <p:cNvPr id="172" name="TextBox 171">
            <a:extLst>
              <a:ext uri="{FF2B5EF4-FFF2-40B4-BE49-F238E27FC236}">
                <a16:creationId xmlns:a16="http://schemas.microsoft.com/office/drawing/2014/main" id="{BB187F41-74E9-694A-2613-DD215B332525}"/>
              </a:ext>
            </a:extLst>
          </p:cNvPr>
          <p:cNvSpPr txBox="1"/>
          <p:nvPr userDrawn="1"/>
        </p:nvSpPr>
        <p:spPr>
          <a:xfrm>
            <a:off x="6812266" y="2580873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Automation</a:t>
            </a:r>
          </a:p>
        </p:txBody>
      </p:sp>
      <p:sp>
        <p:nvSpPr>
          <p:cNvPr id="173" name="TextBox 172">
            <a:extLst>
              <a:ext uri="{FF2B5EF4-FFF2-40B4-BE49-F238E27FC236}">
                <a16:creationId xmlns:a16="http://schemas.microsoft.com/office/drawing/2014/main" id="{093806FF-C28F-0FBF-1141-9933F5BFB35F}"/>
              </a:ext>
            </a:extLst>
          </p:cNvPr>
          <p:cNvSpPr txBox="1"/>
          <p:nvPr userDrawn="1"/>
        </p:nvSpPr>
        <p:spPr>
          <a:xfrm>
            <a:off x="6812266" y="1756657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AI Alt</a:t>
            </a:r>
          </a:p>
        </p:txBody>
      </p:sp>
      <p:sp>
        <p:nvSpPr>
          <p:cNvPr id="174" name="TextBox 173">
            <a:extLst>
              <a:ext uri="{FF2B5EF4-FFF2-40B4-BE49-F238E27FC236}">
                <a16:creationId xmlns:a16="http://schemas.microsoft.com/office/drawing/2014/main" id="{2942BD2A-0402-4FA9-E841-0EA044CBE737}"/>
              </a:ext>
            </a:extLst>
          </p:cNvPr>
          <p:cNvSpPr txBox="1"/>
          <p:nvPr userDrawn="1"/>
        </p:nvSpPr>
        <p:spPr>
          <a:xfrm>
            <a:off x="6812266" y="587773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Label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68A8B803-9EAE-47B2-50E3-F09548DE10F1}"/>
              </a:ext>
            </a:extLst>
          </p:cNvPr>
          <p:cNvSpPr txBox="1"/>
          <p:nvPr userDrawn="1"/>
        </p:nvSpPr>
        <p:spPr>
          <a:xfrm>
            <a:off x="7526851" y="3405089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Contact</a:t>
            </a:r>
          </a:p>
          <a:p>
            <a:pPr algn="ctr"/>
            <a:r>
              <a:rPr lang="en-US" sz="800">
                <a:solidFill>
                  <a:schemeClr val="tx1"/>
                </a:solidFill>
              </a:rPr>
              <a:t>email</a:t>
            </a:r>
          </a:p>
        </p:txBody>
      </p:sp>
      <p:sp>
        <p:nvSpPr>
          <p:cNvPr id="176" name="TextBox 175">
            <a:extLst>
              <a:ext uri="{FF2B5EF4-FFF2-40B4-BE49-F238E27FC236}">
                <a16:creationId xmlns:a16="http://schemas.microsoft.com/office/drawing/2014/main" id="{B7502E10-E4D2-F109-12FB-507D897A269B}"/>
              </a:ext>
            </a:extLst>
          </p:cNvPr>
          <p:cNvSpPr txBox="1"/>
          <p:nvPr userDrawn="1"/>
        </p:nvSpPr>
        <p:spPr>
          <a:xfrm>
            <a:off x="7526851" y="4229305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Done</a:t>
            </a:r>
          </a:p>
        </p:txBody>
      </p:sp>
      <p:sp>
        <p:nvSpPr>
          <p:cNvPr id="177" name="TextBox 176">
            <a:extLst>
              <a:ext uri="{FF2B5EF4-FFF2-40B4-BE49-F238E27FC236}">
                <a16:creationId xmlns:a16="http://schemas.microsoft.com/office/drawing/2014/main" id="{7CC0A687-77B0-9BB2-4EF2-AE082658688E}"/>
              </a:ext>
            </a:extLst>
          </p:cNvPr>
          <p:cNvSpPr txBox="1"/>
          <p:nvPr userDrawn="1"/>
        </p:nvSpPr>
        <p:spPr>
          <a:xfrm>
            <a:off x="7526851" y="5053521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First-</a:t>
            </a:r>
            <a:r>
              <a:rPr lang="en-US" sz="800" err="1">
                <a:solidFill>
                  <a:schemeClr val="tx1"/>
                </a:solidFill>
              </a:rPr>
              <a:t>onebox</a:t>
            </a:r>
            <a:endParaRPr lang="en-US" sz="800">
              <a:solidFill>
                <a:schemeClr val="tx1"/>
              </a:solidFill>
            </a:endParaRPr>
          </a:p>
        </p:txBody>
      </p:sp>
      <p:sp>
        <p:nvSpPr>
          <p:cNvPr id="178" name="TextBox 177">
            <a:extLst>
              <a:ext uri="{FF2B5EF4-FFF2-40B4-BE49-F238E27FC236}">
                <a16:creationId xmlns:a16="http://schemas.microsoft.com/office/drawing/2014/main" id="{D9F3C72F-7542-A5E5-DF6F-8F2A0ADD2F72}"/>
              </a:ext>
            </a:extLst>
          </p:cNvPr>
          <p:cNvSpPr txBox="1"/>
          <p:nvPr userDrawn="1"/>
        </p:nvSpPr>
        <p:spPr>
          <a:xfrm>
            <a:off x="7526851" y="2580873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Background automation</a:t>
            </a:r>
          </a:p>
        </p:txBody>
      </p:sp>
      <p:sp>
        <p:nvSpPr>
          <p:cNvPr id="179" name="TextBox 178">
            <a:extLst>
              <a:ext uri="{FF2B5EF4-FFF2-40B4-BE49-F238E27FC236}">
                <a16:creationId xmlns:a16="http://schemas.microsoft.com/office/drawing/2014/main" id="{2390640A-F871-1D87-667E-54D450631DFB}"/>
              </a:ext>
            </a:extLst>
          </p:cNvPr>
          <p:cNvSpPr txBox="1"/>
          <p:nvPr userDrawn="1"/>
        </p:nvSpPr>
        <p:spPr>
          <a:xfrm>
            <a:off x="7526851" y="1756657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AI Enabled</a:t>
            </a:r>
          </a:p>
        </p:txBody>
      </p:sp>
      <p:sp>
        <p:nvSpPr>
          <p:cNvPr id="180" name="TextBox 179">
            <a:extLst>
              <a:ext uri="{FF2B5EF4-FFF2-40B4-BE49-F238E27FC236}">
                <a16:creationId xmlns:a16="http://schemas.microsoft.com/office/drawing/2014/main" id="{94294C21-83D9-E8B3-FC4A-BDE91C35E3A7}"/>
              </a:ext>
            </a:extLst>
          </p:cNvPr>
          <p:cNvSpPr txBox="1"/>
          <p:nvPr userDrawn="1"/>
        </p:nvSpPr>
        <p:spPr>
          <a:xfrm>
            <a:off x="7526851" y="587773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Label alt</a:t>
            </a:r>
          </a:p>
        </p:txBody>
      </p:sp>
      <p:sp>
        <p:nvSpPr>
          <p:cNvPr id="182" name="TextBox 181">
            <a:extLst>
              <a:ext uri="{FF2B5EF4-FFF2-40B4-BE49-F238E27FC236}">
                <a16:creationId xmlns:a16="http://schemas.microsoft.com/office/drawing/2014/main" id="{C8E21D60-1AA1-B8D3-D0EA-6AFABC4243BD}"/>
              </a:ext>
            </a:extLst>
          </p:cNvPr>
          <p:cNvSpPr txBox="1"/>
          <p:nvPr userDrawn="1"/>
        </p:nvSpPr>
        <p:spPr>
          <a:xfrm>
            <a:off x="10385191" y="3405089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Cost low</a:t>
            </a:r>
          </a:p>
        </p:txBody>
      </p:sp>
      <p:sp>
        <p:nvSpPr>
          <p:cNvPr id="184" name="TextBox 183">
            <a:extLst>
              <a:ext uri="{FF2B5EF4-FFF2-40B4-BE49-F238E27FC236}">
                <a16:creationId xmlns:a16="http://schemas.microsoft.com/office/drawing/2014/main" id="{611B34F6-24BF-1FDF-09F4-2C3501950DCB}"/>
              </a:ext>
            </a:extLst>
          </p:cNvPr>
          <p:cNvSpPr txBox="1"/>
          <p:nvPr userDrawn="1"/>
        </p:nvSpPr>
        <p:spPr>
          <a:xfrm>
            <a:off x="10385191" y="4229305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Editor</a:t>
            </a:r>
          </a:p>
        </p:txBody>
      </p:sp>
      <p:sp>
        <p:nvSpPr>
          <p:cNvPr id="186" name="TextBox 185">
            <a:extLst>
              <a:ext uri="{FF2B5EF4-FFF2-40B4-BE49-F238E27FC236}">
                <a16:creationId xmlns:a16="http://schemas.microsoft.com/office/drawing/2014/main" id="{8F787550-198D-522A-1CB7-F4B3EFA69FBD}"/>
              </a:ext>
            </a:extLst>
          </p:cNvPr>
          <p:cNvSpPr txBox="1"/>
          <p:nvPr userDrawn="1"/>
        </p:nvSpPr>
        <p:spPr>
          <a:xfrm>
            <a:off x="10385191" y="5053521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Goals</a:t>
            </a:r>
          </a:p>
        </p:txBody>
      </p:sp>
      <p:sp>
        <p:nvSpPr>
          <p:cNvPr id="188" name="TextBox 187">
            <a:extLst>
              <a:ext uri="{FF2B5EF4-FFF2-40B4-BE49-F238E27FC236}">
                <a16:creationId xmlns:a16="http://schemas.microsoft.com/office/drawing/2014/main" id="{5C4B4626-FFF2-C725-BEE8-AB7F2065CD79}"/>
              </a:ext>
            </a:extLst>
          </p:cNvPr>
          <p:cNvSpPr txBox="1"/>
          <p:nvPr userDrawn="1"/>
        </p:nvSpPr>
        <p:spPr>
          <a:xfrm>
            <a:off x="10385191" y="2580873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Business partner-up alt</a:t>
            </a:r>
          </a:p>
        </p:txBody>
      </p:sp>
      <p:sp>
        <p:nvSpPr>
          <p:cNvPr id="190" name="TextBox 189">
            <a:extLst>
              <a:ext uri="{FF2B5EF4-FFF2-40B4-BE49-F238E27FC236}">
                <a16:creationId xmlns:a16="http://schemas.microsoft.com/office/drawing/2014/main" id="{61111ECD-F8F7-4F90-D7A2-5128514DFF02}"/>
              </a:ext>
            </a:extLst>
          </p:cNvPr>
          <p:cNvSpPr txBox="1"/>
          <p:nvPr userDrawn="1"/>
        </p:nvSpPr>
        <p:spPr>
          <a:xfrm>
            <a:off x="10385191" y="1756657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App-3rd-party  2</a:t>
            </a:r>
          </a:p>
        </p:txBody>
      </p:sp>
      <p:sp>
        <p:nvSpPr>
          <p:cNvPr id="192" name="TextBox 191">
            <a:extLst>
              <a:ext uri="{FF2B5EF4-FFF2-40B4-BE49-F238E27FC236}">
                <a16:creationId xmlns:a16="http://schemas.microsoft.com/office/drawing/2014/main" id="{62602B64-8860-848A-9BCF-8BDB4E2A0681}"/>
              </a:ext>
            </a:extLst>
          </p:cNvPr>
          <p:cNvSpPr txBox="1"/>
          <p:nvPr userDrawn="1"/>
        </p:nvSpPr>
        <p:spPr>
          <a:xfrm>
            <a:off x="11099777" y="5877738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Link </a:t>
            </a:r>
          </a:p>
          <a:p>
            <a:pPr algn="ctr"/>
            <a:r>
              <a:rPr lang="en-US" sz="800">
                <a:solidFill>
                  <a:schemeClr val="tx1"/>
                </a:solidFill>
              </a:rPr>
              <a:t>special</a:t>
            </a:r>
          </a:p>
        </p:txBody>
      </p:sp>
      <p:sp>
        <p:nvSpPr>
          <p:cNvPr id="194" name="TextBox 193">
            <a:extLst>
              <a:ext uri="{FF2B5EF4-FFF2-40B4-BE49-F238E27FC236}">
                <a16:creationId xmlns:a16="http://schemas.microsoft.com/office/drawing/2014/main" id="{0DE28F80-3E23-65C0-5793-3213898FEF4A}"/>
              </a:ext>
            </a:extLst>
          </p:cNvPr>
          <p:cNvSpPr txBox="1"/>
          <p:nvPr userDrawn="1"/>
        </p:nvSpPr>
        <p:spPr>
          <a:xfrm>
            <a:off x="3953926" y="3405089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Cloud download</a:t>
            </a:r>
          </a:p>
        </p:txBody>
      </p:sp>
      <p:sp>
        <p:nvSpPr>
          <p:cNvPr id="196" name="TextBox 195">
            <a:extLst>
              <a:ext uri="{FF2B5EF4-FFF2-40B4-BE49-F238E27FC236}">
                <a16:creationId xmlns:a16="http://schemas.microsoft.com/office/drawing/2014/main" id="{0D864E7C-7E4D-6606-412E-AE96CFBA78CC}"/>
              </a:ext>
            </a:extLst>
          </p:cNvPr>
          <p:cNvSpPr txBox="1"/>
          <p:nvPr userDrawn="1"/>
        </p:nvSpPr>
        <p:spPr>
          <a:xfrm>
            <a:off x="3953926" y="4229305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Crown</a:t>
            </a:r>
          </a:p>
        </p:txBody>
      </p:sp>
      <p:sp>
        <p:nvSpPr>
          <p:cNvPr id="198" name="TextBox 197">
            <a:extLst>
              <a:ext uri="{FF2B5EF4-FFF2-40B4-BE49-F238E27FC236}">
                <a16:creationId xmlns:a16="http://schemas.microsoft.com/office/drawing/2014/main" id="{81379E23-7655-31BA-7A86-50903EB7D91E}"/>
              </a:ext>
            </a:extLst>
          </p:cNvPr>
          <p:cNvSpPr txBox="1"/>
          <p:nvPr userDrawn="1"/>
        </p:nvSpPr>
        <p:spPr>
          <a:xfrm>
            <a:off x="3953926" y="5053521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First Emoji</a:t>
            </a:r>
          </a:p>
        </p:txBody>
      </p:sp>
      <p:sp>
        <p:nvSpPr>
          <p:cNvPr id="200" name="TextBox 199">
            <a:extLst>
              <a:ext uri="{FF2B5EF4-FFF2-40B4-BE49-F238E27FC236}">
                <a16:creationId xmlns:a16="http://schemas.microsoft.com/office/drawing/2014/main" id="{8A4CA396-A77F-E3E4-A588-E1DD1AEAD4B9}"/>
              </a:ext>
            </a:extLst>
          </p:cNvPr>
          <p:cNvSpPr txBox="1"/>
          <p:nvPr userDrawn="1"/>
        </p:nvSpPr>
        <p:spPr>
          <a:xfrm>
            <a:off x="3953926" y="2580873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Assessment</a:t>
            </a:r>
          </a:p>
        </p:txBody>
      </p:sp>
      <p:sp>
        <p:nvSpPr>
          <p:cNvPr id="202" name="TextBox 201">
            <a:extLst>
              <a:ext uri="{FF2B5EF4-FFF2-40B4-BE49-F238E27FC236}">
                <a16:creationId xmlns:a16="http://schemas.microsoft.com/office/drawing/2014/main" id="{AFB099C0-BAC4-FD98-8390-B468409ABCAF}"/>
              </a:ext>
            </a:extLst>
          </p:cNvPr>
          <p:cNvSpPr txBox="1"/>
          <p:nvPr userDrawn="1"/>
        </p:nvSpPr>
        <p:spPr>
          <a:xfrm>
            <a:off x="3953926" y="1756657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Abstract</a:t>
            </a:r>
          </a:p>
        </p:txBody>
      </p:sp>
      <p:sp>
        <p:nvSpPr>
          <p:cNvPr id="204" name="TextBox 203">
            <a:extLst>
              <a:ext uri="{FF2B5EF4-FFF2-40B4-BE49-F238E27FC236}">
                <a16:creationId xmlns:a16="http://schemas.microsoft.com/office/drawing/2014/main" id="{C5C367F9-2454-8E13-EB84-9411775EFF0B}"/>
              </a:ext>
            </a:extLst>
          </p:cNvPr>
          <p:cNvSpPr txBox="1"/>
          <p:nvPr userDrawn="1"/>
        </p:nvSpPr>
        <p:spPr>
          <a:xfrm>
            <a:off x="3953926" y="587773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Information</a:t>
            </a:r>
          </a:p>
        </p:txBody>
      </p:sp>
      <p:sp>
        <p:nvSpPr>
          <p:cNvPr id="206" name="TextBox 205">
            <a:extLst>
              <a:ext uri="{FF2B5EF4-FFF2-40B4-BE49-F238E27FC236}">
                <a16:creationId xmlns:a16="http://schemas.microsoft.com/office/drawing/2014/main" id="{6EE43D23-74A2-2738-6FEF-49F52891DD2C}"/>
              </a:ext>
            </a:extLst>
          </p:cNvPr>
          <p:cNvSpPr txBox="1"/>
          <p:nvPr userDrawn="1"/>
        </p:nvSpPr>
        <p:spPr>
          <a:xfrm>
            <a:off x="5383096" y="3405089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Cloud </a:t>
            </a:r>
          </a:p>
          <a:p>
            <a:pPr algn="ctr"/>
            <a:r>
              <a:rPr lang="en-US" sz="800">
                <a:solidFill>
                  <a:schemeClr val="tx1"/>
                </a:solidFill>
              </a:rPr>
              <a:t>upload</a:t>
            </a:r>
          </a:p>
        </p:txBody>
      </p:sp>
      <p:sp>
        <p:nvSpPr>
          <p:cNvPr id="208" name="TextBox 207">
            <a:extLst>
              <a:ext uri="{FF2B5EF4-FFF2-40B4-BE49-F238E27FC236}">
                <a16:creationId xmlns:a16="http://schemas.microsoft.com/office/drawing/2014/main" id="{78C1CA3D-9095-58B3-5C34-EB5A866392DD}"/>
              </a:ext>
            </a:extLst>
          </p:cNvPr>
          <p:cNvSpPr txBox="1"/>
          <p:nvPr userDrawn="1"/>
        </p:nvSpPr>
        <p:spPr>
          <a:xfrm>
            <a:off x="5383096" y="4229305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Decrease</a:t>
            </a:r>
          </a:p>
        </p:txBody>
      </p:sp>
      <p:sp>
        <p:nvSpPr>
          <p:cNvPr id="210" name="TextBox 209">
            <a:extLst>
              <a:ext uri="{FF2B5EF4-FFF2-40B4-BE49-F238E27FC236}">
                <a16:creationId xmlns:a16="http://schemas.microsoft.com/office/drawing/2014/main" id="{573B6C55-9C50-9731-2487-548E50D456A6}"/>
              </a:ext>
            </a:extLst>
          </p:cNvPr>
          <p:cNvSpPr txBox="1"/>
          <p:nvPr userDrawn="1"/>
        </p:nvSpPr>
        <p:spPr>
          <a:xfrm>
            <a:off x="5383096" y="5053521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First-like</a:t>
            </a:r>
          </a:p>
        </p:txBody>
      </p:sp>
      <p:sp>
        <p:nvSpPr>
          <p:cNvPr id="212" name="TextBox 211">
            <a:extLst>
              <a:ext uri="{FF2B5EF4-FFF2-40B4-BE49-F238E27FC236}">
                <a16:creationId xmlns:a16="http://schemas.microsoft.com/office/drawing/2014/main" id="{A83DD034-9DC6-210F-9E76-85B52D08086B}"/>
              </a:ext>
            </a:extLst>
          </p:cNvPr>
          <p:cNvSpPr txBox="1"/>
          <p:nvPr userDrawn="1"/>
        </p:nvSpPr>
        <p:spPr>
          <a:xfrm>
            <a:off x="5383096" y="2580873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Autobiographer</a:t>
            </a:r>
          </a:p>
        </p:txBody>
      </p:sp>
      <p:sp>
        <p:nvSpPr>
          <p:cNvPr id="214" name="TextBox 213">
            <a:extLst>
              <a:ext uri="{FF2B5EF4-FFF2-40B4-BE49-F238E27FC236}">
                <a16:creationId xmlns:a16="http://schemas.microsoft.com/office/drawing/2014/main" id="{8A986B15-6891-7E0B-BBCD-CC40E5EC5413}"/>
              </a:ext>
            </a:extLst>
          </p:cNvPr>
          <p:cNvSpPr txBox="1"/>
          <p:nvPr userDrawn="1"/>
        </p:nvSpPr>
        <p:spPr>
          <a:xfrm>
            <a:off x="5383096" y="1756657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Advanced </a:t>
            </a:r>
          </a:p>
          <a:p>
            <a:pPr algn="ctr"/>
            <a:r>
              <a:rPr lang="en-US" sz="800">
                <a:solidFill>
                  <a:schemeClr val="tx1"/>
                </a:solidFill>
              </a:rPr>
              <a:t>OCR</a:t>
            </a:r>
          </a:p>
        </p:txBody>
      </p:sp>
      <p:sp>
        <p:nvSpPr>
          <p:cNvPr id="216" name="TextBox 215">
            <a:extLst>
              <a:ext uri="{FF2B5EF4-FFF2-40B4-BE49-F238E27FC236}">
                <a16:creationId xmlns:a16="http://schemas.microsoft.com/office/drawing/2014/main" id="{154D720E-9A2A-53C9-0AA7-8D489CAD1E9F}"/>
              </a:ext>
            </a:extLst>
          </p:cNvPr>
          <p:cNvSpPr txBox="1"/>
          <p:nvPr userDrawn="1"/>
        </p:nvSpPr>
        <p:spPr>
          <a:xfrm>
            <a:off x="5383096" y="587773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Institutionalize</a:t>
            </a:r>
          </a:p>
        </p:txBody>
      </p:sp>
      <p:sp>
        <p:nvSpPr>
          <p:cNvPr id="218" name="TextBox 217">
            <a:extLst>
              <a:ext uri="{FF2B5EF4-FFF2-40B4-BE49-F238E27FC236}">
                <a16:creationId xmlns:a16="http://schemas.microsoft.com/office/drawing/2014/main" id="{2BC3602B-98B4-C546-AE6B-F1F29A2E8462}"/>
              </a:ext>
            </a:extLst>
          </p:cNvPr>
          <p:cNvSpPr txBox="1"/>
          <p:nvPr userDrawn="1"/>
        </p:nvSpPr>
        <p:spPr>
          <a:xfrm>
            <a:off x="4668511" y="3405089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Cloud </a:t>
            </a:r>
          </a:p>
          <a:p>
            <a:pPr algn="ctr"/>
            <a:r>
              <a:rPr lang="en-US" sz="800">
                <a:solidFill>
                  <a:schemeClr val="tx1"/>
                </a:solidFill>
              </a:rPr>
              <a:t>secure</a:t>
            </a:r>
          </a:p>
        </p:txBody>
      </p:sp>
      <p:sp>
        <p:nvSpPr>
          <p:cNvPr id="220" name="TextBox 219">
            <a:extLst>
              <a:ext uri="{FF2B5EF4-FFF2-40B4-BE49-F238E27FC236}">
                <a16:creationId xmlns:a16="http://schemas.microsoft.com/office/drawing/2014/main" id="{334796E7-2E02-F953-281F-3D1976C83408}"/>
              </a:ext>
            </a:extLst>
          </p:cNvPr>
          <p:cNvSpPr txBox="1"/>
          <p:nvPr userDrawn="1"/>
        </p:nvSpPr>
        <p:spPr>
          <a:xfrm>
            <a:off x="4668511" y="4229305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Cultural acceptance</a:t>
            </a:r>
          </a:p>
        </p:txBody>
      </p:sp>
      <p:sp>
        <p:nvSpPr>
          <p:cNvPr id="222" name="TextBox 221">
            <a:extLst>
              <a:ext uri="{FF2B5EF4-FFF2-40B4-BE49-F238E27FC236}">
                <a16:creationId xmlns:a16="http://schemas.microsoft.com/office/drawing/2014/main" id="{A141A315-C8A1-6684-3A76-6D7DCA86F336}"/>
              </a:ext>
            </a:extLst>
          </p:cNvPr>
          <p:cNvSpPr txBox="1"/>
          <p:nvPr userDrawn="1"/>
        </p:nvSpPr>
        <p:spPr>
          <a:xfrm>
            <a:off x="4668511" y="5053521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First Flag</a:t>
            </a:r>
          </a:p>
        </p:txBody>
      </p:sp>
      <p:sp>
        <p:nvSpPr>
          <p:cNvPr id="224" name="TextBox 223">
            <a:extLst>
              <a:ext uri="{FF2B5EF4-FFF2-40B4-BE49-F238E27FC236}">
                <a16:creationId xmlns:a16="http://schemas.microsoft.com/office/drawing/2014/main" id="{7481C4D2-EE03-FD6B-E17C-5EF2A5A65ED6}"/>
              </a:ext>
            </a:extLst>
          </p:cNvPr>
          <p:cNvSpPr txBox="1"/>
          <p:nvPr userDrawn="1"/>
        </p:nvSpPr>
        <p:spPr>
          <a:xfrm>
            <a:off x="4668511" y="2580873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Atom</a:t>
            </a:r>
          </a:p>
        </p:txBody>
      </p:sp>
      <p:sp>
        <p:nvSpPr>
          <p:cNvPr id="226" name="TextBox 225">
            <a:extLst>
              <a:ext uri="{FF2B5EF4-FFF2-40B4-BE49-F238E27FC236}">
                <a16:creationId xmlns:a16="http://schemas.microsoft.com/office/drawing/2014/main" id="{3E4527E4-D6D2-FDE7-7A2A-CCFF10699F9E}"/>
              </a:ext>
            </a:extLst>
          </p:cNvPr>
          <p:cNvSpPr txBox="1"/>
          <p:nvPr userDrawn="1"/>
        </p:nvSpPr>
        <p:spPr>
          <a:xfrm>
            <a:off x="4668511" y="1756657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Add</a:t>
            </a:r>
          </a:p>
        </p:txBody>
      </p:sp>
      <p:sp>
        <p:nvSpPr>
          <p:cNvPr id="228" name="TextBox 227">
            <a:extLst>
              <a:ext uri="{FF2B5EF4-FFF2-40B4-BE49-F238E27FC236}">
                <a16:creationId xmlns:a16="http://schemas.microsoft.com/office/drawing/2014/main" id="{F03618B2-661C-E9E7-4F5B-AA326443660A}"/>
              </a:ext>
            </a:extLst>
          </p:cNvPr>
          <p:cNvSpPr txBox="1"/>
          <p:nvPr userDrawn="1"/>
        </p:nvSpPr>
        <p:spPr>
          <a:xfrm>
            <a:off x="4668511" y="587773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Input</a:t>
            </a:r>
          </a:p>
        </p:txBody>
      </p:sp>
      <p:sp>
        <p:nvSpPr>
          <p:cNvPr id="230" name="TextBox 229">
            <a:extLst>
              <a:ext uri="{FF2B5EF4-FFF2-40B4-BE49-F238E27FC236}">
                <a16:creationId xmlns:a16="http://schemas.microsoft.com/office/drawing/2014/main" id="{D943FCA4-03BB-8EC7-E448-203CA9E62426}"/>
              </a:ext>
            </a:extLst>
          </p:cNvPr>
          <p:cNvSpPr txBox="1"/>
          <p:nvPr userDrawn="1"/>
        </p:nvSpPr>
        <p:spPr>
          <a:xfrm>
            <a:off x="8241436" y="3405089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Contact </a:t>
            </a:r>
          </a:p>
          <a:p>
            <a:pPr algn="ctr"/>
            <a:r>
              <a:rPr lang="en-US" sz="800">
                <a:solidFill>
                  <a:schemeClr val="tx1"/>
                </a:solidFill>
              </a:rPr>
              <a:t>email alt</a:t>
            </a:r>
          </a:p>
        </p:txBody>
      </p:sp>
      <p:sp>
        <p:nvSpPr>
          <p:cNvPr id="232" name="TextBox 231">
            <a:extLst>
              <a:ext uri="{FF2B5EF4-FFF2-40B4-BE49-F238E27FC236}">
                <a16:creationId xmlns:a16="http://schemas.microsoft.com/office/drawing/2014/main" id="{20A14513-AC59-C5AA-C202-7902E37E5646}"/>
              </a:ext>
            </a:extLst>
          </p:cNvPr>
          <p:cNvSpPr txBox="1"/>
          <p:nvPr userDrawn="1"/>
        </p:nvSpPr>
        <p:spPr>
          <a:xfrm>
            <a:off x="8241436" y="4229305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Ease </a:t>
            </a:r>
          </a:p>
          <a:p>
            <a:pPr algn="ctr"/>
            <a:r>
              <a:rPr lang="en-US" sz="800">
                <a:solidFill>
                  <a:schemeClr val="tx1"/>
                </a:solidFill>
              </a:rPr>
              <a:t>of use</a:t>
            </a:r>
          </a:p>
        </p:txBody>
      </p:sp>
      <p:sp>
        <p:nvSpPr>
          <p:cNvPr id="234" name="TextBox 233">
            <a:extLst>
              <a:ext uri="{FF2B5EF4-FFF2-40B4-BE49-F238E27FC236}">
                <a16:creationId xmlns:a16="http://schemas.microsoft.com/office/drawing/2014/main" id="{AF15D69A-DD68-B0A9-779E-47A6C5EFEEC4}"/>
              </a:ext>
            </a:extLst>
          </p:cNvPr>
          <p:cNvSpPr txBox="1"/>
          <p:nvPr userDrawn="1"/>
        </p:nvSpPr>
        <p:spPr>
          <a:xfrm>
            <a:off x="8241436" y="5053521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First-quote</a:t>
            </a:r>
          </a:p>
        </p:txBody>
      </p:sp>
      <p:sp>
        <p:nvSpPr>
          <p:cNvPr id="236" name="TextBox 235">
            <a:extLst>
              <a:ext uri="{FF2B5EF4-FFF2-40B4-BE49-F238E27FC236}">
                <a16:creationId xmlns:a16="http://schemas.microsoft.com/office/drawing/2014/main" id="{D93A6989-F5CD-44C8-67E9-B6632D1B5E80}"/>
              </a:ext>
            </a:extLst>
          </p:cNvPr>
          <p:cNvSpPr txBox="1"/>
          <p:nvPr userDrawn="1"/>
        </p:nvSpPr>
        <p:spPr>
          <a:xfrm>
            <a:off x="8241436" y="2580873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Big scale</a:t>
            </a:r>
          </a:p>
        </p:txBody>
      </p:sp>
      <p:sp>
        <p:nvSpPr>
          <p:cNvPr id="238" name="TextBox 237">
            <a:extLst>
              <a:ext uri="{FF2B5EF4-FFF2-40B4-BE49-F238E27FC236}">
                <a16:creationId xmlns:a16="http://schemas.microsoft.com/office/drawing/2014/main" id="{3FF37EAE-E0C8-5B2C-366E-8876099CD9EE}"/>
              </a:ext>
            </a:extLst>
          </p:cNvPr>
          <p:cNvSpPr txBox="1"/>
          <p:nvPr userDrawn="1"/>
        </p:nvSpPr>
        <p:spPr>
          <a:xfrm>
            <a:off x="8241436" y="1756657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Alert </a:t>
            </a:r>
          </a:p>
          <a:p>
            <a:pPr algn="ctr"/>
            <a:r>
              <a:rPr lang="en-US" sz="800">
                <a:solidFill>
                  <a:schemeClr val="tx1"/>
                </a:solidFill>
              </a:rPr>
              <a:t>Alarm</a:t>
            </a:r>
          </a:p>
        </p:txBody>
      </p:sp>
      <p:sp>
        <p:nvSpPr>
          <p:cNvPr id="240" name="TextBox 239">
            <a:extLst>
              <a:ext uri="{FF2B5EF4-FFF2-40B4-BE49-F238E27FC236}">
                <a16:creationId xmlns:a16="http://schemas.microsoft.com/office/drawing/2014/main" id="{09A2A4A0-38DC-D22B-DF0C-A3BF5CD0FD0B}"/>
              </a:ext>
            </a:extLst>
          </p:cNvPr>
          <p:cNvSpPr txBox="1"/>
          <p:nvPr userDrawn="1"/>
        </p:nvSpPr>
        <p:spPr>
          <a:xfrm>
            <a:off x="8241436" y="587773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Leader</a:t>
            </a:r>
          </a:p>
        </p:txBody>
      </p:sp>
      <p:sp>
        <p:nvSpPr>
          <p:cNvPr id="242" name="TextBox 241">
            <a:extLst>
              <a:ext uri="{FF2B5EF4-FFF2-40B4-BE49-F238E27FC236}">
                <a16:creationId xmlns:a16="http://schemas.microsoft.com/office/drawing/2014/main" id="{AC5367FE-8F86-6490-9F7F-5EB53A7A4CFE}"/>
              </a:ext>
            </a:extLst>
          </p:cNvPr>
          <p:cNvSpPr txBox="1"/>
          <p:nvPr userDrawn="1"/>
        </p:nvSpPr>
        <p:spPr>
          <a:xfrm>
            <a:off x="9670606" y="3405089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Cost high</a:t>
            </a:r>
          </a:p>
        </p:txBody>
      </p:sp>
      <p:sp>
        <p:nvSpPr>
          <p:cNvPr id="244" name="TextBox 243">
            <a:extLst>
              <a:ext uri="{FF2B5EF4-FFF2-40B4-BE49-F238E27FC236}">
                <a16:creationId xmlns:a16="http://schemas.microsoft.com/office/drawing/2014/main" id="{04BE9D8A-0BBE-00C2-08C9-EBA06BF5DFF1}"/>
              </a:ext>
            </a:extLst>
          </p:cNvPr>
          <p:cNvSpPr txBox="1"/>
          <p:nvPr userDrawn="1"/>
        </p:nvSpPr>
        <p:spPr>
          <a:xfrm>
            <a:off x="9670606" y="4229305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Edit</a:t>
            </a:r>
          </a:p>
        </p:txBody>
      </p:sp>
      <p:sp>
        <p:nvSpPr>
          <p:cNvPr id="246" name="TextBox 245">
            <a:extLst>
              <a:ext uri="{FF2B5EF4-FFF2-40B4-BE49-F238E27FC236}">
                <a16:creationId xmlns:a16="http://schemas.microsoft.com/office/drawing/2014/main" id="{C9A3A95E-745E-1B1C-4EFA-68CD62B61BFF}"/>
              </a:ext>
            </a:extLst>
          </p:cNvPr>
          <p:cNvSpPr txBox="1"/>
          <p:nvPr userDrawn="1"/>
        </p:nvSpPr>
        <p:spPr>
          <a:xfrm>
            <a:off x="9670606" y="5053521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Flexibility</a:t>
            </a:r>
          </a:p>
        </p:txBody>
      </p:sp>
      <p:sp>
        <p:nvSpPr>
          <p:cNvPr id="248" name="TextBox 247">
            <a:extLst>
              <a:ext uri="{FF2B5EF4-FFF2-40B4-BE49-F238E27FC236}">
                <a16:creationId xmlns:a16="http://schemas.microsoft.com/office/drawing/2014/main" id="{08B80167-628C-D03A-EC79-61232474E385}"/>
              </a:ext>
            </a:extLst>
          </p:cNvPr>
          <p:cNvSpPr txBox="1"/>
          <p:nvPr userDrawn="1"/>
        </p:nvSpPr>
        <p:spPr>
          <a:xfrm>
            <a:off x="9670606" y="2580873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Business partner-up</a:t>
            </a:r>
          </a:p>
        </p:txBody>
      </p:sp>
      <p:sp>
        <p:nvSpPr>
          <p:cNvPr id="250" name="TextBox 249">
            <a:extLst>
              <a:ext uri="{FF2B5EF4-FFF2-40B4-BE49-F238E27FC236}">
                <a16:creationId xmlns:a16="http://schemas.microsoft.com/office/drawing/2014/main" id="{3DBB6A1B-33CF-F0B3-B90B-BA3BD96377CD}"/>
              </a:ext>
            </a:extLst>
          </p:cNvPr>
          <p:cNvSpPr txBox="1"/>
          <p:nvPr userDrawn="1"/>
        </p:nvSpPr>
        <p:spPr>
          <a:xfrm>
            <a:off x="9670606" y="1756657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App-3rd-party</a:t>
            </a:r>
          </a:p>
        </p:txBody>
      </p:sp>
      <p:sp>
        <p:nvSpPr>
          <p:cNvPr id="252" name="TextBox 251">
            <a:extLst>
              <a:ext uri="{FF2B5EF4-FFF2-40B4-BE49-F238E27FC236}">
                <a16:creationId xmlns:a16="http://schemas.microsoft.com/office/drawing/2014/main" id="{5A40B493-1772-0700-4612-59D5CDC5DC7A}"/>
              </a:ext>
            </a:extLst>
          </p:cNvPr>
          <p:cNvSpPr txBox="1"/>
          <p:nvPr userDrawn="1"/>
        </p:nvSpPr>
        <p:spPr>
          <a:xfrm>
            <a:off x="10385191" y="587773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Link alt</a:t>
            </a:r>
          </a:p>
        </p:txBody>
      </p:sp>
      <p:sp>
        <p:nvSpPr>
          <p:cNvPr id="254" name="TextBox 253">
            <a:extLst>
              <a:ext uri="{FF2B5EF4-FFF2-40B4-BE49-F238E27FC236}">
                <a16:creationId xmlns:a16="http://schemas.microsoft.com/office/drawing/2014/main" id="{5E5B0078-77BC-4139-4CD7-75C0CDD2A53F}"/>
              </a:ext>
            </a:extLst>
          </p:cNvPr>
          <p:cNvSpPr txBox="1"/>
          <p:nvPr userDrawn="1"/>
        </p:nvSpPr>
        <p:spPr>
          <a:xfrm>
            <a:off x="8956021" y="3405089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Corporation</a:t>
            </a:r>
          </a:p>
        </p:txBody>
      </p:sp>
      <p:sp>
        <p:nvSpPr>
          <p:cNvPr id="256" name="TextBox 255">
            <a:extLst>
              <a:ext uri="{FF2B5EF4-FFF2-40B4-BE49-F238E27FC236}">
                <a16:creationId xmlns:a16="http://schemas.microsoft.com/office/drawing/2014/main" id="{C235CDC3-8272-C70E-8300-5223A32D75DF}"/>
              </a:ext>
            </a:extLst>
          </p:cNvPr>
          <p:cNvSpPr txBox="1"/>
          <p:nvPr userDrawn="1"/>
        </p:nvSpPr>
        <p:spPr>
          <a:xfrm>
            <a:off x="8956021" y="4229305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Ecosystem</a:t>
            </a:r>
          </a:p>
        </p:txBody>
      </p:sp>
      <p:sp>
        <p:nvSpPr>
          <p:cNvPr id="258" name="TextBox 257">
            <a:extLst>
              <a:ext uri="{FF2B5EF4-FFF2-40B4-BE49-F238E27FC236}">
                <a16:creationId xmlns:a16="http://schemas.microsoft.com/office/drawing/2014/main" id="{2F7B2013-D632-7F66-0C5F-353AA590B501}"/>
              </a:ext>
            </a:extLst>
          </p:cNvPr>
          <p:cNvSpPr txBox="1"/>
          <p:nvPr userDrawn="1"/>
        </p:nvSpPr>
        <p:spPr>
          <a:xfrm>
            <a:off x="8956021" y="5053521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First-reply-</a:t>
            </a:r>
          </a:p>
          <a:p>
            <a:pPr algn="ctr"/>
            <a:r>
              <a:rPr lang="en-US" sz="800">
                <a:solidFill>
                  <a:schemeClr val="tx1"/>
                </a:solidFill>
              </a:rPr>
              <a:t>by-email</a:t>
            </a:r>
          </a:p>
        </p:txBody>
      </p:sp>
      <p:sp>
        <p:nvSpPr>
          <p:cNvPr id="260" name="TextBox 259">
            <a:extLst>
              <a:ext uri="{FF2B5EF4-FFF2-40B4-BE49-F238E27FC236}">
                <a16:creationId xmlns:a16="http://schemas.microsoft.com/office/drawing/2014/main" id="{BECFA3AD-53B9-E9A9-22B4-78720E458FAE}"/>
              </a:ext>
            </a:extLst>
          </p:cNvPr>
          <p:cNvSpPr txBox="1"/>
          <p:nvPr userDrawn="1"/>
        </p:nvSpPr>
        <p:spPr>
          <a:xfrm>
            <a:off x="8956021" y="2580873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Bookmark</a:t>
            </a:r>
          </a:p>
        </p:txBody>
      </p:sp>
      <p:sp>
        <p:nvSpPr>
          <p:cNvPr id="262" name="TextBox 261">
            <a:extLst>
              <a:ext uri="{FF2B5EF4-FFF2-40B4-BE49-F238E27FC236}">
                <a16:creationId xmlns:a16="http://schemas.microsoft.com/office/drawing/2014/main" id="{A3676F47-0C42-6BAD-8F49-67D57AA17D11}"/>
              </a:ext>
            </a:extLst>
          </p:cNvPr>
          <p:cNvSpPr txBox="1"/>
          <p:nvPr userDrawn="1"/>
        </p:nvSpPr>
        <p:spPr>
          <a:xfrm>
            <a:off x="8956021" y="1756657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Anniversary</a:t>
            </a:r>
          </a:p>
        </p:txBody>
      </p:sp>
      <p:sp>
        <p:nvSpPr>
          <p:cNvPr id="264" name="TextBox 263">
            <a:extLst>
              <a:ext uri="{FF2B5EF4-FFF2-40B4-BE49-F238E27FC236}">
                <a16:creationId xmlns:a16="http://schemas.microsoft.com/office/drawing/2014/main" id="{05A77DA9-40CE-1CB8-7158-60CBD07EAB32}"/>
              </a:ext>
            </a:extLst>
          </p:cNvPr>
          <p:cNvSpPr txBox="1"/>
          <p:nvPr userDrawn="1"/>
        </p:nvSpPr>
        <p:spPr>
          <a:xfrm>
            <a:off x="9670606" y="587773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Link</a:t>
            </a:r>
          </a:p>
        </p:txBody>
      </p:sp>
      <p:sp>
        <p:nvSpPr>
          <p:cNvPr id="266" name="TextBox 265">
            <a:extLst>
              <a:ext uri="{FF2B5EF4-FFF2-40B4-BE49-F238E27FC236}">
                <a16:creationId xmlns:a16="http://schemas.microsoft.com/office/drawing/2014/main" id="{E6A96E3A-77E2-B463-6CE8-734751A76042}"/>
              </a:ext>
            </a:extLst>
          </p:cNvPr>
          <p:cNvSpPr txBox="1"/>
          <p:nvPr userDrawn="1"/>
        </p:nvSpPr>
        <p:spPr>
          <a:xfrm>
            <a:off x="11099777" y="3405089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Course-advanced</a:t>
            </a:r>
          </a:p>
        </p:txBody>
      </p:sp>
      <p:sp>
        <p:nvSpPr>
          <p:cNvPr id="268" name="TextBox 267">
            <a:extLst>
              <a:ext uri="{FF2B5EF4-FFF2-40B4-BE49-F238E27FC236}">
                <a16:creationId xmlns:a16="http://schemas.microsoft.com/office/drawing/2014/main" id="{CE912B25-5B42-E29D-5E88-8969740AC0BF}"/>
              </a:ext>
            </a:extLst>
          </p:cNvPr>
          <p:cNvSpPr txBox="1"/>
          <p:nvPr userDrawn="1"/>
        </p:nvSpPr>
        <p:spPr>
          <a:xfrm>
            <a:off x="11099777" y="4229305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Enterprise competency</a:t>
            </a:r>
          </a:p>
        </p:txBody>
      </p:sp>
      <p:sp>
        <p:nvSpPr>
          <p:cNvPr id="270" name="TextBox 269">
            <a:extLst>
              <a:ext uri="{FF2B5EF4-FFF2-40B4-BE49-F238E27FC236}">
                <a16:creationId xmlns:a16="http://schemas.microsoft.com/office/drawing/2014/main" id="{D8262F8E-E37A-0C44-B709-79A3552034BE}"/>
              </a:ext>
            </a:extLst>
          </p:cNvPr>
          <p:cNvSpPr txBox="1"/>
          <p:nvPr userDrawn="1"/>
        </p:nvSpPr>
        <p:spPr>
          <a:xfrm>
            <a:off x="11099777" y="5053521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Group </a:t>
            </a:r>
          </a:p>
          <a:p>
            <a:pPr algn="ctr"/>
            <a:r>
              <a:rPr lang="en-US" sz="800">
                <a:solidFill>
                  <a:schemeClr val="tx1"/>
                </a:solidFill>
              </a:rPr>
              <a:t>of users</a:t>
            </a:r>
          </a:p>
        </p:txBody>
      </p:sp>
      <p:sp>
        <p:nvSpPr>
          <p:cNvPr id="272" name="TextBox 271">
            <a:extLst>
              <a:ext uri="{FF2B5EF4-FFF2-40B4-BE49-F238E27FC236}">
                <a16:creationId xmlns:a16="http://schemas.microsoft.com/office/drawing/2014/main" id="{D80EFCF8-CD55-45F0-9D92-EAA1CA5881AE}"/>
              </a:ext>
            </a:extLst>
          </p:cNvPr>
          <p:cNvSpPr txBox="1"/>
          <p:nvPr userDrawn="1"/>
        </p:nvSpPr>
        <p:spPr>
          <a:xfrm>
            <a:off x="11099777" y="2580873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Business partner alt 2</a:t>
            </a:r>
          </a:p>
        </p:txBody>
      </p:sp>
      <p:sp>
        <p:nvSpPr>
          <p:cNvPr id="274" name="TextBox 273">
            <a:extLst>
              <a:ext uri="{FF2B5EF4-FFF2-40B4-BE49-F238E27FC236}">
                <a16:creationId xmlns:a16="http://schemas.microsoft.com/office/drawing/2014/main" id="{98AFDBDE-FB1F-35D7-F8E1-595087D86843}"/>
              </a:ext>
            </a:extLst>
          </p:cNvPr>
          <p:cNvSpPr txBox="1"/>
          <p:nvPr userDrawn="1"/>
        </p:nvSpPr>
        <p:spPr>
          <a:xfrm>
            <a:off x="11099777" y="1756657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App-3rd-party  3</a:t>
            </a:r>
          </a:p>
        </p:txBody>
      </p:sp>
      <p:sp>
        <p:nvSpPr>
          <p:cNvPr id="275" name="TextBox 274">
            <a:extLst>
              <a:ext uri="{FF2B5EF4-FFF2-40B4-BE49-F238E27FC236}">
                <a16:creationId xmlns:a16="http://schemas.microsoft.com/office/drawing/2014/main" id="{0577918B-B5AE-DAB3-D87A-0502FF33E498}"/>
              </a:ext>
            </a:extLst>
          </p:cNvPr>
          <p:cNvSpPr txBox="1"/>
          <p:nvPr userDrawn="1"/>
        </p:nvSpPr>
        <p:spPr>
          <a:xfrm>
            <a:off x="8956021" y="5871746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Light bulb</a:t>
            </a:r>
          </a:p>
        </p:txBody>
      </p:sp>
    </p:spTree>
    <p:extLst>
      <p:ext uri="{BB962C8B-B14F-4D97-AF65-F5344CB8AC3E}">
        <p14:creationId xmlns:p14="http://schemas.microsoft.com/office/powerpoint/2010/main" val="267082300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D06F8458-66E1-4B4A-BC40-DD2CDA42EB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2" name="Left Bracket 141">
            <a:extLst>
              <a:ext uri="{FF2B5EF4-FFF2-40B4-BE49-F238E27FC236}">
                <a16:creationId xmlns:a16="http://schemas.microsoft.com/office/drawing/2014/main" id="{71AC4490-71F1-809F-A1CE-ACC6040B3E3D}"/>
              </a:ext>
            </a:extLst>
          </p:cNvPr>
          <p:cNvSpPr/>
          <p:nvPr userDrawn="1"/>
        </p:nvSpPr>
        <p:spPr>
          <a:xfrm flipH="1">
            <a:off x="-7" y="1276793"/>
            <a:ext cx="3239347" cy="1619825"/>
          </a:xfrm>
          <a:prstGeom prst="leftBracket">
            <a:avLst>
              <a:gd name="adj" fmla="val 0"/>
            </a:avLst>
          </a:prstGeom>
          <a:solidFill>
            <a:schemeClr val="bg2"/>
          </a:solidFill>
          <a:ln w="1270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3" name="TextBox 142">
            <a:extLst>
              <a:ext uri="{FF2B5EF4-FFF2-40B4-BE49-F238E27FC236}">
                <a16:creationId xmlns:a16="http://schemas.microsoft.com/office/drawing/2014/main" id="{CC3B29DC-334F-ECB5-5E58-517C1C5646F5}"/>
              </a:ext>
            </a:extLst>
          </p:cNvPr>
          <p:cNvSpPr txBox="1"/>
          <p:nvPr userDrawn="1"/>
        </p:nvSpPr>
        <p:spPr>
          <a:xfrm>
            <a:off x="1911026" y="2580873"/>
            <a:ext cx="1142892" cy="215444"/>
          </a:xfrm>
          <a:prstGeom prst="rect">
            <a:avLst/>
          </a:prstGeom>
          <a:noFill/>
        </p:spPr>
        <p:txBody>
          <a:bodyPr wrap="square" lIns="0" rIns="0" anchor="ctr">
            <a:sp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Robot Attended</a:t>
            </a:r>
          </a:p>
        </p:txBody>
      </p:sp>
      <p:sp>
        <p:nvSpPr>
          <p:cNvPr id="144" name="TextBox 143">
            <a:extLst>
              <a:ext uri="{FF2B5EF4-FFF2-40B4-BE49-F238E27FC236}">
                <a16:creationId xmlns:a16="http://schemas.microsoft.com/office/drawing/2014/main" id="{B8B7208A-F120-57C2-E61F-81BBA913290E}"/>
              </a:ext>
            </a:extLst>
          </p:cNvPr>
          <p:cNvSpPr txBox="1"/>
          <p:nvPr userDrawn="1"/>
        </p:nvSpPr>
        <p:spPr>
          <a:xfrm>
            <a:off x="539318" y="2580873"/>
            <a:ext cx="961152" cy="215444"/>
          </a:xfrm>
          <a:prstGeom prst="rect">
            <a:avLst/>
          </a:prstGeom>
          <a:noFill/>
        </p:spPr>
        <p:txBody>
          <a:bodyPr wrap="square" lIns="0" rIns="0" anchor="ctr">
            <a:sp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Robot Unattended</a:t>
            </a:r>
          </a:p>
        </p:txBody>
      </p:sp>
      <p:sp>
        <p:nvSpPr>
          <p:cNvPr id="145" name="TextBox 144">
            <a:extLst>
              <a:ext uri="{FF2B5EF4-FFF2-40B4-BE49-F238E27FC236}">
                <a16:creationId xmlns:a16="http://schemas.microsoft.com/office/drawing/2014/main" id="{0BF2BC86-60AA-278A-CC60-C4E8797D72C7}"/>
              </a:ext>
            </a:extLst>
          </p:cNvPr>
          <p:cNvSpPr txBox="1"/>
          <p:nvPr userDrawn="1"/>
        </p:nvSpPr>
        <p:spPr>
          <a:xfrm>
            <a:off x="665076" y="1756657"/>
            <a:ext cx="709636" cy="215444"/>
          </a:xfrm>
          <a:prstGeom prst="rect">
            <a:avLst/>
          </a:prstGeom>
          <a:noFill/>
        </p:spPr>
        <p:txBody>
          <a:bodyPr wrap="square" lIns="0" rIns="0" anchor="ctr">
            <a:sp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Orchestrator</a:t>
            </a:r>
          </a:p>
        </p:txBody>
      </p:sp>
      <p:sp>
        <p:nvSpPr>
          <p:cNvPr id="146" name="TextBox 145">
            <a:extLst>
              <a:ext uri="{FF2B5EF4-FFF2-40B4-BE49-F238E27FC236}">
                <a16:creationId xmlns:a16="http://schemas.microsoft.com/office/drawing/2014/main" id="{32BE22DC-6BD2-6571-B445-4E36F24FACE4}"/>
              </a:ext>
            </a:extLst>
          </p:cNvPr>
          <p:cNvSpPr txBox="1"/>
          <p:nvPr userDrawn="1"/>
        </p:nvSpPr>
        <p:spPr>
          <a:xfrm>
            <a:off x="2320810" y="1756657"/>
            <a:ext cx="304800" cy="215444"/>
          </a:xfrm>
          <a:prstGeom prst="rect">
            <a:avLst/>
          </a:prstGeom>
          <a:noFill/>
        </p:spPr>
        <p:txBody>
          <a:bodyPr wrap="square" lIns="0" rIns="0" anchor="ctr">
            <a:sp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Studio</a:t>
            </a:r>
          </a:p>
        </p:txBody>
      </p:sp>
      <p:sp>
        <p:nvSpPr>
          <p:cNvPr id="147" name="TextBox 146">
            <a:extLst>
              <a:ext uri="{FF2B5EF4-FFF2-40B4-BE49-F238E27FC236}">
                <a16:creationId xmlns:a16="http://schemas.microsoft.com/office/drawing/2014/main" id="{7E0BED85-19DA-86A4-FC94-A91C4819848C}"/>
              </a:ext>
            </a:extLst>
          </p:cNvPr>
          <p:cNvSpPr txBox="1"/>
          <p:nvPr userDrawn="1"/>
        </p:nvSpPr>
        <p:spPr>
          <a:xfrm>
            <a:off x="10387591" y="2580873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Calendar</a:t>
            </a:r>
          </a:p>
        </p:txBody>
      </p:sp>
      <p:sp>
        <p:nvSpPr>
          <p:cNvPr id="148" name="TextBox 147">
            <a:extLst>
              <a:ext uri="{FF2B5EF4-FFF2-40B4-BE49-F238E27FC236}">
                <a16:creationId xmlns:a16="http://schemas.microsoft.com/office/drawing/2014/main" id="{86A42CC4-C638-B119-7C60-2EE4DF0748FE}"/>
              </a:ext>
            </a:extLst>
          </p:cNvPr>
          <p:cNvSpPr txBox="1"/>
          <p:nvPr userDrawn="1"/>
        </p:nvSpPr>
        <p:spPr>
          <a:xfrm>
            <a:off x="10387591" y="3367961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Course foundation</a:t>
            </a:r>
          </a:p>
        </p:txBody>
      </p:sp>
      <p:sp>
        <p:nvSpPr>
          <p:cNvPr id="149" name="TextBox 148">
            <a:extLst>
              <a:ext uri="{FF2B5EF4-FFF2-40B4-BE49-F238E27FC236}">
                <a16:creationId xmlns:a16="http://schemas.microsoft.com/office/drawing/2014/main" id="{2130F8C8-32C2-B4D8-31C6-2C65B0E9DDB3}"/>
              </a:ext>
            </a:extLst>
          </p:cNvPr>
          <p:cNvSpPr txBox="1"/>
          <p:nvPr userDrawn="1"/>
        </p:nvSpPr>
        <p:spPr>
          <a:xfrm>
            <a:off x="11099777" y="4216498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Enterprise-competency alt</a:t>
            </a:r>
          </a:p>
        </p:txBody>
      </p:sp>
      <p:sp>
        <p:nvSpPr>
          <p:cNvPr id="150" name="TextBox 149">
            <a:extLst>
              <a:ext uri="{FF2B5EF4-FFF2-40B4-BE49-F238E27FC236}">
                <a16:creationId xmlns:a16="http://schemas.microsoft.com/office/drawing/2014/main" id="{510136D4-4A35-6465-056E-6AB10A7E92BA}"/>
              </a:ext>
            </a:extLst>
          </p:cNvPr>
          <p:cNvSpPr txBox="1"/>
          <p:nvPr userDrawn="1"/>
        </p:nvSpPr>
        <p:spPr>
          <a:xfrm>
            <a:off x="11099777" y="5053521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Growth</a:t>
            </a:r>
          </a:p>
        </p:txBody>
      </p:sp>
      <p:sp>
        <p:nvSpPr>
          <p:cNvPr id="151" name="TextBox 150">
            <a:extLst>
              <a:ext uri="{FF2B5EF4-FFF2-40B4-BE49-F238E27FC236}">
                <a16:creationId xmlns:a16="http://schemas.microsoft.com/office/drawing/2014/main" id="{D981B45E-AF20-6DCD-EFCA-E68A39078411}"/>
              </a:ext>
            </a:extLst>
          </p:cNvPr>
          <p:cNvSpPr txBox="1"/>
          <p:nvPr userDrawn="1"/>
        </p:nvSpPr>
        <p:spPr>
          <a:xfrm>
            <a:off x="11099777" y="2580873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Certification</a:t>
            </a:r>
          </a:p>
        </p:txBody>
      </p:sp>
      <p:sp>
        <p:nvSpPr>
          <p:cNvPr id="152" name="TextBox 151">
            <a:extLst>
              <a:ext uri="{FF2B5EF4-FFF2-40B4-BE49-F238E27FC236}">
                <a16:creationId xmlns:a16="http://schemas.microsoft.com/office/drawing/2014/main" id="{3983DEA5-61BD-9BDF-E45C-8527B3572021}"/>
              </a:ext>
            </a:extLst>
          </p:cNvPr>
          <p:cNvSpPr txBox="1"/>
          <p:nvPr userDrawn="1"/>
        </p:nvSpPr>
        <p:spPr>
          <a:xfrm>
            <a:off x="11099777" y="3367961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Course foundation 2</a:t>
            </a:r>
          </a:p>
        </p:txBody>
      </p:sp>
      <p:sp>
        <p:nvSpPr>
          <p:cNvPr id="153" name="TextBox 152">
            <a:extLst>
              <a:ext uri="{FF2B5EF4-FFF2-40B4-BE49-F238E27FC236}">
                <a16:creationId xmlns:a16="http://schemas.microsoft.com/office/drawing/2014/main" id="{0A765BA8-CD86-6F1C-2A31-EFDBE83A2242}"/>
              </a:ext>
            </a:extLst>
          </p:cNvPr>
          <p:cNvSpPr txBox="1"/>
          <p:nvPr userDrawn="1"/>
        </p:nvSpPr>
        <p:spPr>
          <a:xfrm>
            <a:off x="386232" y="5053521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Equal</a:t>
            </a:r>
          </a:p>
        </p:txBody>
      </p:sp>
      <p:sp>
        <p:nvSpPr>
          <p:cNvPr id="154" name="TextBox 153">
            <a:extLst>
              <a:ext uri="{FF2B5EF4-FFF2-40B4-BE49-F238E27FC236}">
                <a16:creationId xmlns:a16="http://schemas.microsoft.com/office/drawing/2014/main" id="{AB1FBAFD-19B2-4E4E-CFB5-EB4B414C3385}"/>
              </a:ext>
            </a:extLst>
          </p:cNvPr>
          <p:cNvSpPr txBox="1"/>
          <p:nvPr userDrawn="1"/>
        </p:nvSpPr>
        <p:spPr>
          <a:xfrm>
            <a:off x="386232" y="587773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Health</a:t>
            </a:r>
          </a:p>
        </p:txBody>
      </p:sp>
      <p:sp>
        <p:nvSpPr>
          <p:cNvPr id="155" name="TextBox 154">
            <a:extLst>
              <a:ext uri="{FF2B5EF4-FFF2-40B4-BE49-F238E27FC236}">
                <a16:creationId xmlns:a16="http://schemas.microsoft.com/office/drawing/2014/main" id="{91E94E6D-23D1-B40D-D893-4EE7CD67C38A}"/>
              </a:ext>
            </a:extLst>
          </p:cNvPr>
          <p:cNvSpPr txBox="1"/>
          <p:nvPr userDrawn="1"/>
        </p:nvSpPr>
        <p:spPr>
          <a:xfrm>
            <a:off x="386232" y="3367961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Chart</a:t>
            </a:r>
          </a:p>
        </p:txBody>
      </p:sp>
      <p:sp>
        <p:nvSpPr>
          <p:cNvPr id="156" name="TextBox 155">
            <a:extLst>
              <a:ext uri="{FF2B5EF4-FFF2-40B4-BE49-F238E27FC236}">
                <a16:creationId xmlns:a16="http://schemas.microsoft.com/office/drawing/2014/main" id="{2C659DE3-4B62-B10E-7D67-0E9A1150768F}"/>
              </a:ext>
            </a:extLst>
          </p:cNvPr>
          <p:cNvSpPr txBox="1"/>
          <p:nvPr userDrawn="1"/>
        </p:nvSpPr>
        <p:spPr>
          <a:xfrm>
            <a:off x="386232" y="4216498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Course foundation 3</a:t>
            </a:r>
          </a:p>
        </p:txBody>
      </p:sp>
      <p:sp>
        <p:nvSpPr>
          <p:cNvPr id="157" name="TextBox 156">
            <a:extLst>
              <a:ext uri="{FF2B5EF4-FFF2-40B4-BE49-F238E27FC236}">
                <a16:creationId xmlns:a16="http://schemas.microsoft.com/office/drawing/2014/main" id="{5C45EF99-5254-61F7-0270-9F824B71238A}"/>
              </a:ext>
            </a:extLst>
          </p:cNvPr>
          <p:cNvSpPr txBox="1"/>
          <p:nvPr userDrawn="1"/>
        </p:nvSpPr>
        <p:spPr>
          <a:xfrm>
            <a:off x="1094199" y="5053521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Error</a:t>
            </a:r>
          </a:p>
        </p:txBody>
      </p:sp>
      <p:sp>
        <p:nvSpPr>
          <p:cNvPr id="158" name="TextBox 157">
            <a:extLst>
              <a:ext uri="{FF2B5EF4-FFF2-40B4-BE49-F238E27FC236}">
                <a16:creationId xmlns:a16="http://schemas.microsoft.com/office/drawing/2014/main" id="{2EB01D8C-EFE7-0432-6BEC-7D20AE50EA12}"/>
              </a:ext>
            </a:extLst>
          </p:cNvPr>
          <p:cNvSpPr txBox="1"/>
          <p:nvPr userDrawn="1"/>
        </p:nvSpPr>
        <p:spPr>
          <a:xfrm>
            <a:off x="1094199" y="587773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Heart</a:t>
            </a:r>
          </a:p>
        </p:txBody>
      </p:sp>
      <p:sp>
        <p:nvSpPr>
          <p:cNvPr id="159" name="TextBox 158">
            <a:extLst>
              <a:ext uri="{FF2B5EF4-FFF2-40B4-BE49-F238E27FC236}">
                <a16:creationId xmlns:a16="http://schemas.microsoft.com/office/drawing/2014/main" id="{5A0D91F4-EF34-0F6D-6C20-971DFDD7EF8C}"/>
              </a:ext>
            </a:extLst>
          </p:cNvPr>
          <p:cNvSpPr txBox="1"/>
          <p:nvPr userDrawn="1"/>
        </p:nvSpPr>
        <p:spPr>
          <a:xfrm>
            <a:off x="1094199" y="3367961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Clock</a:t>
            </a:r>
          </a:p>
        </p:txBody>
      </p:sp>
      <p:sp>
        <p:nvSpPr>
          <p:cNvPr id="160" name="TextBox 159">
            <a:extLst>
              <a:ext uri="{FF2B5EF4-FFF2-40B4-BE49-F238E27FC236}">
                <a16:creationId xmlns:a16="http://schemas.microsoft.com/office/drawing/2014/main" id="{14E4A168-D30B-31B6-0B0C-F78EE23FF965}"/>
              </a:ext>
            </a:extLst>
          </p:cNvPr>
          <p:cNvSpPr txBox="1"/>
          <p:nvPr userDrawn="1"/>
        </p:nvSpPr>
        <p:spPr>
          <a:xfrm>
            <a:off x="1094199" y="4216498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Course-orchestrator</a:t>
            </a:r>
          </a:p>
        </p:txBody>
      </p:sp>
      <p:sp>
        <p:nvSpPr>
          <p:cNvPr id="161" name="TextBox 160">
            <a:extLst>
              <a:ext uri="{FF2B5EF4-FFF2-40B4-BE49-F238E27FC236}">
                <a16:creationId xmlns:a16="http://schemas.microsoft.com/office/drawing/2014/main" id="{43CF43D2-9288-87F2-B856-7C1EEECD5497}"/>
              </a:ext>
            </a:extLst>
          </p:cNvPr>
          <p:cNvSpPr txBox="1"/>
          <p:nvPr userDrawn="1"/>
        </p:nvSpPr>
        <p:spPr>
          <a:xfrm>
            <a:off x="1808609" y="5053521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Exception handling</a:t>
            </a:r>
          </a:p>
        </p:txBody>
      </p:sp>
      <p:sp>
        <p:nvSpPr>
          <p:cNvPr id="162" name="TextBox 161">
            <a:extLst>
              <a:ext uri="{FF2B5EF4-FFF2-40B4-BE49-F238E27FC236}">
                <a16:creationId xmlns:a16="http://schemas.microsoft.com/office/drawing/2014/main" id="{2EFF34C0-61A5-BD5D-3FEB-414456F35698}"/>
              </a:ext>
            </a:extLst>
          </p:cNvPr>
          <p:cNvSpPr txBox="1"/>
          <p:nvPr userDrawn="1"/>
        </p:nvSpPr>
        <p:spPr>
          <a:xfrm>
            <a:off x="1808609" y="587773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Home</a:t>
            </a:r>
          </a:p>
        </p:txBody>
      </p:sp>
      <p:sp>
        <p:nvSpPr>
          <p:cNvPr id="163" name="TextBox 162">
            <a:extLst>
              <a:ext uri="{FF2B5EF4-FFF2-40B4-BE49-F238E27FC236}">
                <a16:creationId xmlns:a16="http://schemas.microsoft.com/office/drawing/2014/main" id="{872AAC04-96C0-B94D-09B2-064BAB90246A}"/>
              </a:ext>
            </a:extLst>
          </p:cNvPr>
          <p:cNvSpPr txBox="1"/>
          <p:nvPr userDrawn="1"/>
        </p:nvSpPr>
        <p:spPr>
          <a:xfrm>
            <a:off x="1808609" y="3367961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Cloud </a:t>
            </a:r>
          </a:p>
          <a:p>
            <a:pPr algn="ctr"/>
            <a:r>
              <a:rPr lang="en-US" sz="800">
                <a:solidFill>
                  <a:schemeClr val="tx1"/>
                </a:solidFill>
              </a:rPr>
              <a:t>app</a:t>
            </a:r>
          </a:p>
        </p:txBody>
      </p:sp>
      <p:sp>
        <p:nvSpPr>
          <p:cNvPr id="164" name="TextBox 163">
            <a:extLst>
              <a:ext uri="{FF2B5EF4-FFF2-40B4-BE49-F238E27FC236}">
                <a16:creationId xmlns:a16="http://schemas.microsoft.com/office/drawing/2014/main" id="{14A2A92C-209D-E494-2FFB-ACB270D41E26}"/>
              </a:ext>
            </a:extLst>
          </p:cNvPr>
          <p:cNvSpPr txBox="1"/>
          <p:nvPr userDrawn="1"/>
        </p:nvSpPr>
        <p:spPr>
          <a:xfrm>
            <a:off x="1808609" y="421649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CRM</a:t>
            </a:r>
          </a:p>
        </p:txBody>
      </p:sp>
      <p:sp>
        <p:nvSpPr>
          <p:cNvPr id="165" name="TextBox 164">
            <a:extLst>
              <a:ext uri="{FF2B5EF4-FFF2-40B4-BE49-F238E27FC236}">
                <a16:creationId xmlns:a16="http://schemas.microsoft.com/office/drawing/2014/main" id="{2FC78D67-446B-6BEB-0638-0D6E544A5217}"/>
              </a:ext>
            </a:extLst>
          </p:cNvPr>
          <p:cNvSpPr txBox="1"/>
          <p:nvPr userDrawn="1"/>
        </p:nvSpPr>
        <p:spPr>
          <a:xfrm>
            <a:off x="2524257" y="5053521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Fast ROI</a:t>
            </a:r>
          </a:p>
        </p:txBody>
      </p:sp>
      <p:sp>
        <p:nvSpPr>
          <p:cNvPr id="166" name="TextBox 165">
            <a:extLst>
              <a:ext uri="{FF2B5EF4-FFF2-40B4-BE49-F238E27FC236}">
                <a16:creationId xmlns:a16="http://schemas.microsoft.com/office/drawing/2014/main" id="{9C577B58-86A4-8B1B-93DD-8032851EE89C}"/>
              </a:ext>
            </a:extLst>
          </p:cNvPr>
          <p:cNvSpPr txBox="1"/>
          <p:nvPr userDrawn="1"/>
        </p:nvSpPr>
        <p:spPr>
          <a:xfrm>
            <a:off x="2524257" y="587773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Hourglass</a:t>
            </a: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6828CF9C-A1E7-799D-FEC7-7ACDF45BC775}"/>
              </a:ext>
            </a:extLst>
          </p:cNvPr>
          <p:cNvSpPr txBox="1"/>
          <p:nvPr userDrawn="1"/>
        </p:nvSpPr>
        <p:spPr>
          <a:xfrm>
            <a:off x="4667488" y="3367961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Code</a:t>
            </a:r>
          </a:p>
        </p:txBody>
      </p:sp>
      <p:sp>
        <p:nvSpPr>
          <p:cNvPr id="168" name="TextBox 167">
            <a:extLst>
              <a:ext uri="{FF2B5EF4-FFF2-40B4-BE49-F238E27FC236}">
                <a16:creationId xmlns:a16="http://schemas.microsoft.com/office/drawing/2014/main" id="{C5C0E58A-C54E-5074-0105-371E0D61BFCD}"/>
              </a:ext>
            </a:extLst>
          </p:cNvPr>
          <p:cNvSpPr txBox="1"/>
          <p:nvPr userDrawn="1"/>
        </p:nvSpPr>
        <p:spPr>
          <a:xfrm>
            <a:off x="4667488" y="4216498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Desktop program</a:t>
            </a: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DC9A94EC-DE32-51A2-60E2-F9A8428DE79E}"/>
              </a:ext>
            </a:extLst>
          </p:cNvPr>
          <p:cNvSpPr txBox="1"/>
          <p:nvPr userDrawn="1"/>
        </p:nvSpPr>
        <p:spPr>
          <a:xfrm>
            <a:off x="5381899" y="5053521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First-link</a:t>
            </a: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60079FE6-1DE0-E4DF-3076-AA52D5F2824F}"/>
              </a:ext>
            </a:extLst>
          </p:cNvPr>
          <p:cNvSpPr txBox="1"/>
          <p:nvPr userDrawn="1"/>
        </p:nvSpPr>
        <p:spPr>
          <a:xfrm>
            <a:off x="4667488" y="2580873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Automated data entry</a:t>
            </a:r>
          </a:p>
        </p:txBody>
      </p:sp>
      <p:sp>
        <p:nvSpPr>
          <p:cNvPr id="171" name="TextBox 170">
            <a:extLst>
              <a:ext uri="{FF2B5EF4-FFF2-40B4-BE49-F238E27FC236}">
                <a16:creationId xmlns:a16="http://schemas.microsoft.com/office/drawing/2014/main" id="{FB01A45B-D431-3990-4E9D-177AF0A8A849}"/>
              </a:ext>
            </a:extLst>
          </p:cNvPr>
          <p:cNvSpPr txBox="1"/>
          <p:nvPr userDrawn="1"/>
        </p:nvSpPr>
        <p:spPr>
          <a:xfrm>
            <a:off x="5381899" y="1753079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AI </a:t>
            </a:r>
          </a:p>
        </p:txBody>
      </p:sp>
      <p:sp>
        <p:nvSpPr>
          <p:cNvPr id="172" name="TextBox 171">
            <a:extLst>
              <a:ext uri="{FF2B5EF4-FFF2-40B4-BE49-F238E27FC236}">
                <a16:creationId xmlns:a16="http://schemas.microsoft.com/office/drawing/2014/main" id="{C20D9032-06AA-FC15-3948-452F49CA60C7}"/>
              </a:ext>
            </a:extLst>
          </p:cNvPr>
          <p:cNvSpPr txBox="1"/>
          <p:nvPr userDrawn="1"/>
        </p:nvSpPr>
        <p:spPr>
          <a:xfrm>
            <a:off x="5381899" y="587773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Keyboard</a:t>
            </a:r>
          </a:p>
        </p:txBody>
      </p:sp>
      <p:sp>
        <p:nvSpPr>
          <p:cNvPr id="173" name="TextBox 172">
            <a:extLst>
              <a:ext uri="{FF2B5EF4-FFF2-40B4-BE49-F238E27FC236}">
                <a16:creationId xmlns:a16="http://schemas.microsoft.com/office/drawing/2014/main" id="{2F0D8086-1588-0B00-5E4F-E4743E256807}"/>
              </a:ext>
            </a:extLst>
          </p:cNvPr>
          <p:cNvSpPr txBox="1"/>
          <p:nvPr userDrawn="1"/>
        </p:nvSpPr>
        <p:spPr>
          <a:xfrm>
            <a:off x="5381899" y="3367961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Complete </a:t>
            </a:r>
          </a:p>
          <a:p>
            <a:pPr algn="ctr"/>
            <a:r>
              <a:rPr lang="en-US" sz="800">
                <a:solidFill>
                  <a:schemeClr val="tx1"/>
                </a:solidFill>
              </a:rPr>
              <a:t>audit</a:t>
            </a:r>
          </a:p>
        </p:txBody>
      </p:sp>
      <p:sp>
        <p:nvSpPr>
          <p:cNvPr id="174" name="TextBox 173">
            <a:extLst>
              <a:ext uri="{FF2B5EF4-FFF2-40B4-BE49-F238E27FC236}">
                <a16:creationId xmlns:a16="http://schemas.microsoft.com/office/drawing/2014/main" id="{03105DCE-0318-F0C6-CC27-026BF24CF138}"/>
              </a:ext>
            </a:extLst>
          </p:cNvPr>
          <p:cNvSpPr txBox="1"/>
          <p:nvPr userDrawn="1"/>
        </p:nvSpPr>
        <p:spPr>
          <a:xfrm>
            <a:off x="5381899" y="4216498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Document </a:t>
            </a:r>
            <a:br>
              <a:rPr lang="en-US" sz="800">
                <a:solidFill>
                  <a:schemeClr val="tx1"/>
                </a:solidFill>
              </a:rPr>
            </a:br>
            <a:endParaRPr lang="en-US" sz="800">
              <a:solidFill>
                <a:schemeClr val="tx1"/>
              </a:solidFill>
            </a:endParaRP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0E62E34E-6ED4-6572-8849-4B800DADD434}"/>
              </a:ext>
            </a:extLst>
          </p:cNvPr>
          <p:cNvSpPr txBox="1"/>
          <p:nvPr userDrawn="1"/>
        </p:nvSpPr>
        <p:spPr>
          <a:xfrm>
            <a:off x="6096309" y="5053521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First-mention</a:t>
            </a:r>
          </a:p>
        </p:txBody>
      </p:sp>
      <p:sp>
        <p:nvSpPr>
          <p:cNvPr id="176" name="TextBox 175">
            <a:extLst>
              <a:ext uri="{FF2B5EF4-FFF2-40B4-BE49-F238E27FC236}">
                <a16:creationId xmlns:a16="http://schemas.microsoft.com/office/drawing/2014/main" id="{ED0B14EA-A8E6-CACA-9B25-37D38C03F06B}"/>
              </a:ext>
            </a:extLst>
          </p:cNvPr>
          <p:cNvSpPr txBox="1"/>
          <p:nvPr userDrawn="1"/>
        </p:nvSpPr>
        <p:spPr>
          <a:xfrm>
            <a:off x="5381899" y="2580873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Automation</a:t>
            </a:r>
          </a:p>
        </p:txBody>
      </p:sp>
      <p:sp>
        <p:nvSpPr>
          <p:cNvPr id="177" name="TextBox 176">
            <a:extLst>
              <a:ext uri="{FF2B5EF4-FFF2-40B4-BE49-F238E27FC236}">
                <a16:creationId xmlns:a16="http://schemas.microsoft.com/office/drawing/2014/main" id="{C52B26B0-DCB5-4E42-3322-7322B2E04405}"/>
              </a:ext>
            </a:extLst>
          </p:cNvPr>
          <p:cNvSpPr txBox="1"/>
          <p:nvPr userDrawn="1"/>
        </p:nvSpPr>
        <p:spPr>
          <a:xfrm>
            <a:off x="6096309" y="1753079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AI Alt</a:t>
            </a:r>
          </a:p>
        </p:txBody>
      </p:sp>
      <p:sp>
        <p:nvSpPr>
          <p:cNvPr id="178" name="TextBox 177">
            <a:extLst>
              <a:ext uri="{FF2B5EF4-FFF2-40B4-BE49-F238E27FC236}">
                <a16:creationId xmlns:a16="http://schemas.microsoft.com/office/drawing/2014/main" id="{4205794A-0174-0BBE-A881-5960CAD31613}"/>
              </a:ext>
            </a:extLst>
          </p:cNvPr>
          <p:cNvSpPr txBox="1"/>
          <p:nvPr userDrawn="1"/>
        </p:nvSpPr>
        <p:spPr>
          <a:xfrm>
            <a:off x="6096309" y="587773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Label</a:t>
            </a:r>
          </a:p>
        </p:txBody>
      </p:sp>
      <p:sp>
        <p:nvSpPr>
          <p:cNvPr id="179" name="TextBox 178">
            <a:extLst>
              <a:ext uri="{FF2B5EF4-FFF2-40B4-BE49-F238E27FC236}">
                <a16:creationId xmlns:a16="http://schemas.microsoft.com/office/drawing/2014/main" id="{DB038319-79B5-1BD8-BFA5-BC37F86D80AA}"/>
              </a:ext>
            </a:extLst>
          </p:cNvPr>
          <p:cNvSpPr txBox="1"/>
          <p:nvPr userDrawn="1"/>
        </p:nvSpPr>
        <p:spPr>
          <a:xfrm>
            <a:off x="6096309" y="3367961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Contact</a:t>
            </a:r>
          </a:p>
          <a:p>
            <a:pPr algn="ctr"/>
            <a:r>
              <a:rPr lang="en-US" sz="800">
                <a:solidFill>
                  <a:schemeClr val="tx1"/>
                </a:solidFill>
              </a:rPr>
              <a:t>email</a:t>
            </a:r>
          </a:p>
        </p:txBody>
      </p:sp>
      <p:sp>
        <p:nvSpPr>
          <p:cNvPr id="180" name="TextBox 179">
            <a:extLst>
              <a:ext uri="{FF2B5EF4-FFF2-40B4-BE49-F238E27FC236}">
                <a16:creationId xmlns:a16="http://schemas.microsoft.com/office/drawing/2014/main" id="{ABF5B548-A07D-083B-81C0-3FD563501127}"/>
              </a:ext>
            </a:extLst>
          </p:cNvPr>
          <p:cNvSpPr txBox="1"/>
          <p:nvPr userDrawn="1"/>
        </p:nvSpPr>
        <p:spPr>
          <a:xfrm>
            <a:off x="6096309" y="421649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Done</a:t>
            </a:r>
          </a:p>
        </p:txBody>
      </p:sp>
      <p:sp>
        <p:nvSpPr>
          <p:cNvPr id="182" name="TextBox 181">
            <a:extLst>
              <a:ext uri="{FF2B5EF4-FFF2-40B4-BE49-F238E27FC236}">
                <a16:creationId xmlns:a16="http://schemas.microsoft.com/office/drawing/2014/main" id="{821D07A1-47A4-9255-DEB1-C2640D028BB8}"/>
              </a:ext>
            </a:extLst>
          </p:cNvPr>
          <p:cNvSpPr txBox="1"/>
          <p:nvPr userDrawn="1"/>
        </p:nvSpPr>
        <p:spPr>
          <a:xfrm>
            <a:off x="6810720" y="5053521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First-</a:t>
            </a:r>
            <a:r>
              <a:rPr lang="en-US" sz="800" err="1">
                <a:solidFill>
                  <a:schemeClr val="tx1"/>
                </a:solidFill>
              </a:rPr>
              <a:t>onebox</a:t>
            </a:r>
            <a:endParaRPr lang="en-US" sz="800">
              <a:solidFill>
                <a:schemeClr val="tx1"/>
              </a:solidFill>
            </a:endParaRPr>
          </a:p>
        </p:txBody>
      </p:sp>
      <p:sp>
        <p:nvSpPr>
          <p:cNvPr id="184" name="TextBox 183">
            <a:extLst>
              <a:ext uri="{FF2B5EF4-FFF2-40B4-BE49-F238E27FC236}">
                <a16:creationId xmlns:a16="http://schemas.microsoft.com/office/drawing/2014/main" id="{B86C15F5-3A55-A437-9332-4855D1AE1ED5}"/>
              </a:ext>
            </a:extLst>
          </p:cNvPr>
          <p:cNvSpPr txBox="1"/>
          <p:nvPr userDrawn="1"/>
        </p:nvSpPr>
        <p:spPr>
          <a:xfrm>
            <a:off x="6096309" y="2580873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Background automation</a:t>
            </a:r>
          </a:p>
        </p:txBody>
      </p:sp>
      <p:sp>
        <p:nvSpPr>
          <p:cNvPr id="186" name="TextBox 185">
            <a:extLst>
              <a:ext uri="{FF2B5EF4-FFF2-40B4-BE49-F238E27FC236}">
                <a16:creationId xmlns:a16="http://schemas.microsoft.com/office/drawing/2014/main" id="{D62BB331-D917-D93E-6266-708E5188336B}"/>
              </a:ext>
            </a:extLst>
          </p:cNvPr>
          <p:cNvSpPr txBox="1"/>
          <p:nvPr userDrawn="1"/>
        </p:nvSpPr>
        <p:spPr>
          <a:xfrm>
            <a:off x="6810720" y="1753079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AI Enabled</a:t>
            </a:r>
          </a:p>
        </p:txBody>
      </p:sp>
      <p:sp>
        <p:nvSpPr>
          <p:cNvPr id="188" name="TextBox 187">
            <a:extLst>
              <a:ext uri="{FF2B5EF4-FFF2-40B4-BE49-F238E27FC236}">
                <a16:creationId xmlns:a16="http://schemas.microsoft.com/office/drawing/2014/main" id="{1B6FE7F1-F0D3-9943-3C58-F246C2C6319B}"/>
              </a:ext>
            </a:extLst>
          </p:cNvPr>
          <p:cNvSpPr txBox="1"/>
          <p:nvPr userDrawn="1"/>
        </p:nvSpPr>
        <p:spPr>
          <a:xfrm>
            <a:off x="6810720" y="587773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Label alt</a:t>
            </a:r>
          </a:p>
        </p:txBody>
      </p:sp>
      <p:sp>
        <p:nvSpPr>
          <p:cNvPr id="190" name="TextBox 189">
            <a:extLst>
              <a:ext uri="{FF2B5EF4-FFF2-40B4-BE49-F238E27FC236}">
                <a16:creationId xmlns:a16="http://schemas.microsoft.com/office/drawing/2014/main" id="{DAB33093-D44B-2D97-4356-7477A3167BF9}"/>
              </a:ext>
            </a:extLst>
          </p:cNvPr>
          <p:cNvSpPr txBox="1"/>
          <p:nvPr userDrawn="1"/>
        </p:nvSpPr>
        <p:spPr>
          <a:xfrm>
            <a:off x="8959652" y="3367961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Cost low</a:t>
            </a:r>
          </a:p>
        </p:txBody>
      </p:sp>
      <p:sp>
        <p:nvSpPr>
          <p:cNvPr id="192" name="TextBox 191">
            <a:extLst>
              <a:ext uri="{FF2B5EF4-FFF2-40B4-BE49-F238E27FC236}">
                <a16:creationId xmlns:a16="http://schemas.microsoft.com/office/drawing/2014/main" id="{CF4B254F-A656-0013-3E04-38B792CA7F65}"/>
              </a:ext>
            </a:extLst>
          </p:cNvPr>
          <p:cNvSpPr txBox="1"/>
          <p:nvPr userDrawn="1"/>
        </p:nvSpPr>
        <p:spPr>
          <a:xfrm>
            <a:off x="8959652" y="421649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Editor</a:t>
            </a:r>
          </a:p>
        </p:txBody>
      </p:sp>
      <p:sp>
        <p:nvSpPr>
          <p:cNvPr id="194" name="TextBox 193">
            <a:extLst>
              <a:ext uri="{FF2B5EF4-FFF2-40B4-BE49-F238E27FC236}">
                <a16:creationId xmlns:a16="http://schemas.microsoft.com/office/drawing/2014/main" id="{F45D9769-572E-7CCF-71EA-8D31429E5EE1}"/>
              </a:ext>
            </a:extLst>
          </p:cNvPr>
          <p:cNvSpPr txBox="1"/>
          <p:nvPr userDrawn="1"/>
        </p:nvSpPr>
        <p:spPr>
          <a:xfrm>
            <a:off x="9672676" y="5053521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Goals</a:t>
            </a:r>
          </a:p>
        </p:txBody>
      </p:sp>
      <p:sp>
        <p:nvSpPr>
          <p:cNvPr id="196" name="TextBox 195">
            <a:extLst>
              <a:ext uri="{FF2B5EF4-FFF2-40B4-BE49-F238E27FC236}">
                <a16:creationId xmlns:a16="http://schemas.microsoft.com/office/drawing/2014/main" id="{51472E69-C443-F326-86F8-C88BD4F741FB}"/>
              </a:ext>
            </a:extLst>
          </p:cNvPr>
          <p:cNvSpPr txBox="1"/>
          <p:nvPr userDrawn="1"/>
        </p:nvSpPr>
        <p:spPr>
          <a:xfrm>
            <a:off x="8959652" y="2580873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Business partner-up alt</a:t>
            </a:r>
          </a:p>
        </p:txBody>
      </p:sp>
      <p:sp>
        <p:nvSpPr>
          <p:cNvPr id="198" name="TextBox 197">
            <a:extLst>
              <a:ext uri="{FF2B5EF4-FFF2-40B4-BE49-F238E27FC236}">
                <a16:creationId xmlns:a16="http://schemas.microsoft.com/office/drawing/2014/main" id="{BDCB3D5F-2083-DAEB-5D9B-493A2A62149A}"/>
              </a:ext>
            </a:extLst>
          </p:cNvPr>
          <p:cNvSpPr txBox="1"/>
          <p:nvPr userDrawn="1"/>
        </p:nvSpPr>
        <p:spPr>
          <a:xfrm>
            <a:off x="9672676" y="1753079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App-3rd-party  2</a:t>
            </a:r>
          </a:p>
        </p:txBody>
      </p:sp>
      <p:sp>
        <p:nvSpPr>
          <p:cNvPr id="200" name="TextBox 199">
            <a:extLst>
              <a:ext uri="{FF2B5EF4-FFF2-40B4-BE49-F238E27FC236}">
                <a16:creationId xmlns:a16="http://schemas.microsoft.com/office/drawing/2014/main" id="{76F35152-B5C2-9844-D611-88B49788AEB3}"/>
              </a:ext>
            </a:extLst>
          </p:cNvPr>
          <p:cNvSpPr txBox="1"/>
          <p:nvPr userDrawn="1"/>
        </p:nvSpPr>
        <p:spPr>
          <a:xfrm>
            <a:off x="10387591" y="5877738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Link </a:t>
            </a:r>
          </a:p>
          <a:p>
            <a:pPr algn="ctr"/>
            <a:r>
              <a:rPr lang="en-US" sz="800">
                <a:solidFill>
                  <a:schemeClr val="tx1"/>
                </a:solidFill>
              </a:rPr>
              <a:t>special</a:t>
            </a:r>
          </a:p>
        </p:txBody>
      </p:sp>
      <p:sp>
        <p:nvSpPr>
          <p:cNvPr id="202" name="TextBox 201">
            <a:extLst>
              <a:ext uri="{FF2B5EF4-FFF2-40B4-BE49-F238E27FC236}">
                <a16:creationId xmlns:a16="http://schemas.microsoft.com/office/drawing/2014/main" id="{62D2C08A-0AE1-2A74-FAA6-25DA7665AE7D}"/>
              </a:ext>
            </a:extLst>
          </p:cNvPr>
          <p:cNvSpPr txBox="1"/>
          <p:nvPr userDrawn="1"/>
        </p:nvSpPr>
        <p:spPr>
          <a:xfrm>
            <a:off x="2524257" y="3367961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Cloud download</a:t>
            </a:r>
          </a:p>
        </p:txBody>
      </p:sp>
      <p:sp>
        <p:nvSpPr>
          <p:cNvPr id="204" name="TextBox 203">
            <a:extLst>
              <a:ext uri="{FF2B5EF4-FFF2-40B4-BE49-F238E27FC236}">
                <a16:creationId xmlns:a16="http://schemas.microsoft.com/office/drawing/2014/main" id="{B3AB210F-4704-FE34-00F6-BA67E36F9A0D}"/>
              </a:ext>
            </a:extLst>
          </p:cNvPr>
          <p:cNvSpPr txBox="1"/>
          <p:nvPr userDrawn="1"/>
        </p:nvSpPr>
        <p:spPr>
          <a:xfrm>
            <a:off x="2524257" y="421649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Crown</a:t>
            </a:r>
          </a:p>
        </p:txBody>
      </p:sp>
      <p:sp>
        <p:nvSpPr>
          <p:cNvPr id="206" name="TextBox 205">
            <a:extLst>
              <a:ext uri="{FF2B5EF4-FFF2-40B4-BE49-F238E27FC236}">
                <a16:creationId xmlns:a16="http://schemas.microsoft.com/office/drawing/2014/main" id="{5673C0EC-67FD-1891-6947-AB545172AF3F}"/>
              </a:ext>
            </a:extLst>
          </p:cNvPr>
          <p:cNvSpPr txBox="1"/>
          <p:nvPr userDrawn="1"/>
        </p:nvSpPr>
        <p:spPr>
          <a:xfrm>
            <a:off x="3241239" y="5053521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First Emoji</a:t>
            </a:r>
          </a:p>
        </p:txBody>
      </p:sp>
      <p:sp>
        <p:nvSpPr>
          <p:cNvPr id="208" name="TextBox 207">
            <a:extLst>
              <a:ext uri="{FF2B5EF4-FFF2-40B4-BE49-F238E27FC236}">
                <a16:creationId xmlns:a16="http://schemas.microsoft.com/office/drawing/2014/main" id="{976F7DF7-1D36-DF43-79B3-91EB7DDDBCB4}"/>
              </a:ext>
            </a:extLst>
          </p:cNvPr>
          <p:cNvSpPr txBox="1"/>
          <p:nvPr userDrawn="1"/>
        </p:nvSpPr>
        <p:spPr>
          <a:xfrm>
            <a:off x="11099777" y="1753079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Assessment</a:t>
            </a:r>
          </a:p>
        </p:txBody>
      </p:sp>
      <p:sp>
        <p:nvSpPr>
          <p:cNvPr id="210" name="TextBox 209">
            <a:extLst>
              <a:ext uri="{FF2B5EF4-FFF2-40B4-BE49-F238E27FC236}">
                <a16:creationId xmlns:a16="http://schemas.microsoft.com/office/drawing/2014/main" id="{6AE69D01-FA47-1106-3CF0-91A88A9BB6D5}"/>
              </a:ext>
            </a:extLst>
          </p:cNvPr>
          <p:cNvSpPr txBox="1"/>
          <p:nvPr userDrawn="1"/>
        </p:nvSpPr>
        <p:spPr>
          <a:xfrm>
            <a:off x="3241239" y="1753079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Abstract</a:t>
            </a:r>
          </a:p>
        </p:txBody>
      </p:sp>
      <p:sp>
        <p:nvSpPr>
          <p:cNvPr id="212" name="TextBox 211">
            <a:extLst>
              <a:ext uri="{FF2B5EF4-FFF2-40B4-BE49-F238E27FC236}">
                <a16:creationId xmlns:a16="http://schemas.microsoft.com/office/drawing/2014/main" id="{71E80189-DC96-BC03-4B8F-03FA3C5AB3F6}"/>
              </a:ext>
            </a:extLst>
          </p:cNvPr>
          <p:cNvSpPr txBox="1"/>
          <p:nvPr userDrawn="1"/>
        </p:nvSpPr>
        <p:spPr>
          <a:xfrm>
            <a:off x="3241239" y="587773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Information</a:t>
            </a:r>
          </a:p>
        </p:txBody>
      </p:sp>
      <p:sp>
        <p:nvSpPr>
          <p:cNvPr id="214" name="TextBox 213">
            <a:extLst>
              <a:ext uri="{FF2B5EF4-FFF2-40B4-BE49-F238E27FC236}">
                <a16:creationId xmlns:a16="http://schemas.microsoft.com/office/drawing/2014/main" id="{416BAECE-0CE1-836E-0D62-848D02D5872E}"/>
              </a:ext>
            </a:extLst>
          </p:cNvPr>
          <p:cNvSpPr txBox="1"/>
          <p:nvPr userDrawn="1"/>
        </p:nvSpPr>
        <p:spPr>
          <a:xfrm>
            <a:off x="3932072" y="3367961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Cloud </a:t>
            </a:r>
          </a:p>
          <a:p>
            <a:pPr algn="ctr"/>
            <a:r>
              <a:rPr lang="en-US" sz="800">
                <a:solidFill>
                  <a:schemeClr val="tx1"/>
                </a:solidFill>
              </a:rPr>
              <a:t>upload</a:t>
            </a:r>
          </a:p>
        </p:txBody>
      </p:sp>
      <p:sp>
        <p:nvSpPr>
          <p:cNvPr id="216" name="TextBox 215">
            <a:extLst>
              <a:ext uri="{FF2B5EF4-FFF2-40B4-BE49-F238E27FC236}">
                <a16:creationId xmlns:a16="http://schemas.microsoft.com/office/drawing/2014/main" id="{F2234D4F-798E-8307-04B9-3EF029746E92}"/>
              </a:ext>
            </a:extLst>
          </p:cNvPr>
          <p:cNvSpPr txBox="1"/>
          <p:nvPr userDrawn="1"/>
        </p:nvSpPr>
        <p:spPr>
          <a:xfrm>
            <a:off x="3932072" y="421649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Decrease</a:t>
            </a:r>
          </a:p>
        </p:txBody>
      </p:sp>
      <p:sp>
        <p:nvSpPr>
          <p:cNvPr id="218" name="TextBox 217">
            <a:extLst>
              <a:ext uri="{FF2B5EF4-FFF2-40B4-BE49-F238E27FC236}">
                <a16:creationId xmlns:a16="http://schemas.microsoft.com/office/drawing/2014/main" id="{56CFBF42-D1D4-D2F9-DA9E-102F14C6F422}"/>
              </a:ext>
            </a:extLst>
          </p:cNvPr>
          <p:cNvSpPr txBox="1"/>
          <p:nvPr userDrawn="1"/>
        </p:nvSpPr>
        <p:spPr>
          <a:xfrm>
            <a:off x="4667488" y="5053521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First-like</a:t>
            </a:r>
          </a:p>
        </p:txBody>
      </p:sp>
      <p:sp>
        <p:nvSpPr>
          <p:cNvPr id="220" name="TextBox 219">
            <a:extLst>
              <a:ext uri="{FF2B5EF4-FFF2-40B4-BE49-F238E27FC236}">
                <a16:creationId xmlns:a16="http://schemas.microsoft.com/office/drawing/2014/main" id="{5A29C45F-DA24-45DA-B830-3166758F63A6}"/>
              </a:ext>
            </a:extLst>
          </p:cNvPr>
          <p:cNvSpPr txBox="1"/>
          <p:nvPr userDrawn="1"/>
        </p:nvSpPr>
        <p:spPr>
          <a:xfrm>
            <a:off x="3932072" y="2580873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Autobiographer</a:t>
            </a:r>
          </a:p>
        </p:txBody>
      </p:sp>
      <p:sp>
        <p:nvSpPr>
          <p:cNvPr id="222" name="TextBox 221">
            <a:extLst>
              <a:ext uri="{FF2B5EF4-FFF2-40B4-BE49-F238E27FC236}">
                <a16:creationId xmlns:a16="http://schemas.microsoft.com/office/drawing/2014/main" id="{1FD2E894-9D46-71DA-9721-CE2B1006555D}"/>
              </a:ext>
            </a:extLst>
          </p:cNvPr>
          <p:cNvSpPr txBox="1"/>
          <p:nvPr userDrawn="1"/>
        </p:nvSpPr>
        <p:spPr>
          <a:xfrm>
            <a:off x="4667488" y="1753079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Advanced </a:t>
            </a:r>
          </a:p>
          <a:p>
            <a:pPr algn="ctr"/>
            <a:r>
              <a:rPr lang="en-US" sz="800">
                <a:solidFill>
                  <a:schemeClr val="tx1"/>
                </a:solidFill>
              </a:rPr>
              <a:t>OCR</a:t>
            </a:r>
          </a:p>
        </p:txBody>
      </p:sp>
      <p:sp>
        <p:nvSpPr>
          <p:cNvPr id="224" name="TextBox 223">
            <a:extLst>
              <a:ext uri="{FF2B5EF4-FFF2-40B4-BE49-F238E27FC236}">
                <a16:creationId xmlns:a16="http://schemas.microsoft.com/office/drawing/2014/main" id="{72D9A549-003A-8429-019E-98CED2AFC783}"/>
              </a:ext>
            </a:extLst>
          </p:cNvPr>
          <p:cNvSpPr txBox="1"/>
          <p:nvPr userDrawn="1"/>
        </p:nvSpPr>
        <p:spPr>
          <a:xfrm>
            <a:off x="4667488" y="587773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Institutionalize</a:t>
            </a:r>
          </a:p>
        </p:txBody>
      </p:sp>
      <p:sp>
        <p:nvSpPr>
          <p:cNvPr id="226" name="TextBox 225">
            <a:extLst>
              <a:ext uri="{FF2B5EF4-FFF2-40B4-BE49-F238E27FC236}">
                <a16:creationId xmlns:a16="http://schemas.microsoft.com/office/drawing/2014/main" id="{B81DB415-4591-ECD0-32E1-CD340D03FA47}"/>
              </a:ext>
            </a:extLst>
          </p:cNvPr>
          <p:cNvSpPr txBox="1"/>
          <p:nvPr userDrawn="1"/>
        </p:nvSpPr>
        <p:spPr>
          <a:xfrm>
            <a:off x="3241239" y="3367961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Cloud </a:t>
            </a:r>
          </a:p>
          <a:p>
            <a:pPr algn="ctr"/>
            <a:r>
              <a:rPr lang="en-US" sz="800">
                <a:solidFill>
                  <a:schemeClr val="tx1"/>
                </a:solidFill>
              </a:rPr>
              <a:t>secure</a:t>
            </a:r>
          </a:p>
        </p:txBody>
      </p:sp>
      <p:sp>
        <p:nvSpPr>
          <p:cNvPr id="228" name="TextBox 227">
            <a:extLst>
              <a:ext uri="{FF2B5EF4-FFF2-40B4-BE49-F238E27FC236}">
                <a16:creationId xmlns:a16="http://schemas.microsoft.com/office/drawing/2014/main" id="{5F63E364-343A-B3B7-E9DF-AAF38A5BD1EB}"/>
              </a:ext>
            </a:extLst>
          </p:cNvPr>
          <p:cNvSpPr txBox="1"/>
          <p:nvPr userDrawn="1"/>
        </p:nvSpPr>
        <p:spPr>
          <a:xfrm>
            <a:off x="3241239" y="4216498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Cultural acceptance</a:t>
            </a:r>
          </a:p>
        </p:txBody>
      </p:sp>
      <p:sp>
        <p:nvSpPr>
          <p:cNvPr id="230" name="TextBox 229">
            <a:extLst>
              <a:ext uri="{FF2B5EF4-FFF2-40B4-BE49-F238E27FC236}">
                <a16:creationId xmlns:a16="http://schemas.microsoft.com/office/drawing/2014/main" id="{8C9E9303-24D5-EC49-FFAD-9784E0D73A26}"/>
              </a:ext>
            </a:extLst>
          </p:cNvPr>
          <p:cNvSpPr txBox="1"/>
          <p:nvPr userDrawn="1"/>
        </p:nvSpPr>
        <p:spPr>
          <a:xfrm>
            <a:off x="3932072" y="5053521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First Flag</a:t>
            </a:r>
          </a:p>
        </p:txBody>
      </p:sp>
      <p:sp>
        <p:nvSpPr>
          <p:cNvPr id="232" name="TextBox 231">
            <a:extLst>
              <a:ext uri="{FF2B5EF4-FFF2-40B4-BE49-F238E27FC236}">
                <a16:creationId xmlns:a16="http://schemas.microsoft.com/office/drawing/2014/main" id="{11F7BC0A-7254-AC6E-55F8-05D23172904F}"/>
              </a:ext>
            </a:extLst>
          </p:cNvPr>
          <p:cNvSpPr txBox="1"/>
          <p:nvPr userDrawn="1"/>
        </p:nvSpPr>
        <p:spPr>
          <a:xfrm>
            <a:off x="3241239" y="2580873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Atom</a:t>
            </a:r>
          </a:p>
        </p:txBody>
      </p:sp>
      <p:sp>
        <p:nvSpPr>
          <p:cNvPr id="234" name="TextBox 233">
            <a:extLst>
              <a:ext uri="{FF2B5EF4-FFF2-40B4-BE49-F238E27FC236}">
                <a16:creationId xmlns:a16="http://schemas.microsoft.com/office/drawing/2014/main" id="{13817C15-2271-1E0D-9B77-D4F91F4B971C}"/>
              </a:ext>
            </a:extLst>
          </p:cNvPr>
          <p:cNvSpPr txBox="1"/>
          <p:nvPr userDrawn="1"/>
        </p:nvSpPr>
        <p:spPr>
          <a:xfrm>
            <a:off x="3932072" y="1753079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Add</a:t>
            </a:r>
          </a:p>
        </p:txBody>
      </p:sp>
      <p:sp>
        <p:nvSpPr>
          <p:cNvPr id="236" name="TextBox 235">
            <a:extLst>
              <a:ext uri="{FF2B5EF4-FFF2-40B4-BE49-F238E27FC236}">
                <a16:creationId xmlns:a16="http://schemas.microsoft.com/office/drawing/2014/main" id="{2CE18EFF-99AA-23A7-22EB-D121E126479C}"/>
              </a:ext>
            </a:extLst>
          </p:cNvPr>
          <p:cNvSpPr txBox="1"/>
          <p:nvPr userDrawn="1"/>
        </p:nvSpPr>
        <p:spPr>
          <a:xfrm>
            <a:off x="3932072" y="587773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Input</a:t>
            </a:r>
          </a:p>
        </p:txBody>
      </p:sp>
      <p:sp>
        <p:nvSpPr>
          <p:cNvPr id="238" name="TextBox 237">
            <a:extLst>
              <a:ext uri="{FF2B5EF4-FFF2-40B4-BE49-F238E27FC236}">
                <a16:creationId xmlns:a16="http://schemas.microsoft.com/office/drawing/2014/main" id="{36A526E2-9F30-BCFA-BDFC-549CE9D3D4EA}"/>
              </a:ext>
            </a:extLst>
          </p:cNvPr>
          <p:cNvSpPr txBox="1"/>
          <p:nvPr userDrawn="1"/>
        </p:nvSpPr>
        <p:spPr>
          <a:xfrm>
            <a:off x="6810720" y="3367961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Contact </a:t>
            </a:r>
          </a:p>
          <a:p>
            <a:pPr algn="ctr"/>
            <a:r>
              <a:rPr lang="en-US" sz="800">
                <a:solidFill>
                  <a:schemeClr val="tx1"/>
                </a:solidFill>
              </a:rPr>
              <a:t>email alt</a:t>
            </a:r>
          </a:p>
        </p:txBody>
      </p:sp>
      <p:sp>
        <p:nvSpPr>
          <p:cNvPr id="240" name="TextBox 239">
            <a:extLst>
              <a:ext uri="{FF2B5EF4-FFF2-40B4-BE49-F238E27FC236}">
                <a16:creationId xmlns:a16="http://schemas.microsoft.com/office/drawing/2014/main" id="{DB653852-DED1-E1F8-01BE-31F58E0B6C08}"/>
              </a:ext>
            </a:extLst>
          </p:cNvPr>
          <p:cNvSpPr txBox="1"/>
          <p:nvPr userDrawn="1"/>
        </p:nvSpPr>
        <p:spPr>
          <a:xfrm>
            <a:off x="6810720" y="4216498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Ease </a:t>
            </a:r>
          </a:p>
          <a:p>
            <a:pPr algn="ctr"/>
            <a:r>
              <a:rPr lang="en-US" sz="800">
                <a:solidFill>
                  <a:schemeClr val="tx1"/>
                </a:solidFill>
              </a:rPr>
              <a:t>of use</a:t>
            </a:r>
          </a:p>
        </p:txBody>
      </p:sp>
      <p:sp>
        <p:nvSpPr>
          <p:cNvPr id="242" name="TextBox 241">
            <a:extLst>
              <a:ext uri="{FF2B5EF4-FFF2-40B4-BE49-F238E27FC236}">
                <a16:creationId xmlns:a16="http://schemas.microsoft.com/office/drawing/2014/main" id="{356D23B9-7EAA-ACBD-BE62-7E99A3D06A49}"/>
              </a:ext>
            </a:extLst>
          </p:cNvPr>
          <p:cNvSpPr txBox="1"/>
          <p:nvPr userDrawn="1"/>
        </p:nvSpPr>
        <p:spPr>
          <a:xfrm>
            <a:off x="7525130" y="5053521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First-quote</a:t>
            </a:r>
          </a:p>
        </p:txBody>
      </p:sp>
      <p:sp>
        <p:nvSpPr>
          <p:cNvPr id="244" name="TextBox 243">
            <a:extLst>
              <a:ext uri="{FF2B5EF4-FFF2-40B4-BE49-F238E27FC236}">
                <a16:creationId xmlns:a16="http://schemas.microsoft.com/office/drawing/2014/main" id="{C74DD66D-A225-A232-F0DD-2EB3C4951CF5}"/>
              </a:ext>
            </a:extLst>
          </p:cNvPr>
          <p:cNvSpPr txBox="1"/>
          <p:nvPr userDrawn="1"/>
        </p:nvSpPr>
        <p:spPr>
          <a:xfrm>
            <a:off x="6810720" y="2580873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Big scale</a:t>
            </a:r>
          </a:p>
        </p:txBody>
      </p:sp>
      <p:sp>
        <p:nvSpPr>
          <p:cNvPr id="246" name="TextBox 245">
            <a:extLst>
              <a:ext uri="{FF2B5EF4-FFF2-40B4-BE49-F238E27FC236}">
                <a16:creationId xmlns:a16="http://schemas.microsoft.com/office/drawing/2014/main" id="{977E8AA1-AACE-AF06-C498-00ADE29E5144}"/>
              </a:ext>
            </a:extLst>
          </p:cNvPr>
          <p:cNvSpPr txBox="1"/>
          <p:nvPr userDrawn="1"/>
        </p:nvSpPr>
        <p:spPr>
          <a:xfrm>
            <a:off x="7525130" y="1753079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Alert </a:t>
            </a:r>
          </a:p>
          <a:p>
            <a:pPr algn="ctr"/>
            <a:r>
              <a:rPr lang="en-US" sz="800">
                <a:solidFill>
                  <a:schemeClr val="tx1"/>
                </a:solidFill>
              </a:rPr>
              <a:t>Alarm</a:t>
            </a:r>
          </a:p>
        </p:txBody>
      </p:sp>
      <p:sp>
        <p:nvSpPr>
          <p:cNvPr id="248" name="TextBox 247">
            <a:extLst>
              <a:ext uri="{FF2B5EF4-FFF2-40B4-BE49-F238E27FC236}">
                <a16:creationId xmlns:a16="http://schemas.microsoft.com/office/drawing/2014/main" id="{1BDD1A0F-91DF-0AFD-B39D-710B3E47C42A}"/>
              </a:ext>
            </a:extLst>
          </p:cNvPr>
          <p:cNvSpPr txBox="1"/>
          <p:nvPr userDrawn="1"/>
        </p:nvSpPr>
        <p:spPr>
          <a:xfrm>
            <a:off x="7525130" y="587773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Leader</a:t>
            </a:r>
          </a:p>
        </p:txBody>
      </p:sp>
      <p:sp>
        <p:nvSpPr>
          <p:cNvPr id="250" name="TextBox 249">
            <a:extLst>
              <a:ext uri="{FF2B5EF4-FFF2-40B4-BE49-F238E27FC236}">
                <a16:creationId xmlns:a16="http://schemas.microsoft.com/office/drawing/2014/main" id="{894D10F9-327B-5DFC-44D7-77B415C7BD44}"/>
              </a:ext>
            </a:extLst>
          </p:cNvPr>
          <p:cNvSpPr txBox="1"/>
          <p:nvPr userDrawn="1"/>
        </p:nvSpPr>
        <p:spPr>
          <a:xfrm>
            <a:off x="8239541" y="3367961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Cost high</a:t>
            </a:r>
          </a:p>
        </p:txBody>
      </p:sp>
      <p:sp>
        <p:nvSpPr>
          <p:cNvPr id="252" name="TextBox 251">
            <a:extLst>
              <a:ext uri="{FF2B5EF4-FFF2-40B4-BE49-F238E27FC236}">
                <a16:creationId xmlns:a16="http://schemas.microsoft.com/office/drawing/2014/main" id="{EDD2F86C-67B6-F7D6-63C4-C21A0709CD15}"/>
              </a:ext>
            </a:extLst>
          </p:cNvPr>
          <p:cNvSpPr txBox="1"/>
          <p:nvPr userDrawn="1"/>
        </p:nvSpPr>
        <p:spPr>
          <a:xfrm>
            <a:off x="8239541" y="421649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Edit</a:t>
            </a:r>
          </a:p>
        </p:txBody>
      </p:sp>
      <p:sp>
        <p:nvSpPr>
          <p:cNvPr id="254" name="TextBox 253">
            <a:extLst>
              <a:ext uri="{FF2B5EF4-FFF2-40B4-BE49-F238E27FC236}">
                <a16:creationId xmlns:a16="http://schemas.microsoft.com/office/drawing/2014/main" id="{969722B1-12F7-0075-16A3-85332716FD00}"/>
              </a:ext>
            </a:extLst>
          </p:cNvPr>
          <p:cNvSpPr txBox="1"/>
          <p:nvPr userDrawn="1"/>
        </p:nvSpPr>
        <p:spPr>
          <a:xfrm>
            <a:off x="8959652" y="5053521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Flexibility</a:t>
            </a:r>
          </a:p>
        </p:txBody>
      </p:sp>
      <p:sp>
        <p:nvSpPr>
          <p:cNvPr id="256" name="TextBox 255">
            <a:extLst>
              <a:ext uri="{FF2B5EF4-FFF2-40B4-BE49-F238E27FC236}">
                <a16:creationId xmlns:a16="http://schemas.microsoft.com/office/drawing/2014/main" id="{16F073BF-BF73-7EFE-DBC7-BA1CEBB11BD4}"/>
              </a:ext>
            </a:extLst>
          </p:cNvPr>
          <p:cNvSpPr txBox="1"/>
          <p:nvPr userDrawn="1"/>
        </p:nvSpPr>
        <p:spPr>
          <a:xfrm>
            <a:off x="8239541" y="2580873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Business partner-up</a:t>
            </a:r>
          </a:p>
        </p:txBody>
      </p:sp>
      <p:sp>
        <p:nvSpPr>
          <p:cNvPr id="258" name="TextBox 257">
            <a:extLst>
              <a:ext uri="{FF2B5EF4-FFF2-40B4-BE49-F238E27FC236}">
                <a16:creationId xmlns:a16="http://schemas.microsoft.com/office/drawing/2014/main" id="{32B28BF3-B1E3-6C8E-1F97-3CD955FAE310}"/>
              </a:ext>
            </a:extLst>
          </p:cNvPr>
          <p:cNvSpPr txBox="1"/>
          <p:nvPr userDrawn="1"/>
        </p:nvSpPr>
        <p:spPr>
          <a:xfrm>
            <a:off x="8959652" y="1753079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App-3rd-party</a:t>
            </a:r>
          </a:p>
        </p:txBody>
      </p:sp>
      <p:sp>
        <p:nvSpPr>
          <p:cNvPr id="260" name="TextBox 259">
            <a:extLst>
              <a:ext uri="{FF2B5EF4-FFF2-40B4-BE49-F238E27FC236}">
                <a16:creationId xmlns:a16="http://schemas.microsoft.com/office/drawing/2014/main" id="{C045B4CA-B998-371A-024C-24BB49E1DBE4}"/>
              </a:ext>
            </a:extLst>
          </p:cNvPr>
          <p:cNvSpPr txBox="1"/>
          <p:nvPr userDrawn="1"/>
        </p:nvSpPr>
        <p:spPr>
          <a:xfrm>
            <a:off x="9672676" y="587773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Link alt</a:t>
            </a:r>
          </a:p>
        </p:txBody>
      </p:sp>
      <p:sp>
        <p:nvSpPr>
          <p:cNvPr id="262" name="TextBox 261">
            <a:extLst>
              <a:ext uri="{FF2B5EF4-FFF2-40B4-BE49-F238E27FC236}">
                <a16:creationId xmlns:a16="http://schemas.microsoft.com/office/drawing/2014/main" id="{2260B626-63BB-2946-187D-5A5D3E24DB8E}"/>
              </a:ext>
            </a:extLst>
          </p:cNvPr>
          <p:cNvSpPr txBox="1"/>
          <p:nvPr userDrawn="1"/>
        </p:nvSpPr>
        <p:spPr>
          <a:xfrm>
            <a:off x="7525130" y="3367961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Corporation</a:t>
            </a:r>
          </a:p>
        </p:txBody>
      </p:sp>
      <p:sp>
        <p:nvSpPr>
          <p:cNvPr id="264" name="TextBox 263">
            <a:extLst>
              <a:ext uri="{FF2B5EF4-FFF2-40B4-BE49-F238E27FC236}">
                <a16:creationId xmlns:a16="http://schemas.microsoft.com/office/drawing/2014/main" id="{68AACE92-0602-2C71-934E-70ED624AD4D5}"/>
              </a:ext>
            </a:extLst>
          </p:cNvPr>
          <p:cNvSpPr txBox="1"/>
          <p:nvPr userDrawn="1"/>
        </p:nvSpPr>
        <p:spPr>
          <a:xfrm>
            <a:off x="7525130" y="421649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Ecosystem</a:t>
            </a:r>
          </a:p>
        </p:txBody>
      </p:sp>
      <p:sp>
        <p:nvSpPr>
          <p:cNvPr id="266" name="TextBox 265">
            <a:extLst>
              <a:ext uri="{FF2B5EF4-FFF2-40B4-BE49-F238E27FC236}">
                <a16:creationId xmlns:a16="http://schemas.microsoft.com/office/drawing/2014/main" id="{5319EB15-B2E1-207B-D211-B22B75CA6B6D}"/>
              </a:ext>
            </a:extLst>
          </p:cNvPr>
          <p:cNvSpPr txBox="1"/>
          <p:nvPr userDrawn="1"/>
        </p:nvSpPr>
        <p:spPr>
          <a:xfrm>
            <a:off x="8239541" y="5053521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First-reply-</a:t>
            </a:r>
          </a:p>
          <a:p>
            <a:pPr algn="ctr"/>
            <a:r>
              <a:rPr lang="en-US" sz="800">
                <a:solidFill>
                  <a:schemeClr val="tx1"/>
                </a:solidFill>
              </a:rPr>
              <a:t>by-email</a:t>
            </a:r>
          </a:p>
        </p:txBody>
      </p:sp>
      <p:sp>
        <p:nvSpPr>
          <p:cNvPr id="268" name="TextBox 267">
            <a:extLst>
              <a:ext uri="{FF2B5EF4-FFF2-40B4-BE49-F238E27FC236}">
                <a16:creationId xmlns:a16="http://schemas.microsoft.com/office/drawing/2014/main" id="{D71E9015-89EA-C610-7EC4-CFBAAC3DD391}"/>
              </a:ext>
            </a:extLst>
          </p:cNvPr>
          <p:cNvSpPr txBox="1"/>
          <p:nvPr userDrawn="1"/>
        </p:nvSpPr>
        <p:spPr>
          <a:xfrm>
            <a:off x="7525130" y="2580873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Bookmark</a:t>
            </a:r>
          </a:p>
        </p:txBody>
      </p:sp>
      <p:sp>
        <p:nvSpPr>
          <p:cNvPr id="270" name="TextBox 269">
            <a:extLst>
              <a:ext uri="{FF2B5EF4-FFF2-40B4-BE49-F238E27FC236}">
                <a16:creationId xmlns:a16="http://schemas.microsoft.com/office/drawing/2014/main" id="{A58093FB-6D86-3142-42B7-BDC611D8A8EE}"/>
              </a:ext>
            </a:extLst>
          </p:cNvPr>
          <p:cNvSpPr txBox="1"/>
          <p:nvPr userDrawn="1"/>
        </p:nvSpPr>
        <p:spPr>
          <a:xfrm>
            <a:off x="8239541" y="1753079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Anniversary</a:t>
            </a:r>
          </a:p>
        </p:txBody>
      </p:sp>
      <p:sp>
        <p:nvSpPr>
          <p:cNvPr id="272" name="TextBox 271">
            <a:extLst>
              <a:ext uri="{FF2B5EF4-FFF2-40B4-BE49-F238E27FC236}">
                <a16:creationId xmlns:a16="http://schemas.microsoft.com/office/drawing/2014/main" id="{73AC143B-8C03-0675-6438-A49E6D08273A}"/>
              </a:ext>
            </a:extLst>
          </p:cNvPr>
          <p:cNvSpPr txBox="1"/>
          <p:nvPr userDrawn="1"/>
        </p:nvSpPr>
        <p:spPr>
          <a:xfrm>
            <a:off x="8959652" y="587773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Link</a:t>
            </a:r>
          </a:p>
        </p:txBody>
      </p:sp>
      <p:sp>
        <p:nvSpPr>
          <p:cNvPr id="274" name="TextBox 273">
            <a:extLst>
              <a:ext uri="{FF2B5EF4-FFF2-40B4-BE49-F238E27FC236}">
                <a16:creationId xmlns:a16="http://schemas.microsoft.com/office/drawing/2014/main" id="{F2976F9B-F2E9-CD09-2D08-679ECA3E34DE}"/>
              </a:ext>
            </a:extLst>
          </p:cNvPr>
          <p:cNvSpPr txBox="1"/>
          <p:nvPr userDrawn="1"/>
        </p:nvSpPr>
        <p:spPr>
          <a:xfrm>
            <a:off x="9672676" y="3367961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Course-advanced</a:t>
            </a:r>
          </a:p>
        </p:txBody>
      </p:sp>
      <p:sp>
        <p:nvSpPr>
          <p:cNvPr id="275" name="TextBox 274">
            <a:extLst>
              <a:ext uri="{FF2B5EF4-FFF2-40B4-BE49-F238E27FC236}">
                <a16:creationId xmlns:a16="http://schemas.microsoft.com/office/drawing/2014/main" id="{78B6DC07-40B8-F8B9-7895-1D9D0A2648FE}"/>
              </a:ext>
            </a:extLst>
          </p:cNvPr>
          <p:cNvSpPr txBox="1"/>
          <p:nvPr userDrawn="1"/>
        </p:nvSpPr>
        <p:spPr>
          <a:xfrm>
            <a:off x="10387591" y="4216498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Enterprise competency</a:t>
            </a:r>
          </a:p>
        </p:txBody>
      </p:sp>
      <p:sp>
        <p:nvSpPr>
          <p:cNvPr id="276" name="TextBox 275">
            <a:extLst>
              <a:ext uri="{FF2B5EF4-FFF2-40B4-BE49-F238E27FC236}">
                <a16:creationId xmlns:a16="http://schemas.microsoft.com/office/drawing/2014/main" id="{1E88D6E2-9832-D924-4C54-1F9393141B1A}"/>
              </a:ext>
            </a:extLst>
          </p:cNvPr>
          <p:cNvSpPr txBox="1"/>
          <p:nvPr userDrawn="1"/>
        </p:nvSpPr>
        <p:spPr>
          <a:xfrm>
            <a:off x="10387591" y="5053521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Group </a:t>
            </a:r>
          </a:p>
          <a:p>
            <a:pPr algn="ctr"/>
            <a:r>
              <a:rPr lang="en-US" sz="800">
                <a:solidFill>
                  <a:schemeClr val="tx1"/>
                </a:solidFill>
              </a:rPr>
              <a:t>of users</a:t>
            </a:r>
          </a:p>
        </p:txBody>
      </p:sp>
      <p:sp>
        <p:nvSpPr>
          <p:cNvPr id="277" name="TextBox 276">
            <a:extLst>
              <a:ext uri="{FF2B5EF4-FFF2-40B4-BE49-F238E27FC236}">
                <a16:creationId xmlns:a16="http://schemas.microsoft.com/office/drawing/2014/main" id="{26FAEBDF-676F-E385-EF5C-F60B024AEE7F}"/>
              </a:ext>
            </a:extLst>
          </p:cNvPr>
          <p:cNvSpPr txBox="1"/>
          <p:nvPr userDrawn="1"/>
        </p:nvSpPr>
        <p:spPr>
          <a:xfrm>
            <a:off x="9672676" y="2580873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Business partner alt 2</a:t>
            </a:r>
          </a:p>
        </p:txBody>
      </p:sp>
      <p:sp>
        <p:nvSpPr>
          <p:cNvPr id="278" name="TextBox 277">
            <a:extLst>
              <a:ext uri="{FF2B5EF4-FFF2-40B4-BE49-F238E27FC236}">
                <a16:creationId xmlns:a16="http://schemas.microsoft.com/office/drawing/2014/main" id="{90107F4E-DCE5-CC49-2AB1-98D7DA7B4697}"/>
              </a:ext>
            </a:extLst>
          </p:cNvPr>
          <p:cNvSpPr txBox="1"/>
          <p:nvPr userDrawn="1"/>
        </p:nvSpPr>
        <p:spPr>
          <a:xfrm>
            <a:off x="10387591" y="1753079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App-3rd-party  3</a:t>
            </a:r>
          </a:p>
        </p:txBody>
      </p:sp>
      <p:sp>
        <p:nvSpPr>
          <p:cNvPr id="279" name="TextBox 278">
            <a:extLst>
              <a:ext uri="{FF2B5EF4-FFF2-40B4-BE49-F238E27FC236}">
                <a16:creationId xmlns:a16="http://schemas.microsoft.com/office/drawing/2014/main" id="{F7A70ECE-0A49-D782-3F0D-D1166C31F0A9}"/>
              </a:ext>
            </a:extLst>
          </p:cNvPr>
          <p:cNvSpPr txBox="1"/>
          <p:nvPr userDrawn="1"/>
        </p:nvSpPr>
        <p:spPr>
          <a:xfrm>
            <a:off x="8239541" y="5871746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Light bulb</a:t>
            </a:r>
          </a:p>
        </p:txBody>
      </p:sp>
      <p:sp>
        <p:nvSpPr>
          <p:cNvPr id="280" name="TextBox 279">
            <a:extLst>
              <a:ext uri="{FF2B5EF4-FFF2-40B4-BE49-F238E27FC236}">
                <a16:creationId xmlns:a16="http://schemas.microsoft.com/office/drawing/2014/main" id="{EC7E53AE-4397-8421-65E6-25C898C043FD}"/>
              </a:ext>
            </a:extLst>
          </p:cNvPr>
          <p:cNvSpPr txBox="1"/>
          <p:nvPr userDrawn="1"/>
        </p:nvSpPr>
        <p:spPr>
          <a:xfrm>
            <a:off x="9672676" y="421649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Emoji</a:t>
            </a:r>
          </a:p>
        </p:txBody>
      </p:sp>
      <p:sp>
        <p:nvSpPr>
          <p:cNvPr id="281" name="TextBox 280">
            <a:extLst>
              <a:ext uri="{FF2B5EF4-FFF2-40B4-BE49-F238E27FC236}">
                <a16:creationId xmlns:a16="http://schemas.microsoft.com/office/drawing/2014/main" id="{E617D357-E00E-084A-CABF-77580808DDA2}"/>
              </a:ext>
            </a:extLst>
          </p:cNvPr>
          <p:cNvSpPr txBox="1"/>
          <p:nvPr userDrawn="1"/>
        </p:nvSpPr>
        <p:spPr>
          <a:xfrm>
            <a:off x="11099777" y="5871457"/>
            <a:ext cx="709636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Link </a:t>
            </a:r>
          </a:p>
          <a:p>
            <a:pPr algn="ctr"/>
            <a:r>
              <a:rPr lang="en-US" sz="800">
                <a:solidFill>
                  <a:schemeClr val="tx1"/>
                </a:solidFill>
              </a:rPr>
              <a:t>special alt</a:t>
            </a:r>
          </a:p>
        </p:txBody>
      </p:sp>
    </p:spTree>
    <p:extLst>
      <p:ext uri="{BB962C8B-B14F-4D97-AF65-F5344CB8AC3E}">
        <p14:creationId xmlns:p14="http://schemas.microsoft.com/office/powerpoint/2010/main" val="301071301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Icon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D06F8458-66E1-4B4A-BC40-DD2CDA42EB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84" name="TextBox 483">
            <a:extLst>
              <a:ext uri="{FF2B5EF4-FFF2-40B4-BE49-F238E27FC236}">
                <a16:creationId xmlns:a16="http://schemas.microsoft.com/office/drawing/2014/main" id="{5B09DBAE-19CE-5822-C366-762D1423B2F7}"/>
              </a:ext>
            </a:extLst>
          </p:cNvPr>
          <p:cNvSpPr txBox="1"/>
          <p:nvPr userDrawn="1"/>
        </p:nvSpPr>
        <p:spPr>
          <a:xfrm>
            <a:off x="11099777" y="3402693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RPA </a:t>
            </a:r>
          </a:p>
          <a:p>
            <a:pPr algn="ctr"/>
            <a:r>
              <a:rPr lang="en-US" sz="800"/>
              <a:t>champion</a:t>
            </a:r>
          </a:p>
        </p:txBody>
      </p:sp>
      <p:sp>
        <p:nvSpPr>
          <p:cNvPr id="486" name="TextBox 485">
            <a:extLst>
              <a:ext uri="{FF2B5EF4-FFF2-40B4-BE49-F238E27FC236}">
                <a16:creationId xmlns:a16="http://schemas.microsoft.com/office/drawing/2014/main" id="{EDAA1722-304A-476A-4E5B-D176BF368282}"/>
              </a:ext>
            </a:extLst>
          </p:cNvPr>
          <p:cNvSpPr txBox="1"/>
          <p:nvPr userDrawn="1"/>
        </p:nvSpPr>
        <p:spPr>
          <a:xfrm>
            <a:off x="387912" y="3402693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Question and answer</a:t>
            </a:r>
          </a:p>
        </p:txBody>
      </p:sp>
      <p:sp>
        <p:nvSpPr>
          <p:cNvPr id="488" name="TextBox 487">
            <a:extLst>
              <a:ext uri="{FF2B5EF4-FFF2-40B4-BE49-F238E27FC236}">
                <a16:creationId xmlns:a16="http://schemas.microsoft.com/office/drawing/2014/main" id="{BF05F814-AAD2-C44C-CEC7-D05FF45A3945}"/>
              </a:ext>
            </a:extLst>
          </p:cNvPr>
          <p:cNvSpPr txBox="1"/>
          <p:nvPr userDrawn="1"/>
        </p:nvSpPr>
        <p:spPr>
          <a:xfrm>
            <a:off x="1102036" y="3402693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Question and answer 2</a:t>
            </a:r>
          </a:p>
        </p:txBody>
      </p:sp>
      <p:sp>
        <p:nvSpPr>
          <p:cNvPr id="490" name="TextBox 489">
            <a:extLst>
              <a:ext uri="{FF2B5EF4-FFF2-40B4-BE49-F238E27FC236}">
                <a16:creationId xmlns:a16="http://schemas.microsoft.com/office/drawing/2014/main" id="{97447B09-90B6-9D6D-34E5-36D048AEE208}"/>
              </a:ext>
            </a:extLst>
          </p:cNvPr>
          <p:cNvSpPr txBox="1"/>
          <p:nvPr userDrawn="1"/>
        </p:nvSpPr>
        <p:spPr>
          <a:xfrm>
            <a:off x="1816160" y="3402693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Ramp up</a:t>
            </a:r>
          </a:p>
        </p:txBody>
      </p:sp>
      <p:sp>
        <p:nvSpPr>
          <p:cNvPr id="492" name="TextBox 491">
            <a:extLst>
              <a:ext uri="{FF2B5EF4-FFF2-40B4-BE49-F238E27FC236}">
                <a16:creationId xmlns:a16="http://schemas.microsoft.com/office/drawing/2014/main" id="{61990694-83A0-BED6-D8EC-0D779E97CBF1}"/>
              </a:ext>
            </a:extLst>
          </p:cNvPr>
          <p:cNvSpPr txBox="1"/>
          <p:nvPr userDrawn="1"/>
        </p:nvSpPr>
        <p:spPr>
          <a:xfrm>
            <a:off x="2530284" y="3402693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Ramp up alt</a:t>
            </a:r>
          </a:p>
        </p:txBody>
      </p:sp>
      <p:sp>
        <p:nvSpPr>
          <p:cNvPr id="494" name="TextBox 493">
            <a:extLst>
              <a:ext uri="{FF2B5EF4-FFF2-40B4-BE49-F238E27FC236}">
                <a16:creationId xmlns:a16="http://schemas.microsoft.com/office/drawing/2014/main" id="{ABB54BCA-8002-D0DD-9112-920AAE419B6C}"/>
              </a:ext>
            </a:extLst>
          </p:cNvPr>
          <p:cNvSpPr txBox="1"/>
          <p:nvPr userDrawn="1"/>
        </p:nvSpPr>
        <p:spPr>
          <a:xfrm>
            <a:off x="3958532" y="3402693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Read guidelines</a:t>
            </a:r>
          </a:p>
        </p:txBody>
      </p:sp>
      <p:sp>
        <p:nvSpPr>
          <p:cNvPr id="496" name="TextBox 495">
            <a:extLst>
              <a:ext uri="{FF2B5EF4-FFF2-40B4-BE49-F238E27FC236}">
                <a16:creationId xmlns:a16="http://schemas.microsoft.com/office/drawing/2014/main" id="{BFA61F41-A6B3-3A42-4762-C89B80AC7436}"/>
              </a:ext>
            </a:extLst>
          </p:cNvPr>
          <p:cNvSpPr txBox="1"/>
          <p:nvPr userDrawn="1"/>
        </p:nvSpPr>
        <p:spPr>
          <a:xfrm>
            <a:off x="8957400" y="3402693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Reply</a:t>
            </a:r>
          </a:p>
        </p:txBody>
      </p:sp>
      <p:sp>
        <p:nvSpPr>
          <p:cNvPr id="498" name="TextBox 497">
            <a:extLst>
              <a:ext uri="{FF2B5EF4-FFF2-40B4-BE49-F238E27FC236}">
                <a16:creationId xmlns:a16="http://schemas.microsoft.com/office/drawing/2014/main" id="{7BA87B85-B9B8-2A76-456D-FD323A612233}"/>
              </a:ext>
            </a:extLst>
          </p:cNvPr>
          <p:cNvSpPr txBox="1"/>
          <p:nvPr userDrawn="1"/>
        </p:nvSpPr>
        <p:spPr>
          <a:xfrm>
            <a:off x="9671524" y="3402693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Resource</a:t>
            </a:r>
          </a:p>
        </p:txBody>
      </p:sp>
      <p:sp>
        <p:nvSpPr>
          <p:cNvPr id="500" name="TextBox 499">
            <a:extLst>
              <a:ext uri="{FF2B5EF4-FFF2-40B4-BE49-F238E27FC236}">
                <a16:creationId xmlns:a16="http://schemas.microsoft.com/office/drawing/2014/main" id="{757282DE-1514-6553-C564-511DD31F36C2}"/>
              </a:ext>
            </a:extLst>
          </p:cNvPr>
          <p:cNvSpPr txBox="1"/>
          <p:nvPr userDrawn="1"/>
        </p:nvSpPr>
        <p:spPr>
          <a:xfrm>
            <a:off x="4672656" y="3402693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Redesign</a:t>
            </a:r>
          </a:p>
        </p:txBody>
      </p:sp>
      <p:sp>
        <p:nvSpPr>
          <p:cNvPr id="502" name="TextBox 501">
            <a:extLst>
              <a:ext uri="{FF2B5EF4-FFF2-40B4-BE49-F238E27FC236}">
                <a16:creationId xmlns:a16="http://schemas.microsoft.com/office/drawing/2014/main" id="{C71E7F6F-EDE6-667F-8C0F-05CFAD894A4F}"/>
              </a:ext>
            </a:extLst>
          </p:cNvPr>
          <p:cNvSpPr txBox="1"/>
          <p:nvPr userDrawn="1"/>
        </p:nvSpPr>
        <p:spPr>
          <a:xfrm>
            <a:off x="5386780" y="3402693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Redesign alt</a:t>
            </a:r>
          </a:p>
        </p:txBody>
      </p:sp>
      <p:sp>
        <p:nvSpPr>
          <p:cNvPr id="504" name="TextBox 503">
            <a:extLst>
              <a:ext uri="{FF2B5EF4-FFF2-40B4-BE49-F238E27FC236}">
                <a16:creationId xmlns:a16="http://schemas.microsoft.com/office/drawing/2014/main" id="{7CF5BC70-3918-EB77-D5ED-28D36844E2FD}"/>
              </a:ext>
            </a:extLst>
          </p:cNvPr>
          <p:cNvSpPr txBox="1"/>
          <p:nvPr userDrawn="1"/>
        </p:nvSpPr>
        <p:spPr>
          <a:xfrm>
            <a:off x="6100904" y="3402693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Refresh</a:t>
            </a:r>
          </a:p>
        </p:txBody>
      </p:sp>
      <p:sp>
        <p:nvSpPr>
          <p:cNvPr id="506" name="TextBox 505">
            <a:extLst>
              <a:ext uri="{FF2B5EF4-FFF2-40B4-BE49-F238E27FC236}">
                <a16:creationId xmlns:a16="http://schemas.microsoft.com/office/drawing/2014/main" id="{EFE78804-416E-6F67-1223-F256FD768798}"/>
              </a:ext>
            </a:extLst>
          </p:cNvPr>
          <p:cNvSpPr txBox="1"/>
          <p:nvPr userDrawn="1"/>
        </p:nvSpPr>
        <p:spPr>
          <a:xfrm>
            <a:off x="6815028" y="3402693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Refresh 2</a:t>
            </a:r>
          </a:p>
        </p:txBody>
      </p:sp>
      <p:sp>
        <p:nvSpPr>
          <p:cNvPr id="508" name="TextBox 507">
            <a:extLst>
              <a:ext uri="{FF2B5EF4-FFF2-40B4-BE49-F238E27FC236}">
                <a16:creationId xmlns:a16="http://schemas.microsoft.com/office/drawing/2014/main" id="{E52F5D0F-BB76-444E-FBD6-AF1F362FF402}"/>
              </a:ext>
            </a:extLst>
          </p:cNvPr>
          <p:cNvSpPr txBox="1"/>
          <p:nvPr userDrawn="1"/>
        </p:nvSpPr>
        <p:spPr>
          <a:xfrm>
            <a:off x="7529152" y="3402693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Remove</a:t>
            </a:r>
          </a:p>
        </p:txBody>
      </p:sp>
      <p:sp>
        <p:nvSpPr>
          <p:cNvPr id="510" name="TextBox 509">
            <a:extLst>
              <a:ext uri="{FF2B5EF4-FFF2-40B4-BE49-F238E27FC236}">
                <a16:creationId xmlns:a16="http://schemas.microsoft.com/office/drawing/2014/main" id="{6136A5D9-5540-53CC-3834-A672CE2E10D4}"/>
              </a:ext>
            </a:extLst>
          </p:cNvPr>
          <p:cNvSpPr txBox="1"/>
          <p:nvPr userDrawn="1"/>
        </p:nvSpPr>
        <p:spPr>
          <a:xfrm>
            <a:off x="8243276" y="3402693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Remove alt</a:t>
            </a:r>
          </a:p>
        </p:txBody>
      </p:sp>
      <p:sp>
        <p:nvSpPr>
          <p:cNvPr id="512" name="TextBox 511">
            <a:extLst>
              <a:ext uri="{FF2B5EF4-FFF2-40B4-BE49-F238E27FC236}">
                <a16:creationId xmlns:a16="http://schemas.microsoft.com/office/drawing/2014/main" id="{D405B41C-504D-9F12-D5D0-24970513BF13}"/>
              </a:ext>
            </a:extLst>
          </p:cNvPr>
          <p:cNvSpPr txBox="1"/>
          <p:nvPr userDrawn="1"/>
        </p:nvSpPr>
        <p:spPr>
          <a:xfrm>
            <a:off x="10385648" y="3402693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RPA business analyst</a:t>
            </a:r>
          </a:p>
        </p:txBody>
      </p:sp>
      <p:sp>
        <p:nvSpPr>
          <p:cNvPr id="514" name="TextBox 513">
            <a:extLst>
              <a:ext uri="{FF2B5EF4-FFF2-40B4-BE49-F238E27FC236}">
                <a16:creationId xmlns:a16="http://schemas.microsoft.com/office/drawing/2014/main" id="{74D17CF0-1601-CD6D-6B26-F19C10388451}"/>
              </a:ext>
            </a:extLst>
          </p:cNvPr>
          <p:cNvSpPr txBox="1"/>
          <p:nvPr userDrawn="1"/>
        </p:nvSpPr>
        <p:spPr>
          <a:xfrm>
            <a:off x="3244408" y="3402693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Reader</a:t>
            </a:r>
          </a:p>
        </p:txBody>
      </p:sp>
      <p:sp>
        <p:nvSpPr>
          <p:cNvPr id="516" name="TextBox 515">
            <a:extLst>
              <a:ext uri="{FF2B5EF4-FFF2-40B4-BE49-F238E27FC236}">
                <a16:creationId xmlns:a16="http://schemas.microsoft.com/office/drawing/2014/main" id="{EF03B716-7EA3-E8AE-223E-8DE69DE73549}"/>
              </a:ext>
            </a:extLst>
          </p:cNvPr>
          <p:cNvSpPr txBox="1"/>
          <p:nvPr userDrawn="1"/>
        </p:nvSpPr>
        <p:spPr>
          <a:xfrm>
            <a:off x="11099777" y="4225711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Solutions 2</a:t>
            </a:r>
          </a:p>
        </p:txBody>
      </p:sp>
      <p:sp>
        <p:nvSpPr>
          <p:cNvPr id="518" name="TextBox 517">
            <a:extLst>
              <a:ext uri="{FF2B5EF4-FFF2-40B4-BE49-F238E27FC236}">
                <a16:creationId xmlns:a16="http://schemas.microsoft.com/office/drawing/2014/main" id="{F336EFD2-E76F-21C3-5966-FA65F60BF483}"/>
              </a:ext>
            </a:extLst>
          </p:cNvPr>
          <p:cNvSpPr txBox="1"/>
          <p:nvPr userDrawn="1"/>
        </p:nvSpPr>
        <p:spPr>
          <a:xfrm>
            <a:off x="387912" y="4225711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RPA </a:t>
            </a:r>
          </a:p>
          <a:p>
            <a:pPr algn="ctr"/>
            <a:r>
              <a:rPr lang="en-US" sz="800"/>
              <a:t>developer</a:t>
            </a:r>
          </a:p>
        </p:txBody>
      </p:sp>
      <p:sp>
        <p:nvSpPr>
          <p:cNvPr id="520" name="TextBox 519">
            <a:extLst>
              <a:ext uri="{FF2B5EF4-FFF2-40B4-BE49-F238E27FC236}">
                <a16:creationId xmlns:a16="http://schemas.microsoft.com/office/drawing/2014/main" id="{8D1D8690-8055-F6A4-55F5-61AF6ED4864B}"/>
              </a:ext>
            </a:extLst>
          </p:cNvPr>
          <p:cNvSpPr txBox="1"/>
          <p:nvPr userDrawn="1"/>
        </p:nvSpPr>
        <p:spPr>
          <a:xfrm>
            <a:off x="1102036" y="4225711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RPA infrastructure engineer</a:t>
            </a:r>
          </a:p>
        </p:txBody>
      </p:sp>
      <p:sp>
        <p:nvSpPr>
          <p:cNvPr id="522" name="TextBox 521">
            <a:extLst>
              <a:ext uri="{FF2B5EF4-FFF2-40B4-BE49-F238E27FC236}">
                <a16:creationId xmlns:a16="http://schemas.microsoft.com/office/drawing/2014/main" id="{5BFAA20A-9C31-0B6B-151A-852F94F0BB98}"/>
              </a:ext>
            </a:extLst>
          </p:cNvPr>
          <p:cNvSpPr txBox="1"/>
          <p:nvPr userDrawn="1"/>
        </p:nvSpPr>
        <p:spPr>
          <a:xfrm>
            <a:off x="1816160" y="4225711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RPA service support</a:t>
            </a:r>
          </a:p>
        </p:txBody>
      </p:sp>
      <p:sp>
        <p:nvSpPr>
          <p:cNvPr id="524" name="TextBox 523">
            <a:extLst>
              <a:ext uri="{FF2B5EF4-FFF2-40B4-BE49-F238E27FC236}">
                <a16:creationId xmlns:a16="http://schemas.microsoft.com/office/drawing/2014/main" id="{E456E3CB-358A-E1F5-9906-3359DBDA5F7C}"/>
              </a:ext>
            </a:extLst>
          </p:cNvPr>
          <p:cNvSpPr txBox="1"/>
          <p:nvPr userDrawn="1"/>
        </p:nvSpPr>
        <p:spPr>
          <a:xfrm>
            <a:off x="2530284" y="4225711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RPA solution architect</a:t>
            </a:r>
          </a:p>
        </p:txBody>
      </p:sp>
      <p:sp>
        <p:nvSpPr>
          <p:cNvPr id="526" name="TextBox 525">
            <a:extLst>
              <a:ext uri="{FF2B5EF4-FFF2-40B4-BE49-F238E27FC236}">
                <a16:creationId xmlns:a16="http://schemas.microsoft.com/office/drawing/2014/main" id="{FF3EA584-58C5-D034-A9BC-CA4DABF013EB}"/>
              </a:ext>
            </a:extLst>
          </p:cNvPr>
          <p:cNvSpPr txBox="1"/>
          <p:nvPr userDrawn="1"/>
        </p:nvSpPr>
        <p:spPr>
          <a:xfrm>
            <a:off x="3958532" y="4225711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Satellite</a:t>
            </a:r>
          </a:p>
        </p:txBody>
      </p:sp>
      <p:sp>
        <p:nvSpPr>
          <p:cNvPr id="528" name="TextBox 527">
            <a:extLst>
              <a:ext uri="{FF2B5EF4-FFF2-40B4-BE49-F238E27FC236}">
                <a16:creationId xmlns:a16="http://schemas.microsoft.com/office/drawing/2014/main" id="{E647BB7C-9C59-18D8-0A03-DA3D4B74F80B}"/>
              </a:ext>
            </a:extLst>
          </p:cNvPr>
          <p:cNvSpPr txBox="1"/>
          <p:nvPr userDrawn="1"/>
        </p:nvSpPr>
        <p:spPr>
          <a:xfrm>
            <a:off x="8957400" y="4225711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Share alt</a:t>
            </a:r>
          </a:p>
        </p:txBody>
      </p:sp>
      <p:sp>
        <p:nvSpPr>
          <p:cNvPr id="530" name="TextBox 529">
            <a:extLst>
              <a:ext uri="{FF2B5EF4-FFF2-40B4-BE49-F238E27FC236}">
                <a16:creationId xmlns:a16="http://schemas.microsoft.com/office/drawing/2014/main" id="{1078ABBF-79B1-D16E-B396-4DDC3BB78411}"/>
              </a:ext>
            </a:extLst>
          </p:cNvPr>
          <p:cNvSpPr txBox="1"/>
          <p:nvPr userDrawn="1"/>
        </p:nvSpPr>
        <p:spPr>
          <a:xfrm>
            <a:off x="9671524" y="4225711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Slideshow</a:t>
            </a:r>
          </a:p>
        </p:txBody>
      </p:sp>
      <p:sp>
        <p:nvSpPr>
          <p:cNvPr id="532" name="TextBox 531">
            <a:extLst>
              <a:ext uri="{FF2B5EF4-FFF2-40B4-BE49-F238E27FC236}">
                <a16:creationId xmlns:a16="http://schemas.microsoft.com/office/drawing/2014/main" id="{F981FE96-4348-F0C3-112A-7FEC97FC2728}"/>
              </a:ext>
            </a:extLst>
          </p:cNvPr>
          <p:cNvSpPr txBox="1"/>
          <p:nvPr userDrawn="1"/>
        </p:nvSpPr>
        <p:spPr>
          <a:xfrm>
            <a:off x="4672656" y="4225711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Seamless integration</a:t>
            </a:r>
          </a:p>
        </p:txBody>
      </p:sp>
      <p:sp>
        <p:nvSpPr>
          <p:cNvPr id="534" name="TextBox 533">
            <a:extLst>
              <a:ext uri="{FF2B5EF4-FFF2-40B4-BE49-F238E27FC236}">
                <a16:creationId xmlns:a16="http://schemas.microsoft.com/office/drawing/2014/main" id="{8CE9E0C6-0479-58A6-B0A7-9DB55496E4C5}"/>
              </a:ext>
            </a:extLst>
          </p:cNvPr>
          <p:cNvSpPr txBox="1"/>
          <p:nvPr userDrawn="1"/>
        </p:nvSpPr>
        <p:spPr>
          <a:xfrm>
            <a:off x="5386780" y="4225711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Seamless integration alt</a:t>
            </a:r>
          </a:p>
        </p:txBody>
      </p:sp>
      <p:sp>
        <p:nvSpPr>
          <p:cNvPr id="536" name="TextBox 535">
            <a:extLst>
              <a:ext uri="{FF2B5EF4-FFF2-40B4-BE49-F238E27FC236}">
                <a16:creationId xmlns:a16="http://schemas.microsoft.com/office/drawing/2014/main" id="{BF2A4C0F-FF5D-9A99-4F8C-0712D382524E}"/>
              </a:ext>
            </a:extLst>
          </p:cNvPr>
          <p:cNvSpPr txBox="1"/>
          <p:nvPr userDrawn="1"/>
        </p:nvSpPr>
        <p:spPr>
          <a:xfrm>
            <a:off x="6100904" y="4225711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Search</a:t>
            </a:r>
          </a:p>
        </p:txBody>
      </p:sp>
      <p:sp>
        <p:nvSpPr>
          <p:cNvPr id="538" name="TextBox 537">
            <a:extLst>
              <a:ext uri="{FF2B5EF4-FFF2-40B4-BE49-F238E27FC236}">
                <a16:creationId xmlns:a16="http://schemas.microsoft.com/office/drawing/2014/main" id="{2531BA7C-30B0-0E7B-2329-657E2757BF41}"/>
              </a:ext>
            </a:extLst>
          </p:cNvPr>
          <p:cNvSpPr txBox="1"/>
          <p:nvPr userDrawn="1"/>
        </p:nvSpPr>
        <p:spPr>
          <a:xfrm>
            <a:off x="6815028" y="4225711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Secure </a:t>
            </a:r>
          </a:p>
          <a:p>
            <a:pPr algn="ctr"/>
            <a:r>
              <a:rPr lang="en-US" sz="800"/>
              <a:t>team collab</a:t>
            </a:r>
          </a:p>
        </p:txBody>
      </p:sp>
      <p:sp>
        <p:nvSpPr>
          <p:cNvPr id="540" name="TextBox 539">
            <a:extLst>
              <a:ext uri="{FF2B5EF4-FFF2-40B4-BE49-F238E27FC236}">
                <a16:creationId xmlns:a16="http://schemas.microsoft.com/office/drawing/2014/main" id="{C698E416-4634-C94F-154E-BD301B629630}"/>
              </a:ext>
            </a:extLst>
          </p:cNvPr>
          <p:cNvSpPr txBox="1"/>
          <p:nvPr userDrawn="1"/>
        </p:nvSpPr>
        <p:spPr>
          <a:xfrm>
            <a:off x="7529152" y="4225711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Security</a:t>
            </a:r>
          </a:p>
        </p:txBody>
      </p:sp>
      <p:sp>
        <p:nvSpPr>
          <p:cNvPr id="542" name="TextBox 541">
            <a:extLst>
              <a:ext uri="{FF2B5EF4-FFF2-40B4-BE49-F238E27FC236}">
                <a16:creationId xmlns:a16="http://schemas.microsoft.com/office/drawing/2014/main" id="{800BDEFF-B02D-8AEB-BC7B-178BC1B1B7C7}"/>
              </a:ext>
            </a:extLst>
          </p:cNvPr>
          <p:cNvSpPr txBox="1"/>
          <p:nvPr userDrawn="1"/>
        </p:nvSpPr>
        <p:spPr>
          <a:xfrm>
            <a:off x="8243276" y="4225711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Share</a:t>
            </a:r>
          </a:p>
        </p:txBody>
      </p:sp>
      <p:sp>
        <p:nvSpPr>
          <p:cNvPr id="544" name="TextBox 543">
            <a:extLst>
              <a:ext uri="{FF2B5EF4-FFF2-40B4-BE49-F238E27FC236}">
                <a16:creationId xmlns:a16="http://schemas.microsoft.com/office/drawing/2014/main" id="{FA2F1273-7739-B511-95DB-D272CAE16EE7}"/>
              </a:ext>
            </a:extLst>
          </p:cNvPr>
          <p:cNvSpPr txBox="1"/>
          <p:nvPr userDrawn="1"/>
        </p:nvSpPr>
        <p:spPr>
          <a:xfrm>
            <a:off x="10385648" y="4225711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Solutions</a:t>
            </a:r>
          </a:p>
        </p:txBody>
      </p:sp>
      <p:sp>
        <p:nvSpPr>
          <p:cNvPr id="546" name="TextBox 545">
            <a:extLst>
              <a:ext uri="{FF2B5EF4-FFF2-40B4-BE49-F238E27FC236}">
                <a16:creationId xmlns:a16="http://schemas.microsoft.com/office/drawing/2014/main" id="{9882D3BE-BF73-2602-D7B6-801DC87D20EC}"/>
              </a:ext>
            </a:extLst>
          </p:cNvPr>
          <p:cNvSpPr txBox="1"/>
          <p:nvPr userDrawn="1"/>
        </p:nvSpPr>
        <p:spPr>
          <a:xfrm>
            <a:off x="3244408" y="4225711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RPA </a:t>
            </a:r>
          </a:p>
          <a:p>
            <a:pPr algn="ctr"/>
            <a:r>
              <a:rPr lang="en-US" sz="800"/>
              <a:t>sponsor</a:t>
            </a:r>
          </a:p>
        </p:txBody>
      </p:sp>
      <p:sp>
        <p:nvSpPr>
          <p:cNvPr id="548" name="TextBox 547">
            <a:extLst>
              <a:ext uri="{FF2B5EF4-FFF2-40B4-BE49-F238E27FC236}">
                <a16:creationId xmlns:a16="http://schemas.microsoft.com/office/drawing/2014/main" id="{3CDB0087-B07F-B23E-AB0B-EAF9F5996042}"/>
              </a:ext>
            </a:extLst>
          </p:cNvPr>
          <p:cNvSpPr txBox="1"/>
          <p:nvPr userDrawn="1"/>
        </p:nvSpPr>
        <p:spPr>
          <a:xfrm>
            <a:off x="11099777" y="5048729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Thank you</a:t>
            </a:r>
          </a:p>
        </p:txBody>
      </p:sp>
      <p:sp>
        <p:nvSpPr>
          <p:cNvPr id="550" name="TextBox 549">
            <a:extLst>
              <a:ext uri="{FF2B5EF4-FFF2-40B4-BE49-F238E27FC236}">
                <a16:creationId xmlns:a16="http://schemas.microsoft.com/office/drawing/2014/main" id="{C527918B-1CD5-F576-6111-142B05257B0C}"/>
              </a:ext>
            </a:extLst>
          </p:cNvPr>
          <p:cNvSpPr txBox="1"/>
          <p:nvPr userDrawn="1"/>
        </p:nvSpPr>
        <p:spPr>
          <a:xfrm>
            <a:off x="387912" y="5048729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Solutions alt</a:t>
            </a:r>
          </a:p>
        </p:txBody>
      </p:sp>
      <p:sp>
        <p:nvSpPr>
          <p:cNvPr id="552" name="TextBox 551">
            <a:extLst>
              <a:ext uri="{FF2B5EF4-FFF2-40B4-BE49-F238E27FC236}">
                <a16:creationId xmlns:a16="http://schemas.microsoft.com/office/drawing/2014/main" id="{FFF5364D-8380-90CA-AD19-702281F006DD}"/>
              </a:ext>
            </a:extLst>
          </p:cNvPr>
          <p:cNvSpPr txBox="1"/>
          <p:nvPr userDrawn="1"/>
        </p:nvSpPr>
        <p:spPr>
          <a:xfrm>
            <a:off x="1102036" y="5048729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Speed</a:t>
            </a:r>
          </a:p>
        </p:txBody>
      </p:sp>
      <p:sp>
        <p:nvSpPr>
          <p:cNvPr id="554" name="TextBox 553">
            <a:extLst>
              <a:ext uri="{FF2B5EF4-FFF2-40B4-BE49-F238E27FC236}">
                <a16:creationId xmlns:a16="http://schemas.microsoft.com/office/drawing/2014/main" id="{64C6EF44-D647-91DA-BF3C-A4F9AC113DCB}"/>
              </a:ext>
            </a:extLst>
          </p:cNvPr>
          <p:cNvSpPr txBox="1"/>
          <p:nvPr userDrawn="1"/>
        </p:nvSpPr>
        <p:spPr>
          <a:xfrm>
            <a:off x="1816160" y="5048729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Stopwatch</a:t>
            </a:r>
          </a:p>
        </p:txBody>
      </p:sp>
      <p:sp>
        <p:nvSpPr>
          <p:cNvPr id="556" name="TextBox 555">
            <a:extLst>
              <a:ext uri="{FF2B5EF4-FFF2-40B4-BE49-F238E27FC236}">
                <a16:creationId xmlns:a16="http://schemas.microsoft.com/office/drawing/2014/main" id="{2AF40988-1D7E-C4FA-06CD-AD61EFE02B82}"/>
              </a:ext>
            </a:extLst>
          </p:cNvPr>
          <p:cNvSpPr txBox="1"/>
          <p:nvPr userDrawn="1"/>
        </p:nvSpPr>
        <p:spPr>
          <a:xfrm>
            <a:off x="2530284" y="5048729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Stories</a:t>
            </a:r>
          </a:p>
        </p:txBody>
      </p:sp>
      <p:sp>
        <p:nvSpPr>
          <p:cNvPr id="558" name="TextBox 557">
            <a:extLst>
              <a:ext uri="{FF2B5EF4-FFF2-40B4-BE49-F238E27FC236}">
                <a16:creationId xmlns:a16="http://schemas.microsoft.com/office/drawing/2014/main" id="{6603B8B4-B465-8074-3FD3-3AF17C59E685}"/>
              </a:ext>
            </a:extLst>
          </p:cNvPr>
          <p:cNvSpPr txBox="1"/>
          <p:nvPr userDrawn="1"/>
        </p:nvSpPr>
        <p:spPr>
          <a:xfrm>
            <a:off x="3958532" y="5048729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Success</a:t>
            </a:r>
          </a:p>
        </p:txBody>
      </p:sp>
      <p:sp>
        <p:nvSpPr>
          <p:cNvPr id="560" name="TextBox 559">
            <a:extLst>
              <a:ext uri="{FF2B5EF4-FFF2-40B4-BE49-F238E27FC236}">
                <a16:creationId xmlns:a16="http://schemas.microsoft.com/office/drawing/2014/main" id="{7418487B-84D0-6212-848B-1AB2346E5C40}"/>
              </a:ext>
            </a:extLst>
          </p:cNvPr>
          <p:cNvSpPr txBox="1"/>
          <p:nvPr userDrawn="1"/>
        </p:nvSpPr>
        <p:spPr>
          <a:xfrm>
            <a:off x="8957400" y="5048729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/>
              <a:t>Technology</a:t>
            </a:r>
          </a:p>
          <a:p>
            <a:pPr algn="ctr"/>
            <a:r>
              <a:rPr lang="en-US" sz="800"/>
              <a:t>alt 2</a:t>
            </a:r>
          </a:p>
        </p:txBody>
      </p:sp>
      <p:sp>
        <p:nvSpPr>
          <p:cNvPr id="562" name="TextBox 561">
            <a:extLst>
              <a:ext uri="{FF2B5EF4-FFF2-40B4-BE49-F238E27FC236}">
                <a16:creationId xmlns:a16="http://schemas.microsoft.com/office/drawing/2014/main" id="{DBAED776-9DC2-D94E-2699-DCC1C9ED5BFC}"/>
              </a:ext>
            </a:extLst>
          </p:cNvPr>
          <p:cNvSpPr txBox="1"/>
          <p:nvPr userDrawn="1"/>
        </p:nvSpPr>
        <p:spPr>
          <a:xfrm>
            <a:off x="9671524" y="5048729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/>
              <a:t>Technology</a:t>
            </a:r>
          </a:p>
          <a:p>
            <a:pPr algn="ctr"/>
            <a:r>
              <a:rPr lang="en-US" sz="800"/>
              <a:t>alt 3</a:t>
            </a:r>
          </a:p>
        </p:txBody>
      </p:sp>
      <p:sp>
        <p:nvSpPr>
          <p:cNvPr id="564" name="TextBox 563">
            <a:extLst>
              <a:ext uri="{FF2B5EF4-FFF2-40B4-BE49-F238E27FC236}">
                <a16:creationId xmlns:a16="http://schemas.microsoft.com/office/drawing/2014/main" id="{5B46A6F0-DFDB-CE01-326C-D96C11B46A34}"/>
              </a:ext>
            </a:extLst>
          </p:cNvPr>
          <p:cNvSpPr txBox="1"/>
          <p:nvPr userDrawn="1"/>
        </p:nvSpPr>
        <p:spPr>
          <a:xfrm>
            <a:off x="4672656" y="5048729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Support</a:t>
            </a:r>
          </a:p>
        </p:txBody>
      </p:sp>
      <p:sp>
        <p:nvSpPr>
          <p:cNvPr id="566" name="TextBox 565">
            <a:extLst>
              <a:ext uri="{FF2B5EF4-FFF2-40B4-BE49-F238E27FC236}">
                <a16:creationId xmlns:a16="http://schemas.microsoft.com/office/drawing/2014/main" id="{33938D5B-07AF-F138-F480-58B876CC6906}"/>
              </a:ext>
            </a:extLst>
          </p:cNvPr>
          <p:cNvSpPr txBox="1"/>
          <p:nvPr userDrawn="1"/>
        </p:nvSpPr>
        <p:spPr>
          <a:xfrm>
            <a:off x="5386780" y="5048729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Survey</a:t>
            </a:r>
          </a:p>
        </p:txBody>
      </p:sp>
      <p:sp>
        <p:nvSpPr>
          <p:cNvPr id="568" name="TextBox 567">
            <a:extLst>
              <a:ext uri="{FF2B5EF4-FFF2-40B4-BE49-F238E27FC236}">
                <a16:creationId xmlns:a16="http://schemas.microsoft.com/office/drawing/2014/main" id="{2CBE8570-70B5-99D1-92D1-74E4675CD77E}"/>
              </a:ext>
            </a:extLst>
          </p:cNvPr>
          <p:cNvSpPr txBox="1"/>
          <p:nvPr userDrawn="1"/>
        </p:nvSpPr>
        <p:spPr>
          <a:xfrm>
            <a:off x="6100904" y="5048729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Tap Touch</a:t>
            </a:r>
          </a:p>
        </p:txBody>
      </p:sp>
      <p:sp>
        <p:nvSpPr>
          <p:cNvPr id="570" name="TextBox 569">
            <a:extLst>
              <a:ext uri="{FF2B5EF4-FFF2-40B4-BE49-F238E27FC236}">
                <a16:creationId xmlns:a16="http://schemas.microsoft.com/office/drawing/2014/main" id="{3C79FD8A-DAAC-4E22-9302-3FACCB656DFF}"/>
              </a:ext>
            </a:extLst>
          </p:cNvPr>
          <p:cNvSpPr txBox="1"/>
          <p:nvPr userDrawn="1"/>
        </p:nvSpPr>
        <p:spPr>
          <a:xfrm>
            <a:off x="6815028" y="5048729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Target</a:t>
            </a:r>
          </a:p>
        </p:txBody>
      </p:sp>
      <p:sp>
        <p:nvSpPr>
          <p:cNvPr id="572" name="TextBox 571">
            <a:extLst>
              <a:ext uri="{FF2B5EF4-FFF2-40B4-BE49-F238E27FC236}">
                <a16:creationId xmlns:a16="http://schemas.microsoft.com/office/drawing/2014/main" id="{27448055-0F78-AB70-40CE-04E09714D153}"/>
              </a:ext>
            </a:extLst>
          </p:cNvPr>
          <p:cNvSpPr txBox="1"/>
          <p:nvPr userDrawn="1"/>
        </p:nvSpPr>
        <p:spPr>
          <a:xfrm>
            <a:off x="7529152" y="5048729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Technology</a:t>
            </a:r>
          </a:p>
        </p:txBody>
      </p:sp>
      <p:sp>
        <p:nvSpPr>
          <p:cNvPr id="574" name="TextBox 573">
            <a:extLst>
              <a:ext uri="{FF2B5EF4-FFF2-40B4-BE49-F238E27FC236}">
                <a16:creationId xmlns:a16="http://schemas.microsoft.com/office/drawing/2014/main" id="{86CDC209-2B37-5335-C65A-E527810D168F}"/>
              </a:ext>
            </a:extLst>
          </p:cNvPr>
          <p:cNvSpPr txBox="1"/>
          <p:nvPr userDrawn="1"/>
        </p:nvSpPr>
        <p:spPr>
          <a:xfrm>
            <a:off x="8243276" y="5048729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Technology </a:t>
            </a:r>
          </a:p>
          <a:p>
            <a:pPr algn="ctr"/>
            <a:r>
              <a:rPr lang="en-US" sz="800"/>
              <a:t>alt</a:t>
            </a:r>
          </a:p>
        </p:txBody>
      </p:sp>
      <p:sp>
        <p:nvSpPr>
          <p:cNvPr id="576" name="TextBox 575">
            <a:extLst>
              <a:ext uri="{FF2B5EF4-FFF2-40B4-BE49-F238E27FC236}">
                <a16:creationId xmlns:a16="http://schemas.microsoft.com/office/drawing/2014/main" id="{026E1FF2-BA2E-41B0-514D-8889445B5B05}"/>
              </a:ext>
            </a:extLst>
          </p:cNvPr>
          <p:cNvSpPr txBox="1"/>
          <p:nvPr userDrawn="1"/>
        </p:nvSpPr>
        <p:spPr>
          <a:xfrm>
            <a:off x="10385648" y="5048729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Tent</a:t>
            </a:r>
          </a:p>
        </p:txBody>
      </p:sp>
      <p:sp>
        <p:nvSpPr>
          <p:cNvPr id="578" name="TextBox 577">
            <a:extLst>
              <a:ext uri="{FF2B5EF4-FFF2-40B4-BE49-F238E27FC236}">
                <a16:creationId xmlns:a16="http://schemas.microsoft.com/office/drawing/2014/main" id="{E4735722-FEEF-80D5-C0C9-FFE7AC68DCE1}"/>
              </a:ext>
            </a:extLst>
          </p:cNvPr>
          <p:cNvSpPr txBox="1"/>
          <p:nvPr userDrawn="1"/>
        </p:nvSpPr>
        <p:spPr>
          <a:xfrm>
            <a:off x="3244408" y="5048729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Student</a:t>
            </a:r>
          </a:p>
        </p:txBody>
      </p:sp>
      <p:sp>
        <p:nvSpPr>
          <p:cNvPr id="580" name="TextBox 579">
            <a:extLst>
              <a:ext uri="{FF2B5EF4-FFF2-40B4-BE49-F238E27FC236}">
                <a16:creationId xmlns:a16="http://schemas.microsoft.com/office/drawing/2014/main" id="{FBB93B83-FB57-4249-DE2D-5F3CA35A86AA}"/>
              </a:ext>
            </a:extLst>
          </p:cNvPr>
          <p:cNvSpPr txBox="1"/>
          <p:nvPr userDrawn="1"/>
        </p:nvSpPr>
        <p:spPr>
          <a:xfrm>
            <a:off x="387912" y="5871746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Time saver</a:t>
            </a:r>
          </a:p>
        </p:txBody>
      </p:sp>
      <p:sp>
        <p:nvSpPr>
          <p:cNvPr id="582" name="TextBox 581">
            <a:extLst>
              <a:ext uri="{FF2B5EF4-FFF2-40B4-BE49-F238E27FC236}">
                <a16:creationId xmlns:a16="http://schemas.microsoft.com/office/drawing/2014/main" id="{9FA93FA4-4B91-0312-DF31-61BD3CADCDD1}"/>
              </a:ext>
            </a:extLst>
          </p:cNvPr>
          <p:cNvSpPr txBox="1"/>
          <p:nvPr userDrawn="1"/>
        </p:nvSpPr>
        <p:spPr>
          <a:xfrm>
            <a:off x="1102963" y="5871746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User</a:t>
            </a:r>
          </a:p>
        </p:txBody>
      </p:sp>
      <p:sp>
        <p:nvSpPr>
          <p:cNvPr id="584" name="TextBox 583">
            <a:extLst>
              <a:ext uri="{FF2B5EF4-FFF2-40B4-BE49-F238E27FC236}">
                <a16:creationId xmlns:a16="http://schemas.microsoft.com/office/drawing/2014/main" id="{62D897FC-511A-3547-D724-05110CA6219F}"/>
              </a:ext>
            </a:extLst>
          </p:cNvPr>
          <p:cNvSpPr txBox="1"/>
          <p:nvPr userDrawn="1"/>
        </p:nvSpPr>
        <p:spPr>
          <a:xfrm>
            <a:off x="1818014" y="5871746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User-OTM</a:t>
            </a:r>
          </a:p>
        </p:txBody>
      </p:sp>
      <p:sp>
        <p:nvSpPr>
          <p:cNvPr id="586" name="TextBox 585">
            <a:extLst>
              <a:ext uri="{FF2B5EF4-FFF2-40B4-BE49-F238E27FC236}">
                <a16:creationId xmlns:a16="http://schemas.microsoft.com/office/drawing/2014/main" id="{056C4FCA-3826-1BF2-C51C-E6EEDACF9C55}"/>
              </a:ext>
            </a:extLst>
          </p:cNvPr>
          <p:cNvSpPr txBox="1"/>
          <p:nvPr userDrawn="1"/>
        </p:nvSpPr>
        <p:spPr>
          <a:xfrm>
            <a:off x="2533065" y="5871746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Validate</a:t>
            </a:r>
          </a:p>
        </p:txBody>
      </p:sp>
      <p:sp>
        <p:nvSpPr>
          <p:cNvPr id="588" name="TextBox 587">
            <a:extLst>
              <a:ext uri="{FF2B5EF4-FFF2-40B4-BE49-F238E27FC236}">
                <a16:creationId xmlns:a16="http://schemas.microsoft.com/office/drawing/2014/main" id="{DE802E82-EC07-F29D-A6A0-8F944836F85F}"/>
              </a:ext>
            </a:extLst>
          </p:cNvPr>
          <p:cNvSpPr txBox="1"/>
          <p:nvPr userDrawn="1"/>
        </p:nvSpPr>
        <p:spPr>
          <a:xfrm>
            <a:off x="3963167" y="5871746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Vendor</a:t>
            </a:r>
          </a:p>
        </p:txBody>
      </p:sp>
      <p:sp>
        <p:nvSpPr>
          <p:cNvPr id="590" name="TextBox 589">
            <a:extLst>
              <a:ext uri="{FF2B5EF4-FFF2-40B4-BE49-F238E27FC236}">
                <a16:creationId xmlns:a16="http://schemas.microsoft.com/office/drawing/2014/main" id="{442EC9C0-AB10-1A54-E5DF-225860524EE6}"/>
              </a:ext>
            </a:extLst>
          </p:cNvPr>
          <p:cNvSpPr txBox="1"/>
          <p:nvPr userDrawn="1"/>
        </p:nvSpPr>
        <p:spPr>
          <a:xfrm>
            <a:off x="8968524" y="5871746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Welcome</a:t>
            </a:r>
          </a:p>
        </p:txBody>
      </p:sp>
      <p:sp>
        <p:nvSpPr>
          <p:cNvPr id="592" name="TextBox 591">
            <a:extLst>
              <a:ext uri="{FF2B5EF4-FFF2-40B4-BE49-F238E27FC236}">
                <a16:creationId xmlns:a16="http://schemas.microsoft.com/office/drawing/2014/main" id="{A962070B-3508-85F8-2B54-F434109E2F6A}"/>
              </a:ext>
            </a:extLst>
          </p:cNvPr>
          <p:cNvSpPr txBox="1"/>
          <p:nvPr userDrawn="1"/>
        </p:nvSpPr>
        <p:spPr>
          <a:xfrm>
            <a:off x="9683575" y="5871746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Zoom in</a:t>
            </a:r>
          </a:p>
        </p:txBody>
      </p:sp>
      <p:sp>
        <p:nvSpPr>
          <p:cNvPr id="594" name="TextBox 593">
            <a:extLst>
              <a:ext uri="{FF2B5EF4-FFF2-40B4-BE49-F238E27FC236}">
                <a16:creationId xmlns:a16="http://schemas.microsoft.com/office/drawing/2014/main" id="{1532CEFC-409F-2060-CF8F-CBC7D4669C07}"/>
              </a:ext>
            </a:extLst>
          </p:cNvPr>
          <p:cNvSpPr txBox="1"/>
          <p:nvPr userDrawn="1"/>
        </p:nvSpPr>
        <p:spPr>
          <a:xfrm>
            <a:off x="4678218" y="5871746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Visibility off</a:t>
            </a:r>
          </a:p>
        </p:txBody>
      </p:sp>
      <p:sp>
        <p:nvSpPr>
          <p:cNvPr id="596" name="TextBox 595">
            <a:extLst>
              <a:ext uri="{FF2B5EF4-FFF2-40B4-BE49-F238E27FC236}">
                <a16:creationId xmlns:a16="http://schemas.microsoft.com/office/drawing/2014/main" id="{77E1D7D4-700C-DF1E-A51B-B50610A14252}"/>
              </a:ext>
            </a:extLst>
          </p:cNvPr>
          <p:cNvSpPr txBox="1"/>
          <p:nvPr userDrawn="1"/>
        </p:nvSpPr>
        <p:spPr>
          <a:xfrm>
            <a:off x="5393269" y="5871746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Visibility on</a:t>
            </a:r>
          </a:p>
        </p:txBody>
      </p:sp>
      <p:sp>
        <p:nvSpPr>
          <p:cNvPr id="598" name="TextBox 597">
            <a:extLst>
              <a:ext uri="{FF2B5EF4-FFF2-40B4-BE49-F238E27FC236}">
                <a16:creationId xmlns:a16="http://schemas.microsoft.com/office/drawing/2014/main" id="{8C9FA045-BB39-F8CB-5931-38A3389CCC1B}"/>
              </a:ext>
            </a:extLst>
          </p:cNvPr>
          <p:cNvSpPr txBox="1"/>
          <p:nvPr userDrawn="1"/>
        </p:nvSpPr>
        <p:spPr>
          <a:xfrm>
            <a:off x="6108320" y="5871746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Warning</a:t>
            </a:r>
          </a:p>
        </p:txBody>
      </p:sp>
      <p:sp>
        <p:nvSpPr>
          <p:cNvPr id="600" name="TextBox 599">
            <a:extLst>
              <a:ext uri="{FF2B5EF4-FFF2-40B4-BE49-F238E27FC236}">
                <a16:creationId xmlns:a16="http://schemas.microsoft.com/office/drawing/2014/main" id="{6002A60B-7455-0E4B-BB0E-D91FAAEAE9F1}"/>
              </a:ext>
            </a:extLst>
          </p:cNvPr>
          <p:cNvSpPr txBox="1"/>
          <p:nvPr userDrawn="1"/>
        </p:nvSpPr>
        <p:spPr>
          <a:xfrm>
            <a:off x="6823371" y="5871746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Web</a:t>
            </a:r>
          </a:p>
          <a:p>
            <a:pPr algn="ctr"/>
            <a:r>
              <a:rPr lang="en-US" sz="800"/>
              <a:t>expert</a:t>
            </a:r>
          </a:p>
        </p:txBody>
      </p:sp>
      <p:sp>
        <p:nvSpPr>
          <p:cNvPr id="602" name="TextBox 601">
            <a:extLst>
              <a:ext uri="{FF2B5EF4-FFF2-40B4-BE49-F238E27FC236}">
                <a16:creationId xmlns:a16="http://schemas.microsoft.com/office/drawing/2014/main" id="{96EB526F-4E80-56AD-2A54-C4BFF27DB8E7}"/>
              </a:ext>
            </a:extLst>
          </p:cNvPr>
          <p:cNvSpPr txBox="1"/>
          <p:nvPr userDrawn="1"/>
        </p:nvSpPr>
        <p:spPr>
          <a:xfrm>
            <a:off x="7538422" y="5871746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Web</a:t>
            </a:r>
          </a:p>
          <a:p>
            <a:pPr algn="ctr"/>
            <a:r>
              <a:rPr lang="en-US" sz="800"/>
              <a:t>scraping</a:t>
            </a:r>
          </a:p>
        </p:txBody>
      </p:sp>
      <p:sp>
        <p:nvSpPr>
          <p:cNvPr id="604" name="TextBox 603">
            <a:extLst>
              <a:ext uri="{FF2B5EF4-FFF2-40B4-BE49-F238E27FC236}">
                <a16:creationId xmlns:a16="http://schemas.microsoft.com/office/drawing/2014/main" id="{F278C588-BDB0-E88D-A9D6-44EBE9471FD5}"/>
              </a:ext>
            </a:extLst>
          </p:cNvPr>
          <p:cNvSpPr txBox="1"/>
          <p:nvPr userDrawn="1"/>
        </p:nvSpPr>
        <p:spPr>
          <a:xfrm>
            <a:off x="8253473" y="5871746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Web</a:t>
            </a:r>
          </a:p>
          <a:p>
            <a:pPr algn="ctr"/>
            <a:r>
              <a:rPr lang="en-US" sz="800"/>
              <a:t>testing</a:t>
            </a:r>
          </a:p>
        </p:txBody>
      </p:sp>
      <p:sp>
        <p:nvSpPr>
          <p:cNvPr id="606" name="TextBox 605">
            <a:extLst>
              <a:ext uri="{FF2B5EF4-FFF2-40B4-BE49-F238E27FC236}">
                <a16:creationId xmlns:a16="http://schemas.microsoft.com/office/drawing/2014/main" id="{7B820206-AB9B-7852-18F4-E3F4E268E6A3}"/>
              </a:ext>
            </a:extLst>
          </p:cNvPr>
          <p:cNvSpPr txBox="1"/>
          <p:nvPr userDrawn="1"/>
        </p:nvSpPr>
        <p:spPr>
          <a:xfrm>
            <a:off x="10398626" y="5871746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Zoom out</a:t>
            </a:r>
          </a:p>
        </p:txBody>
      </p:sp>
      <p:sp>
        <p:nvSpPr>
          <p:cNvPr id="608" name="TextBox 607">
            <a:extLst>
              <a:ext uri="{FF2B5EF4-FFF2-40B4-BE49-F238E27FC236}">
                <a16:creationId xmlns:a16="http://schemas.microsoft.com/office/drawing/2014/main" id="{9B32D2B9-2237-3400-8ECC-1B4EDFA30441}"/>
              </a:ext>
            </a:extLst>
          </p:cNvPr>
          <p:cNvSpPr txBox="1"/>
          <p:nvPr userDrawn="1"/>
        </p:nvSpPr>
        <p:spPr>
          <a:xfrm>
            <a:off x="3248116" y="5871746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Vector </a:t>
            </a:r>
          </a:p>
          <a:p>
            <a:pPr algn="ctr"/>
            <a:r>
              <a:rPr lang="en-US" sz="800"/>
              <a:t>anchor</a:t>
            </a:r>
          </a:p>
        </p:txBody>
      </p:sp>
      <p:sp>
        <p:nvSpPr>
          <p:cNvPr id="610" name="TextBox 609">
            <a:extLst>
              <a:ext uri="{FF2B5EF4-FFF2-40B4-BE49-F238E27FC236}">
                <a16:creationId xmlns:a16="http://schemas.microsoft.com/office/drawing/2014/main" id="{A842762B-0C8C-81E0-DA6A-0D3F643479D9}"/>
              </a:ext>
            </a:extLst>
          </p:cNvPr>
          <p:cNvSpPr txBox="1"/>
          <p:nvPr userDrawn="1"/>
        </p:nvSpPr>
        <p:spPr>
          <a:xfrm>
            <a:off x="11099777" y="1756657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Money </a:t>
            </a:r>
          </a:p>
          <a:p>
            <a:pPr algn="ctr"/>
            <a:r>
              <a:rPr lang="en-US" sz="800"/>
              <a:t>square</a:t>
            </a:r>
          </a:p>
        </p:txBody>
      </p:sp>
      <p:sp>
        <p:nvSpPr>
          <p:cNvPr id="612" name="TextBox 611">
            <a:extLst>
              <a:ext uri="{FF2B5EF4-FFF2-40B4-BE49-F238E27FC236}">
                <a16:creationId xmlns:a16="http://schemas.microsoft.com/office/drawing/2014/main" id="{64D4256C-2C7C-9B8A-F74C-AE9721DAC1CD}"/>
              </a:ext>
            </a:extLst>
          </p:cNvPr>
          <p:cNvSpPr txBox="1"/>
          <p:nvPr userDrawn="1"/>
        </p:nvSpPr>
        <p:spPr>
          <a:xfrm>
            <a:off x="387912" y="1756657"/>
            <a:ext cx="709636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Location </a:t>
            </a:r>
          </a:p>
          <a:p>
            <a:pPr algn="ctr"/>
            <a:r>
              <a:rPr lang="en-US" sz="800"/>
              <a:t>pin</a:t>
            </a:r>
          </a:p>
        </p:txBody>
      </p:sp>
      <p:sp>
        <p:nvSpPr>
          <p:cNvPr id="614" name="TextBox 613">
            <a:extLst>
              <a:ext uri="{FF2B5EF4-FFF2-40B4-BE49-F238E27FC236}">
                <a16:creationId xmlns:a16="http://schemas.microsoft.com/office/drawing/2014/main" id="{6CF99927-F6D0-254B-5EFA-5089FA7D104F}"/>
              </a:ext>
            </a:extLst>
          </p:cNvPr>
          <p:cNvSpPr txBox="1"/>
          <p:nvPr userDrawn="1"/>
        </p:nvSpPr>
        <p:spPr>
          <a:xfrm>
            <a:off x="1098680" y="1756657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Lock</a:t>
            </a:r>
          </a:p>
        </p:txBody>
      </p:sp>
      <p:sp>
        <p:nvSpPr>
          <p:cNvPr id="616" name="TextBox 615">
            <a:extLst>
              <a:ext uri="{FF2B5EF4-FFF2-40B4-BE49-F238E27FC236}">
                <a16:creationId xmlns:a16="http://schemas.microsoft.com/office/drawing/2014/main" id="{C39A79C0-8372-D6E8-096E-8DB380CF36EB}"/>
              </a:ext>
            </a:extLst>
          </p:cNvPr>
          <p:cNvSpPr txBox="1"/>
          <p:nvPr userDrawn="1"/>
        </p:nvSpPr>
        <p:spPr>
          <a:xfrm>
            <a:off x="1813044" y="1756657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Lock</a:t>
            </a:r>
          </a:p>
          <a:p>
            <a:pPr algn="ctr"/>
            <a:r>
              <a:rPr lang="en-US" sz="800"/>
              <a:t>open</a:t>
            </a:r>
          </a:p>
        </p:txBody>
      </p:sp>
      <p:sp>
        <p:nvSpPr>
          <p:cNvPr id="618" name="TextBox 617">
            <a:extLst>
              <a:ext uri="{FF2B5EF4-FFF2-40B4-BE49-F238E27FC236}">
                <a16:creationId xmlns:a16="http://schemas.microsoft.com/office/drawing/2014/main" id="{9ECFCAFE-9F6D-1531-AD3D-33E87931FA09}"/>
              </a:ext>
            </a:extLst>
          </p:cNvPr>
          <p:cNvSpPr txBox="1"/>
          <p:nvPr userDrawn="1"/>
        </p:nvSpPr>
        <p:spPr>
          <a:xfrm>
            <a:off x="2527408" y="1756657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Macro recording</a:t>
            </a:r>
          </a:p>
        </p:txBody>
      </p:sp>
      <p:sp>
        <p:nvSpPr>
          <p:cNvPr id="620" name="TextBox 619">
            <a:extLst>
              <a:ext uri="{FF2B5EF4-FFF2-40B4-BE49-F238E27FC236}">
                <a16:creationId xmlns:a16="http://schemas.microsoft.com/office/drawing/2014/main" id="{8673F24B-CEAD-A321-0741-11620EEC9C73}"/>
              </a:ext>
            </a:extLst>
          </p:cNvPr>
          <p:cNvSpPr txBox="1"/>
          <p:nvPr userDrawn="1"/>
        </p:nvSpPr>
        <p:spPr>
          <a:xfrm>
            <a:off x="3956136" y="1756657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Managing</a:t>
            </a:r>
          </a:p>
        </p:txBody>
      </p:sp>
      <p:sp>
        <p:nvSpPr>
          <p:cNvPr id="622" name="TextBox 621">
            <a:extLst>
              <a:ext uri="{FF2B5EF4-FFF2-40B4-BE49-F238E27FC236}">
                <a16:creationId xmlns:a16="http://schemas.microsoft.com/office/drawing/2014/main" id="{5E14C288-EE89-4450-4C27-99FA47F29EDD}"/>
              </a:ext>
            </a:extLst>
          </p:cNvPr>
          <p:cNvSpPr txBox="1"/>
          <p:nvPr userDrawn="1"/>
        </p:nvSpPr>
        <p:spPr>
          <a:xfrm>
            <a:off x="8956684" y="1756657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Mobile</a:t>
            </a:r>
          </a:p>
          <a:p>
            <a:pPr algn="ctr"/>
            <a:r>
              <a:rPr lang="en-US" sz="800"/>
              <a:t>device</a:t>
            </a:r>
          </a:p>
        </p:txBody>
      </p:sp>
      <p:sp>
        <p:nvSpPr>
          <p:cNvPr id="624" name="TextBox 623">
            <a:extLst>
              <a:ext uri="{FF2B5EF4-FFF2-40B4-BE49-F238E27FC236}">
                <a16:creationId xmlns:a16="http://schemas.microsoft.com/office/drawing/2014/main" id="{C485B63B-4C24-1E7A-A85C-33F16F9D24E6}"/>
              </a:ext>
            </a:extLst>
          </p:cNvPr>
          <p:cNvSpPr txBox="1"/>
          <p:nvPr userDrawn="1"/>
        </p:nvSpPr>
        <p:spPr>
          <a:xfrm>
            <a:off x="9671048" y="1756657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Money </a:t>
            </a:r>
          </a:p>
        </p:txBody>
      </p:sp>
      <p:sp>
        <p:nvSpPr>
          <p:cNvPr id="626" name="TextBox 625">
            <a:extLst>
              <a:ext uri="{FF2B5EF4-FFF2-40B4-BE49-F238E27FC236}">
                <a16:creationId xmlns:a16="http://schemas.microsoft.com/office/drawing/2014/main" id="{26415E51-B4A7-1B60-FF0C-BCBE43BDADD2}"/>
              </a:ext>
            </a:extLst>
          </p:cNvPr>
          <p:cNvSpPr txBox="1"/>
          <p:nvPr userDrawn="1"/>
        </p:nvSpPr>
        <p:spPr>
          <a:xfrm>
            <a:off x="4670500" y="1756657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Managing alt</a:t>
            </a:r>
          </a:p>
        </p:txBody>
      </p:sp>
      <p:sp>
        <p:nvSpPr>
          <p:cNvPr id="628" name="TextBox 627">
            <a:extLst>
              <a:ext uri="{FF2B5EF4-FFF2-40B4-BE49-F238E27FC236}">
                <a16:creationId xmlns:a16="http://schemas.microsoft.com/office/drawing/2014/main" id="{89D6DDC5-B721-F80E-41A4-9FBEFDA1F5F2}"/>
              </a:ext>
            </a:extLst>
          </p:cNvPr>
          <p:cNvSpPr txBox="1"/>
          <p:nvPr userDrawn="1"/>
        </p:nvSpPr>
        <p:spPr>
          <a:xfrm>
            <a:off x="5384864" y="1756657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Map</a:t>
            </a:r>
          </a:p>
        </p:txBody>
      </p:sp>
      <p:sp>
        <p:nvSpPr>
          <p:cNvPr id="630" name="TextBox 629">
            <a:extLst>
              <a:ext uri="{FF2B5EF4-FFF2-40B4-BE49-F238E27FC236}">
                <a16:creationId xmlns:a16="http://schemas.microsoft.com/office/drawing/2014/main" id="{5A956151-953E-FFCC-CFF8-B53CACDB38BC}"/>
              </a:ext>
            </a:extLst>
          </p:cNvPr>
          <p:cNvSpPr txBox="1"/>
          <p:nvPr userDrawn="1"/>
        </p:nvSpPr>
        <p:spPr>
          <a:xfrm>
            <a:off x="6099228" y="1756657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Map alt</a:t>
            </a:r>
          </a:p>
        </p:txBody>
      </p:sp>
      <p:sp>
        <p:nvSpPr>
          <p:cNvPr id="632" name="TextBox 631">
            <a:extLst>
              <a:ext uri="{FF2B5EF4-FFF2-40B4-BE49-F238E27FC236}">
                <a16:creationId xmlns:a16="http://schemas.microsoft.com/office/drawing/2014/main" id="{C3BC3D0C-180F-033D-011C-F61C01867416}"/>
              </a:ext>
            </a:extLst>
          </p:cNvPr>
          <p:cNvSpPr txBox="1"/>
          <p:nvPr userDrawn="1"/>
        </p:nvSpPr>
        <p:spPr>
          <a:xfrm>
            <a:off x="6813592" y="1756657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Map alt 2</a:t>
            </a:r>
          </a:p>
        </p:txBody>
      </p:sp>
      <p:sp>
        <p:nvSpPr>
          <p:cNvPr id="634" name="TextBox 633">
            <a:extLst>
              <a:ext uri="{FF2B5EF4-FFF2-40B4-BE49-F238E27FC236}">
                <a16:creationId xmlns:a16="http://schemas.microsoft.com/office/drawing/2014/main" id="{D7042731-BA1B-05EF-B944-76D430CA20A1}"/>
              </a:ext>
            </a:extLst>
          </p:cNvPr>
          <p:cNvSpPr txBox="1"/>
          <p:nvPr userDrawn="1"/>
        </p:nvSpPr>
        <p:spPr>
          <a:xfrm>
            <a:off x="7527956" y="1756657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Media</a:t>
            </a:r>
          </a:p>
        </p:txBody>
      </p:sp>
      <p:sp>
        <p:nvSpPr>
          <p:cNvPr id="636" name="TextBox 635">
            <a:extLst>
              <a:ext uri="{FF2B5EF4-FFF2-40B4-BE49-F238E27FC236}">
                <a16:creationId xmlns:a16="http://schemas.microsoft.com/office/drawing/2014/main" id="{23D1D19A-9ED4-A89F-2913-BFC7BA97BA0A}"/>
              </a:ext>
            </a:extLst>
          </p:cNvPr>
          <p:cNvSpPr txBox="1"/>
          <p:nvPr userDrawn="1"/>
        </p:nvSpPr>
        <p:spPr>
          <a:xfrm>
            <a:off x="8242320" y="1756657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Mismatch</a:t>
            </a:r>
          </a:p>
        </p:txBody>
      </p:sp>
      <p:sp>
        <p:nvSpPr>
          <p:cNvPr id="638" name="TextBox 637">
            <a:extLst>
              <a:ext uri="{FF2B5EF4-FFF2-40B4-BE49-F238E27FC236}">
                <a16:creationId xmlns:a16="http://schemas.microsoft.com/office/drawing/2014/main" id="{142E348A-534E-A74A-6A4F-22C3441E98B8}"/>
              </a:ext>
            </a:extLst>
          </p:cNvPr>
          <p:cNvSpPr txBox="1"/>
          <p:nvPr userDrawn="1"/>
        </p:nvSpPr>
        <p:spPr>
          <a:xfrm>
            <a:off x="10385412" y="1756657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Money </a:t>
            </a:r>
          </a:p>
          <a:p>
            <a:pPr algn="ctr"/>
            <a:r>
              <a:rPr lang="en-US" sz="800"/>
              <a:t>circle</a:t>
            </a:r>
          </a:p>
        </p:txBody>
      </p:sp>
      <p:sp>
        <p:nvSpPr>
          <p:cNvPr id="640" name="TextBox 639">
            <a:extLst>
              <a:ext uri="{FF2B5EF4-FFF2-40B4-BE49-F238E27FC236}">
                <a16:creationId xmlns:a16="http://schemas.microsoft.com/office/drawing/2014/main" id="{F0D3AE74-EC07-121D-51FC-409B57FA5212}"/>
              </a:ext>
            </a:extLst>
          </p:cNvPr>
          <p:cNvSpPr txBox="1"/>
          <p:nvPr userDrawn="1"/>
        </p:nvSpPr>
        <p:spPr>
          <a:xfrm>
            <a:off x="3241772" y="1756657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Manage documents</a:t>
            </a:r>
          </a:p>
        </p:txBody>
      </p:sp>
      <p:sp>
        <p:nvSpPr>
          <p:cNvPr id="642" name="TextBox 641">
            <a:extLst>
              <a:ext uri="{FF2B5EF4-FFF2-40B4-BE49-F238E27FC236}">
                <a16:creationId xmlns:a16="http://schemas.microsoft.com/office/drawing/2014/main" id="{7756A3B8-B94A-CB9E-9646-83ABB2AE67A1}"/>
              </a:ext>
            </a:extLst>
          </p:cNvPr>
          <p:cNvSpPr txBox="1"/>
          <p:nvPr userDrawn="1"/>
        </p:nvSpPr>
        <p:spPr>
          <a:xfrm>
            <a:off x="11099777" y="2579675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QA</a:t>
            </a:r>
          </a:p>
        </p:txBody>
      </p:sp>
      <p:sp>
        <p:nvSpPr>
          <p:cNvPr id="644" name="TextBox 643">
            <a:extLst>
              <a:ext uri="{FF2B5EF4-FFF2-40B4-BE49-F238E27FC236}">
                <a16:creationId xmlns:a16="http://schemas.microsoft.com/office/drawing/2014/main" id="{AFCFD625-FC03-B3C0-3974-2A88FD9C1D34}"/>
              </a:ext>
            </a:extLst>
          </p:cNvPr>
          <p:cNvSpPr txBox="1"/>
          <p:nvPr userDrawn="1"/>
        </p:nvSpPr>
        <p:spPr>
          <a:xfrm>
            <a:off x="387912" y="2579675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Monitoring</a:t>
            </a:r>
          </a:p>
        </p:txBody>
      </p:sp>
      <p:sp>
        <p:nvSpPr>
          <p:cNvPr id="646" name="TextBox 645">
            <a:extLst>
              <a:ext uri="{FF2B5EF4-FFF2-40B4-BE49-F238E27FC236}">
                <a16:creationId xmlns:a16="http://schemas.microsoft.com/office/drawing/2014/main" id="{9BB546B7-8A3D-68DE-C82F-72ED53032F67}"/>
              </a:ext>
            </a:extLst>
          </p:cNvPr>
          <p:cNvSpPr txBox="1"/>
          <p:nvPr userDrawn="1"/>
        </p:nvSpPr>
        <p:spPr>
          <a:xfrm>
            <a:off x="1102036" y="2579675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Monitoring alt</a:t>
            </a:r>
          </a:p>
        </p:txBody>
      </p:sp>
      <p:sp>
        <p:nvSpPr>
          <p:cNvPr id="648" name="TextBox 647">
            <a:extLst>
              <a:ext uri="{FF2B5EF4-FFF2-40B4-BE49-F238E27FC236}">
                <a16:creationId xmlns:a16="http://schemas.microsoft.com/office/drawing/2014/main" id="{E5B644ED-73EF-33AE-A425-523DD8F53411}"/>
              </a:ext>
            </a:extLst>
          </p:cNvPr>
          <p:cNvSpPr txBox="1"/>
          <p:nvPr userDrawn="1"/>
        </p:nvSpPr>
        <p:spPr>
          <a:xfrm>
            <a:off x="1816160" y="2579675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Note</a:t>
            </a:r>
          </a:p>
        </p:txBody>
      </p:sp>
      <p:sp>
        <p:nvSpPr>
          <p:cNvPr id="650" name="TextBox 649">
            <a:extLst>
              <a:ext uri="{FF2B5EF4-FFF2-40B4-BE49-F238E27FC236}">
                <a16:creationId xmlns:a16="http://schemas.microsoft.com/office/drawing/2014/main" id="{6BE1FCB3-54C0-7206-160B-784D2337BEB1}"/>
              </a:ext>
            </a:extLst>
          </p:cNvPr>
          <p:cNvSpPr txBox="1"/>
          <p:nvPr userDrawn="1"/>
        </p:nvSpPr>
        <p:spPr>
          <a:xfrm>
            <a:off x="2530284" y="2579675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OCR</a:t>
            </a:r>
          </a:p>
        </p:txBody>
      </p:sp>
      <p:sp>
        <p:nvSpPr>
          <p:cNvPr id="652" name="TextBox 651">
            <a:extLst>
              <a:ext uri="{FF2B5EF4-FFF2-40B4-BE49-F238E27FC236}">
                <a16:creationId xmlns:a16="http://schemas.microsoft.com/office/drawing/2014/main" id="{3804629E-A629-9DE1-20B5-4610937A0643}"/>
              </a:ext>
            </a:extLst>
          </p:cNvPr>
          <p:cNvSpPr txBox="1"/>
          <p:nvPr userDrawn="1"/>
        </p:nvSpPr>
        <p:spPr>
          <a:xfrm>
            <a:off x="3958532" y="2579675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Phone </a:t>
            </a:r>
          </a:p>
          <a:p>
            <a:pPr algn="ctr"/>
            <a:r>
              <a:rPr lang="en-US" sz="800"/>
              <a:t>call</a:t>
            </a:r>
          </a:p>
        </p:txBody>
      </p:sp>
      <p:sp>
        <p:nvSpPr>
          <p:cNvPr id="654" name="TextBox 653">
            <a:extLst>
              <a:ext uri="{FF2B5EF4-FFF2-40B4-BE49-F238E27FC236}">
                <a16:creationId xmlns:a16="http://schemas.microsoft.com/office/drawing/2014/main" id="{1B757380-C36E-08F2-D2CD-0A52986291A8}"/>
              </a:ext>
            </a:extLst>
          </p:cNvPr>
          <p:cNvSpPr txBox="1"/>
          <p:nvPr userDrawn="1"/>
        </p:nvSpPr>
        <p:spPr>
          <a:xfrm>
            <a:off x="8957400" y="2579675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Proof of concept</a:t>
            </a:r>
          </a:p>
        </p:txBody>
      </p:sp>
      <p:sp>
        <p:nvSpPr>
          <p:cNvPr id="656" name="TextBox 655">
            <a:extLst>
              <a:ext uri="{FF2B5EF4-FFF2-40B4-BE49-F238E27FC236}">
                <a16:creationId xmlns:a16="http://schemas.microsoft.com/office/drawing/2014/main" id="{B44BF5A3-6657-3ED6-9C69-CAFE0E2013C6}"/>
              </a:ext>
            </a:extLst>
          </p:cNvPr>
          <p:cNvSpPr txBox="1"/>
          <p:nvPr userDrawn="1"/>
        </p:nvSpPr>
        <p:spPr>
          <a:xfrm>
            <a:off x="9671524" y="2579675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Proof of concept 2</a:t>
            </a:r>
          </a:p>
        </p:txBody>
      </p:sp>
      <p:sp>
        <p:nvSpPr>
          <p:cNvPr id="658" name="TextBox 657">
            <a:extLst>
              <a:ext uri="{FF2B5EF4-FFF2-40B4-BE49-F238E27FC236}">
                <a16:creationId xmlns:a16="http://schemas.microsoft.com/office/drawing/2014/main" id="{FFC1A677-E495-E07B-D434-43B196071D7F}"/>
              </a:ext>
            </a:extLst>
          </p:cNvPr>
          <p:cNvSpPr txBox="1"/>
          <p:nvPr userDrawn="1"/>
        </p:nvSpPr>
        <p:spPr>
          <a:xfrm>
            <a:off x="4672656" y="2579675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Pivot</a:t>
            </a:r>
          </a:p>
        </p:txBody>
      </p:sp>
      <p:sp>
        <p:nvSpPr>
          <p:cNvPr id="660" name="TextBox 659">
            <a:extLst>
              <a:ext uri="{FF2B5EF4-FFF2-40B4-BE49-F238E27FC236}">
                <a16:creationId xmlns:a16="http://schemas.microsoft.com/office/drawing/2014/main" id="{CDB84352-62D0-DD32-239B-231326ED9375}"/>
              </a:ext>
            </a:extLst>
          </p:cNvPr>
          <p:cNvSpPr txBox="1"/>
          <p:nvPr userDrawn="1"/>
        </p:nvSpPr>
        <p:spPr>
          <a:xfrm>
            <a:off x="5386780" y="2579675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Plugin</a:t>
            </a:r>
          </a:p>
        </p:txBody>
      </p:sp>
      <p:sp>
        <p:nvSpPr>
          <p:cNvPr id="662" name="TextBox 661">
            <a:extLst>
              <a:ext uri="{FF2B5EF4-FFF2-40B4-BE49-F238E27FC236}">
                <a16:creationId xmlns:a16="http://schemas.microsoft.com/office/drawing/2014/main" id="{E7FD1862-3FA5-2C72-D994-6A6EC550590B}"/>
              </a:ext>
            </a:extLst>
          </p:cNvPr>
          <p:cNvSpPr txBox="1"/>
          <p:nvPr userDrawn="1"/>
        </p:nvSpPr>
        <p:spPr>
          <a:xfrm>
            <a:off x="6100904" y="2579675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Process identification</a:t>
            </a:r>
          </a:p>
        </p:txBody>
      </p:sp>
      <p:sp>
        <p:nvSpPr>
          <p:cNvPr id="664" name="TextBox 663">
            <a:extLst>
              <a:ext uri="{FF2B5EF4-FFF2-40B4-BE49-F238E27FC236}">
                <a16:creationId xmlns:a16="http://schemas.microsoft.com/office/drawing/2014/main" id="{D3AB57FC-E92E-B623-3DA2-6121E2E7910C}"/>
              </a:ext>
            </a:extLst>
          </p:cNvPr>
          <p:cNvSpPr txBox="1"/>
          <p:nvPr userDrawn="1"/>
        </p:nvSpPr>
        <p:spPr>
          <a:xfrm>
            <a:off x="6815028" y="2579675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Process identification 2</a:t>
            </a:r>
          </a:p>
        </p:txBody>
      </p:sp>
      <p:sp>
        <p:nvSpPr>
          <p:cNvPr id="666" name="TextBox 665">
            <a:extLst>
              <a:ext uri="{FF2B5EF4-FFF2-40B4-BE49-F238E27FC236}">
                <a16:creationId xmlns:a16="http://schemas.microsoft.com/office/drawing/2014/main" id="{5AF7F5C6-A476-5C82-5C32-28EF4B91A137}"/>
              </a:ext>
            </a:extLst>
          </p:cNvPr>
          <p:cNvSpPr txBox="1"/>
          <p:nvPr userDrawn="1"/>
        </p:nvSpPr>
        <p:spPr>
          <a:xfrm>
            <a:off x="7529152" y="2579675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Project</a:t>
            </a:r>
          </a:p>
        </p:txBody>
      </p:sp>
      <p:sp>
        <p:nvSpPr>
          <p:cNvPr id="668" name="TextBox 667">
            <a:extLst>
              <a:ext uri="{FF2B5EF4-FFF2-40B4-BE49-F238E27FC236}">
                <a16:creationId xmlns:a16="http://schemas.microsoft.com/office/drawing/2014/main" id="{68B714D1-63FA-4D62-282E-413B311DD73D}"/>
              </a:ext>
            </a:extLst>
          </p:cNvPr>
          <p:cNvSpPr txBox="1"/>
          <p:nvPr userDrawn="1"/>
        </p:nvSpPr>
        <p:spPr>
          <a:xfrm>
            <a:off x="8243276" y="2579675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Promoter bullhorn</a:t>
            </a:r>
          </a:p>
        </p:txBody>
      </p:sp>
      <p:sp>
        <p:nvSpPr>
          <p:cNvPr id="670" name="TextBox 669">
            <a:extLst>
              <a:ext uri="{FF2B5EF4-FFF2-40B4-BE49-F238E27FC236}">
                <a16:creationId xmlns:a16="http://schemas.microsoft.com/office/drawing/2014/main" id="{BEDAFA72-B400-0FC2-2807-7D650180B59E}"/>
              </a:ext>
            </a:extLst>
          </p:cNvPr>
          <p:cNvSpPr txBox="1"/>
          <p:nvPr userDrawn="1"/>
        </p:nvSpPr>
        <p:spPr>
          <a:xfrm>
            <a:off x="10385648" y="2579675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Public </a:t>
            </a:r>
          </a:p>
          <a:p>
            <a:pPr algn="ctr"/>
            <a:r>
              <a:rPr lang="en-US" sz="800"/>
              <a:t>sector</a:t>
            </a:r>
          </a:p>
        </p:txBody>
      </p:sp>
      <p:sp>
        <p:nvSpPr>
          <p:cNvPr id="671" name="TextBox 670">
            <a:extLst>
              <a:ext uri="{FF2B5EF4-FFF2-40B4-BE49-F238E27FC236}">
                <a16:creationId xmlns:a16="http://schemas.microsoft.com/office/drawing/2014/main" id="{DF97AD7D-6E6B-5F05-E2A4-C4C83EEA8AF0}"/>
              </a:ext>
            </a:extLst>
          </p:cNvPr>
          <p:cNvSpPr txBox="1"/>
          <p:nvPr userDrawn="1"/>
        </p:nvSpPr>
        <p:spPr>
          <a:xfrm>
            <a:off x="3244408" y="2579675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OCR alt</a:t>
            </a:r>
          </a:p>
        </p:txBody>
      </p:sp>
    </p:spTree>
    <p:extLst>
      <p:ext uri="{BB962C8B-B14F-4D97-AF65-F5344CB8AC3E}">
        <p14:creationId xmlns:p14="http://schemas.microsoft.com/office/powerpoint/2010/main" val="229118479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D06F8458-66E1-4B4A-BC40-DD2CDA42EB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91" name="Rectangle 490">
            <a:extLst>
              <a:ext uri="{FF2B5EF4-FFF2-40B4-BE49-F238E27FC236}">
                <a16:creationId xmlns:a16="http://schemas.microsoft.com/office/drawing/2014/main" id="{065E3A3D-B6FA-DFA8-4314-4C52A6F93091}"/>
              </a:ext>
            </a:extLst>
          </p:cNvPr>
          <p:cNvSpPr/>
          <p:nvPr userDrawn="1"/>
        </p:nvSpPr>
        <p:spPr>
          <a:xfrm>
            <a:off x="0" y="1143000"/>
            <a:ext cx="12188825" cy="5671457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n-US" sz="1400" b="0" i="0" err="1">
              <a:latin typeface="Arial"/>
              <a:cs typeface="Arial"/>
            </a:endParaRPr>
          </a:p>
        </p:txBody>
      </p:sp>
      <p:sp>
        <p:nvSpPr>
          <p:cNvPr id="492" name="Left Bracket 491">
            <a:extLst>
              <a:ext uri="{FF2B5EF4-FFF2-40B4-BE49-F238E27FC236}">
                <a16:creationId xmlns:a16="http://schemas.microsoft.com/office/drawing/2014/main" id="{BDA449AE-2C01-063D-D9DD-7D85A04E9646}"/>
              </a:ext>
            </a:extLst>
          </p:cNvPr>
          <p:cNvSpPr/>
          <p:nvPr userDrawn="1"/>
        </p:nvSpPr>
        <p:spPr>
          <a:xfrm flipH="1">
            <a:off x="-6" y="1276793"/>
            <a:ext cx="3239346" cy="1619825"/>
          </a:xfrm>
          <a:prstGeom prst="leftBracket">
            <a:avLst>
              <a:gd name="adj" fmla="val 0"/>
            </a:avLst>
          </a:prstGeom>
          <a:noFill/>
          <a:ln w="12700" cap="rnd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3" name="TextBox 492">
            <a:extLst>
              <a:ext uri="{FF2B5EF4-FFF2-40B4-BE49-F238E27FC236}">
                <a16:creationId xmlns:a16="http://schemas.microsoft.com/office/drawing/2014/main" id="{27133876-A165-ACC9-F7A7-874BC9168968}"/>
              </a:ext>
            </a:extLst>
          </p:cNvPr>
          <p:cNvSpPr txBox="1"/>
          <p:nvPr userDrawn="1"/>
        </p:nvSpPr>
        <p:spPr>
          <a:xfrm>
            <a:off x="1911026" y="2580873"/>
            <a:ext cx="1142892" cy="215444"/>
          </a:xfrm>
          <a:prstGeom prst="rect">
            <a:avLst/>
          </a:prstGeom>
          <a:noFill/>
        </p:spPr>
        <p:txBody>
          <a:bodyPr wrap="square" lIns="0" rIns="0" anchor="ctr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Robot Attended</a:t>
            </a:r>
          </a:p>
        </p:txBody>
      </p:sp>
      <p:sp>
        <p:nvSpPr>
          <p:cNvPr id="494" name="TextBox 493">
            <a:extLst>
              <a:ext uri="{FF2B5EF4-FFF2-40B4-BE49-F238E27FC236}">
                <a16:creationId xmlns:a16="http://schemas.microsoft.com/office/drawing/2014/main" id="{A02AA3E5-90CD-8BA4-0858-BE5429AC06F8}"/>
              </a:ext>
            </a:extLst>
          </p:cNvPr>
          <p:cNvSpPr txBox="1"/>
          <p:nvPr userDrawn="1"/>
        </p:nvSpPr>
        <p:spPr>
          <a:xfrm>
            <a:off x="539318" y="2580873"/>
            <a:ext cx="961152" cy="215444"/>
          </a:xfrm>
          <a:prstGeom prst="rect">
            <a:avLst/>
          </a:prstGeom>
          <a:noFill/>
        </p:spPr>
        <p:txBody>
          <a:bodyPr wrap="square" lIns="0" rIns="0" anchor="ctr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Robot Unattended</a:t>
            </a:r>
          </a:p>
        </p:txBody>
      </p:sp>
      <p:sp>
        <p:nvSpPr>
          <p:cNvPr id="495" name="TextBox 494">
            <a:extLst>
              <a:ext uri="{FF2B5EF4-FFF2-40B4-BE49-F238E27FC236}">
                <a16:creationId xmlns:a16="http://schemas.microsoft.com/office/drawing/2014/main" id="{81C89FD8-9CEB-342B-3147-80416505E2F9}"/>
              </a:ext>
            </a:extLst>
          </p:cNvPr>
          <p:cNvSpPr txBox="1"/>
          <p:nvPr userDrawn="1"/>
        </p:nvSpPr>
        <p:spPr>
          <a:xfrm>
            <a:off x="665076" y="1756657"/>
            <a:ext cx="709636" cy="215444"/>
          </a:xfrm>
          <a:prstGeom prst="rect">
            <a:avLst/>
          </a:prstGeom>
          <a:noFill/>
        </p:spPr>
        <p:txBody>
          <a:bodyPr wrap="square" lIns="0" rIns="0" anchor="ctr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Orchestrator</a:t>
            </a:r>
          </a:p>
        </p:txBody>
      </p:sp>
      <p:sp>
        <p:nvSpPr>
          <p:cNvPr id="496" name="TextBox 495">
            <a:extLst>
              <a:ext uri="{FF2B5EF4-FFF2-40B4-BE49-F238E27FC236}">
                <a16:creationId xmlns:a16="http://schemas.microsoft.com/office/drawing/2014/main" id="{C906E7F3-6000-C560-3D58-FB85D32962F7}"/>
              </a:ext>
            </a:extLst>
          </p:cNvPr>
          <p:cNvSpPr txBox="1"/>
          <p:nvPr userDrawn="1"/>
        </p:nvSpPr>
        <p:spPr>
          <a:xfrm>
            <a:off x="2320810" y="1756657"/>
            <a:ext cx="304800" cy="215444"/>
          </a:xfrm>
          <a:prstGeom prst="rect">
            <a:avLst/>
          </a:prstGeom>
          <a:noFill/>
        </p:spPr>
        <p:txBody>
          <a:bodyPr wrap="square" lIns="0" rIns="0" anchor="ctr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tudio</a:t>
            </a:r>
          </a:p>
        </p:txBody>
      </p:sp>
      <p:sp>
        <p:nvSpPr>
          <p:cNvPr id="497" name="TextBox 496">
            <a:extLst>
              <a:ext uri="{FF2B5EF4-FFF2-40B4-BE49-F238E27FC236}">
                <a16:creationId xmlns:a16="http://schemas.microsoft.com/office/drawing/2014/main" id="{73601A66-7D34-F677-46D2-D5D9A4DE86E5}"/>
              </a:ext>
            </a:extLst>
          </p:cNvPr>
          <p:cNvSpPr txBox="1"/>
          <p:nvPr userDrawn="1"/>
        </p:nvSpPr>
        <p:spPr>
          <a:xfrm>
            <a:off x="10387591" y="2580873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Calendar</a:t>
            </a:r>
          </a:p>
        </p:txBody>
      </p:sp>
      <p:sp>
        <p:nvSpPr>
          <p:cNvPr id="498" name="TextBox 497">
            <a:extLst>
              <a:ext uri="{FF2B5EF4-FFF2-40B4-BE49-F238E27FC236}">
                <a16:creationId xmlns:a16="http://schemas.microsoft.com/office/drawing/2014/main" id="{4BB295E8-1210-6089-ACC3-4E5BD189D027}"/>
              </a:ext>
            </a:extLst>
          </p:cNvPr>
          <p:cNvSpPr txBox="1"/>
          <p:nvPr userDrawn="1"/>
        </p:nvSpPr>
        <p:spPr>
          <a:xfrm>
            <a:off x="10387591" y="3367961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Course foundation</a:t>
            </a:r>
          </a:p>
        </p:txBody>
      </p:sp>
      <p:sp>
        <p:nvSpPr>
          <p:cNvPr id="499" name="TextBox 498">
            <a:extLst>
              <a:ext uri="{FF2B5EF4-FFF2-40B4-BE49-F238E27FC236}">
                <a16:creationId xmlns:a16="http://schemas.microsoft.com/office/drawing/2014/main" id="{F9F62F0F-7834-86B1-6492-BB56AA3AA329}"/>
              </a:ext>
            </a:extLst>
          </p:cNvPr>
          <p:cNvSpPr txBox="1"/>
          <p:nvPr userDrawn="1"/>
        </p:nvSpPr>
        <p:spPr>
          <a:xfrm>
            <a:off x="11099777" y="4216498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Enterprise-competency alt</a:t>
            </a:r>
          </a:p>
        </p:txBody>
      </p:sp>
      <p:sp>
        <p:nvSpPr>
          <p:cNvPr id="500" name="TextBox 499">
            <a:extLst>
              <a:ext uri="{FF2B5EF4-FFF2-40B4-BE49-F238E27FC236}">
                <a16:creationId xmlns:a16="http://schemas.microsoft.com/office/drawing/2014/main" id="{0019C44C-686E-56D6-2CD4-95F7DD4C6344}"/>
              </a:ext>
            </a:extLst>
          </p:cNvPr>
          <p:cNvSpPr txBox="1"/>
          <p:nvPr userDrawn="1"/>
        </p:nvSpPr>
        <p:spPr>
          <a:xfrm>
            <a:off x="11099777" y="5053521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Growth</a:t>
            </a:r>
          </a:p>
        </p:txBody>
      </p:sp>
      <p:sp>
        <p:nvSpPr>
          <p:cNvPr id="501" name="TextBox 500">
            <a:extLst>
              <a:ext uri="{FF2B5EF4-FFF2-40B4-BE49-F238E27FC236}">
                <a16:creationId xmlns:a16="http://schemas.microsoft.com/office/drawing/2014/main" id="{FBE45560-651C-0464-B4F5-BEE1B42B6A2E}"/>
              </a:ext>
            </a:extLst>
          </p:cNvPr>
          <p:cNvSpPr txBox="1"/>
          <p:nvPr userDrawn="1"/>
        </p:nvSpPr>
        <p:spPr>
          <a:xfrm>
            <a:off x="11099777" y="2580873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Certification</a:t>
            </a:r>
          </a:p>
        </p:txBody>
      </p:sp>
      <p:sp>
        <p:nvSpPr>
          <p:cNvPr id="502" name="TextBox 501">
            <a:extLst>
              <a:ext uri="{FF2B5EF4-FFF2-40B4-BE49-F238E27FC236}">
                <a16:creationId xmlns:a16="http://schemas.microsoft.com/office/drawing/2014/main" id="{56AF41E5-55C4-793A-987C-DA6C5A35BD74}"/>
              </a:ext>
            </a:extLst>
          </p:cNvPr>
          <p:cNvSpPr txBox="1"/>
          <p:nvPr userDrawn="1"/>
        </p:nvSpPr>
        <p:spPr>
          <a:xfrm>
            <a:off x="11099777" y="3367961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Course foundation 2</a:t>
            </a:r>
          </a:p>
        </p:txBody>
      </p:sp>
      <p:sp>
        <p:nvSpPr>
          <p:cNvPr id="503" name="TextBox 502">
            <a:extLst>
              <a:ext uri="{FF2B5EF4-FFF2-40B4-BE49-F238E27FC236}">
                <a16:creationId xmlns:a16="http://schemas.microsoft.com/office/drawing/2014/main" id="{EE3F7E46-D398-409E-DB4D-556181C7A100}"/>
              </a:ext>
            </a:extLst>
          </p:cNvPr>
          <p:cNvSpPr txBox="1"/>
          <p:nvPr userDrawn="1"/>
        </p:nvSpPr>
        <p:spPr>
          <a:xfrm>
            <a:off x="386232" y="5053521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Equal</a:t>
            </a:r>
          </a:p>
        </p:txBody>
      </p:sp>
      <p:sp>
        <p:nvSpPr>
          <p:cNvPr id="504" name="TextBox 503">
            <a:extLst>
              <a:ext uri="{FF2B5EF4-FFF2-40B4-BE49-F238E27FC236}">
                <a16:creationId xmlns:a16="http://schemas.microsoft.com/office/drawing/2014/main" id="{B68C01A1-811C-EEC2-20EA-2632508D6FC4}"/>
              </a:ext>
            </a:extLst>
          </p:cNvPr>
          <p:cNvSpPr txBox="1"/>
          <p:nvPr userDrawn="1"/>
        </p:nvSpPr>
        <p:spPr>
          <a:xfrm>
            <a:off x="386232" y="587773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Health</a:t>
            </a:r>
          </a:p>
        </p:txBody>
      </p:sp>
      <p:sp>
        <p:nvSpPr>
          <p:cNvPr id="505" name="TextBox 504">
            <a:extLst>
              <a:ext uri="{FF2B5EF4-FFF2-40B4-BE49-F238E27FC236}">
                <a16:creationId xmlns:a16="http://schemas.microsoft.com/office/drawing/2014/main" id="{6489331C-EFEA-0E57-D731-5A82909F6924}"/>
              </a:ext>
            </a:extLst>
          </p:cNvPr>
          <p:cNvSpPr txBox="1"/>
          <p:nvPr userDrawn="1"/>
        </p:nvSpPr>
        <p:spPr>
          <a:xfrm>
            <a:off x="386232" y="3367961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Chart</a:t>
            </a:r>
          </a:p>
        </p:txBody>
      </p:sp>
      <p:sp>
        <p:nvSpPr>
          <p:cNvPr id="506" name="TextBox 505">
            <a:extLst>
              <a:ext uri="{FF2B5EF4-FFF2-40B4-BE49-F238E27FC236}">
                <a16:creationId xmlns:a16="http://schemas.microsoft.com/office/drawing/2014/main" id="{1E67BF26-8F01-0A0C-ABE3-A062955D169E}"/>
              </a:ext>
            </a:extLst>
          </p:cNvPr>
          <p:cNvSpPr txBox="1"/>
          <p:nvPr userDrawn="1"/>
        </p:nvSpPr>
        <p:spPr>
          <a:xfrm>
            <a:off x="386232" y="4216498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Course foundation 3</a:t>
            </a:r>
          </a:p>
        </p:txBody>
      </p:sp>
      <p:sp>
        <p:nvSpPr>
          <p:cNvPr id="507" name="TextBox 506">
            <a:extLst>
              <a:ext uri="{FF2B5EF4-FFF2-40B4-BE49-F238E27FC236}">
                <a16:creationId xmlns:a16="http://schemas.microsoft.com/office/drawing/2014/main" id="{17D069BB-C660-1689-CE89-3F931EB71D65}"/>
              </a:ext>
            </a:extLst>
          </p:cNvPr>
          <p:cNvSpPr txBox="1"/>
          <p:nvPr userDrawn="1"/>
        </p:nvSpPr>
        <p:spPr>
          <a:xfrm>
            <a:off x="1094199" y="5053521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Error</a:t>
            </a:r>
          </a:p>
        </p:txBody>
      </p:sp>
      <p:sp>
        <p:nvSpPr>
          <p:cNvPr id="508" name="TextBox 507">
            <a:extLst>
              <a:ext uri="{FF2B5EF4-FFF2-40B4-BE49-F238E27FC236}">
                <a16:creationId xmlns:a16="http://schemas.microsoft.com/office/drawing/2014/main" id="{B7D055F2-233E-5289-91D1-3D5995FE2C70}"/>
              </a:ext>
            </a:extLst>
          </p:cNvPr>
          <p:cNvSpPr txBox="1"/>
          <p:nvPr userDrawn="1"/>
        </p:nvSpPr>
        <p:spPr>
          <a:xfrm>
            <a:off x="1094199" y="587773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Heart</a:t>
            </a:r>
          </a:p>
        </p:txBody>
      </p:sp>
      <p:sp>
        <p:nvSpPr>
          <p:cNvPr id="509" name="TextBox 508">
            <a:extLst>
              <a:ext uri="{FF2B5EF4-FFF2-40B4-BE49-F238E27FC236}">
                <a16:creationId xmlns:a16="http://schemas.microsoft.com/office/drawing/2014/main" id="{A6F2DB0F-2889-CC7E-810D-2EF0D903C0EB}"/>
              </a:ext>
            </a:extLst>
          </p:cNvPr>
          <p:cNvSpPr txBox="1"/>
          <p:nvPr userDrawn="1"/>
        </p:nvSpPr>
        <p:spPr>
          <a:xfrm>
            <a:off x="1094199" y="3367961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Clock</a:t>
            </a:r>
          </a:p>
        </p:txBody>
      </p:sp>
      <p:sp>
        <p:nvSpPr>
          <p:cNvPr id="510" name="TextBox 509">
            <a:extLst>
              <a:ext uri="{FF2B5EF4-FFF2-40B4-BE49-F238E27FC236}">
                <a16:creationId xmlns:a16="http://schemas.microsoft.com/office/drawing/2014/main" id="{764422F1-C184-3A3B-0FD9-A9DBDC9A9F47}"/>
              </a:ext>
            </a:extLst>
          </p:cNvPr>
          <p:cNvSpPr txBox="1"/>
          <p:nvPr userDrawn="1"/>
        </p:nvSpPr>
        <p:spPr>
          <a:xfrm>
            <a:off x="1094199" y="4216498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Course-orchestrator</a:t>
            </a:r>
          </a:p>
        </p:txBody>
      </p:sp>
      <p:sp>
        <p:nvSpPr>
          <p:cNvPr id="511" name="TextBox 510">
            <a:extLst>
              <a:ext uri="{FF2B5EF4-FFF2-40B4-BE49-F238E27FC236}">
                <a16:creationId xmlns:a16="http://schemas.microsoft.com/office/drawing/2014/main" id="{53185685-AB91-B195-7E8B-B7612768AEDB}"/>
              </a:ext>
            </a:extLst>
          </p:cNvPr>
          <p:cNvSpPr txBox="1"/>
          <p:nvPr userDrawn="1"/>
        </p:nvSpPr>
        <p:spPr>
          <a:xfrm>
            <a:off x="1808609" y="5053521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Exception handling</a:t>
            </a:r>
          </a:p>
        </p:txBody>
      </p:sp>
      <p:sp>
        <p:nvSpPr>
          <p:cNvPr id="256" name="TextBox 255">
            <a:extLst>
              <a:ext uri="{FF2B5EF4-FFF2-40B4-BE49-F238E27FC236}">
                <a16:creationId xmlns:a16="http://schemas.microsoft.com/office/drawing/2014/main" id="{2255BAC1-AD8C-4B42-DAD9-C14442E2AFC1}"/>
              </a:ext>
            </a:extLst>
          </p:cNvPr>
          <p:cNvSpPr txBox="1"/>
          <p:nvPr userDrawn="1"/>
        </p:nvSpPr>
        <p:spPr>
          <a:xfrm>
            <a:off x="1808609" y="587773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Home</a:t>
            </a:r>
          </a:p>
        </p:txBody>
      </p:sp>
      <p:sp>
        <p:nvSpPr>
          <p:cNvPr id="257" name="TextBox 256">
            <a:extLst>
              <a:ext uri="{FF2B5EF4-FFF2-40B4-BE49-F238E27FC236}">
                <a16:creationId xmlns:a16="http://schemas.microsoft.com/office/drawing/2014/main" id="{8AD01437-9042-4550-AFDC-677A4C2F7A4D}"/>
              </a:ext>
            </a:extLst>
          </p:cNvPr>
          <p:cNvSpPr txBox="1"/>
          <p:nvPr userDrawn="1"/>
        </p:nvSpPr>
        <p:spPr>
          <a:xfrm>
            <a:off x="1808609" y="3367961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Cloud </a:t>
            </a:r>
          </a:p>
          <a:p>
            <a:pPr algn="ctr"/>
            <a:r>
              <a:rPr lang="en-US" sz="800">
                <a:solidFill>
                  <a:schemeClr val="bg1"/>
                </a:solidFill>
              </a:rPr>
              <a:t>app</a:t>
            </a:r>
          </a:p>
        </p:txBody>
      </p:sp>
      <p:sp>
        <p:nvSpPr>
          <p:cNvPr id="258" name="TextBox 257">
            <a:extLst>
              <a:ext uri="{FF2B5EF4-FFF2-40B4-BE49-F238E27FC236}">
                <a16:creationId xmlns:a16="http://schemas.microsoft.com/office/drawing/2014/main" id="{2FF9E324-19D0-1BD2-7463-54D33B723E69}"/>
              </a:ext>
            </a:extLst>
          </p:cNvPr>
          <p:cNvSpPr txBox="1"/>
          <p:nvPr userDrawn="1"/>
        </p:nvSpPr>
        <p:spPr>
          <a:xfrm>
            <a:off x="1808609" y="421649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CRM</a:t>
            </a:r>
          </a:p>
        </p:txBody>
      </p:sp>
      <p:sp>
        <p:nvSpPr>
          <p:cNvPr id="259" name="TextBox 258">
            <a:extLst>
              <a:ext uri="{FF2B5EF4-FFF2-40B4-BE49-F238E27FC236}">
                <a16:creationId xmlns:a16="http://schemas.microsoft.com/office/drawing/2014/main" id="{4BC7A19C-1DC6-2C14-E78E-590B14975DF2}"/>
              </a:ext>
            </a:extLst>
          </p:cNvPr>
          <p:cNvSpPr txBox="1"/>
          <p:nvPr userDrawn="1"/>
        </p:nvSpPr>
        <p:spPr>
          <a:xfrm>
            <a:off x="2524257" y="5053521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Fast ROI</a:t>
            </a:r>
          </a:p>
        </p:txBody>
      </p:sp>
      <p:sp>
        <p:nvSpPr>
          <p:cNvPr id="260" name="TextBox 259">
            <a:extLst>
              <a:ext uri="{FF2B5EF4-FFF2-40B4-BE49-F238E27FC236}">
                <a16:creationId xmlns:a16="http://schemas.microsoft.com/office/drawing/2014/main" id="{1C4BD93F-7514-1B8E-42FF-537DE0664FB0}"/>
              </a:ext>
            </a:extLst>
          </p:cNvPr>
          <p:cNvSpPr txBox="1"/>
          <p:nvPr userDrawn="1"/>
        </p:nvSpPr>
        <p:spPr>
          <a:xfrm>
            <a:off x="2524257" y="587773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Hourglass</a:t>
            </a:r>
          </a:p>
        </p:txBody>
      </p:sp>
      <p:sp>
        <p:nvSpPr>
          <p:cNvPr id="261" name="TextBox 260">
            <a:extLst>
              <a:ext uri="{FF2B5EF4-FFF2-40B4-BE49-F238E27FC236}">
                <a16:creationId xmlns:a16="http://schemas.microsoft.com/office/drawing/2014/main" id="{3DA28DD2-4DD1-AB0F-135C-E9044A0E85BA}"/>
              </a:ext>
            </a:extLst>
          </p:cNvPr>
          <p:cNvSpPr txBox="1"/>
          <p:nvPr userDrawn="1"/>
        </p:nvSpPr>
        <p:spPr>
          <a:xfrm>
            <a:off x="4667488" y="3367961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Code</a:t>
            </a:r>
          </a:p>
        </p:txBody>
      </p:sp>
      <p:sp>
        <p:nvSpPr>
          <p:cNvPr id="262" name="TextBox 261">
            <a:extLst>
              <a:ext uri="{FF2B5EF4-FFF2-40B4-BE49-F238E27FC236}">
                <a16:creationId xmlns:a16="http://schemas.microsoft.com/office/drawing/2014/main" id="{C2A8950A-7DD0-9C97-132C-B5C1AC6B65C7}"/>
              </a:ext>
            </a:extLst>
          </p:cNvPr>
          <p:cNvSpPr txBox="1"/>
          <p:nvPr userDrawn="1"/>
        </p:nvSpPr>
        <p:spPr>
          <a:xfrm>
            <a:off x="4667488" y="4216498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Desktop program</a:t>
            </a:r>
          </a:p>
        </p:txBody>
      </p:sp>
      <p:sp>
        <p:nvSpPr>
          <p:cNvPr id="263" name="TextBox 262">
            <a:extLst>
              <a:ext uri="{FF2B5EF4-FFF2-40B4-BE49-F238E27FC236}">
                <a16:creationId xmlns:a16="http://schemas.microsoft.com/office/drawing/2014/main" id="{B02ADF7B-32DB-B7AD-665A-8C0EBC8E04CE}"/>
              </a:ext>
            </a:extLst>
          </p:cNvPr>
          <p:cNvSpPr txBox="1"/>
          <p:nvPr userDrawn="1"/>
        </p:nvSpPr>
        <p:spPr>
          <a:xfrm>
            <a:off x="5381899" y="5053521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First-link</a:t>
            </a:r>
          </a:p>
        </p:txBody>
      </p:sp>
      <p:sp>
        <p:nvSpPr>
          <p:cNvPr id="264" name="TextBox 263">
            <a:extLst>
              <a:ext uri="{FF2B5EF4-FFF2-40B4-BE49-F238E27FC236}">
                <a16:creationId xmlns:a16="http://schemas.microsoft.com/office/drawing/2014/main" id="{65F530AF-E865-77C8-33E9-62851C35EE26}"/>
              </a:ext>
            </a:extLst>
          </p:cNvPr>
          <p:cNvSpPr txBox="1"/>
          <p:nvPr userDrawn="1"/>
        </p:nvSpPr>
        <p:spPr>
          <a:xfrm>
            <a:off x="4667488" y="2580873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Automated data entry</a:t>
            </a:r>
          </a:p>
        </p:txBody>
      </p:sp>
      <p:sp>
        <p:nvSpPr>
          <p:cNvPr id="265" name="TextBox 264">
            <a:extLst>
              <a:ext uri="{FF2B5EF4-FFF2-40B4-BE49-F238E27FC236}">
                <a16:creationId xmlns:a16="http://schemas.microsoft.com/office/drawing/2014/main" id="{1150803D-768E-8E71-BE75-6268DF6994DE}"/>
              </a:ext>
            </a:extLst>
          </p:cNvPr>
          <p:cNvSpPr txBox="1"/>
          <p:nvPr userDrawn="1"/>
        </p:nvSpPr>
        <p:spPr>
          <a:xfrm>
            <a:off x="5381899" y="1753079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AI </a:t>
            </a:r>
          </a:p>
        </p:txBody>
      </p:sp>
      <p:sp>
        <p:nvSpPr>
          <p:cNvPr id="266" name="TextBox 265">
            <a:extLst>
              <a:ext uri="{FF2B5EF4-FFF2-40B4-BE49-F238E27FC236}">
                <a16:creationId xmlns:a16="http://schemas.microsoft.com/office/drawing/2014/main" id="{FCDB99FB-7D72-64D0-EBA1-AD50B2ADFA38}"/>
              </a:ext>
            </a:extLst>
          </p:cNvPr>
          <p:cNvSpPr txBox="1"/>
          <p:nvPr userDrawn="1"/>
        </p:nvSpPr>
        <p:spPr>
          <a:xfrm>
            <a:off x="5381899" y="587773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Keyboard</a:t>
            </a:r>
          </a:p>
        </p:txBody>
      </p:sp>
      <p:sp>
        <p:nvSpPr>
          <p:cNvPr id="267" name="TextBox 266">
            <a:extLst>
              <a:ext uri="{FF2B5EF4-FFF2-40B4-BE49-F238E27FC236}">
                <a16:creationId xmlns:a16="http://schemas.microsoft.com/office/drawing/2014/main" id="{FCCF2683-4322-20F2-373A-C5F63EC92045}"/>
              </a:ext>
            </a:extLst>
          </p:cNvPr>
          <p:cNvSpPr txBox="1"/>
          <p:nvPr userDrawn="1"/>
        </p:nvSpPr>
        <p:spPr>
          <a:xfrm>
            <a:off x="5381899" y="3367961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Complete </a:t>
            </a:r>
          </a:p>
          <a:p>
            <a:pPr algn="ctr"/>
            <a:r>
              <a:rPr lang="en-US" sz="800">
                <a:solidFill>
                  <a:schemeClr val="bg1"/>
                </a:solidFill>
              </a:rPr>
              <a:t>audit</a:t>
            </a:r>
          </a:p>
        </p:txBody>
      </p:sp>
      <p:sp>
        <p:nvSpPr>
          <p:cNvPr id="268" name="TextBox 267">
            <a:extLst>
              <a:ext uri="{FF2B5EF4-FFF2-40B4-BE49-F238E27FC236}">
                <a16:creationId xmlns:a16="http://schemas.microsoft.com/office/drawing/2014/main" id="{0A3031E5-CBBA-C2E9-4804-2AB8122BD362}"/>
              </a:ext>
            </a:extLst>
          </p:cNvPr>
          <p:cNvSpPr txBox="1"/>
          <p:nvPr userDrawn="1"/>
        </p:nvSpPr>
        <p:spPr>
          <a:xfrm>
            <a:off x="5381899" y="4216498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Document </a:t>
            </a:r>
            <a:br>
              <a:rPr lang="en-US" sz="800">
                <a:solidFill>
                  <a:schemeClr val="bg1"/>
                </a:solidFill>
              </a:rPr>
            </a:br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269" name="TextBox 268">
            <a:extLst>
              <a:ext uri="{FF2B5EF4-FFF2-40B4-BE49-F238E27FC236}">
                <a16:creationId xmlns:a16="http://schemas.microsoft.com/office/drawing/2014/main" id="{4A4CADEB-3A2D-9A09-B9CB-B75BC6EAC868}"/>
              </a:ext>
            </a:extLst>
          </p:cNvPr>
          <p:cNvSpPr txBox="1"/>
          <p:nvPr userDrawn="1"/>
        </p:nvSpPr>
        <p:spPr>
          <a:xfrm>
            <a:off x="6096309" y="5053521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First-mention</a:t>
            </a:r>
          </a:p>
        </p:txBody>
      </p:sp>
      <p:sp>
        <p:nvSpPr>
          <p:cNvPr id="270" name="TextBox 269">
            <a:extLst>
              <a:ext uri="{FF2B5EF4-FFF2-40B4-BE49-F238E27FC236}">
                <a16:creationId xmlns:a16="http://schemas.microsoft.com/office/drawing/2014/main" id="{A6E6C23B-5F3F-00D2-1CAB-482209B9EA2A}"/>
              </a:ext>
            </a:extLst>
          </p:cNvPr>
          <p:cNvSpPr txBox="1"/>
          <p:nvPr userDrawn="1"/>
        </p:nvSpPr>
        <p:spPr>
          <a:xfrm>
            <a:off x="5381899" y="2580873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Automation</a:t>
            </a:r>
          </a:p>
        </p:txBody>
      </p:sp>
      <p:sp>
        <p:nvSpPr>
          <p:cNvPr id="271" name="TextBox 270">
            <a:extLst>
              <a:ext uri="{FF2B5EF4-FFF2-40B4-BE49-F238E27FC236}">
                <a16:creationId xmlns:a16="http://schemas.microsoft.com/office/drawing/2014/main" id="{B33490CB-50F7-FD4B-77AD-779C93F27576}"/>
              </a:ext>
            </a:extLst>
          </p:cNvPr>
          <p:cNvSpPr txBox="1"/>
          <p:nvPr userDrawn="1"/>
        </p:nvSpPr>
        <p:spPr>
          <a:xfrm>
            <a:off x="6096309" y="1753079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AI Alt</a:t>
            </a:r>
          </a:p>
        </p:txBody>
      </p:sp>
      <p:sp>
        <p:nvSpPr>
          <p:cNvPr id="272" name="TextBox 271">
            <a:extLst>
              <a:ext uri="{FF2B5EF4-FFF2-40B4-BE49-F238E27FC236}">
                <a16:creationId xmlns:a16="http://schemas.microsoft.com/office/drawing/2014/main" id="{57177F25-16FC-0B71-C762-A26242838479}"/>
              </a:ext>
            </a:extLst>
          </p:cNvPr>
          <p:cNvSpPr txBox="1"/>
          <p:nvPr userDrawn="1"/>
        </p:nvSpPr>
        <p:spPr>
          <a:xfrm>
            <a:off x="6096309" y="587773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Label</a:t>
            </a:r>
          </a:p>
        </p:txBody>
      </p:sp>
      <p:sp>
        <p:nvSpPr>
          <p:cNvPr id="273" name="TextBox 272">
            <a:extLst>
              <a:ext uri="{FF2B5EF4-FFF2-40B4-BE49-F238E27FC236}">
                <a16:creationId xmlns:a16="http://schemas.microsoft.com/office/drawing/2014/main" id="{AEC2D3CA-DB2B-6EC0-1CC6-8EBFA4019F2A}"/>
              </a:ext>
            </a:extLst>
          </p:cNvPr>
          <p:cNvSpPr txBox="1"/>
          <p:nvPr userDrawn="1"/>
        </p:nvSpPr>
        <p:spPr>
          <a:xfrm>
            <a:off x="6096309" y="3367961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Contact</a:t>
            </a:r>
          </a:p>
          <a:p>
            <a:pPr algn="ctr"/>
            <a:r>
              <a:rPr lang="en-US" sz="800">
                <a:solidFill>
                  <a:schemeClr val="bg1"/>
                </a:solidFill>
              </a:rPr>
              <a:t>email</a:t>
            </a:r>
          </a:p>
        </p:txBody>
      </p:sp>
      <p:sp>
        <p:nvSpPr>
          <p:cNvPr id="274" name="TextBox 273">
            <a:extLst>
              <a:ext uri="{FF2B5EF4-FFF2-40B4-BE49-F238E27FC236}">
                <a16:creationId xmlns:a16="http://schemas.microsoft.com/office/drawing/2014/main" id="{98DAB4BA-BDBE-0579-FCB6-3F9B1DF2BD21}"/>
              </a:ext>
            </a:extLst>
          </p:cNvPr>
          <p:cNvSpPr txBox="1"/>
          <p:nvPr userDrawn="1"/>
        </p:nvSpPr>
        <p:spPr>
          <a:xfrm>
            <a:off x="6096309" y="421649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Done</a:t>
            </a:r>
          </a:p>
        </p:txBody>
      </p:sp>
      <p:sp>
        <p:nvSpPr>
          <p:cNvPr id="275" name="TextBox 274">
            <a:extLst>
              <a:ext uri="{FF2B5EF4-FFF2-40B4-BE49-F238E27FC236}">
                <a16:creationId xmlns:a16="http://schemas.microsoft.com/office/drawing/2014/main" id="{C0B8CD01-0212-784E-0A6B-F8E3CE7A6D1A}"/>
              </a:ext>
            </a:extLst>
          </p:cNvPr>
          <p:cNvSpPr txBox="1"/>
          <p:nvPr userDrawn="1"/>
        </p:nvSpPr>
        <p:spPr>
          <a:xfrm>
            <a:off x="6810720" y="5053521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First-</a:t>
            </a:r>
            <a:r>
              <a:rPr lang="en-US" sz="800" err="1">
                <a:solidFill>
                  <a:schemeClr val="bg1"/>
                </a:solidFill>
              </a:rPr>
              <a:t>onebox</a:t>
            </a:r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276" name="TextBox 275">
            <a:extLst>
              <a:ext uri="{FF2B5EF4-FFF2-40B4-BE49-F238E27FC236}">
                <a16:creationId xmlns:a16="http://schemas.microsoft.com/office/drawing/2014/main" id="{158BD53F-8453-FDDA-D698-C7709ECC1A4E}"/>
              </a:ext>
            </a:extLst>
          </p:cNvPr>
          <p:cNvSpPr txBox="1"/>
          <p:nvPr userDrawn="1"/>
        </p:nvSpPr>
        <p:spPr>
          <a:xfrm>
            <a:off x="6096309" y="2580873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Background automation</a:t>
            </a:r>
          </a:p>
        </p:txBody>
      </p:sp>
      <p:sp>
        <p:nvSpPr>
          <p:cNvPr id="277" name="TextBox 276">
            <a:extLst>
              <a:ext uri="{FF2B5EF4-FFF2-40B4-BE49-F238E27FC236}">
                <a16:creationId xmlns:a16="http://schemas.microsoft.com/office/drawing/2014/main" id="{A3A53D12-F8A5-F410-A4F0-D87DEB119D04}"/>
              </a:ext>
            </a:extLst>
          </p:cNvPr>
          <p:cNvSpPr txBox="1"/>
          <p:nvPr userDrawn="1"/>
        </p:nvSpPr>
        <p:spPr>
          <a:xfrm>
            <a:off x="6810720" y="1753079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AI Enabled</a:t>
            </a:r>
          </a:p>
        </p:txBody>
      </p:sp>
      <p:sp>
        <p:nvSpPr>
          <p:cNvPr id="278" name="TextBox 277">
            <a:extLst>
              <a:ext uri="{FF2B5EF4-FFF2-40B4-BE49-F238E27FC236}">
                <a16:creationId xmlns:a16="http://schemas.microsoft.com/office/drawing/2014/main" id="{52F02695-8F17-CF81-C454-0F888EBD9629}"/>
              </a:ext>
            </a:extLst>
          </p:cNvPr>
          <p:cNvSpPr txBox="1"/>
          <p:nvPr userDrawn="1"/>
        </p:nvSpPr>
        <p:spPr>
          <a:xfrm>
            <a:off x="6810720" y="587773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Label alt</a:t>
            </a:r>
          </a:p>
        </p:txBody>
      </p:sp>
      <p:sp>
        <p:nvSpPr>
          <p:cNvPr id="279" name="TextBox 278">
            <a:extLst>
              <a:ext uri="{FF2B5EF4-FFF2-40B4-BE49-F238E27FC236}">
                <a16:creationId xmlns:a16="http://schemas.microsoft.com/office/drawing/2014/main" id="{C118E91B-69F5-80E6-6D7B-B3EAC3136F7D}"/>
              </a:ext>
            </a:extLst>
          </p:cNvPr>
          <p:cNvSpPr txBox="1"/>
          <p:nvPr userDrawn="1"/>
        </p:nvSpPr>
        <p:spPr>
          <a:xfrm>
            <a:off x="8959652" y="3367961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Cost low</a:t>
            </a:r>
          </a:p>
        </p:txBody>
      </p:sp>
      <p:sp>
        <p:nvSpPr>
          <p:cNvPr id="280" name="TextBox 279">
            <a:extLst>
              <a:ext uri="{FF2B5EF4-FFF2-40B4-BE49-F238E27FC236}">
                <a16:creationId xmlns:a16="http://schemas.microsoft.com/office/drawing/2014/main" id="{44A5F0BB-1935-FD82-F3FC-B5C5C7DD03DC}"/>
              </a:ext>
            </a:extLst>
          </p:cNvPr>
          <p:cNvSpPr txBox="1"/>
          <p:nvPr userDrawn="1"/>
        </p:nvSpPr>
        <p:spPr>
          <a:xfrm>
            <a:off x="8959652" y="421649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Editor</a:t>
            </a:r>
          </a:p>
        </p:txBody>
      </p:sp>
      <p:sp>
        <p:nvSpPr>
          <p:cNvPr id="282" name="TextBox 281">
            <a:extLst>
              <a:ext uri="{FF2B5EF4-FFF2-40B4-BE49-F238E27FC236}">
                <a16:creationId xmlns:a16="http://schemas.microsoft.com/office/drawing/2014/main" id="{0498D90F-351D-BDC6-8846-DEB644B5AE62}"/>
              </a:ext>
            </a:extLst>
          </p:cNvPr>
          <p:cNvSpPr txBox="1"/>
          <p:nvPr userDrawn="1"/>
        </p:nvSpPr>
        <p:spPr>
          <a:xfrm>
            <a:off x="9672676" y="5053521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Goals</a:t>
            </a:r>
          </a:p>
        </p:txBody>
      </p:sp>
      <p:sp>
        <p:nvSpPr>
          <p:cNvPr id="284" name="TextBox 283">
            <a:extLst>
              <a:ext uri="{FF2B5EF4-FFF2-40B4-BE49-F238E27FC236}">
                <a16:creationId xmlns:a16="http://schemas.microsoft.com/office/drawing/2014/main" id="{ACB35604-EBFA-7060-4052-584A4AC7DAED}"/>
              </a:ext>
            </a:extLst>
          </p:cNvPr>
          <p:cNvSpPr txBox="1"/>
          <p:nvPr userDrawn="1"/>
        </p:nvSpPr>
        <p:spPr>
          <a:xfrm>
            <a:off x="8959652" y="2580873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Business partner-up alt</a:t>
            </a:r>
          </a:p>
        </p:txBody>
      </p:sp>
      <p:sp>
        <p:nvSpPr>
          <p:cNvPr id="286" name="TextBox 285">
            <a:extLst>
              <a:ext uri="{FF2B5EF4-FFF2-40B4-BE49-F238E27FC236}">
                <a16:creationId xmlns:a16="http://schemas.microsoft.com/office/drawing/2014/main" id="{5D459304-CC3B-0764-7FD4-DABB218815B3}"/>
              </a:ext>
            </a:extLst>
          </p:cNvPr>
          <p:cNvSpPr txBox="1"/>
          <p:nvPr userDrawn="1"/>
        </p:nvSpPr>
        <p:spPr>
          <a:xfrm>
            <a:off x="9672676" y="1753079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App-3rd-party  2</a:t>
            </a:r>
          </a:p>
        </p:txBody>
      </p:sp>
      <p:sp>
        <p:nvSpPr>
          <p:cNvPr id="288" name="TextBox 287">
            <a:extLst>
              <a:ext uri="{FF2B5EF4-FFF2-40B4-BE49-F238E27FC236}">
                <a16:creationId xmlns:a16="http://schemas.microsoft.com/office/drawing/2014/main" id="{C2D276B4-D913-37E2-3D9D-D80834D820C3}"/>
              </a:ext>
            </a:extLst>
          </p:cNvPr>
          <p:cNvSpPr txBox="1"/>
          <p:nvPr userDrawn="1"/>
        </p:nvSpPr>
        <p:spPr>
          <a:xfrm>
            <a:off x="10387591" y="5877738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Link </a:t>
            </a:r>
          </a:p>
          <a:p>
            <a:pPr algn="ctr"/>
            <a:r>
              <a:rPr lang="en-US" sz="800">
                <a:solidFill>
                  <a:schemeClr val="bg1"/>
                </a:solidFill>
              </a:rPr>
              <a:t>special</a:t>
            </a:r>
          </a:p>
        </p:txBody>
      </p:sp>
      <p:sp>
        <p:nvSpPr>
          <p:cNvPr id="290" name="TextBox 289">
            <a:extLst>
              <a:ext uri="{FF2B5EF4-FFF2-40B4-BE49-F238E27FC236}">
                <a16:creationId xmlns:a16="http://schemas.microsoft.com/office/drawing/2014/main" id="{BE643265-B922-E8CE-B943-79A9A82A03F2}"/>
              </a:ext>
            </a:extLst>
          </p:cNvPr>
          <p:cNvSpPr txBox="1"/>
          <p:nvPr userDrawn="1"/>
        </p:nvSpPr>
        <p:spPr>
          <a:xfrm>
            <a:off x="2524257" y="3367961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Cloud download</a:t>
            </a:r>
          </a:p>
        </p:txBody>
      </p:sp>
      <p:sp>
        <p:nvSpPr>
          <p:cNvPr id="292" name="TextBox 291">
            <a:extLst>
              <a:ext uri="{FF2B5EF4-FFF2-40B4-BE49-F238E27FC236}">
                <a16:creationId xmlns:a16="http://schemas.microsoft.com/office/drawing/2014/main" id="{3C85818D-F52D-DB61-A30D-12F9AC12390D}"/>
              </a:ext>
            </a:extLst>
          </p:cNvPr>
          <p:cNvSpPr txBox="1"/>
          <p:nvPr userDrawn="1"/>
        </p:nvSpPr>
        <p:spPr>
          <a:xfrm>
            <a:off x="2524257" y="421649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Crown</a:t>
            </a:r>
          </a:p>
        </p:txBody>
      </p:sp>
      <p:sp>
        <p:nvSpPr>
          <p:cNvPr id="294" name="TextBox 293">
            <a:extLst>
              <a:ext uri="{FF2B5EF4-FFF2-40B4-BE49-F238E27FC236}">
                <a16:creationId xmlns:a16="http://schemas.microsoft.com/office/drawing/2014/main" id="{B00766AC-0526-578E-A54F-1B805CFF3708}"/>
              </a:ext>
            </a:extLst>
          </p:cNvPr>
          <p:cNvSpPr txBox="1"/>
          <p:nvPr userDrawn="1"/>
        </p:nvSpPr>
        <p:spPr>
          <a:xfrm>
            <a:off x="3241239" y="5053521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First Emoji</a:t>
            </a:r>
          </a:p>
        </p:txBody>
      </p:sp>
      <p:sp>
        <p:nvSpPr>
          <p:cNvPr id="296" name="TextBox 295">
            <a:extLst>
              <a:ext uri="{FF2B5EF4-FFF2-40B4-BE49-F238E27FC236}">
                <a16:creationId xmlns:a16="http://schemas.microsoft.com/office/drawing/2014/main" id="{05694F91-B019-4C58-C258-8D755A9F6C28}"/>
              </a:ext>
            </a:extLst>
          </p:cNvPr>
          <p:cNvSpPr txBox="1"/>
          <p:nvPr userDrawn="1"/>
        </p:nvSpPr>
        <p:spPr>
          <a:xfrm>
            <a:off x="11099777" y="1753079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Assessment</a:t>
            </a:r>
          </a:p>
        </p:txBody>
      </p:sp>
      <p:sp>
        <p:nvSpPr>
          <p:cNvPr id="298" name="TextBox 297">
            <a:extLst>
              <a:ext uri="{FF2B5EF4-FFF2-40B4-BE49-F238E27FC236}">
                <a16:creationId xmlns:a16="http://schemas.microsoft.com/office/drawing/2014/main" id="{9BDA88BD-B5E8-B820-9FD6-88AED61725EC}"/>
              </a:ext>
            </a:extLst>
          </p:cNvPr>
          <p:cNvSpPr txBox="1"/>
          <p:nvPr userDrawn="1"/>
        </p:nvSpPr>
        <p:spPr>
          <a:xfrm>
            <a:off x="3241239" y="1753079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Abstract</a:t>
            </a:r>
          </a:p>
        </p:txBody>
      </p:sp>
      <p:sp>
        <p:nvSpPr>
          <p:cNvPr id="300" name="TextBox 299">
            <a:extLst>
              <a:ext uri="{FF2B5EF4-FFF2-40B4-BE49-F238E27FC236}">
                <a16:creationId xmlns:a16="http://schemas.microsoft.com/office/drawing/2014/main" id="{C77D6F56-D9D7-CADE-39EF-F4277DFD52D4}"/>
              </a:ext>
            </a:extLst>
          </p:cNvPr>
          <p:cNvSpPr txBox="1"/>
          <p:nvPr userDrawn="1"/>
        </p:nvSpPr>
        <p:spPr>
          <a:xfrm>
            <a:off x="3241239" y="587773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Information</a:t>
            </a:r>
          </a:p>
        </p:txBody>
      </p:sp>
      <p:sp>
        <p:nvSpPr>
          <p:cNvPr id="302" name="TextBox 301">
            <a:extLst>
              <a:ext uri="{FF2B5EF4-FFF2-40B4-BE49-F238E27FC236}">
                <a16:creationId xmlns:a16="http://schemas.microsoft.com/office/drawing/2014/main" id="{EFBFF1AD-EBA6-2314-C777-44045CCAB2ED}"/>
              </a:ext>
            </a:extLst>
          </p:cNvPr>
          <p:cNvSpPr txBox="1"/>
          <p:nvPr userDrawn="1"/>
        </p:nvSpPr>
        <p:spPr>
          <a:xfrm>
            <a:off x="3932072" y="3367961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Cloud </a:t>
            </a:r>
          </a:p>
          <a:p>
            <a:pPr algn="ctr"/>
            <a:r>
              <a:rPr lang="en-US" sz="800">
                <a:solidFill>
                  <a:schemeClr val="bg1"/>
                </a:solidFill>
              </a:rPr>
              <a:t>upload</a:t>
            </a:r>
          </a:p>
        </p:txBody>
      </p:sp>
      <p:sp>
        <p:nvSpPr>
          <p:cNvPr id="304" name="TextBox 303">
            <a:extLst>
              <a:ext uri="{FF2B5EF4-FFF2-40B4-BE49-F238E27FC236}">
                <a16:creationId xmlns:a16="http://schemas.microsoft.com/office/drawing/2014/main" id="{BEC2D515-E8A7-E3A6-6C08-5B7463146F26}"/>
              </a:ext>
            </a:extLst>
          </p:cNvPr>
          <p:cNvSpPr txBox="1"/>
          <p:nvPr userDrawn="1"/>
        </p:nvSpPr>
        <p:spPr>
          <a:xfrm>
            <a:off x="3932072" y="421649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Decrease</a:t>
            </a:r>
          </a:p>
        </p:txBody>
      </p:sp>
      <p:sp>
        <p:nvSpPr>
          <p:cNvPr id="306" name="TextBox 305">
            <a:extLst>
              <a:ext uri="{FF2B5EF4-FFF2-40B4-BE49-F238E27FC236}">
                <a16:creationId xmlns:a16="http://schemas.microsoft.com/office/drawing/2014/main" id="{ED1261B6-739A-A1CB-7212-05742858055E}"/>
              </a:ext>
            </a:extLst>
          </p:cNvPr>
          <p:cNvSpPr txBox="1"/>
          <p:nvPr userDrawn="1"/>
        </p:nvSpPr>
        <p:spPr>
          <a:xfrm>
            <a:off x="4667488" y="5053521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First-like</a:t>
            </a:r>
          </a:p>
        </p:txBody>
      </p:sp>
      <p:sp>
        <p:nvSpPr>
          <p:cNvPr id="308" name="TextBox 307">
            <a:extLst>
              <a:ext uri="{FF2B5EF4-FFF2-40B4-BE49-F238E27FC236}">
                <a16:creationId xmlns:a16="http://schemas.microsoft.com/office/drawing/2014/main" id="{01FE2CA3-6A62-F205-DF82-E9B082B70AF4}"/>
              </a:ext>
            </a:extLst>
          </p:cNvPr>
          <p:cNvSpPr txBox="1"/>
          <p:nvPr userDrawn="1"/>
        </p:nvSpPr>
        <p:spPr>
          <a:xfrm>
            <a:off x="3932072" y="2580873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Autobiographer</a:t>
            </a:r>
          </a:p>
        </p:txBody>
      </p:sp>
      <p:sp>
        <p:nvSpPr>
          <p:cNvPr id="310" name="TextBox 309">
            <a:extLst>
              <a:ext uri="{FF2B5EF4-FFF2-40B4-BE49-F238E27FC236}">
                <a16:creationId xmlns:a16="http://schemas.microsoft.com/office/drawing/2014/main" id="{68BE8130-FCC9-163D-D362-5655FF183E94}"/>
              </a:ext>
            </a:extLst>
          </p:cNvPr>
          <p:cNvSpPr txBox="1"/>
          <p:nvPr userDrawn="1"/>
        </p:nvSpPr>
        <p:spPr>
          <a:xfrm>
            <a:off x="4667488" y="1753079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Advanced </a:t>
            </a:r>
          </a:p>
          <a:p>
            <a:pPr algn="ctr"/>
            <a:r>
              <a:rPr lang="en-US" sz="800">
                <a:solidFill>
                  <a:schemeClr val="bg1"/>
                </a:solidFill>
              </a:rPr>
              <a:t>OCR</a:t>
            </a:r>
          </a:p>
        </p:txBody>
      </p:sp>
      <p:sp>
        <p:nvSpPr>
          <p:cNvPr id="312" name="TextBox 311">
            <a:extLst>
              <a:ext uri="{FF2B5EF4-FFF2-40B4-BE49-F238E27FC236}">
                <a16:creationId xmlns:a16="http://schemas.microsoft.com/office/drawing/2014/main" id="{C27F963E-2D6C-1A7F-5D1B-6CEC7E4DEB09}"/>
              </a:ext>
            </a:extLst>
          </p:cNvPr>
          <p:cNvSpPr txBox="1"/>
          <p:nvPr userDrawn="1"/>
        </p:nvSpPr>
        <p:spPr>
          <a:xfrm>
            <a:off x="4667488" y="587773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Institutionalize</a:t>
            </a:r>
          </a:p>
        </p:txBody>
      </p:sp>
      <p:sp>
        <p:nvSpPr>
          <p:cNvPr id="314" name="TextBox 313">
            <a:extLst>
              <a:ext uri="{FF2B5EF4-FFF2-40B4-BE49-F238E27FC236}">
                <a16:creationId xmlns:a16="http://schemas.microsoft.com/office/drawing/2014/main" id="{F4A22F47-23A0-5D55-52F4-015E0DF5E2BF}"/>
              </a:ext>
            </a:extLst>
          </p:cNvPr>
          <p:cNvSpPr txBox="1"/>
          <p:nvPr userDrawn="1"/>
        </p:nvSpPr>
        <p:spPr>
          <a:xfrm>
            <a:off x="3241239" y="3367961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Cloud </a:t>
            </a:r>
          </a:p>
          <a:p>
            <a:pPr algn="ctr"/>
            <a:r>
              <a:rPr lang="en-US" sz="800">
                <a:solidFill>
                  <a:schemeClr val="bg1"/>
                </a:solidFill>
              </a:rPr>
              <a:t>secure</a:t>
            </a:r>
          </a:p>
        </p:txBody>
      </p:sp>
      <p:sp>
        <p:nvSpPr>
          <p:cNvPr id="316" name="TextBox 315">
            <a:extLst>
              <a:ext uri="{FF2B5EF4-FFF2-40B4-BE49-F238E27FC236}">
                <a16:creationId xmlns:a16="http://schemas.microsoft.com/office/drawing/2014/main" id="{A04FAA13-6E82-D5E9-2BCB-982E0621E7EE}"/>
              </a:ext>
            </a:extLst>
          </p:cNvPr>
          <p:cNvSpPr txBox="1"/>
          <p:nvPr userDrawn="1"/>
        </p:nvSpPr>
        <p:spPr>
          <a:xfrm>
            <a:off x="3241239" y="4216498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Cultural acceptance</a:t>
            </a:r>
          </a:p>
        </p:txBody>
      </p:sp>
      <p:sp>
        <p:nvSpPr>
          <p:cNvPr id="318" name="TextBox 317">
            <a:extLst>
              <a:ext uri="{FF2B5EF4-FFF2-40B4-BE49-F238E27FC236}">
                <a16:creationId xmlns:a16="http://schemas.microsoft.com/office/drawing/2014/main" id="{ACD15EFF-E844-6E7A-1B3F-A00A03AE3FAD}"/>
              </a:ext>
            </a:extLst>
          </p:cNvPr>
          <p:cNvSpPr txBox="1"/>
          <p:nvPr userDrawn="1"/>
        </p:nvSpPr>
        <p:spPr>
          <a:xfrm>
            <a:off x="3932072" y="5053521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First Flag</a:t>
            </a:r>
          </a:p>
        </p:txBody>
      </p:sp>
      <p:sp>
        <p:nvSpPr>
          <p:cNvPr id="320" name="TextBox 319">
            <a:extLst>
              <a:ext uri="{FF2B5EF4-FFF2-40B4-BE49-F238E27FC236}">
                <a16:creationId xmlns:a16="http://schemas.microsoft.com/office/drawing/2014/main" id="{776AD2CE-7FFA-A39F-CD46-624D139C1B5B}"/>
              </a:ext>
            </a:extLst>
          </p:cNvPr>
          <p:cNvSpPr txBox="1"/>
          <p:nvPr userDrawn="1"/>
        </p:nvSpPr>
        <p:spPr>
          <a:xfrm>
            <a:off x="3241239" y="2580873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Atom</a:t>
            </a:r>
          </a:p>
        </p:txBody>
      </p:sp>
      <p:sp>
        <p:nvSpPr>
          <p:cNvPr id="322" name="TextBox 321">
            <a:extLst>
              <a:ext uri="{FF2B5EF4-FFF2-40B4-BE49-F238E27FC236}">
                <a16:creationId xmlns:a16="http://schemas.microsoft.com/office/drawing/2014/main" id="{56F39966-662B-4A5D-8DC5-ABA01F25716E}"/>
              </a:ext>
            </a:extLst>
          </p:cNvPr>
          <p:cNvSpPr txBox="1"/>
          <p:nvPr userDrawn="1"/>
        </p:nvSpPr>
        <p:spPr>
          <a:xfrm>
            <a:off x="3932072" y="1753079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Add</a:t>
            </a:r>
          </a:p>
        </p:txBody>
      </p:sp>
      <p:sp>
        <p:nvSpPr>
          <p:cNvPr id="324" name="TextBox 323">
            <a:extLst>
              <a:ext uri="{FF2B5EF4-FFF2-40B4-BE49-F238E27FC236}">
                <a16:creationId xmlns:a16="http://schemas.microsoft.com/office/drawing/2014/main" id="{A3778A68-C6B0-31DD-FA93-515000D5C573}"/>
              </a:ext>
            </a:extLst>
          </p:cNvPr>
          <p:cNvSpPr txBox="1"/>
          <p:nvPr userDrawn="1"/>
        </p:nvSpPr>
        <p:spPr>
          <a:xfrm>
            <a:off x="3932072" y="587773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Input</a:t>
            </a:r>
          </a:p>
        </p:txBody>
      </p:sp>
      <p:sp>
        <p:nvSpPr>
          <p:cNvPr id="326" name="TextBox 325">
            <a:extLst>
              <a:ext uri="{FF2B5EF4-FFF2-40B4-BE49-F238E27FC236}">
                <a16:creationId xmlns:a16="http://schemas.microsoft.com/office/drawing/2014/main" id="{A1499EE6-5ECD-08C7-B506-849C2622811F}"/>
              </a:ext>
            </a:extLst>
          </p:cNvPr>
          <p:cNvSpPr txBox="1"/>
          <p:nvPr userDrawn="1"/>
        </p:nvSpPr>
        <p:spPr>
          <a:xfrm>
            <a:off x="6810720" y="3367961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Contact </a:t>
            </a:r>
          </a:p>
          <a:p>
            <a:pPr algn="ctr"/>
            <a:r>
              <a:rPr lang="en-US" sz="800">
                <a:solidFill>
                  <a:schemeClr val="bg1"/>
                </a:solidFill>
              </a:rPr>
              <a:t>email alt</a:t>
            </a:r>
          </a:p>
        </p:txBody>
      </p:sp>
      <p:sp>
        <p:nvSpPr>
          <p:cNvPr id="328" name="TextBox 327">
            <a:extLst>
              <a:ext uri="{FF2B5EF4-FFF2-40B4-BE49-F238E27FC236}">
                <a16:creationId xmlns:a16="http://schemas.microsoft.com/office/drawing/2014/main" id="{375067AB-B98F-6416-FAB5-FCA0543362FC}"/>
              </a:ext>
            </a:extLst>
          </p:cNvPr>
          <p:cNvSpPr txBox="1"/>
          <p:nvPr userDrawn="1"/>
        </p:nvSpPr>
        <p:spPr>
          <a:xfrm>
            <a:off x="6810720" y="4216498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Ease </a:t>
            </a:r>
          </a:p>
          <a:p>
            <a:pPr algn="ctr"/>
            <a:r>
              <a:rPr lang="en-US" sz="800">
                <a:solidFill>
                  <a:schemeClr val="bg1"/>
                </a:solidFill>
              </a:rPr>
              <a:t>of use</a:t>
            </a:r>
          </a:p>
        </p:txBody>
      </p:sp>
      <p:sp>
        <p:nvSpPr>
          <p:cNvPr id="330" name="TextBox 329">
            <a:extLst>
              <a:ext uri="{FF2B5EF4-FFF2-40B4-BE49-F238E27FC236}">
                <a16:creationId xmlns:a16="http://schemas.microsoft.com/office/drawing/2014/main" id="{15AD08BE-171C-6632-0A47-A2B9C0AAE205}"/>
              </a:ext>
            </a:extLst>
          </p:cNvPr>
          <p:cNvSpPr txBox="1"/>
          <p:nvPr userDrawn="1"/>
        </p:nvSpPr>
        <p:spPr>
          <a:xfrm>
            <a:off x="7525130" y="5053521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First-quote</a:t>
            </a:r>
          </a:p>
        </p:txBody>
      </p:sp>
      <p:sp>
        <p:nvSpPr>
          <p:cNvPr id="332" name="TextBox 331">
            <a:extLst>
              <a:ext uri="{FF2B5EF4-FFF2-40B4-BE49-F238E27FC236}">
                <a16:creationId xmlns:a16="http://schemas.microsoft.com/office/drawing/2014/main" id="{8D972B03-8F1D-14AF-8C53-5430E78A3DA6}"/>
              </a:ext>
            </a:extLst>
          </p:cNvPr>
          <p:cNvSpPr txBox="1"/>
          <p:nvPr userDrawn="1"/>
        </p:nvSpPr>
        <p:spPr>
          <a:xfrm>
            <a:off x="6810720" y="2580873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Big scale</a:t>
            </a:r>
          </a:p>
        </p:txBody>
      </p:sp>
      <p:sp>
        <p:nvSpPr>
          <p:cNvPr id="334" name="TextBox 333">
            <a:extLst>
              <a:ext uri="{FF2B5EF4-FFF2-40B4-BE49-F238E27FC236}">
                <a16:creationId xmlns:a16="http://schemas.microsoft.com/office/drawing/2014/main" id="{C20D3790-D6EA-2458-8FF6-4402C26E9057}"/>
              </a:ext>
            </a:extLst>
          </p:cNvPr>
          <p:cNvSpPr txBox="1"/>
          <p:nvPr userDrawn="1"/>
        </p:nvSpPr>
        <p:spPr>
          <a:xfrm>
            <a:off x="7525130" y="1753079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Alert </a:t>
            </a:r>
          </a:p>
          <a:p>
            <a:pPr algn="ctr"/>
            <a:r>
              <a:rPr lang="en-US" sz="800">
                <a:solidFill>
                  <a:schemeClr val="bg1"/>
                </a:solidFill>
              </a:rPr>
              <a:t>Alarm</a:t>
            </a:r>
          </a:p>
        </p:txBody>
      </p:sp>
      <p:sp>
        <p:nvSpPr>
          <p:cNvPr id="336" name="TextBox 335">
            <a:extLst>
              <a:ext uri="{FF2B5EF4-FFF2-40B4-BE49-F238E27FC236}">
                <a16:creationId xmlns:a16="http://schemas.microsoft.com/office/drawing/2014/main" id="{D26DED60-4B52-580B-1965-1A58133D5661}"/>
              </a:ext>
            </a:extLst>
          </p:cNvPr>
          <p:cNvSpPr txBox="1"/>
          <p:nvPr userDrawn="1"/>
        </p:nvSpPr>
        <p:spPr>
          <a:xfrm>
            <a:off x="7525130" y="587773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Leader</a:t>
            </a:r>
          </a:p>
        </p:txBody>
      </p:sp>
      <p:sp>
        <p:nvSpPr>
          <p:cNvPr id="338" name="TextBox 337">
            <a:extLst>
              <a:ext uri="{FF2B5EF4-FFF2-40B4-BE49-F238E27FC236}">
                <a16:creationId xmlns:a16="http://schemas.microsoft.com/office/drawing/2014/main" id="{BE6ED4DE-5032-922A-97E3-625744FBB9C0}"/>
              </a:ext>
            </a:extLst>
          </p:cNvPr>
          <p:cNvSpPr txBox="1"/>
          <p:nvPr userDrawn="1"/>
        </p:nvSpPr>
        <p:spPr>
          <a:xfrm>
            <a:off x="8239541" y="3367961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Cost high</a:t>
            </a:r>
          </a:p>
        </p:txBody>
      </p:sp>
      <p:sp>
        <p:nvSpPr>
          <p:cNvPr id="340" name="TextBox 339">
            <a:extLst>
              <a:ext uri="{FF2B5EF4-FFF2-40B4-BE49-F238E27FC236}">
                <a16:creationId xmlns:a16="http://schemas.microsoft.com/office/drawing/2014/main" id="{BB979BD4-DBCB-D2EE-975F-018BC2BBBA90}"/>
              </a:ext>
            </a:extLst>
          </p:cNvPr>
          <p:cNvSpPr txBox="1"/>
          <p:nvPr userDrawn="1"/>
        </p:nvSpPr>
        <p:spPr>
          <a:xfrm>
            <a:off x="8239541" y="421649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Edit</a:t>
            </a:r>
          </a:p>
        </p:txBody>
      </p:sp>
      <p:sp>
        <p:nvSpPr>
          <p:cNvPr id="342" name="TextBox 341">
            <a:extLst>
              <a:ext uri="{FF2B5EF4-FFF2-40B4-BE49-F238E27FC236}">
                <a16:creationId xmlns:a16="http://schemas.microsoft.com/office/drawing/2014/main" id="{75355D23-1EB5-FCA8-2C91-C280416A96D0}"/>
              </a:ext>
            </a:extLst>
          </p:cNvPr>
          <p:cNvSpPr txBox="1"/>
          <p:nvPr userDrawn="1"/>
        </p:nvSpPr>
        <p:spPr>
          <a:xfrm>
            <a:off x="8959652" y="5053521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Flexibility</a:t>
            </a:r>
          </a:p>
        </p:txBody>
      </p:sp>
      <p:sp>
        <p:nvSpPr>
          <p:cNvPr id="344" name="TextBox 343">
            <a:extLst>
              <a:ext uri="{FF2B5EF4-FFF2-40B4-BE49-F238E27FC236}">
                <a16:creationId xmlns:a16="http://schemas.microsoft.com/office/drawing/2014/main" id="{5230D5DA-5EA4-BE48-EBAF-DBFB985B30CF}"/>
              </a:ext>
            </a:extLst>
          </p:cNvPr>
          <p:cNvSpPr txBox="1"/>
          <p:nvPr userDrawn="1"/>
        </p:nvSpPr>
        <p:spPr>
          <a:xfrm>
            <a:off x="8239541" y="2580873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Business partner-up</a:t>
            </a:r>
          </a:p>
        </p:txBody>
      </p:sp>
      <p:sp>
        <p:nvSpPr>
          <p:cNvPr id="346" name="TextBox 345">
            <a:extLst>
              <a:ext uri="{FF2B5EF4-FFF2-40B4-BE49-F238E27FC236}">
                <a16:creationId xmlns:a16="http://schemas.microsoft.com/office/drawing/2014/main" id="{FBA68A94-F96B-4D28-6875-DA92020F9FB3}"/>
              </a:ext>
            </a:extLst>
          </p:cNvPr>
          <p:cNvSpPr txBox="1"/>
          <p:nvPr userDrawn="1"/>
        </p:nvSpPr>
        <p:spPr>
          <a:xfrm>
            <a:off x="8959652" y="1753079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App-3rd-party</a:t>
            </a:r>
          </a:p>
        </p:txBody>
      </p:sp>
      <p:sp>
        <p:nvSpPr>
          <p:cNvPr id="348" name="TextBox 347">
            <a:extLst>
              <a:ext uri="{FF2B5EF4-FFF2-40B4-BE49-F238E27FC236}">
                <a16:creationId xmlns:a16="http://schemas.microsoft.com/office/drawing/2014/main" id="{146C498C-E6CD-B894-8658-62223CA33B3C}"/>
              </a:ext>
            </a:extLst>
          </p:cNvPr>
          <p:cNvSpPr txBox="1"/>
          <p:nvPr userDrawn="1"/>
        </p:nvSpPr>
        <p:spPr>
          <a:xfrm>
            <a:off x="9672676" y="587773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Link alt</a:t>
            </a:r>
          </a:p>
        </p:txBody>
      </p:sp>
      <p:sp>
        <p:nvSpPr>
          <p:cNvPr id="350" name="TextBox 349">
            <a:extLst>
              <a:ext uri="{FF2B5EF4-FFF2-40B4-BE49-F238E27FC236}">
                <a16:creationId xmlns:a16="http://schemas.microsoft.com/office/drawing/2014/main" id="{51E12F41-3C69-1428-9984-4BD276314ADE}"/>
              </a:ext>
            </a:extLst>
          </p:cNvPr>
          <p:cNvSpPr txBox="1"/>
          <p:nvPr userDrawn="1"/>
        </p:nvSpPr>
        <p:spPr>
          <a:xfrm>
            <a:off x="7525130" y="3367961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Corporation</a:t>
            </a:r>
          </a:p>
        </p:txBody>
      </p:sp>
      <p:sp>
        <p:nvSpPr>
          <p:cNvPr id="352" name="TextBox 351">
            <a:extLst>
              <a:ext uri="{FF2B5EF4-FFF2-40B4-BE49-F238E27FC236}">
                <a16:creationId xmlns:a16="http://schemas.microsoft.com/office/drawing/2014/main" id="{937A14ED-77C7-A851-891D-6CC4DE43E627}"/>
              </a:ext>
            </a:extLst>
          </p:cNvPr>
          <p:cNvSpPr txBox="1"/>
          <p:nvPr userDrawn="1"/>
        </p:nvSpPr>
        <p:spPr>
          <a:xfrm>
            <a:off x="7525130" y="421649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Ecosystem</a:t>
            </a:r>
          </a:p>
        </p:txBody>
      </p:sp>
      <p:sp>
        <p:nvSpPr>
          <p:cNvPr id="354" name="TextBox 353">
            <a:extLst>
              <a:ext uri="{FF2B5EF4-FFF2-40B4-BE49-F238E27FC236}">
                <a16:creationId xmlns:a16="http://schemas.microsoft.com/office/drawing/2014/main" id="{E3BD14F1-8130-CFB1-A80F-ACB08E03EC52}"/>
              </a:ext>
            </a:extLst>
          </p:cNvPr>
          <p:cNvSpPr txBox="1"/>
          <p:nvPr userDrawn="1"/>
        </p:nvSpPr>
        <p:spPr>
          <a:xfrm>
            <a:off x="8239541" y="5053521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First-reply-</a:t>
            </a:r>
          </a:p>
          <a:p>
            <a:pPr algn="ctr"/>
            <a:r>
              <a:rPr lang="en-US" sz="800">
                <a:solidFill>
                  <a:schemeClr val="bg1"/>
                </a:solidFill>
              </a:rPr>
              <a:t>by-email</a:t>
            </a:r>
          </a:p>
        </p:txBody>
      </p:sp>
      <p:sp>
        <p:nvSpPr>
          <p:cNvPr id="356" name="TextBox 355">
            <a:extLst>
              <a:ext uri="{FF2B5EF4-FFF2-40B4-BE49-F238E27FC236}">
                <a16:creationId xmlns:a16="http://schemas.microsoft.com/office/drawing/2014/main" id="{BDC62FD9-97DC-F514-446D-24E74DA60D44}"/>
              </a:ext>
            </a:extLst>
          </p:cNvPr>
          <p:cNvSpPr txBox="1"/>
          <p:nvPr userDrawn="1"/>
        </p:nvSpPr>
        <p:spPr>
          <a:xfrm>
            <a:off x="7525130" y="2580873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Bookmark</a:t>
            </a:r>
          </a:p>
        </p:txBody>
      </p:sp>
      <p:sp>
        <p:nvSpPr>
          <p:cNvPr id="358" name="TextBox 357">
            <a:extLst>
              <a:ext uri="{FF2B5EF4-FFF2-40B4-BE49-F238E27FC236}">
                <a16:creationId xmlns:a16="http://schemas.microsoft.com/office/drawing/2014/main" id="{F1A05E28-FF0D-ABCE-55B4-7E7CBEFECD02}"/>
              </a:ext>
            </a:extLst>
          </p:cNvPr>
          <p:cNvSpPr txBox="1"/>
          <p:nvPr userDrawn="1"/>
        </p:nvSpPr>
        <p:spPr>
          <a:xfrm>
            <a:off x="8239541" y="1753079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Anniversary</a:t>
            </a:r>
          </a:p>
        </p:txBody>
      </p:sp>
      <p:sp>
        <p:nvSpPr>
          <p:cNvPr id="360" name="TextBox 359">
            <a:extLst>
              <a:ext uri="{FF2B5EF4-FFF2-40B4-BE49-F238E27FC236}">
                <a16:creationId xmlns:a16="http://schemas.microsoft.com/office/drawing/2014/main" id="{D36BFA17-5794-84D9-4D33-CEEF25859DAE}"/>
              </a:ext>
            </a:extLst>
          </p:cNvPr>
          <p:cNvSpPr txBox="1"/>
          <p:nvPr userDrawn="1"/>
        </p:nvSpPr>
        <p:spPr>
          <a:xfrm>
            <a:off x="8959652" y="587773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Link</a:t>
            </a:r>
          </a:p>
        </p:txBody>
      </p:sp>
      <p:sp>
        <p:nvSpPr>
          <p:cNvPr id="362" name="TextBox 361">
            <a:extLst>
              <a:ext uri="{FF2B5EF4-FFF2-40B4-BE49-F238E27FC236}">
                <a16:creationId xmlns:a16="http://schemas.microsoft.com/office/drawing/2014/main" id="{F5B80FE1-5560-4BF4-FEFE-6FC9D5B62F95}"/>
              </a:ext>
            </a:extLst>
          </p:cNvPr>
          <p:cNvSpPr txBox="1"/>
          <p:nvPr userDrawn="1"/>
        </p:nvSpPr>
        <p:spPr>
          <a:xfrm>
            <a:off x="9672676" y="3367961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Course-advanced</a:t>
            </a:r>
          </a:p>
        </p:txBody>
      </p:sp>
      <p:sp>
        <p:nvSpPr>
          <p:cNvPr id="364" name="TextBox 363">
            <a:extLst>
              <a:ext uri="{FF2B5EF4-FFF2-40B4-BE49-F238E27FC236}">
                <a16:creationId xmlns:a16="http://schemas.microsoft.com/office/drawing/2014/main" id="{DE5F57E1-CBD0-1FC9-3B7B-B69B3004DBB5}"/>
              </a:ext>
            </a:extLst>
          </p:cNvPr>
          <p:cNvSpPr txBox="1"/>
          <p:nvPr userDrawn="1"/>
        </p:nvSpPr>
        <p:spPr>
          <a:xfrm>
            <a:off x="10387591" y="4216498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Enterprise competency</a:t>
            </a:r>
          </a:p>
        </p:txBody>
      </p:sp>
      <p:sp>
        <p:nvSpPr>
          <p:cNvPr id="366" name="TextBox 365">
            <a:extLst>
              <a:ext uri="{FF2B5EF4-FFF2-40B4-BE49-F238E27FC236}">
                <a16:creationId xmlns:a16="http://schemas.microsoft.com/office/drawing/2014/main" id="{D74F3879-9D39-5844-41D3-7214FBFC3B6F}"/>
              </a:ext>
            </a:extLst>
          </p:cNvPr>
          <p:cNvSpPr txBox="1"/>
          <p:nvPr userDrawn="1"/>
        </p:nvSpPr>
        <p:spPr>
          <a:xfrm>
            <a:off x="10387591" y="5053521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Group </a:t>
            </a:r>
          </a:p>
          <a:p>
            <a:pPr algn="ctr"/>
            <a:r>
              <a:rPr lang="en-US" sz="800">
                <a:solidFill>
                  <a:schemeClr val="bg1"/>
                </a:solidFill>
              </a:rPr>
              <a:t>of users</a:t>
            </a:r>
          </a:p>
        </p:txBody>
      </p:sp>
      <p:sp>
        <p:nvSpPr>
          <p:cNvPr id="368" name="TextBox 367">
            <a:extLst>
              <a:ext uri="{FF2B5EF4-FFF2-40B4-BE49-F238E27FC236}">
                <a16:creationId xmlns:a16="http://schemas.microsoft.com/office/drawing/2014/main" id="{FDF2D512-0953-BB10-FA7F-278B577329DD}"/>
              </a:ext>
            </a:extLst>
          </p:cNvPr>
          <p:cNvSpPr txBox="1"/>
          <p:nvPr userDrawn="1"/>
        </p:nvSpPr>
        <p:spPr>
          <a:xfrm>
            <a:off x="9672676" y="2580873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Business partner alt 2</a:t>
            </a:r>
          </a:p>
        </p:txBody>
      </p:sp>
      <p:sp>
        <p:nvSpPr>
          <p:cNvPr id="370" name="TextBox 369">
            <a:extLst>
              <a:ext uri="{FF2B5EF4-FFF2-40B4-BE49-F238E27FC236}">
                <a16:creationId xmlns:a16="http://schemas.microsoft.com/office/drawing/2014/main" id="{D3721530-861A-4B4B-EA5C-FCA7059EF928}"/>
              </a:ext>
            </a:extLst>
          </p:cNvPr>
          <p:cNvSpPr txBox="1"/>
          <p:nvPr userDrawn="1"/>
        </p:nvSpPr>
        <p:spPr>
          <a:xfrm>
            <a:off x="10387591" y="1753079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App-3rd-party  3</a:t>
            </a:r>
          </a:p>
        </p:txBody>
      </p:sp>
      <p:sp>
        <p:nvSpPr>
          <p:cNvPr id="372" name="TextBox 371">
            <a:extLst>
              <a:ext uri="{FF2B5EF4-FFF2-40B4-BE49-F238E27FC236}">
                <a16:creationId xmlns:a16="http://schemas.microsoft.com/office/drawing/2014/main" id="{155E2221-D843-12DA-196D-6BF15798C8EB}"/>
              </a:ext>
            </a:extLst>
          </p:cNvPr>
          <p:cNvSpPr txBox="1"/>
          <p:nvPr userDrawn="1"/>
        </p:nvSpPr>
        <p:spPr>
          <a:xfrm>
            <a:off x="8239541" y="5871746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Light bulb</a:t>
            </a:r>
          </a:p>
        </p:txBody>
      </p:sp>
      <p:sp>
        <p:nvSpPr>
          <p:cNvPr id="374" name="TextBox 373">
            <a:extLst>
              <a:ext uri="{FF2B5EF4-FFF2-40B4-BE49-F238E27FC236}">
                <a16:creationId xmlns:a16="http://schemas.microsoft.com/office/drawing/2014/main" id="{31142DD1-CDA3-6FA6-588A-E28CA9BFEE25}"/>
              </a:ext>
            </a:extLst>
          </p:cNvPr>
          <p:cNvSpPr txBox="1"/>
          <p:nvPr userDrawn="1"/>
        </p:nvSpPr>
        <p:spPr>
          <a:xfrm>
            <a:off x="9672676" y="421649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Emoji</a:t>
            </a:r>
          </a:p>
        </p:txBody>
      </p:sp>
      <p:sp>
        <p:nvSpPr>
          <p:cNvPr id="376" name="TextBox 375">
            <a:extLst>
              <a:ext uri="{FF2B5EF4-FFF2-40B4-BE49-F238E27FC236}">
                <a16:creationId xmlns:a16="http://schemas.microsoft.com/office/drawing/2014/main" id="{1B1113EB-8E86-3A47-1F43-AD6AD22B584E}"/>
              </a:ext>
            </a:extLst>
          </p:cNvPr>
          <p:cNvSpPr txBox="1"/>
          <p:nvPr userDrawn="1"/>
        </p:nvSpPr>
        <p:spPr>
          <a:xfrm>
            <a:off x="11099777" y="5871457"/>
            <a:ext cx="709636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Link </a:t>
            </a:r>
          </a:p>
          <a:p>
            <a:pPr algn="ctr"/>
            <a:r>
              <a:rPr lang="en-US" sz="800">
                <a:solidFill>
                  <a:schemeClr val="bg1"/>
                </a:solidFill>
              </a:rPr>
              <a:t>special alt</a:t>
            </a:r>
          </a:p>
        </p:txBody>
      </p:sp>
    </p:spTree>
    <p:extLst>
      <p:ext uri="{BB962C8B-B14F-4D97-AF65-F5344CB8AC3E}">
        <p14:creationId xmlns:p14="http://schemas.microsoft.com/office/powerpoint/2010/main" val="33842075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Icon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D06F8458-66E1-4B4A-BC40-DD2CDA42EB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9" name="Rectangle 158">
            <a:extLst>
              <a:ext uri="{FF2B5EF4-FFF2-40B4-BE49-F238E27FC236}">
                <a16:creationId xmlns:a16="http://schemas.microsoft.com/office/drawing/2014/main" id="{3A573725-B8F2-5168-A0FE-B85B7D05D19B}"/>
              </a:ext>
            </a:extLst>
          </p:cNvPr>
          <p:cNvSpPr/>
          <p:nvPr userDrawn="1"/>
        </p:nvSpPr>
        <p:spPr>
          <a:xfrm>
            <a:off x="0" y="1143000"/>
            <a:ext cx="12188825" cy="5671457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n-US" sz="1400" b="0" i="0" err="1">
              <a:latin typeface="Arial"/>
              <a:cs typeface="Arial"/>
            </a:endParaRPr>
          </a:p>
        </p:txBody>
      </p:sp>
      <p:sp>
        <p:nvSpPr>
          <p:cNvPr id="161" name="TextBox 160">
            <a:extLst>
              <a:ext uri="{FF2B5EF4-FFF2-40B4-BE49-F238E27FC236}">
                <a16:creationId xmlns:a16="http://schemas.microsoft.com/office/drawing/2014/main" id="{BE8318D2-78D6-ECBA-3731-2DF4015A71CF}"/>
              </a:ext>
            </a:extLst>
          </p:cNvPr>
          <p:cNvSpPr txBox="1"/>
          <p:nvPr userDrawn="1"/>
        </p:nvSpPr>
        <p:spPr>
          <a:xfrm>
            <a:off x="11099777" y="3402693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RPA </a:t>
            </a:r>
          </a:p>
          <a:p>
            <a:pPr algn="ctr"/>
            <a:r>
              <a:rPr lang="en-US" sz="800">
                <a:solidFill>
                  <a:schemeClr val="bg1"/>
                </a:solidFill>
              </a:rPr>
              <a:t>champion</a:t>
            </a:r>
          </a:p>
        </p:txBody>
      </p:sp>
      <p:sp>
        <p:nvSpPr>
          <p:cNvPr id="163" name="TextBox 162">
            <a:extLst>
              <a:ext uri="{FF2B5EF4-FFF2-40B4-BE49-F238E27FC236}">
                <a16:creationId xmlns:a16="http://schemas.microsoft.com/office/drawing/2014/main" id="{82583BA5-355C-373E-13D9-2A58A1D20197}"/>
              </a:ext>
            </a:extLst>
          </p:cNvPr>
          <p:cNvSpPr txBox="1"/>
          <p:nvPr userDrawn="1"/>
        </p:nvSpPr>
        <p:spPr>
          <a:xfrm>
            <a:off x="387912" y="3402693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Question and answer</a:t>
            </a:r>
          </a:p>
        </p:txBody>
      </p:sp>
      <p:sp>
        <p:nvSpPr>
          <p:cNvPr id="165" name="TextBox 164">
            <a:extLst>
              <a:ext uri="{FF2B5EF4-FFF2-40B4-BE49-F238E27FC236}">
                <a16:creationId xmlns:a16="http://schemas.microsoft.com/office/drawing/2014/main" id="{D21D1C18-49D3-87DE-9C01-00585F46FBF9}"/>
              </a:ext>
            </a:extLst>
          </p:cNvPr>
          <p:cNvSpPr txBox="1"/>
          <p:nvPr userDrawn="1"/>
        </p:nvSpPr>
        <p:spPr>
          <a:xfrm>
            <a:off x="1102036" y="3402693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Question and answer 2</a:t>
            </a: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31955317-8672-A7C9-604F-F7FAA104431D}"/>
              </a:ext>
            </a:extLst>
          </p:cNvPr>
          <p:cNvSpPr txBox="1"/>
          <p:nvPr userDrawn="1"/>
        </p:nvSpPr>
        <p:spPr>
          <a:xfrm>
            <a:off x="1816160" y="3402693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Ramp up</a:t>
            </a: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976666FA-D9D3-FBE7-7B37-54E127292D0E}"/>
              </a:ext>
            </a:extLst>
          </p:cNvPr>
          <p:cNvSpPr txBox="1"/>
          <p:nvPr userDrawn="1"/>
        </p:nvSpPr>
        <p:spPr>
          <a:xfrm>
            <a:off x="2530284" y="3402693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Ramp up alt</a:t>
            </a:r>
          </a:p>
        </p:txBody>
      </p:sp>
      <p:sp>
        <p:nvSpPr>
          <p:cNvPr id="171" name="TextBox 170">
            <a:extLst>
              <a:ext uri="{FF2B5EF4-FFF2-40B4-BE49-F238E27FC236}">
                <a16:creationId xmlns:a16="http://schemas.microsoft.com/office/drawing/2014/main" id="{863CE1E2-8B54-D217-9243-FF80623AEFBA}"/>
              </a:ext>
            </a:extLst>
          </p:cNvPr>
          <p:cNvSpPr txBox="1"/>
          <p:nvPr userDrawn="1"/>
        </p:nvSpPr>
        <p:spPr>
          <a:xfrm>
            <a:off x="3958532" y="3402693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Read guidelines</a:t>
            </a:r>
          </a:p>
        </p:txBody>
      </p:sp>
      <p:sp>
        <p:nvSpPr>
          <p:cNvPr id="173" name="TextBox 172">
            <a:extLst>
              <a:ext uri="{FF2B5EF4-FFF2-40B4-BE49-F238E27FC236}">
                <a16:creationId xmlns:a16="http://schemas.microsoft.com/office/drawing/2014/main" id="{B6BEDCDD-7275-9494-3062-57DAB142611D}"/>
              </a:ext>
            </a:extLst>
          </p:cNvPr>
          <p:cNvSpPr txBox="1"/>
          <p:nvPr userDrawn="1"/>
        </p:nvSpPr>
        <p:spPr>
          <a:xfrm>
            <a:off x="8957400" y="3402693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Reply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D8B92035-5EF1-E8BA-3D6D-73B4F40ADE7A}"/>
              </a:ext>
            </a:extLst>
          </p:cNvPr>
          <p:cNvSpPr txBox="1"/>
          <p:nvPr userDrawn="1"/>
        </p:nvSpPr>
        <p:spPr>
          <a:xfrm>
            <a:off x="9671524" y="3402693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Resource</a:t>
            </a:r>
          </a:p>
        </p:txBody>
      </p:sp>
      <p:sp>
        <p:nvSpPr>
          <p:cNvPr id="177" name="TextBox 176">
            <a:extLst>
              <a:ext uri="{FF2B5EF4-FFF2-40B4-BE49-F238E27FC236}">
                <a16:creationId xmlns:a16="http://schemas.microsoft.com/office/drawing/2014/main" id="{CABCAC4D-ED93-7A5F-9A52-7E7A509B236D}"/>
              </a:ext>
            </a:extLst>
          </p:cNvPr>
          <p:cNvSpPr txBox="1"/>
          <p:nvPr userDrawn="1"/>
        </p:nvSpPr>
        <p:spPr>
          <a:xfrm>
            <a:off x="4672656" y="3402693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Redesign</a:t>
            </a:r>
          </a:p>
        </p:txBody>
      </p:sp>
      <p:sp>
        <p:nvSpPr>
          <p:cNvPr id="179" name="TextBox 178">
            <a:extLst>
              <a:ext uri="{FF2B5EF4-FFF2-40B4-BE49-F238E27FC236}">
                <a16:creationId xmlns:a16="http://schemas.microsoft.com/office/drawing/2014/main" id="{67C37A63-FB1E-19E0-22E5-99822AE75ABA}"/>
              </a:ext>
            </a:extLst>
          </p:cNvPr>
          <p:cNvSpPr txBox="1"/>
          <p:nvPr userDrawn="1"/>
        </p:nvSpPr>
        <p:spPr>
          <a:xfrm>
            <a:off x="5386780" y="3402693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Redesign alt</a:t>
            </a:r>
          </a:p>
        </p:txBody>
      </p:sp>
      <p:sp>
        <p:nvSpPr>
          <p:cNvPr id="181" name="TextBox 180">
            <a:extLst>
              <a:ext uri="{FF2B5EF4-FFF2-40B4-BE49-F238E27FC236}">
                <a16:creationId xmlns:a16="http://schemas.microsoft.com/office/drawing/2014/main" id="{6B8DB0FE-1BA2-761F-B773-52A74223EB01}"/>
              </a:ext>
            </a:extLst>
          </p:cNvPr>
          <p:cNvSpPr txBox="1"/>
          <p:nvPr userDrawn="1"/>
        </p:nvSpPr>
        <p:spPr>
          <a:xfrm>
            <a:off x="6100904" y="3402693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Refresh</a:t>
            </a:r>
          </a:p>
        </p:txBody>
      </p:sp>
      <p:sp>
        <p:nvSpPr>
          <p:cNvPr id="183" name="TextBox 182">
            <a:extLst>
              <a:ext uri="{FF2B5EF4-FFF2-40B4-BE49-F238E27FC236}">
                <a16:creationId xmlns:a16="http://schemas.microsoft.com/office/drawing/2014/main" id="{E9B74336-6C07-AFAA-3DF4-78265C0DD33C}"/>
              </a:ext>
            </a:extLst>
          </p:cNvPr>
          <p:cNvSpPr txBox="1"/>
          <p:nvPr userDrawn="1"/>
        </p:nvSpPr>
        <p:spPr>
          <a:xfrm>
            <a:off x="6815028" y="3402693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Refresh 2</a:t>
            </a:r>
          </a:p>
        </p:txBody>
      </p:sp>
      <p:sp>
        <p:nvSpPr>
          <p:cNvPr id="185" name="TextBox 184">
            <a:extLst>
              <a:ext uri="{FF2B5EF4-FFF2-40B4-BE49-F238E27FC236}">
                <a16:creationId xmlns:a16="http://schemas.microsoft.com/office/drawing/2014/main" id="{3552BBF4-EDA8-1531-59A7-7A4FB9A8936C}"/>
              </a:ext>
            </a:extLst>
          </p:cNvPr>
          <p:cNvSpPr txBox="1"/>
          <p:nvPr userDrawn="1"/>
        </p:nvSpPr>
        <p:spPr>
          <a:xfrm>
            <a:off x="7529152" y="3402693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Remove</a:t>
            </a:r>
          </a:p>
        </p:txBody>
      </p:sp>
      <p:sp>
        <p:nvSpPr>
          <p:cNvPr id="187" name="TextBox 186">
            <a:extLst>
              <a:ext uri="{FF2B5EF4-FFF2-40B4-BE49-F238E27FC236}">
                <a16:creationId xmlns:a16="http://schemas.microsoft.com/office/drawing/2014/main" id="{55B44D64-31D8-FDFF-9BEC-DFAF32703FB0}"/>
              </a:ext>
            </a:extLst>
          </p:cNvPr>
          <p:cNvSpPr txBox="1"/>
          <p:nvPr userDrawn="1"/>
        </p:nvSpPr>
        <p:spPr>
          <a:xfrm>
            <a:off x="8243276" y="3402693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Remove alt</a:t>
            </a:r>
          </a:p>
        </p:txBody>
      </p:sp>
      <p:sp>
        <p:nvSpPr>
          <p:cNvPr id="189" name="TextBox 188">
            <a:extLst>
              <a:ext uri="{FF2B5EF4-FFF2-40B4-BE49-F238E27FC236}">
                <a16:creationId xmlns:a16="http://schemas.microsoft.com/office/drawing/2014/main" id="{73629864-9242-3198-2F11-68F020901211}"/>
              </a:ext>
            </a:extLst>
          </p:cNvPr>
          <p:cNvSpPr txBox="1"/>
          <p:nvPr userDrawn="1"/>
        </p:nvSpPr>
        <p:spPr>
          <a:xfrm>
            <a:off x="10385648" y="3402693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RPA business analyst</a:t>
            </a:r>
          </a:p>
        </p:txBody>
      </p:sp>
      <p:sp>
        <p:nvSpPr>
          <p:cNvPr id="191" name="TextBox 190">
            <a:extLst>
              <a:ext uri="{FF2B5EF4-FFF2-40B4-BE49-F238E27FC236}">
                <a16:creationId xmlns:a16="http://schemas.microsoft.com/office/drawing/2014/main" id="{EF7DBD1D-935C-09C2-64DD-4D4F9DD14CA5}"/>
              </a:ext>
            </a:extLst>
          </p:cNvPr>
          <p:cNvSpPr txBox="1"/>
          <p:nvPr userDrawn="1"/>
        </p:nvSpPr>
        <p:spPr>
          <a:xfrm>
            <a:off x="3244408" y="3402693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Reader</a:t>
            </a:r>
          </a:p>
        </p:txBody>
      </p:sp>
      <p:sp>
        <p:nvSpPr>
          <p:cNvPr id="193" name="TextBox 192">
            <a:extLst>
              <a:ext uri="{FF2B5EF4-FFF2-40B4-BE49-F238E27FC236}">
                <a16:creationId xmlns:a16="http://schemas.microsoft.com/office/drawing/2014/main" id="{C2CCC613-4899-DD16-006E-07E0E315D782}"/>
              </a:ext>
            </a:extLst>
          </p:cNvPr>
          <p:cNvSpPr txBox="1"/>
          <p:nvPr userDrawn="1"/>
        </p:nvSpPr>
        <p:spPr>
          <a:xfrm>
            <a:off x="11099777" y="4225711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olutions 2</a:t>
            </a:r>
          </a:p>
        </p:txBody>
      </p:sp>
      <p:sp>
        <p:nvSpPr>
          <p:cNvPr id="195" name="TextBox 194">
            <a:extLst>
              <a:ext uri="{FF2B5EF4-FFF2-40B4-BE49-F238E27FC236}">
                <a16:creationId xmlns:a16="http://schemas.microsoft.com/office/drawing/2014/main" id="{095E912C-4D60-01D4-59DE-54FA8EAFB9CB}"/>
              </a:ext>
            </a:extLst>
          </p:cNvPr>
          <p:cNvSpPr txBox="1"/>
          <p:nvPr userDrawn="1"/>
        </p:nvSpPr>
        <p:spPr>
          <a:xfrm>
            <a:off x="387912" y="4225711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RPA </a:t>
            </a:r>
          </a:p>
          <a:p>
            <a:pPr algn="ctr"/>
            <a:r>
              <a:rPr lang="en-US" sz="800">
                <a:solidFill>
                  <a:schemeClr val="bg1"/>
                </a:solidFill>
              </a:rPr>
              <a:t>developer</a:t>
            </a:r>
          </a:p>
        </p:txBody>
      </p:sp>
      <p:sp>
        <p:nvSpPr>
          <p:cNvPr id="197" name="TextBox 196">
            <a:extLst>
              <a:ext uri="{FF2B5EF4-FFF2-40B4-BE49-F238E27FC236}">
                <a16:creationId xmlns:a16="http://schemas.microsoft.com/office/drawing/2014/main" id="{64301441-CA63-9808-E177-B00BB6B29853}"/>
              </a:ext>
            </a:extLst>
          </p:cNvPr>
          <p:cNvSpPr txBox="1"/>
          <p:nvPr userDrawn="1"/>
        </p:nvSpPr>
        <p:spPr>
          <a:xfrm>
            <a:off x="1102036" y="4225711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RPA infrastructure engineer</a:t>
            </a:r>
          </a:p>
        </p:txBody>
      </p:sp>
      <p:sp>
        <p:nvSpPr>
          <p:cNvPr id="198" name="TextBox 197">
            <a:extLst>
              <a:ext uri="{FF2B5EF4-FFF2-40B4-BE49-F238E27FC236}">
                <a16:creationId xmlns:a16="http://schemas.microsoft.com/office/drawing/2014/main" id="{8EBAB60A-53D2-ED8D-DC07-5D7FC3A979C2}"/>
              </a:ext>
            </a:extLst>
          </p:cNvPr>
          <p:cNvSpPr txBox="1"/>
          <p:nvPr userDrawn="1"/>
        </p:nvSpPr>
        <p:spPr>
          <a:xfrm>
            <a:off x="1816160" y="4225711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RPA service support</a:t>
            </a:r>
          </a:p>
        </p:txBody>
      </p:sp>
      <p:sp>
        <p:nvSpPr>
          <p:cNvPr id="199" name="TextBox 198">
            <a:extLst>
              <a:ext uri="{FF2B5EF4-FFF2-40B4-BE49-F238E27FC236}">
                <a16:creationId xmlns:a16="http://schemas.microsoft.com/office/drawing/2014/main" id="{C9DCD059-A858-8FB4-5E3D-8811771F60A4}"/>
              </a:ext>
            </a:extLst>
          </p:cNvPr>
          <p:cNvSpPr txBox="1"/>
          <p:nvPr userDrawn="1"/>
        </p:nvSpPr>
        <p:spPr>
          <a:xfrm>
            <a:off x="2530284" y="4225711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RPA solution architect</a:t>
            </a:r>
          </a:p>
        </p:txBody>
      </p:sp>
      <p:sp>
        <p:nvSpPr>
          <p:cNvPr id="200" name="TextBox 199">
            <a:extLst>
              <a:ext uri="{FF2B5EF4-FFF2-40B4-BE49-F238E27FC236}">
                <a16:creationId xmlns:a16="http://schemas.microsoft.com/office/drawing/2014/main" id="{85A5BC4D-1342-FABE-0133-672A4DBD611D}"/>
              </a:ext>
            </a:extLst>
          </p:cNvPr>
          <p:cNvSpPr txBox="1"/>
          <p:nvPr userDrawn="1"/>
        </p:nvSpPr>
        <p:spPr>
          <a:xfrm>
            <a:off x="3958532" y="4225711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atellite</a:t>
            </a:r>
          </a:p>
        </p:txBody>
      </p:sp>
      <p:sp>
        <p:nvSpPr>
          <p:cNvPr id="201" name="TextBox 200">
            <a:extLst>
              <a:ext uri="{FF2B5EF4-FFF2-40B4-BE49-F238E27FC236}">
                <a16:creationId xmlns:a16="http://schemas.microsoft.com/office/drawing/2014/main" id="{6547C6C3-5C30-B197-908C-66475E437B34}"/>
              </a:ext>
            </a:extLst>
          </p:cNvPr>
          <p:cNvSpPr txBox="1"/>
          <p:nvPr userDrawn="1"/>
        </p:nvSpPr>
        <p:spPr>
          <a:xfrm>
            <a:off x="8957400" y="4225711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hare alt</a:t>
            </a:r>
          </a:p>
        </p:txBody>
      </p:sp>
      <p:sp>
        <p:nvSpPr>
          <p:cNvPr id="202" name="TextBox 201">
            <a:extLst>
              <a:ext uri="{FF2B5EF4-FFF2-40B4-BE49-F238E27FC236}">
                <a16:creationId xmlns:a16="http://schemas.microsoft.com/office/drawing/2014/main" id="{728D78A8-96D7-0560-1C65-3D9F785119B9}"/>
              </a:ext>
            </a:extLst>
          </p:cNvPr>
          <p:cNvSpPr txBox="1"/>
          <p:nvPr userDrawn="1"/>
        </p:nvSpPr>
        <p:spPr>
          <a:xfrm>
            <a:off x="9671524" y="4225711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lideshow</a:t>
            </a:r>
          </a:p>
        </p:txBody>
      </p:sp>
      <p:sp>
        <p:nvSpPr>
          <p:cNvPr id="203" name="TextBox 202">
            <a:extLst>
              <a:ext uri="{FF2B5EF4-FFF2-40B4-BE49-F238E27FC236}">
                <a16:creationId xmlns:a16="http://schemas.microsoft.com/office/drawing/2014/main" id="{31C6673B-ABFC-5D16-14A2-B545D329D6BD}"/>
              </a:ext>
            </a:extLst>
          </p:cNvPr>
          <p:cNvSpPr txBox="1"/>
          <p:nvPr userDrawn="1"/>
        </p:nvSpPr>
        <p:spPr>
          <a:xfrm>
            <a:off x="4672656" y="4225711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eamless integration</a:t>
            </a:r>
          </a:p>
        </p:txBody>
      </p:sp>
      <p:sp>
        <p:nvSpPr>
          <p:cNvPr id="204" name="TextBox 203">
            <a:extLst>
              <a:ext uri="{FF2B5EF4-FFF2-40B4-BE49-F238E27FC236}">
                <a16:creationId xmlns:a16="http://schemas.microsoft.com/office/drawing/2014/main" id="{345508D7-3354-4600-1C48-FF7251CBDEF9}"/>
              </a:ext>
            </a:extLst>
          </p:cNvPr>
          <p:cNvSpPr txBox="1"/>
          <p:nvPr userDrawn="1"/>
        </p:nvSpPr>
        <p:spPr>
          <a:xfrm>
            <a:off x="5386780" y="4225711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eamless integration alt</a:t>
            </a:r>
          </a:p>
        </p:txBody>
      </p:sp>
      <p:sp>
        <p:nvSpPr>
          <p:cNvPr id="205" name="TextBox 204">
            <a:extLst>
              <a:ext uri="{FF2B5EF4-FFF2-40B4-BE49-F238E27FC236}">
                <a16:creationId xmlns:a16="http://schemas.microsoft.com/office/drawing/2014/main" id="{04BA7D67-82B9-4EBA-C674-FD53C451D46F}"/>
              </a:ext>
            </a:extLst>
          </p:cNvPr>
          <p:cNvSpPr txBox="1"/>
          <p:nvPr userDrawn="1"/>
        </p:nvSpPr>
        <p:spPr>
          <a:xfrm>
            <a:off x="6100904" y="4225711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earch</a:t>
            </a:r>
          </a:p>
        </p:txBody>
      </p:sp>
      <p:sp>
        <p:nvSpPr>
          <p:cNvPr id="206" name="TextBox 205">
            <a:extLst>
              <a:ext uri="{FF2B5EF4-FFF2-40B4-BE49-F238E27FC236}">
                <a16:creationId xmlns:a16="http://schemas.microsoft.com/office/drawing/2014/main" id="{298A7389-1226-3ACE-555B-7E497BFAEA31}"/>
              </a:ext>
            </a:extLst>
          </p:cNvPr>
          <p:cNvSpPr txBox="1"/>
          <p:nvPr userDrawn="1"/>
        </p:nvSpPr>
        <p:spPr>
          <a:xfrm>
            <a:off x="6815028" y="4225711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ecure </a:t>
            </a:r>
          </a:p>
          <a:p>
            <a:pPr algn="ctr"/>
            <a:r>
              <a:rPr lang="en-US" sz="800">
                <a:solidFill>
                  <a:schemeClr val="bg1"/>
                </a:solidFill>
              </a:rPr>
              <a:t>team collab</a:t>
            </a:r>
          </a:p>
        </p:txBody>
      </p:sp>
      <p:sp>
        <p:nvSpPr>
          <p:cNvPr id="207" name="TextBox 206">
            <a:extLst>
              <a:ext uri="{FF2B5EF4-FFF2-40B4-BE49-F238E27FC236}">
                <a16:creationId xmlns:a16="http://schemas.microsoft.com/office/drawing/2014/main" id="{C5A48C2A-7031-4260-5D51-ABAA5593EBA8}"/>
              </a:ext>
            </a:extLst>
          </p:cNvPr>
          <p:cNvSpPr txBox="1"/>
          <p:nvPr userDrawn="1"/>
        </p:nvSpPr>
        <p:spPr>
          <a:xfrm>
            <a:off x="7529152" y="4225711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ecurity</a:t>
            </a:r>
          </a:p>
        </p:txBody>
      </p:sp>
      <p:sp>
        <p:nvSpPr>
          <p:cNvPr id="208" name="TextBox 207">
            <a:extLst>
              <a:ext uri="{FF2B5EF4-FFF2-40B4-BE49-F238E27FC236}">
                <a16:creationId xmlns:a16="http://schemas.microsoft.com/office/drawing/2014/main" id="{894F4638-64DB-2AED-1378-F2C3FC61B462}"/>
              </a:ext>
            </a:extLst>
          </p:cNvPr>
          <p:cNvSpPr txBox="1"/>
          <p:nvPr userDrawn="1"/>
        </p:nvSpPr>
        <p:spPr>
          <a:xfrm>
            <a:off x="8243276" y="4225711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hare</a:t>
            </a:r>
          </a:p>
        </p:txBody>
      </p:sp>
      <p:sp>
        <p:nvSpPr>
          <p:cNvPr id="209" name="TextBox 208">
            <a:extLst>
              <a:ext uri="{FF2B5EF4-FFF2-40B4-BE49-F238E27FC236}">
                <a16:creationId xmlns:a16="http://schemas.microsoft.com/office/drawing/2014/main" id="{B68F54AF-25EF-6D7B-6A5E-736812D49D06}"/>
              </a:ext>
            </a:extLst>
          </p:cNvPr>
          <p:cNvSpPr txBox="1"/>
          <p:nvPr userDrawn="1"/>
        </p:nvSpPr>
        <p:spPr>
          <a:xfrm>
            <a:off x="10385648" y="4225711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olutions</a:t>
            </a:r>
          </a:p>
        </p:txBody>
      </p:sp>
      <p:sp>
        <p:nvSpPr>
          <p:cNvPr id="210" name="TextBox 209">
            <a:extLst>
              <a:ext uri="{FF2B5EF4-FFF2-40B4-BE49-F238E27FC236}">
                <a16:creationId xmlns:a16="http://schemas.microsoft.com/office/drawing/2014/main" id="{7DC3C2D2-3C2D-6C95-E213-7D43F4032ECF}"/>
              </a:ext>
            </a:extLst>
          </p:cNvPr>
          <p:cNvSpPr txBox="1"/>
          <p:nvPr userDrawn="1"/>
        </p:nvSpPr>
        <p:spPr>
          <a:xfrm>
            <a:off x="3244408" y="4225711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RPA </a:t>
            </a:r>
          </a:p>
          <a:p>
            <a:pPr algn="ctr"/>
            <a:r>
              <a:rPr lang="en-US" sz="800">
                <a:solidFill>
                  <a:schemeClr val="bg1"/>
                </a:solidFill>
              </a:rPr>
              <a:t>sponsor</a:t>
            </a:r>
          </a:p>
        </p:txBody>
      </p:sp>
      <p:sp>
        <p:nvSpPr>
          <p:cNvPr id="211" name="TextBox 210">
            <a:extLst>
              <a:ext uri="{FF2B5EF4-FFF2-40B4-BE49-F238E27FC236}">
                <a16:creationId xmlns:a16="http://schemas.microsoft.com/office/drawing/2014/main" id="{A43BFBE1-5FD9-864A-A57E-314D7D739FFB}"/>
              </a:ext>
            </a:extLst>
          </p:cNvPr>
          <p:cNvSpPr txBox="1"/>
          <p:nvPr userDrawn="1"/>
        </p:nvSpPr>
        <p:spPr>
          <a:xfrm>
            <a:off x="11099777" y="5048729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hank you</a:t>
            </a:r>
          </a:p>
        </p:txBody>
      </p:sp>
      <p:sp>
        <p:nvSpPr>
          <p:cNvPr id="212" name="TextBox 211">
            <a:extLst>
              <a:ext uri="{FF2B5EF4-FFF2-40B4-BE49-F238E27FC236}">
                <a16:creationId xmlns:a16="http://schemas.microsoft.com/office/drawing/2014/main" id="{4FBBFAB2-3C9E-56F9-27D1-A11A12AFFA19}"/>
              </a:ext>
            </a:extLst>
          </p:cNvPr>
          <p:cNvSpPr txBox="1"/>
          <p:nvPr userDrawn="1"/>
        </p:nvSpPr>
        <p:spPr>
          <a:xfrm>
            <a:off x="387912" y="5048729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olutions alt</a:t>
            </a:r>
          </a:p>
        </p:txBody>
      </p:sp>
      <p:sp>
        <p:nvSpPr>
          <p:cNvPr id="213" name="TextBox 212">
            <a:extLst>
              <a:ext uri="{FF2B5EF4-FFF2-40B4-BE49-F238E27FC236}">
                <a16:creationId xmlns:a16="http://schemas.microsoft.com/office/drawing/2014/main" id="{1080BFCD-9DC5-C636-C7D7-0FFE991E7C81}"/>
              </a:ext>
            </a:extLst>
          </p:cNvPr>
          <p:cNvSpPr txBox="1"/>
          <p:nvPr userDrawn="1"/>
        </p:nvSpPr>
        <p:spPr>
          <a:xfrm>
            <a:off x="1102036" y="5048729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peed</a:t>
            </a:r>
          </a:p>
        </p:txBody>
      </p:sp>
      <p:sp>
        <p:nvSpPr>
          <p:cNvPr id="214" name="TextBox 213">
            <a:extLst>
              <a:ext uri="{FF2B5EF4-FFF2-40B4-BE49-F238E27FC236}">
                <a16:creationId xmlns:a16="http://schemas.microsoft.com/office/drawing/2014/main" id="{4F7B7A1E-6E29-B37D-ADEC-DE4FAEF51945}"/>
              </a:ext>
            </a:extLst>
          </p:cNvPr>
          <p:cNvSpPr txBox="1"/>
          <p:nvPr userDrawn="1"/>
        </p:nvSpPr>
        <p:spPr>
          <a:xfrm>
            <a:off x="1816160" y="5048729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topwatch</a:t>
            </a:r>
          </a:p>
        </p:txBody>
      </p:sp>
      <p:sp>
        <p:nvSpPr>
          <p:cNvPr id="215" name="TextBox 214">
            <a:extLst>
              <a:ext uri="{FF2B5EF4-FFF2-40B4-BE49-F238E27FC236}">
                <a16:creationId xmlns:a16="http://schemas.microsoft.com/office/drawing/2014/main" id="{0CCD009B-2BB1-DAD7-9F15-29D776A0BB80}"/>
              </a:ext>
            </a:extLst>
          </p:cNvPr>
          <p:cNvSpPr txBox="1"/>
          <p:nvPr userDrawn="1"/>
        </p:nvSpPr>
        <p:spPr>
          <a:xfrm>
            <a:off x="2530284" y="5048729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tories</a:t>
            </a:r>
          </a:p>
        </p:txBody>
      </p:sp>
      <p:sp>
        <p:nvSpPr>
          <p:cNvPr id="216" name="TextBox 215">
            <a:extLst>
              <a:ext uri="{FF2B5EF4-FFF2-40B4-BE49-F238E27FC236}">
                <a16:creationId xmlns:a16="http://schemas.microsoft.com/office/drawing/2014/main" id="{5FF2036B-7B68-EB99-65B1-2D3E29BB84AE}"/>
              </a:ext>
            </a:extLst>
          </p:cNvPr>
          <p:cNvSpPr txBox="1"/>
          <p:nvPr userDrawn="1"/>
        </p:nvSpPr>
        <p:spPr>
          <a:xfrm>
            <a:off x="3958532" y="5048729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uccess</a:t>
            </a:r>
          </a:p>
        </p:txBody>
      </p:sp>
      <p:sp>
        <p:nvSpPr>
          <p:cNvPr id="217" name="TextBox 216">
            <a:extLst>
              <a:ext uri="{FF2B5EF4-FFF2-40B4-BE49-F238E27FC236}">
                <a16:creationId xmlns:a16="http://schemas.microsoft.com/office/drawing/2014/main" id="{0462A018-C883-6B7D-7020-480EA7FAB410}"/>
              </a:ext>
            </a:extLst>
          </p:cNvPr>
          <p:cNvSpPr txBox="1"/>
          <p:nvPr userDrawn="1"/>
        </p:nvSpPr>
        <p:spPr>
          <a:xfrm>
            <a:off x="8957400" y="5048729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</a:rPr>
              <a:t>Technology</a:t>
            </a:r>
          </a:p>
          <a:p>
            <a:pPr algn="ctr"/>
            <a:r>
              <a:rPr lang="en-US" sz="800">
                <a:solidFill>
                  <a:schemeClr val="bg1"/>
                </a:solidFill>
              </a:rPr>
              <a:t>alt 2</a:t>
            </a:r>
          </a:p>
        </p:txBody>
      </p:sp>
      <p:sp>
        <p:nvSpPr>
          <p:cNvPr id="218" name="TextBox 217">
            <a:extLst>
              <a:ext uri="{FF2B5EF4-FFF2-40B4-BE49-F238E27FC236}">
                <a16:creationId xmlns:a16="http://schemas.microsoft.com/office/drawing/2014/main" id="{8B0677A3-E767-DC3B-E243-E13214C1B8D6}"/>
              </a:ext>
            </a:extLst>
          </p:cNvPr>
          <p:cNvSpPr txBox="1"/>
          <p:nvPr userDrawn="1"/>
        </p:nvSpPr>
        <p:spPr>
          <a:xfrm>
            <a:off x="9671524" y="5048729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</a:rPr>
              <a:t>Technology</a:t>
            </a:r>
          </a:p>
          <a:p>
            <a:pPr algn="ctr"/>
            <a:r>
              <a:rPr lang="en-US" sz="800">
                <a:solidFill>
                  <a:schemeClr val="bg1"/>
                </a:solidFill>
              </a:rPr>
              <a:t>alt 3</a:t>
            </a:r>
          </a:p>
        </p:txBody>
      </p:sp>
      <p:sp>
        <p:nvSpPr>
          <p:cNvPr id="219" name="TextBox 218">
            <a:extLst>
              <a:ext uri="{FF2B5EF4-FFF2-40B4-BE49-F238E27FC236}">
                <a16:creationId xmlns:a16="http://schemas.microsoft.com/office/drawing/2014/main" id="{51F388F1-A3A1-5291-6866-48EE15EFE250}"/>
              </a:ext>
            </a:extLst>
          </p:cNvPr>
          <p:cNvSpPr txBox="1"/>
          <p:nvPr userDrawn="1"/>
        </p:nvSpPr>
        <p:spPr>
          <a:xfrm>
            <a:off x="4672656" y="5048729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upport</a:t>
            </a:r>
          </a:p>
        </p:txBody>
      </p:sp>
      <p:sp>
        <p:nvSpPr>
          <p:cNvPr id="220" name="TextBox 219">
            <a:extLst>
              <a:ext uri="{FF2B5EF4-FFF2-40B4-BE49-F238E27FC236}">
                <a16:creationId xmlns:a16="http://schemas.microsoft.com/office/drawing/2014/main" id="{F9D2DBE9-50BF-5B02-F0FF-C96351C813CB}"/>
              </a:ext>
            </a:extLst>
          </p:cNvPr>
          <p:cNvSpPr txBox="1"/>
          <p:nvPr userDrawn="1"/>
        </p:nvSpPr>
        <p:spPr>
          <a:xfrm>
            <a:off x="5386780" y="5048729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urvey</a:t>
            </a:r>
          </a:p>
        </p:txBody>
      </p:sp>
      <p:sp>
        <p:nvSpPr>
          <p:cNvPr id="221" name="TextBox 220">
            <a:extLst>
              <a:ext uri="{FF2B5EF4-FFF2-40B4-BE49-F238E27FC236}">
                <a16:creationId xmlns:a16="http://schemas.microsoft.com/office/drawing/2014/main" id="{5719642F-B23C-A9A8-8813-2DFF05FD4B4A}"/>
              </a:ext>
            </a:extLst>
          </p:cNvPr>
          <p:cNvSpPr txBox="1"/>
          <p:nvPr userDrawn="1"/>
        </p:nvSpPr>
        <p:spPr>
          <a:xfrm>
            <a:off x="6100904" y="5048729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ap Touch</a:t>
            </a:r>
          </a:p>
        </p:txBody>
      </p:sp>
      <p:sp>
        <p:nvSpPr>
          <p:cNvPr id="222" name="TextBox 221">
            <a:extLst>
              <a:ext uri="{FF2B5EF4-FFF2-40B4-BE49-F238E27FC236}">
                <a16:creationId xmlns:a16="http://schemas.microsoft.com/office/drawing/2014/main" id="{4AD00AF9-EE84-45D5-2029-35A8A37E9B87}"/>
              </a:ext>
            </a:extLst>
          </p:cNvPr>
          <p:cNvSpPr txBox="1"/>
          <p:nvPr userDrawn="1"/>
        </p:nvSpPr>
        <p:spPr>
          <a:xfrm>
            <a:off x="6815028" y="5048729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arget</a:t>
            </a:r>
          </a:p>
        </p:txBody>
      </p:sp>
      <p:sp>
        <p:nvSpPr>
          <p:cNvPr id="223" name="TextBox 222">
            <a:extLst>
              <a:ext uri="{FF2B5EF4-FFF2-40B4-BE49-F238E27FC236}">
                <a16:creationId xmlns:a16="http://schemas.microsoft.com/office/drawing/2014/main" id="{BAF0E722-6977-4C3F-8919-9492B8D0F8AA}"/>
              </a:ext>
            </a:extLst>
          </p:cNvPr>
          <p:cNvSpPr txBox="1"/>
          <p:nvPr userDrawn="1"/>
        </p:nvSpPr>
        <p:spPr>
          <a:xfrm>
            <a:off x="7529152" y="5048729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echnology</a:t>
            </a:r>
          </a:p>
        </p:txBody>
      </p:sp>
      <p:sp>
        <p:nvSpPr>
          <p:cNvPr id="224" name="TextBox 223">
            <a:extLst>
              <a:ext uri="{FF2B5EF4-FFF2-40B4-BE49-F238E27FC236}">
                <a16:creationId xmlns:a16="http://schemas.microsoft.com/office/drawing/2014/main" id="{B0DA2B49-125A-62FE-E0D5-F0E3BBCE1E8D}"/>
              </a:ext>
            </a:extLst>
          </p:cNvPr>
          <p:cNvSpPr txBox="1"/>
          <p:nvPr userDrawn="1"/>
        </p:nvSpPr>
        <p:spPr>
          <a:xfrm>
            <a:off x="8243276" y="5048729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echnology </a:t>
            </a:r>
          </a:p>
          <a:p>
            <a:pPr algn="ctr"/>
            <a:r>
              <a:rPr lang="en-US" sz="800">
                <a:solidFill>
                  <a:schemeClr val="bg1"/>
                </a:solidFill>
              </a:rPr>
              <a:t>alt</a:t>
            </a:r>
          </a:p>
        </p:txBody>
      </p:sp>
      <p:sp>
        <p:nvSpPr>
          <p:cNvPr id="225" name="TextBox 224">
            <a:extLst>
              <a:ext uri="{FF2B5EF4-FFF2-40B4-BE49-F238E27FC236}">
                <a16:creationId xmlns:a16="http://schemas.microsoft.com/office/drawing/2014/main" id="{68BF790B-EF27-FA83-C2A4-93F0304F3EA7}"/>
              </a:ext>
            </a:extLst>
          </p:cNvPr>
          <p:cNvSpPr txBox="1"/>
          <p:nvPr userDrawn="1"/>
        </p:nvSpPr>
        <p:spPr>
          <a:xfrm>
            <a:off x="10385648" y="5048729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ent</a:t>
            </a:r>
          </a:p>
        </p:txBody>
      </p:sp>
      <p:sp>
        <p:nvSpPr>
          <p:cNvPr id="226" name="TextBox 225">
            <a:extLst>
              <a:ext uri="{FF2B5EF4-FFF2-40B4-BE49-F238E27FC236}">
                <a16:creationId xmlns:a16="http://schemas.microsoft.com/office/drawing/2014/main" id="{9220DA33-E720-2B16-27BD-A8921AC365CD}"/>
              </a:ext>
            </a:extLst>
          </p:cNvPr>
          <p:cNvSpPr txBox="1"/>
          <p:nvPr userDrawn="1"/>
        </p:nvSpPr>
        <p:spPr>
          <a:xfrm>
            <a:off x="3244408" y="5048729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tudent</a:t>
            </a:r>
          </a:p>
        </p:txBody>
      </p:sp>
      <p:sp>
        <p:nvSpPr>
          <p:cNvPr id="227" name="TextBox 226">
            <a:extLst>
              <a:ext uri="{FF2B5EF4-FFF2-40B4-BE49-F238E27FC236}">
                <a16:creationId xmlns:a16="http://schemas.microsoft.com/office/drawing/2014/main" id="{96B15C72-B6B4-2A14-2852-752A87EB7FE1}"/>
              </a:ext>
            </a:extLst>
          </p:cNvPr>
          <p:cNvSpPr txBox="1"/>
          <p:nvPr userDrawn="1"/>
        </p:nvSpPr>
        <p:spPr>
          <a:xfrm>
            <a:off x="387912" y="5871746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ime saver</a:t>
            </a:r>
          </a:p>
        </p:txBody>
      </p:sp>
      <p:sp>
        <p:nvSpPr>
          <p:cNvPr id="228" name="TextBox 227">
            <a:extLst>
              <a:ext uri="{FF2B5EF4-FFF2-40B4-BE49-F238E27FC236}">
                <a16:creationId xmlns:a16="http://schemas.microsoft.com/office/drawing/2014/main" id="{FD7A6871-3709-6AFB-B9DE-55C08D7CA30D}"/>
              </a:ext>
            </a:extLst>
          </p:cNvPr>
          <p:cNvSpPr txBox="1"/>
          <p:nvPr userDrawn="1"/>
        </p:nvSpPr>
        <p:spPr>
          <a:xfrm>
            <a:off x="1102963" y="5871746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User</a:t>
            </a:r>
          </a:p>
        </p:txBody>
      </p:sp>
      <p:sp>
        <p:nvSpPr>
          <p:cNvPr id="229" name="TextBox 228">
            <a:extLst>
              <a:ext uri="{FF2B5EF4-FFF2-40B4-BE49-F238E27FC236}">
                <a16:creationId xmlns:a16="http://schemas.microsoft.com/office/drawing/2014/main" id="{60424493-0651-47C4-EEA6-89747675A4F4}"/>
              </a:ext>
            </a:extLst>
          </p:cNvPr>
          <p:cNvSpPr txBox="1"/>
          <p:nvPr userDrawn="1"/>
        </p:nvSpPr>
        <p:spPr>
          <a:xfrm>
            <a:off x="1818014" y="5871746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User-OTM</a:t>
            </a:r>
          </a:p>
        </p:txBody>
      </p:sp>
      <p:sp>
        <p:nvSpPr>
          <p:cNvPr id="230" name="TextBox 229">
            <a:extLst>
              <a:ext uri="{FF2B5EF4-FFF2-40B4-BE49-F238E27FC236}">
                <a16:creationId xmlns:a16="http://schemas.microsoft.com/office/drawing/2014/main" id="{BC48A5BD-653B-AB0D-2B63-667284DC44CE}"/>
              </a:ext>
            </a:extLst>
          </p:cNvPr>
          <p:cNvSpPr txBox="1"/>
          <p:nvPr userDrawn="1"/>
        </p:nvSpPr>
        <p:spPr>
          <a:xfrm>
            <a:off x="2533065" y="5871746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Validate</a:t>
            </a:r>
          </a:p>
        </p:txBody>
      </p:sp>
      <p:sp>
        <p:nvSpPr>
          <p:cNvPr id="231" name="TextBox 230">
            <a:extLst>
              <a:ext uri="{FF2B5EF4-FFF2-40B4-BE49-F238E27FC236}">
                <a16:creationId xmlns:a16="http://schemas.microsoft.com/office/drawing/2014/main" id="{91B305AA-27EF-CAF6-B77B-C704E3123919}"/>
              </a:ext>
            </a:extLst>
          </p:cNvPr>
          <p:cNvSpPr txBox="1"/>
          <p:nvPr userDrawn="1"/>
        </p:nvSpPr>
        <p:spPr>
          <a:xfrm>
            <a:off x="3963167" y="5871746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Vendor</a:t>
            </a:r>
          </a:p>
        </p:txBody>
      </p:sp>
      <p:sp>
        <p:nvSpPr>
          <p:cNvPr id="232" name="TextBox 231">
            <a:extLst>
              <a:ext uri="{FF2B5EF4-FFF2-40B4-BE49-F238E27FC236}">
                <a16:creationId xmlns:a16="http://schemas.microsoft.com/office/drawing/2014/main" id="{67DD9FDE-2DF2-BFDE-C001-AFA19823FE5F}"/>
              </a:ext>
            </a:extLst>
          </p:cNvPr>
          <p:cNvSpPr txBox="1"/>
          <p:nvPr userDrawn="1"/>
        </p:nvSpPr>
        <p:spPr>
          <a:xfrm>
            <a:off x="8968524" y="5871746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Welcome</a:t>
            </a:r>
          </a:p>
        </p:txBody>
      </p:sp>
      <p:sp>
        <p:nvSpPr>
          <p:cNvPr id="233" name="TextBox 232">
            <a:extLst>
              <a:ext uri="{FF2B5EF4-FFF2-40B4-BE49-F238E27FC236}">
                <a16:creationId xmlns:a16="http://schemas.microsoft.com/office/drawing/2014/main" id="{567EF8CF-BFFC-630E-2CCF-7B228CA7D2CE}"/>
              </a:ext>
            </a:extLst>
          </p:cNvPr>
          <p:cNvSpPr txBox="1"/>
          <p:nvPr userDrawn="1"/>
        </p:nvSpPr>
        <p:spPr>
          <a:xfrm>
            <a:off x="9683575" y="5871746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Zoom in</a:t>
            </a:r>
          </a:p>
        </p:txBody>
      </p:sp>
      <p:sp>
        <p:nvSpPr>
          <p:cNvPr id="234" name="TextBox 233">
            <a:extLst>
              <a:ext uri="{FF2B5EF4-FFF2-40B4-BE49-F238E27FC236}">
                <a16:creationId xmlns:a16="http://schemas.microsoft.com/office/drawing/2014/main" id="{66BA445F-7E73-F689-CE4A-8DF5443F8888}"/>
              </a:ext>
            </a:extLst>
          </p:cNvPr>
          <p:cNvSpPr txBox="1"/>
          <p:nvPr userDrawn="1"/>
        </p:nvSpPr>
        <p:spPr>
          <a:xfrm>
            <a:off x="4678218" y="5871746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Visibility off</a:t>
            </a:r>
          </a:p>
        </p:txBody>
      </p:sp>
      <p:sp>
        <p:nvSpPr>
          <p:cNvPr id="235" name="TextBox 234">
            <a:extLst>
              <a:ext uri="{FF2B5EF4-FFF2-40B4-BE49-F238E27FC236}">
                <a16:creationId xmlns:a16="http://schemas.microsoft.com/office/drawing/2014/main" id="{D0D25439-785F-A6E5-6CE5-B935B5EF47C9}"/>
              </a:ext>
            </a:extLst>
          </p:cNvPr>
          <p:cNvSpPr txBox="1"/>
          <p:nvPr userDrawn="1"/>
        </p:nvSpPr>
        <p:spPr>
          <a:xfrm>
            <a:off x="5393269" y="5871746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Visibility on</a:t>
            </a:r>
          </a:p>
        </p:txBody>
      </p:sp>
      <p:sp>
        <p:nvSpPr>
          <p:cNvPr id="236" name="TextBox 235">
            <a:extLst>
              <a:ext uri="{FF2B5EF4-FFF2-40B4-BE49-F238E27FC236}">
                <a16:creationId xmlns:a16="http://schemas.microsoft.com/office/drawing/2014/main" id="{F3993B22-B2FB-6322-3B4B-E1AC785F29EF}"/>
              </a:ext>
            </a:extLst>
          </p:cNvPr>
          <p:cNvSpPr txBox="1"/>
          <p:nvPr userDrawn="1"/>
        </p:nvSpPr>
        <p:spPr>
          <a:xfrm>
            <a:off x="6108320" y="5871746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Warning</a:t>
            </a:r>
          </a:p>
        </p:txBody>
      </p:sp>
      <p:sp>
        <p:nvSpPr>
          <p:cNvPr id="237" name="TextBox 236">
            <a:extLst>
              <a:ext uri="{FF2B5EF4-FFF2-40B4-BE49-F238E27FC236}">
                <a16:creationId xmlns:a16="http://schemas.microsoft.com/office/drawing/2014/main" id="{DA6E4019-FA74-FEFD-1FBA-EE5201561CF7}"/>
              </a:ext>
            </a:extLst>
          </p:cNvPr>
          <p:cNvSpPr txBox="1"/>
          <p:nvPr userDrawn="1"/>
        </p:nvSpPr>
        <p:spPr>
          <a:xfrm>
            <a:off x="6823371" y="5871746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Web</a:t>
            </a:r>
          </a:p>
          <a:p>
            <a:pPr algn="ctr"/>
            <a:r>
              <a:rPr lang="en-US" sz="800">
                <a:solidFill>
                  <a:schemeClr val="bg1"/>
                </a:solidFill>
              </a:rPr>
              <a:t>expert</a:t>
            </a:r>
          </a:p>
        </p:txBody>
      </p:sp>
      <p:sp>
        <p:nvSpPr>
          <p:cNvPr id="238" name="TextBox 237">
            <a:extLst>
              <a:ext uri="{FF2B5EF4-FFF2-40B4-BE49-F238E27FC236}">
                <a16:creationId xmlns:a16="http://schemas.microsoft.com/office/drawing/2014/main" id="{CB7989A4-867F-5687-A5E5-A3F61C3A0714}"/>
              </a:ext>
            </a:extLst>
          </p:cNvPr>
          <p:cNvSpPr txBox="1"/>
          <p:nvPr userDrawn="1"/>
        </p:nvSpPr>
        <p:spPr>
          <a:xfrm>
            <a:off x="7538422" y="5871746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Web</a:t>
            </a:r>
          </a:p>
          <a:p>
            <a:pPr algn="ctr"/>
            <a:r>
              <a:rPr lang="en-US" sz="800">
                <a:solidFill>
                  <a:schemeClr val="bg1"/>
                </a:solidFill>
              </a:rPr>
              <a:t>scraping</a:t>
            </a:r>
          </a:p>
        </p:txBody>
      </p:sp>
      <p:sp>
        <p:nvSpPr>
          <p:cNvPr id="239" name="TextBox 238">
            <a:extLst>
              <a:ext uri="{FF2B5EF4-FFF2-40B4-BE49-F238E27FC236}">
                <a16:creationId xmlns:a16="http://schemas.microsoft.com/office/drawing/2014/main" id="{FC154F70-0F33-219E-C78B-350F9CF01C05}"/>
              </a:ext>
            </a:extLst>
          </p:cNvPr>
          <p:cNvSpPr txBox="1"/>
          <p:nvPr userDrawn="1"/>
        </p:nvSpPr>
        <p:spPr>
          <a:xfrm>
            <a:off x="8253473" y="5871746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Web</a:t>
            </a:r>
          </a:p>
          <a:p>
            <a:pPr algn="ctr"/>
            <a:r>
              <a:rPr lang="en-US" sz="800">
                <a:solidFill>
                  <a:schemeClr val="bg1"/>
                </a:solidFill>
              </a:rPr>
              <a:t>testing</a:t>
            </a:r>
          </a:p>
        </p:txBody>
      </p:sp>
      <p:sp>
        <p:nvSpPr>
          <p:cNvPr id="240" name="TextBox 239">
            <a:extLst>
              <a:ext uri="{FF2B5EF4-FFF2-40B4-BE49-F238E27FC236}">
                <a16:creationId xmlns:a16="http://schemas.microsoft.com/office/drawing/2014/main" id="{99B41E3F-FA6D-CD9F-2AAE-A7F663892306}"/>
              </a:ext>
            </a:extLst>
          </p:cNvPr>
          <p:cNvSpPr txBox="1"/>
          <p:nvPr userDrawn="1"/>
        </p:nvSpPr>
        <p:spPr>
          <a:xfrm>
            <a:off x="10398626" y="5871746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Zoom out</a:t>
            </a:r>
          </a:p>
        </p:txBody>
      </p:sp>
      <p:sp>
        <p:nvSpPr>
          <p:cNvPr id="241" name="TextBox 240">
            <a:extLst>
              <a:ext uri="{FF2B5EF4-FFF2-40B4-BE49-F238E27FC236}">
                <a16:creationId xmlns:a16="http://schemas.microsoft.com/office/drawing/2014/main" id="{3CDA9F32-C7F5-5750-5A8E-BC451B5BE837}"/>
              </a:ext>
            </a:extLst>
          </p:cNvPr>
          <p:cNvSpPr txBox="1"/>
          <p:nvPr userDrawn="1"/>
        </p:nvSpPr>
        <p:spPr>
          <a:xfrm>
            <a:off x="3248116" y="5871746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Vector </a:t>
            </a:r>
          </a:p>
          <a:p>
            <a:pPr algn="ctr"/>
            <a:r>
              <a:rPr lang="en-US" sz="800">
                <a:solidFill>
                  <a:schemeClr val="bg1"/>
                </a:solidFill>
              </a:rPr>
              <a:t>anchor</a:t>
            </a:r>
          </a:p>
        </p:txBody>
      </p:sp>
      <p:sp>
        <p:nvSpPr>
          <p:cNvPr id="242" name="TextBox 241">
            <a:extLst>
              <a:ext uri="{FF2B5EF4-FFF2-40B4-BE49-F238E27FC236}">
                <a16:creationId xmlns:a16="http://schemas.microsoft.com/office/drawing/2014/main" id="{72CDD674-1CD6-7588-CC06-EC1EB6F010F7}"/>
              </a:ext>
            </a:extLst>
          </p:cNvPr>
          <p:cNvSpPr txBox="1"/>
          <p:nvPr userDrawn="1"/>
        </p:nvSpPr>
        <p:spPr>
          <a:xfrm>
            <a:off x="11099777" y="1756657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Money </a:t>
            </a:r>
          </a:p>
          <a:p>
            <a:pPr algn="ctr"/>
            <a:r>
              <a:rPr lang="en-US" sz="800">
                <a:solidFill>
                  <a:schemeClr val="bg1"/>
                </a:solidFill>
              </a:rPr>
              <a:t>square</a:t>
            </a:r>
          </a:p>
        </p:txBody>
      </p:sp>
      <p:sp>
        <p:nvSpPr>
          <p:cNvPr id="243" name="TextBox 242">
            <a:extLst>
              <a:ext uri="{FF2B5EF4-FFF2-40B4-BE49-F238E27FC236}">
                <a16:creationId xmlns:a16="http://schemas.microsoft.com/office/drawing/2014/main" id="{873E7D19-8796-0D17-E511-38AFB946E491}"/>
              </a:ext>
            </a:extLst>
          </p:cNvPr>
          <p:cNvSpPr txBox="1"/>
          <p:nvPr userDrawn="1"/>
        </p:nvSpPr>
        <p:spPr>
          <a:xfrm>
            <a:off x="387912" y="1756657"/>
            <a:ext cx="709636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Location </a:t>
            </a:r>
          </a:p>
          <a:p>
            <a:pPr algn="ctr"/>
            <a:r>
              <a:rPr lang="en-US" sz="800">
                <a:solidFill>
                  <a:schemeClr val="bg1"/>
                </a:solidFill>
              </a:rPr>
              <a:t>pin</a:t>
            </a:r>
          </a:p>
        </p:txBody>
      </p:sp>
      <p:sp>
        <p:nvSpPr>
          <p:cNvPr id="244" name="TextBox 243">
            <a:extLst>
              <a:ext uri="{FF2B5EF4-FFF2-40B4-BE49-F238E27FC236}">
                <a16:creationId xmlns:a16="http://schemas.microsoft.com/office/drawing/2014/main" id="{8B488A44-1ED9-4382-6EA3-100F75BF2E6F}"/>
              </a:ext>
            </a:extLst>
          </p:cNvPr>
          <p:cNvSpPr txBox="1"/>
          <p:nvPr userDrawn="1"/>
        </p:nvSpPr>
        <p:spPr>
          <a:xfrm>
            <a:off x="1098680" y="1756657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Lock</a:t>
            </a:r>
          </a:p>
        </p:txBody>
      </p:sp>
      <p:sp>
        <p:nvSpPr>
          <p:cNvPr id="245" name="TextBox 244">
            <a:extLst>
              <a:ext uri="{FF2B5EF4-FFF2-40B4-BE49-F238E27FC236}">
                <a16:creationId xmlns:a16="http://schemas.microsoft.com/office/drawing/2014/main" id="{6D928BA3-CBB3-7147-7223-BDECC02361A6}"/>
              </a:ext>
            </a:extLst>
          </p:cNvPr>
          <p:cNvSpPr txBox="1"/>
          <p:nvPr userDrawn="1"/>
        </p:nvSpPr>
        <p:spPr>
          <a:xfrm>
            <a:off x="1813044" y="1756657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Lock</a:t>
            </a:r>
          </a:p>
          <a:p>
            <a:pPr algn="ctr"/>
            <a:r>
              <a:rPr lang="en-US" sz="800">
                <a:solidFill>
                  <a:schemeClr val="bg1"/>
                </a:solidFill>
              </a:rPr>
              <a:t>open</a:t>
            </a:r>
          </a:p>
        </p:txBody>
      </p:sp>
      <p:sp>
        <p:nvSpPr>
          <p:cNvPr id="246" name="TextBox 245">
            <a:extLst>
              <a:ext uri="{FF2B5EF4-FFF2-40B4-BE49-F238E27FC236}">
                <a16:creationId xmlns:a16="http://schemas.microsoft.com/office/drawing/2014/main" id="{F9AD521E-DC6B-0EC2-1A3D-FFB5441867F3}"/>
              </a:ext>
            </a:extLst>
          </p:cNvPr>
          <p:cNvSpPr txBox="1"/>
          <p:nvPr userDrawn="1"/>
        </p:nvSpPr>
        <p:spPr>
          <a:xfrm>
            <a:off x="2527408" y="1756657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Macro recording</a:t>
            </a:r>
          </a:p>
        </p:txBody>
      </p:sp>
      <p:sp>
        <p:nvSpPr>
          <p:cNvPr id="247" name="TextBox 246">
            <a:extLst>
              <a:ext uri="{FF2B5EF4-FFF2-40B4-BE49-F238E27FC236}">
                <a16:creationId xmlns:a16="http://schemas.microsoft.com/office/drawing/2014/main" id="{16B15200-813C-B8E8-095B-D30F02BDA142}"/>
              </a:ext>
            </a:extLst>
          </p:cNvPr>
          <p:cNvSpPr txBox="1"/>
          <p:nvPr userDrawn="1"/>
        </p:nvSpPr>
        <p:spPr>
          <a:xfrm>
            <a:off x="3956136" y="1756657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Managing</a:t>
            </a:r>
          </a:p>
        </p:txBody>
      </p:sp>
      <p:sp>
        <p:nvSpPr>
          <p:cNvPr id="248" name="TextBox 247">
            <a:extLst>
              <a:ext uri="{FF2B5EF4-FFF2-40B4-BE49-F238E27FC236}">
                <a16:creationId xmlns:a16="http://schemas.microsoft.com/office/drawing/2014/main" id="{CA958958-BCC4-F5D4-EC39-84713EA6D6BC}"/>
              </a:ext>
            </a:extLst>
          </p:cNvPr>
          <p:cNvSpPr txBox="1"/>
          <p:nvPr userDrawn="1"/>
        </p:nvSpPr>
        <p:spPr>
          <a:xfrm>
            <a:off x="8956684" y="1756657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Mobile</a:t>
            </a:r>
          </a:p>
          <a:p>
            <a:pPr algn="ctr"/>
            <a:r>
              <a:rPr lang="en-US" sz="800">
                <a:solidFill>
                  <a:schemeClr val="bg1"/>
                </a:solidFill>
              </a:rPr>
              <a:t>device</a:t>
            </a:r>
          </a:p>
        </p:txBody>
      </p:sp>
      <p:sp>
        <p:nvSpPr>
          <p:cNvPr id="249" name="TextBox 248">
            <a:extLst>
              <a:ext uri="{FF2B5EF4-FFF2-40B4-BE49-F238E27FC236}">
                <a16:creationId xmlns:a16="http://schemas.microsoft.com/office/drawing/2014/main" id="{A0A38BA8-814F-6F44-9288-3085BDD02701}"/>
              </a:ext>
            </a:extLst>
          </p:cNvPr>
          <p:cNvSpPr txBox="1"/>
          <p:nvPr userDrawn="1"/>
        </p:nvSpPr>
        <p:spPr>
          <a:xfrm>
            <a:off x="9671048" y="1756657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Money </a:t>
            </a:r>
          </a:p>
        </p:txBody>
      </p:sp>
      <p:sp>
        <p:nvSpPr>
          <p:cNvPr id="250" name="TextBox 249">
            <a:extLst>
              <a:ext uri="{FF2B5EF4-FFF2-40B4-BE49-F238E27FC236}">
                <a16:creationId xmlns:a16="http://schemas.microsoft.com/office/drawing/2014/main" id="{24814ABB-4E98-6B93-6660-559C5D5593DF}"/>
              </a:ext>
            </a:extLst>
          </p:cNvPr>
          <p:cNvSpPr txBox="1"/>
          <p:nvPr userDrawn="1"/>
        </p:nvSpPr>
        <p:spPr>
          <a:xfrm>
            <a:off x="4670500" y="1756657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Managing alt</a:t>
            </a:r>
          </a:p>
        </p:txBody>
      </p:sp>
      <p:sp>
        <p:nvSpPr>
          <p:cNvPr id="251" name="TextBox 250">
            <a:extLst>
              <a:ext uri="{FF2B5EF4-FFF2-40B4-BE49-F238E27FC236}">
                <a16:creationId xmlns:a16="http://schemas.microsoft.com/office/drawing/2014/main" id="{A79B99D9-0700-A5E2-60EA-818C3E017A7C}"/>
              </a:ext>
            </a:extLst>
          </p:cNvPr>
          <p:cNvSpPr txBox="1"/>
          <p:nvPr userDrawn="1"/>
        </p:nvSpPr>
        <p:spPr>
          <a:xfrm>
            <a:off x="5384864" y="1756657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Map</a:t>
            </a:r>
          </a:p>
        </p:txBody>
      </p:sp>
      <p:sp>
        <p:nvSpPr>
          <p:cNvPr id="252" name="TextBox 251">
            <a:extLst>
              <a:ext uri="{FF2B5EF4-FFF2-40B4-BE49-F238E27FC236}">
                <a16:creationId xmlns:a16="http://schemas.microsoft.com/office/drawing/2014/main" id="{C2C907D9-EE69-66A0-2363-778A4AFC46A9}"/>
              </a:ext>
            </a:extLst>
          </p:cNvPr>
          <p:cNvSpPr txBox="1"/>
          <p:nvPr userDrawn="1"/>
        </p:nvSpPr>
        <p:spPr>
          <a:xfrm>
            <a:off x="6099228" y="1756657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Map alt</a:t>
            </a:r>
          </a:p>
        </p:txBody>
      </p:sp>
      <p:sp>
        <p:nvSpPr>
          <p:cNvPr id="253" name="TextBox 252">
            <a:extLst>
              <a:ext uri="{FF2B5EF4-FFF2-40B4-BE49-F238E27FC236}">
                <a16:creationId xmlns:a16="http://schemas.microsoft.com/office/drawing/2014/main" id="{B8F6A068-D23D-5598-4DEB-4474D721F445}"/>
              </a:ext>
            </a:extLst>
          </p:cNvPr>
          <p:cNvSpPr txBox="1"/>
          <p:nvPr userDrawn="1"/>
        </p:nvSpPr>
        <p:spPr>
          <a:xfrm>
            <a:off x="6813592" y="1756657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Map alt 2</a:t>
            </a:r>
          </a:p>
        </p:txBody>
      </p:sp>
      <p:sp>
        <p:nvSpPr>
          <p:cNvPr id="254" name="TextBox 253">
            <a:extLst>
              <a:ext uri="{FF2B5EF4-FFF2-40B4-BE49-F238E27FC236}">
                <a16:creationId xmlns:a16="http://schemas.microsoft.com/office/drawing/2014/main" id="{A0477219-D624-765D-372B-2FDD380030A4}"/>
              </a:ext>
            </a:extLst>
          </p:cNvPr>
          <p:cNvSpPr txBox="1"/>
          <p:nvPr userDrawn="1"/>
        </p:nvSpPr>
        <p:spPr>
          <a:xfrm>
            <a:off x="7527956" y="1756657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Media</a:t>
            </a:r>
          </a:p>
        </p:txBody>
      </p:sp>
      <p:sp>
        <p:nvSpPr>
          <p:cNvPr id="255" name="TextBox 254">
            <a:extLst>
              <a:ext uri="{FF2B5EF4-FFF2-40B4-BE49-F238E27FC236}">
                <a16:creationId xmlns:a16="http://schemas.microsoft.com/office/drawing/2014/main" id="{117B1972-A793-C45C-3863-CA88D8362525}"/>
              </a:ext>
            </a:extLst>
          </p:cNvPr>
          <p:cNvSpPr txBox="1"/>
          <p:nvPr userDrawn="1"/>
        </p:nvSpPr>
        <p:spPr>
          <a:xfrm>
            <a:off x="8242320" y="1756657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Mismatch</a:t>
            </a:r>
          </a:p>
        </p:txBody>
      </p:sp>
      <p:sp>
        <p:nvSpPr>
          <p:cNvPr id="256" name="TextBox 255">
            <a:extLst>
              <a:ext uri="{FF2B5EF4-FFF2-40B4-BE49-F238E27FC236}">
                <a16:creationId xmlns:a16="http://schemas.microsoft.com/office/drawing/2014/main" id="{54C88275-9F57-1360-81C5-972ABB3AE1B7}"/>
              </a:ext>
            </a:extLst>
          </p:cNvPr>
          <p:cNvSpPr txBox="1"/>
          <p:nvPr userDrawn="1"/>
        </p:nvSpPr>
        <p:spPr>
          <a:xfrm>
            <a:off x="10385412" y="1756657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Money </a:t>
            </a:r>
          </a:p>
          <a:p>
            <a:pPr algn="ctr"/>
            <a:r>
              <a:rPr lang="en-US" sz="800">
                <a:solidFill>
                  <a:schemeClr val="bg1"/>
                </a:solidFill>
              </a:rPr>
              <a:t>circle</a:t>
            </a:r>
          </a:p>
        </p:txBody>
      </p:sp>
      <p:sp>
        <p:nvSpPr>
          <p:cNvPr id="257" name="TextBox 256">
            <a:extLst>
              <a:ext uri="{FF2B5EF4-FFF2-40B4-BE49-F238E27FC236}">
                <a16:creationId xmlns:a16="http://schemas.microsoft.com/office/drawing/2014/main" id="{57C72A8F-5FCC-9219-3B62-5031BBA639A3}"/>
              </a:ext>
            </a:extLst>
          </p:cNvPr>
          <p:cNvSpPr txBox="1"/>
          <p:nvPr userDrawn="1"/>
        </p:nvSpPr>
        <p:spPr>
          <a:xfrm>
            <a:off x="3241772" y="1756657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Manage documents</a:t>
            </a:r>
          </a:p>
        </p:txBody>
      </p:sp>
      <p:sp>
        <p:nvSpPr>
          <p:cNvPr id="258" name="TextBox 257">
            <a:extLst>
              <a:ext uri="{FF2B5EF4-FFF2-40B4-BE49-F238E27FC236}">
                <a16:creationId xmlns:a16="http://schemas.microsoft.com/office/drawing/2014/main" id="{D81EF234-9FF3-50B8-F4FA-156096323016}"/>
              </a:ext>
            </a:extLst>
          </p:cNvPr>
          <p:cNvSpPr txBox="1"/>
          <p:nvPr userDrawn="1"/>
        </p:nvSpPr>
        <p:spPr>
          <a:xfrm>
            <a:off x="11099777" y="2579675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QA</a:t>
            </a:r>
          </a:p>
        </p:txBody>
      </p:sp>
      <p:sp>
        <p:nvSpPr>
          <p:cNvPr id="259" name="TextBox 258">
            <a:extLst>
              <a:ext uri="{FF2B5EF4-FFF2-40B4-BE49-F238E27FC236}">
                <a16:creationId xmlns:a16="http://schemas.microsoft.com/office/drawing/2014/main" id="{4A18E7B2-80AD-EB31-A35B-6DC72B5BE4B4}"/>
              </a:ext>
            </a:extLst>
          </p:cNvPr>
          <p:cNvSpPr txBox="1"/>
          <p:nvPr userDrawn="1"/>
        </p:nvSpPr>
        <p:spPr>
          <a:xfrm>
            <a:off x="387912" y="2579675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Monitoring</a:t>
            </a:r>
          </a:p>
        </p:txBody>
      </p:sp>
      <p:sp>
        <p:nvSpPr>
          <p:cNvPr id="260" name="TextBox 259">
            <a:extLst>
              <a:ext uri="{FF2B5EF4-FFF2-40B4-BE49-F238E27FC236}">
                <a16:creationId xmlns:a16="http://schemas.microsoft.com/office/drawing/2014/main" id="{E3FDBE91-75F4-51B6-5915-200FD253D758}"/>
              </a:ext>
            </a:extLst>
          </p:cNvPr>
          <p:cNvSpPr txBox="1"/>
          <p:nvPr userDrawn="1"/>
        </p:nvSpPr>
        <p:spPr>
          <a:xfrm>
            <a:off x="1102036" y="2579675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Monitoring alt</a:t>
            </a:r>
          </a:p>
        </p:txBody>
      </p:sp>
      <p:sp>
        <p:nvSpPr>
          <p:cNvPr id="261" name="TextBox 260">
            <a:extLst>
              <a:ext uri="{FF2B5EF4-FFF2-40B4-BE49-F238E27FC236}">
                <a16:creationId xmlns:a16="http://schemas.microsoft.com/office/drawing/2014/main" id="{1BBF0D3B-BA12-5389-ED41-3A15BA371B15}"/>
              </a:ext>
            </a:extLst>
          </p:cNvPr>
          <p:cNvSpPr txBox="1"/>
          <p:nvPr userDrawn="1"/>
        </p:nvSpPr>
        <p:spPr>
          <a:xfrm>
            <a:off x="1816160" y="2579675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Note</a:t>
            </a:r>
          </a:p>
        </p:txBody>
      </p:sp>
      <p:sp>
        <p:nvSpPr>
          <p:cNvPr id="262" name="TextBox 261">
            <a:extLst>
              <a:ext uri="{FF2B5EF4-FFF2-40B4-BE49-F238E27FC236}">
                <a16:creationId xmlns:a16="http://schemas.microsoft.com/office/drawing/2014/main" id="{1EB93F15-1987-4EFE-044F-9C7BC023DD5B}"/>
              </a:ext>
            </a:extLst>
          </p:cNvPr>
          <p:cNvSpPr txBox="1"/>
          <p:nvPr userDrawn="1"/>
        </p:nvSpPr>
        <p:spPr>
          <a:xfrm>
            <a:off x="2530284" y="2579675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OCR</a:t>
            </a:r>
          </a:p>
        </p:txBody>
      </p:sp>
      <p:sp>
        <p:nvSpPr>
          <p:cNvPr id="263" name="TextBox 262">
            <a:extLst>
              <a:ext uri="{FF2B5EF4-FFF2-40B4-BE49-F238E27FC236}">
                <a16:creationId xmlns:a16="http://schemas.microsoft.com/office/drawing/2014/main" id="{14DA520D-FE75-C288-FAA6-1C8ECFFDDBC2}"/>
              </a:ext>
            </a:extLst>
          </p:cNvPr>
          <p:cNvSpPr txBox="1"/>
          <p:nvPr userDrawn="1"/>
        </p:nvSpPr>
        <p:spPr>
          <a:xfrm>
            <a:off x="3958532" y="2579675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Phone </a:t>
            </a:r>
          </a:p>
          <a:p>
            <a:pPr algn="ctr"/>
            <a:r>
              <a:rPr lang="en-US" sz="800">
                <a:solidFill>
                  <a:schemeClr val="bg1"/>
                </a:solidFill>
              </a:rPr>
              <a:t>call</a:t>
            </a:r>
          </a:p>
        </p:txBody>
      </p:sp>
      <p:sp>
        <p:nvSpPr>
          <p:cNvPr id="264" name="TextBox 263">
            <a:extLst>
              <a:ext uri="{FF2B5EF4-FFF2-40B4-BE49-F238E27FC236}">
                <a16:creationId xmlns:a16="http://schemas.microsoft.com/office/drawing/2014/main" id="{76E68387-6B57-7B7C-F530-42496D66D70B}"/>
              </a:ext>
            </a:extLst>
          </p:cNvPr>
          <p:cNvSpPr txBox="1"/>
          <p:nvPr userDrawn="1"/>
        </p:nvSpPr>
        <p:spPr>
          <a:xfrm>
            <a:off x="8957400" y="2579675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Proof of concept</a:t>
            </a:r>
          </a:p>
        </p:txBody>
      </p:sp>
      <p:sp>
        <p:nvSpPr>
          <p:cNvPr id="265" name="TextBox 264">
            <a:extLst>
              <a:ext uri="{FF2B5EF4-FFF2-40B4-BE49-F238E27FC236}">
                <a16:creationId xmlns:a16="http://schemas.microsoft.com/office/drawing/2014/main" id="{B6A42903-E914-E610-25F0-3FDD03214277}"/>
              </a:ext>
            </a:extLst>
          </p:cNvPr>
          <p:cNvSpPr txBox="1"/>
          <p:nvPr userDrawn="1"/>
        </p:nvSpPr>
        <p:spPr>
          <a:xfrm>
            <a:off x="9671524" y="2579675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Proof of concept 2</a:t>
            </a:r>
          </a:p>
        </p:txBody>
      </p:sp>
      <p:sp>
        <p:nvSpPr>
          <p:cNvPr id="266" name="TextBox 265">
            <a:extLst>
              <a:ext uri="{FF2B5EF4-FFF2-40B4-BE49-F238E27FC236}">
                <a16:creationId xmlns:a16="http://schemas.microsoft.com/office/drawing/2014/main" id="{A516C7E5-2555-D209-D37F-6BFAC28EED29}"/>
              </a:ext>
            </a:extLst>
          </p:cNvPr>
          <p:cNvSpPr txBox="1"/>
          <p:nvPr userDrawn="1"/>
        </p:nvSpPr>
        <p:spPr>
          <a:xfrm>
            <a:off x="4672656" y="2579675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Pivot</a:t>
            </a:r>
          </a:p>
        </p:txBody>
      </p:sp>
      <p:sp>
        <p:nvSpPr>
          <p:cNvPr id="267" name="TextBox 266">
            <a:extLst>
              <a:ext uri="{FF2B5EF4-FFF2-40B4-BE49-F238E27FC236}">
                <a16:creationId xmlns:a16="http://schemas.microsoft.com/office/drawing/2014/main" id="{F5CCA8C0-4E99-647E-F4CA-0E5E7C867EBC}"/>
              </a:ext>
            </a:extLst>
          </p:cNvPr>
          <p:cNvSpPr txBox="1"/>
          <p:nvPr userDrawn="1"/>
        </p:nvSpPr>
        <p:spPr>
          <a:xfrm>
            <a:off x="5386780" y="2579675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Plugin</a:t>
            </a:r>
          </a:p>
        </p:txBody>
      </p:sp>
      <p:sp>
        <p:nvSpPr>
          <p:cNvPr id="268" name="TextBox 267">
            <a:extLst>
              <a:ext uri="{FF2B5EF4-FFF2-40B4-BE49-F238E27FC236}">
                <a16:creationId xmlns:a16="http://schemas.microsoft.com/office/drawing/2014/main" id="{856E923A-43F6-A82C-317E-C9E29C059489}"/>
              </a:ext>
            </a:extLst>
          </p:cNvPr>
          <p:cNvSpPr txBox="1"/>
          <p:nvPr userDrawn="1"/>
        </p:nvSpPr>
        <p:spPr>
          <a:xfrm>
            <a:off x="6100904" y="2579675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Process identification</a:t>
            </a:r>
          </a:p>
        </p:txBody>
      </p:sp>
      <p:sp>
        <p:nvSpPr>
          <p:cNvPr id="269" name="TextBox 268">
            <a:extLst>
              <a:ext uri="{FF2B5EF4-FFF2-40B4-BE49-F238E27FC236}">
                <a16:creationId xmlns:a16="http://schemas.microsoft.com/office/drawing/2014/main" id="{A7BDB71F-8142-0704-1E10-6EA7A6E433FE}"/>
              </a:ext>
            </a:extLst>
          </p:cNvPr>
          <p:cNvSpPr txBox="1"/>
          <p:nvPr userDrawn="1"/>
        </p:nvSpPr>
        <p:spPr>
          <a:xfrm>
            <a:off x="6815028" y="2579675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Process identification 2</a:t>
            </a:r>
          </a:p>
        </p:txBody>
      </p:sp>
      <p:sp>
        <p:nvSpPr>
          <p:cNvPr id="270" name="TextBox 269">
            <a:extLst>
              <a:ext uri="{FF2B5EF4-FFF2-40B4-BE49-F238E27FC236}">
                <a16:creationId xmlns:a16="http://schemas.microsoft.com/office/drawing/2014/main" id="{A564DD25-0A7E-C0D6-784D-858451C342C7}"/>
              </a:ext>
            </a:extLst>
          </p:cNvPr>
          <p:cNvSpPr txBox="1"/>
          <p:nvPr userDrawn="1"/>
        </p:nvSpPr>
        <p:spPr>
          <a:xfrm>
            <a:off x="7529152" y="2579675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Project</a:t>
            </a:r>
          </a:p>
        </p:txBody>
      </p:sp>
      <p:sp>
        <p:nvSpPr>
          <p:cNvPr id="271" name="TextBox 270">
            <a:extLst>
              <a:ext uri="{FF2B5EF4-FFF2-40B4-BE49-F238E27FC236}">
                <a16:creationId xmlns:a16="http://schemas.microsoft.com/office/drawing/2014/main" id="{209E35C5-9A9C-77EB-CC87-75A123626744}"/>
              </a:ext>
            </a:extLst>
          </p:cNvPr>
          <p:cNvSpPr txBox="1"/>
          <p:nvPr userDrawn="1"/>
        </p:nvSpPr>
        <p:spPr>
          <a:xfrm>
            <a:off x="8243276" y="2579675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Promoter bullhorn</a:t>
            </a:r>
          </a:p>
        </p:txBody>
      </p:sp>
      <p:sp>
        <p:nvSpPr>
          <p:cNvPr id="272" name="TextBox 271">
            <a:extLst>
              <a:ext uri="{FF2B5EF4-FFF2-40B4-BE49-F238E27FC236}">
                <a16:creationId xmlns:a16="http://schemas.microsoft.com/office/drawing/2014/main" id="{DD8ADCAB-E313-CB09-9380-4A0C2D53D35F}"/>
              </a:ext>
            </a:extLst>
          </p:cNvPr>
          <p:cNvSpPr txBox="1"/>
          <p:nvPr userDrawn="1"/>
        </p:nvSpPr>
        <p:spPr>
          <a:xfrm>
            <a:off x="10385648" y="2579675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Public </a:t>
            </a:r>
          </a:p>
          <a:p>
            <a:pPr algn="ctr"/>
            <a:r>
              <a:rPr lang="en-US" sz="800">
                <a:solidFill>
                  <a:schemeClr val="bg1"/>
                </a:solidFill>
              </a:rPr>
              <a:t>sector</a:t>
            </a:r>
          </a:p>
        </p:txBody>
      </p:sp>
      <p:sp>
        <p:nvSpPr>
          <p:cNvPr id="273" name="TextBox 272">
            <a:extLst>
              <a:ext uri="{FF2B5EF4-FFF2-40B4-BE49-F238E27FC236}">
                <a16:creationId xmlns:a16="http://schemas.microsoft.com/office/drawing/2014/main" id="{14285230-517D-62B2-F3B6-8517CFCEBEE8}"/>
              </a:ext>
            </a:extLst>
          </p:cNvPr>
          <p:cNvSpPr txBox="1"/>
          <p:nvPr userDrawn="1"/>
        </p:nvSpPr>
        <p:spPr>
          <a:xfrm>
            <a:off x="3244408" y="2579675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OCR alt</a:t>
            </a:r>
          </a:p>
        </p:txBody>
      </p:sp>
    </p:spTree>
    <p:extLst>
      <p:ext uri="{BB962C8B-B14F-4D97-AF65-F5344CB8AC3E}">
        <p14:creationId xmlns:p14="http://schemas.microsoft.com/office/powerpoint/2010/main" val="220709609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Icon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D06F8458-66E1-4B4A-BC40-DD2CDA42EB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25" name="Rectangle 224">
            <a:extLst>
              <a:ext uri="{FF2B5EF4-FFF2-40B4-BE49-F238E27FC236}">
                <a16:creationId xmlns:a16="http://schemas.microsoft.com/office/drawing/2014/main" id="{8AC8E737-EA30-D709-BF9E-682B7B71C34C}"/>
              </a:ext>
            </a:extLst>
          </p:cNvPr>
          <p:cNvSpPr/>
          <p:nvPr userDrawn="1"/>
        </p:nvSpPr>
        <p:spPr>
          <a:xfrm>
            <a:off x="0" y="1143000"/>
            <a:ext cx="12188825" cy="5714999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n-US" sz="1400" b="0" i="0" err="1">
              <a:latin typeface="Arial"/>
              <a:cs typeface="Arial"/>
            </a:endParaRPr>
          </a:p>
        </p:txBody>
      </p:sp>
      <p:sp>
        <p:nvSpPr>
          <p:cNvPr id="227" name="TextBox 226">
            <a:extLst>
              <a:ext uri="{FF2B5EF4-FFF2-40B4-BE49-F238E27FC236}">
                <a16:creationId xmlns:a16="http://schemas.microsoft.com/office/drawing/2014/main" id="{BF648F16-D083-ED0D-2636-2B3C89489602}"/>
              </a:ext>
            </a:extLst>
          </p:cNvPr>
          <p:cNvSpPr txBox="1"/>
          <p:nvPr userDrawn="1"/>
        </p:nvSpPr>
        <p:spPr>
          <a:xfrm>
            <a:off x="440508" y="1710252"/>
            <a:ext cx="709636" cy="33855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Web </a:t>
            </a:r>
            <a:br>
              <a:rPr lang="en-US" sz="800">
                <a:solidFill>
                  <a:schemeClr val="bg1"/>
                </a:solidFill>
              </a:rPr>
            </a:br>
            <a:r>
              <a:rPr lang="en-US" sz="800">
                <a:solidFill>
                  <a:schemeClr val="bg1"/>
                </a:solidFill>
              </a:rPr>
              <a:t>scraping</a:t>
            </a:r>
          </a:p>
        </p:txBody>
      </p:sp>
      <p:sp>
        <p:nvSpPr>
          <p:cNvPr id="229" name="TextBox 228">
            <a:extLst>
              <a:ext uri="{FF2B5EF4-FFF2-40B4-BE49-F238E27FC236}">
                <a16:creationId xmlns:a16="http://schemas.microsoft.com/office/drawing/2014/main" id="{91DA539E-001B-33B6-CA9D-321951989179}"/>
              </a:ext>
            </a:extLst>
          </p:cNvPr>
          <p:cNvSpPr txBox="1"/>
          <p:nvPr userDrawn="1"/>
        </p:nvSpPr>
        <p:spPr>
          <a:xfrm>
            <a:off x="1147053" y="1710252"/>
            <a:ext cx="709636" cy="33855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hank </a:t>
            </a:r>
            <a:br>
              <a:rPr lang="en-US" sz="800">
                <a:solidFill>
                  <a:schemeClr val="bg1"/>
                </a:solidFill>
              </a:rPr>
            </a:br>
            <a:r>
              <a:rPr lang="en-US" sz="800">
                <a:solidFill>
                  <a:schemeClr val="bg1"/>
                </a:solidFill>
              </a:rPr>
              <a:t>you</a:t>
            </a:r>
          </a:p>
        </p:txBody>
      </p:sp>
      <p:sp>
        <p:nvSpPr>
          <p:cNvPr id="231" name="TextBox 230">
            <a:extLst>
              <a:ext uri="{FF2B5EF4-FFF2-40B4-BE49-F238E27FC236}">
                <a16:creationId xmlns:a16="http://schemas.microsoft.com/office/drawing/2014/main" id="{3626733C-973E-914C-F950-4DED8355AEF9}"/>
              </a:ext>
            </a:extLst>
          </p:cNvPr>
          <p:cNvSpPr txBox="1"/>
          <p:nvPr userDrawn="1"/>
        </p:nvSpPr>
        <p:spPr>
          <a:xfrm>
            <a:off x="1853598" y="1710252"/>
            <a:ext cx="709636" cy="33855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Automated data entry</a:t>
            </a:r>
          </a:p>
        </p:txBody>
      </p:sp>
      <p:sp>
        <p:nvSpPr>
          <p:cNvPr id="233" name="TextBox 232">
            <a:extLst>
              <a:ext uri="{FF2B5EF4-FFF2-40B4-BE49-F238E27FC236}">
                <a16:creationId xmlns:a16="http://schemas.microsoft.com/office/drawing/2014/main" id="{D88D93AC-C127-461F-7DD5-71F80219F028}"/>
              </a:ext>
            </a:extLst>
          </p:cNvPr>
          <p:cNvSpPr txBox="1"/>
          <p:nvPr userDrawn="1"/>
        </p:nvSpPr>
        <p:spPr>
          <a:xfrm>
            <a:off x="2560143" y="1710252"/>
            <a:ext cx="709636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Automation</a:t>
            </a:r>
          </a:p>
        </p:txBody>
      </p:sp>
      <p:sp>
        <p:nvSpPr>
          <p:cNvPr id="235" name="TextBox 234">
            <a:extLst>
              <a:ext uri="{FF2B5EF4-FFF2-40B4-BE49-F238E27FC236}">
                <a16:creationId xmlns:a16="http://schemas.microsoft.com/office/drawing/2014/main" id="{911D7E45-1DA8-7F8A-190C-D29F2CD1B282}"/>
              </a:ext>
            </a:extLst>
          </p:cNvPr>
          <p:cNvSpPr txBox="1"/>
          <p:nvPr userDrawn="1"/>
        </p:nvSpPr>
        <p:spPr>
          <a:xfrm>
            <a:off x="3266688" y="1710252"/>
            <a:ext cx="709636" cy="33855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Background</a:t>
            </a:r>
            <a:br>
              <a:rPr lang="en-US" sz="800">
                <a:solidFill>
                  <a:schemeClr val="bg1"/>
                </a:solidFill>
              </a:rPr>
            </a:br>
            <a:r>
              <a:rPr lang="en-US" sz="800">
                <a:solidFill>
                  <a:schemeClr val="bg1"/>
                </a:solidFill>
              </a:rPr>
              <a:t>automation</a:t>
            </a:r>
          </a:p>
        </p:txBody>
      </p:sp>
      <p:sp>
        <p:nvSpPr>
          <p:cNvPr id="237" name="TextBox 236">
            <a:extLst>
              <a:ext uri="{FF2B5EF4-FFF2-40B4-BE49-F238E27FC236}">
                <a16:creationId xmlns:a16="http://schemas.microsoft.com/office/drawing/2014/main" id="{0C3D5B44-84AE-413C-FDA4-3623F6284D1F}"/>
              </a:ext>
            </a:extLst>
          </p:cNvPr>
          <p:cNvSpPr txBox="1"/>
          <p:nvPr userDrawn="1"/>
        </p:nvSpPr>
        <p:spPr>
          <a:xfrm>
            <a:off x="3973233" y="1710252"/>
            <a:ext cx="709636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Big scale</a:t>
            </a:r>
          </a:p>
        </p:txBody>
      </p:sp>
      <p:sp>
        <p:nvSpPr>
          <p:cNvPr id="239" name="TextBox 238">
            <a:extLst>
              <a:ext uri="{FF2B5EF4-FFF2-40B4-BE49-F238E27FC236}">
                <a16:creationId xmlns:a16="http://schemas.microsoft.com/office/drawing/2014/main" id="{A4AA4B76-4B79-8FC8-0747-9B42E5A0CC6C}"/>
              </a:ext>
            </a:extLst>
          </p:cNvPr>
          <p:cNvSpPr txBox="1"/>
          <p:nvPr userDrawn="1"/>
        </p:nvSpPr>
        <p:spPr>
          <a:xfrm>
            <a:off x="4679778" y="1710252"/>
            <a:ext cx="709636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Bookmark</a:t>
            </a:r>
          </a:p>
        </p:txBody>
      </p:sp>
      <p:sp>
        <p:nvSpPr>
          <p:cNvPr id="241" name="TextBox 240">
            <a:extLst>
              <a:ext uri="{FF2B5EF4-FFF2-40B4-BE49-F238E27FC236}">
                <a16:creationId xmlns:a16="http://schemas.microsoft.com/office/drawing/2014/main" id="{D65E2862-FBD2-E5A7-9A3D-CF978A9DA2B9}"/>
              </a:ext>
            </a:extLst>
          </p:cNvPr>
          <p:cNvSpPr txBox="1"/>
          <p:nvPr userDrawn="1"/>
        </p:nvSpPr>
        <p:spPr>
          <a:xfrm>
            <a:off x="5386323" y="1710252"/>
            <a:ext cx="709636" cy="33855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Business partner alt 2</a:t>
            </a:r>
          </a:p>
        </p:txBody>
      </p:sp>
      <p:sp>
        <p:nvSpPr>
          <p:cNvPr id="243" name="TextBox 242">
            <a:extLst>
              <a:ext uri="{FF2B5EF4-FFF2-40B4-BE49-F238E27FC236}">
                <a16:creationId xmlns:a16="http://schemas.microsoft.com/office/drawing/2014/main" id="{A66A8ED0-618F-E2D5-7B8B-5CADC3F308F2}"/>
              </a:ext>
            </a:extLst>
          </p:cNvPr>
          <p:cNvSpPr txBox="1"/>
          <p:nvPr userDrawn="1"/>
        </p:nvSpPr>
        <p:spPr>
          <a:xfrm>
            <a:off x="6092868" y="1710252"/>
            <a:ext cx="709636" cy="33855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Business partner alt</a:t>
            </a:r>
          </a:p>
        </p:txBody>
      </p:sp>
      <p:sp>
        <p:nvSpPr>
          <p:cNvPr id="245" name="TextBox 244">
            <a:extLst>
              <a:ext uri="{FF2B5EF4-FFF2-40B4-BE49-F238E27FC236}">
                <a16:creationId xmlns:a16="http://schemas.microsoft.com/office/drawing/2014/main" id="{5F5C8453-F2AB-C88A-2D64-477122A17ADF}"/>
              </a:ext>
            </a:extLst>
          </p:cNvPr>
          <p:cNvSpPr txBox="1"/>
          <p:nvPr userDrawn="1"/>
        </p:nvSpPr>
        <p:spPr>
          <a:xfrm>
            <a:off x="6799413" y="1710252"/>
            <a:ext cx="709636" cy="33855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Business </a:t>
            </a:r>
            <a:r>
              <a:rPr lang="en-US" sz="800" err="1">
                <a:solidFill>
                  <a:schemeClr val="bg1"/>
                </a:solidFill>
              </a:rPr>
              <a:t>partnerup</a:t>
            </a:r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247" name="TextBox 246">
            <a:extLst>
              <a:ext uri="{FF2B5EF4-FFF2-40B4-BE49-F238E27FC236}">
                <a16:creationId xmlns:a16="http://schemas.microsoft.com/office/drawing/2014/main" id="{0B25133F-E74F-B04A-084D-B011DCFFDE15}"/>
              </a:ext>
            </a:extLst>
          </p:cNvPr>
          <p:cNvSpPr txBox="1"/>
          <p:nvPr userDrawn="1"/>
        </p:nvSpPr>
        <p:spPr>
          <a:xfrm>
            <a:off x="7505958" y="1710252"/>
            <a:ext cx="709636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Certification</a:t>
            </a:r>
          </a:p>
        </p:txBody>
      </p:sp>
      <p:sp>
        <p:nvSpPr>
          <p:cNvPr id="249" name="TextBox 248">
            <a:extLst>
              <a:ext uri="{FF2B5EF4-FFF2-40B4-BE49-F238E27FC236}">
                <a16:creationId xmlns:a16="http://schemas.microsoft.com/office/drawing/2014/main" id="{219207F7-E896-A943-04ED-E43589171FF8}"/>
              </a:ext>
            </a:extLst>
          </p:cNvPr>
          <p:cNvSpPr txBox="1"/>
          <p:nvPr userDrawn="1"/>
        </p:nvSpPr>
        <p:spPr>
          <a:xfrm>
            <a:off x="8212503" y="1710252"/>
            <a:ext cx="709636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Chart</a:t>
            </a:r>
          </a:p>
        </p:txBody>
      </p:sp>
      <p:sp>
        <p:nvSpPr>
          <p:cNvPr id="251" name="TextBox 250">
            <a:extLst>
              <a:ext uri="{FF2B5EF4-FFF2-40B4-BE49-F238E27FC236}">
                <a16:creationId xmlns:a16="http://schemas.microsoft.com/office/drawing/2014/main" id="{A53CF8A3-B4B7-DA5D-69A4-0AC8026A2D51}"/>
              </a:ext>
            </a:extLst>
          </p:cNvPr>
          <p:cNvSpPr txBox="1"/>
          <p:nvPr userDrawn="1"/>
        </p:nvSpPr>
        <p:spPr>
          <a:xfrm>
            <a:off x="8919048" y="1710252"/>
            <a:ext cx="709636" cy="33855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Course foundation 2</a:t>
            </a:r>
          </a:p>
        </p:txBody>
      </p:sp>
      <p:sp>
        <p:nvSpPr>
          <p:cNvPr id="253" name="TextBox 252">
            <a:extLst>
              <a:ext uri="{FF2B5EF4-FFF2-40B4-BE49-F238E27FC236}">
                <a16:creationId xmlns:a16="http://schemas.microsoft.com/office/drawing/2014/main" id="{35F53499-501C-A50B-3720-0C085F287A0C}"/>
              </a:ext>
            </a:extLst>
          </p:cNvPr>
          <p:cNvSpPr txBox="1"/>
          <p:nvPr userDrawn="1"/>
        </p:nvSpPr>
        <p:spPr>
          <a:xfrm>
            <a:off x="9625593" y="1710252"/>
            <a:ext cx="709636" cy="33855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Course foundation 3</a:t>
            </a:r>
          </a:p>
        </p:txBody>
      </p:sp>
      <p:sp>
        <p:nvSpPr>
          <p:cNvPr id="255" name="TextBox 254">
            <a:extLst>
              <a:ext uri="{FF2B5EF4-FFF2-40B4-BE49-F238E27FC236}">
                <a16:creationId xmlns:a16="http://schemas.microsoft.com/office/drawing/2014/main" id="{B741B6B7-FD5F-C05A-A071-EB8EAD000290}"/>
              </a:ext>
            </a:extLst>
          </p:cNvPr>
          <p:cNvSpPr txBox="1"/>
          <p:nvPr userDrawn="1"/>
        </p:nvSpPr>
        <p:spPr>
          <a:xfrm>
            <a:off x="10332138" y="1710252"/>
            <a:ext cx="709636" cy="33855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Course foundation</a:t>
            </a:r>
          </a:p>
        </p:txBody>
      </p:sp>
      <p:sp>
        <p:nvSpPr>
          <p:cNvPr id="257" name="TextBox 256">
            <a:extLst>
              <a:ext uri="{FF2B5EF4-FFF2-40B4-BE49-F238E27FC236}">
                <a16:creationId xmlns:a16="http://schemas.microsoft.com/office/drawing/2014/main" id="{1F6F3398-D490-0351-6C1D-9716DBFD5841}"/>
              </a:ext>
            </a:extLst>
          </p:cNvPr>
          <p:cNvSpPr txBox="1"/>
          <p:nvPr userDrawn="1"/>
        </p:nvSpPr>
        <p:spPr>
          <a:xfrm>
            <a:off x="11038681" y="1710252"/>
            <a:ext cx="709636" cy="33855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Web </a:t>
            </a:r>
            <a:br>
              <a:rPr lang="en-US" sz="800">
                <a:solidFill>
                  <a:schemeClr val="bg1"/>
                </a:solidFill>
              </a:rPr>
            </a:br>
            <a:r>
              <a:rPr lang="en-US" sz="800">
                <a:solidFill>
                  <a:schemeClr val="bg1"/>
                </a:solidFill>
              </a:rPr>
              <a:t>expert</a:t>
            </a:r>
          </a:p>
        </p:txBody>
      </p:sp>
      <p:sp>
        <p:nvSpPr>
          <p:cNvPr id="259" name="TextBox 258">
            <a:extLst>
              <a:ext uri="{FF2B5EF4-FFF2-40B4-BE49-F238E27FC236}">
                <a16:creationId xmlns:a16="http://schemas.microsoft.com/office/drawing/2014/main" id="{D303820A-2D7A-D43A-4DFF-9614A08B1F4B}"/>
              </a:ext>
            </a:extLst>
          </p:cNvPr>
          <p:cNvSpPr txBox="1"/>
          <p:nvPr userDrawn="1"/>
        </p:nvSpPr>
        <p:spPr>
          <a:xfrm>
            <a:off x="440508" y="2532310"/>
            <a:ext cx="709636" cy="33855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Course-orchestrator</a:t>
            </a:r>
          </a:p>
        </p:txBody>
      </p:sp>
      <p:sp>
        <p:nvSpPr>
          <p:cNvPr id="261" name="TextBox 260">
            <a:extLst>
              <a:ext uri="{FF2B5EF4-FFF2-40B4-BE49-F238E27FC236}">
                <a16:creationId xmlns:a16="http://schemas.microsoft.com/office/drawing/2014/main" id="{D971E0F7-4308-0985-CFAF-0623B81CCB9D}"/>
              </a:ext>
            </a:extLst>
          </p:cNvPr>
          <p:cNvSpPr txBox="1"/>
          <p:nvPr userDrawn="1"/>
        </p:nvSpPr>
        <p:spPr>
          <a:xfrm>
            <a:off x="1147053" y="2532310"/>
            <a:ext cx="709636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CRM</a:t>
            </a:r>
          </a:p>
        </p:txBody>
      </p:sp>
      <p:sp>
        <p:nvSpPr>
          <p:cNvPr id="263" name="TextBox 262">
            <a:extLst>
              <a:ext uri="{FF2B5EF4-FFF2-40B4-BE49-F238E27FC236}">
                <a16:creationId xmlns:a16="http://schemas.microsoft.com/office/drawing/2014/main" id="{F2BD3C5E-2571-8B2C-0526-509C3B16E4EA}"/>
              </a:ext>
            </a:extLst>
          </p:cNvPr>
          <p:cNvSpPr txBox="1"/>
          <p:nvPr userDrawn="1"/>
        </p:nvSpPr>
        <p:spPr>
          <a:xfrm>
            <a:off x="1853598" y="2532310"/>
            <a:ext cx="709636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Crown</a:t>
            </a:r>
          </a:p>
        </p:txBody>
      </p:sp>
      <p:sp>
        <p:nvSpPr>
          <p:cNvPr id="265" name="TextBox 264">
            <a:extLst>
              <a:ext uri="{FF2B5EF4-FFF2-40B4-BE49-F238E27FC236}">
                <a16:creationId xmlns:a16="http://schemas.microsoft.com/office/drawing/2014/main" id="{2987655D-5622-6E12-5C54-20F38C50DB24}"/>
              </a:ext>
            </a:extLst>
          </p:cNvPr>
          <p:cNvSpPr txBox="1"/>
          <p:nvPr userDrawn="1"/>
        </p:nvSpPr>
        <p:spPr>
          <a:xfrm>
            <a:off x="2560143" y="2532310"/>
            <a:ext cx="709636" cy="33855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Cultural acceptance</a:t>
            </a:r>
          </a:p>
        </p:txBody>
      </p:sp>
      <p:sp>
        <p:nvSpPr>
          <p:cNvPr id="267" name="TextBox 266">
            <a:extLst>
              <a:ext uri="{FF2B5EF4-FFF2-40B4-BE49-F238E27FC236}">
                <a16:creationId xmlns:a16="http://schemas.microsoft.com/office/drawing/2014/main" id="{CAAE7E04-10C1-C539-7D9D-C2546EB679FC}"/>
              </a:ext>
            </a:extLst>
          </p:cNvPr>
          <p:cNvSpPr txBox="1"/>
          <p:nvPr userDrawn="1"/>
        </p:nvSpPr>
        <p:spPr>
          <a:xfrm>
            <a:off x="3266688" y="2532310"/>
            <a:ext cx="709636" cy="33855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Desktop program</a:t>
            </a:r>
          </a:p>
        </p:txBody>
      </p:sp>
      <p:sp>
        <p:nvSpPr>
          <p:cNvPr id="269" name="TextBox 268">
            <a:extLst>
              <a:ext uri="{FF2B5EF4-FFF2-40B4-BE49-F238E27FC236}">
                <a16:creationId xmlns:a16="http://schemas.microsoft.com/office/drawing/2014/main" id="{28289255-A7FD-3E7E-6FEE-74F6C05B9A1E}"/>
              </a:ext>
            </a:extLst>
          </p:cNvPr>
          <p:cNvSpPr txBox="1"/>
          <p:nvPr userDrawn="1"/>
        </p:nvSpPr>
        <p:spPr>
          <a:xfrm>
            <a:off x="3973233" y="2532310"/>
            <a:ext cx="709636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Decrease</a:t>
            </a:r>
          </a:p>
        </p:txBody>
      </p:sp>
      <p:sp>
        <p:nvSpPr>
          <p:cNvPr id="271" name="TextBox 270">
            <a:extLst>
              <a:ext uri="{FF2B5EF4-FFF2-40B4-BE49-F238E27FC236}">
                <a16:creationId xmlns:a16="http://schemas.microsoft.com/office/drawing/2014/main" id="{963DEA01-4CC6-2BF1-957C-4A2689D84B4E}"/>
              </a:ext>
            </a:extLst>
          </p:cNvPr>
          <p:cNvSpPr txBox="1"/>
          <p:nvPr userDrawn="1"/>
        </p:nvSpPr>
        <p:spPr>
          <a:xfrm>
            <a:off x="4679778" y="2532310"/>
            <a:ext cx="709636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Document</a:t>
            </a:r>
          </a:p>
        </p:txBody>
      </p:sp>
      <p:sp>
        <p:nvSpPr>
          <p:cNvPr id="273" name="TextBox 272">
            <a:extLst>
              <a:ext uri="{FF2B5EF4-FFF2-40B4-BE49-F238E27FC236}">
                <a16:creationId xmlns:a16="http://schemas.microsoft.com/office/drawing/2014/main" id="{38BB3C19-7AD5-FFE8-138A-15FF868093E2}"/>
              </a:ext>
            </a:extLst>
          </p:cNvPr>
          <p:cNvSpPr txBox="1"/>
          <p:nvPr userDrawn="1"/>
        </p:nvSpPr>
        <p:spPr>
          <a:xfrm>
            <a:off x="5386323" y="2532310"/>
            <a:ext cx="709636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Done</a:t>
            </a:r>
          </a:p>
        </p:txBody>
      </p:sp>
      <p:sp>
        <p:nvSpPr>
          <p:cNvPr id="275" name="TextBox 274">
            <a:extLst>
              <a:ext uri="{FF2B5EF4-FFF2-40B4-BE49-F238E27FC236}">
                <a16:creationId xmlns:a16="http://schemas.microsoft.com/office/drawing/2014/main" id="{4F724678-D382-501C-ED3E-16D47603EB4E}"/>
              </a:ext>
            </a:extLst>
          </p:cNvPr>
          <p:cNvSpPr txBox="1"/>
          <p:nvPr userDrawn="1"/>
        </p:nvSpPr>
        <p:spPr>
          <a:xfrm>
            <a:off x="6092868" y="2532310"/>
            <a:ext cx="709636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Ease of use</a:t>
            </a:r>
          </a:p>
        </p:txBody>
      </p:sp>
      <p:sp>
        <p:nvSpPr>
          <p:cNvPr id="277" name="TextBox 276">
            <a:extLst>
              <a:ext uri="{FF2B5EF4-FFF2-40B4-BE49-F238E27FC236}">
                <a16:creationId xmlns:a16="http://schemas.microsoft.com/office/drawing/2014/main" id="{3A1F16D4-EBC5-FB99-D2F9-B58090B0A99E}"/>
              </a:ext>
            </a:extLst>
          </p:cNvPr>
          <p:cNvSpPr txBox="1"/>
          <p:nvPr userDrawn="1"/>
        </p:nvSpPr>
        <p:spPr>
          <a:xfrm>
            <a:off x="6799413" y="2532310"/>
            <a:ext cx="709636" cy="33855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First reply </a:t>
            </a:r>
            <a:br>
              <a:rPr lang="en-US" sz="800">
                <a:solidFill>
                  <a:schemeClr val="bg1"/>
                </a:solidFill>
              </a:rPr>
            </a:br>
            <a:r>
              <a:rPr lang="en-US" sz="800">
                <a:solidFill>
                  <a:schemeClr val="bg1"/>
                </a:solidFill>
              </a:rPr>
              <a:t>by email</a:t>
            </a:r>
          </a:p>
        </p:txBody>
      </p:sp>
      <p:sp>
        <p:nvSpPr>
          <p:cNvPr id="278" name="TextBox 277">
            <a:extLst>
              <a:ext uri="{FF2B5EF4-FFF2-40B4-BE49-F238E27FC236}">
                <a16:creationId xmlns:a16="http://schemas.microsoft.com/office/drawing/2014/main" id="{82CA94A4-889A-AA35-922F-A0D54FE441A7}"/>
              </a:ext>
            </a:extLst>
          </p:cNvPr>
          <p:cNvSpPr txBox="1"/>
          <p:nvPr userDrawn="1"/>
        </p:nvSpPr>
        <p:spPr>
          <a:xfrm>
            <a:off x="7505958" y="2532310"/>
            <a:ext cx="709636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Flexibility</a:t>
            </a:r>
          </a:p>
        </p:txBody>
      </p:sp>
      <p:sp>
        <p:nvSpPr>
          <p:cNvPr id="279" name="TextBox 278">
            <a:extLst>
              <a:ext uri="{FF2B5EF4-FFF2-40B4-BE49-F238E27FC236}">
                <a16:creationId xmlns:a16="http://schemas.microsoft.com/office/drawing/2014/main" id="{58D13A79-8AAE-4AE3-DC8B-688A465F6C16}"/>
              </a:ext>
            </a:extLst>
          </p:cNvPr>
          <p:cNvSpPr txBox="1"/>
          <p:nvPr userDrawn="1"/>
        </p:nvSpPr>
        <p:spPr>
          <a:xfrm>
            <a:off x="8212503" y="2532310"/>
            <a:ext cx="709636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Goals</a:t>
            </a:r>
          </a:p>
        </p:txBody>
      </p:sp>
      <p:sp>
        <p:nvSpPr>
          <p:cNvPr id="280" name="TextBox 279">
            <a:extLst>
              <a:ext uri="{FF2B5EF4-FFF2-40B4-BE49-F238E27FC236}">
                <a16:creationId xmlns:a16="http://schemas.microsoft.com/office/drawing/2014/main" id="{2083EE1A-DFD2-F594-CBF7-27E8E392D346}"/>
              </a:ext>
            </a:extLst>
          </p:cNvPr>
          <p:cNvSpPr txBox="1"/>
          <p:nvPr userDrawn="1"/>
        </p:nvSpPr>
        <p:spPr>
          <a:xfrm>
            <a:off x="8919048" y="2532310"/>
            <a:ext cx="709636" cy="33855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Group of </a:t>
            </a:r>
            <a:br>
              <a:rPr lang="en-US" sz="800">
                <a:solidFill>
                  <a:schemeClr val="bg1"/>
                </a:solidFill>
              </a:rPr>
            </a:br>
            <a:r>
              <a:rPr lang="en-US" sz="800">
                <a:solidFill>
                  <a:schemeClr val="bg1"/>
                </a:solidFill>
              </a:rPr>
              <a:t>users</a:t>
            </a:r>
          </a:p>
        </p:txBody>
      </p:sp>
      <p:sp>
        <p:nvSpPr>
          <p:cNvPr id="281" name="TextBox 280">
            <a:extLst>
              <a:ext uri="{FF2B5EF4-FFF2-40B4-BE49-F238E27FC236}">
                <a16:creationId xmlns:a16="http://schemas.microsoft.com/office/drawing/2014/main" id="{673A888C-D4C1-8A52-243D-CC25FFF36A35}"/>
              </a:ext>
            </a:extLst>
          </p:cNvPr>
          <p:cNvSpPr txBox="1"/>
          <p:nvPr userDrawn="1"/>
        </p:nvSpPr>
        <p:spPr>
          <a:xfrm>
            <a:off x="9625593" y="2532310"/>
            <a:ext cx="709636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Growth</a:t>
            </a:r>
          </a:p>
        </p:txBody>
      </p:sp>
      <p:sp>
        <p:nvSpPr>
          <p:cNvPr id="282" name="TextBox 281">
            <a:extLst>
              <a:ext uri="{FF2B5EF4-FFF2-40B4-BE49-F238E27FC236}">
                <a16:creationId xmlns:a16="http://schemas.microsoft.com/office/drawing/2014/main" id="{FB6DD5B5-1F7F-2279-F01E-574DF505C9AE}"/>
              </a:ext>
            </a:extLst>
          </p:cNvPr>
          <p:cNvSpPr txBox="1"/>
          <p:nvPr userDrawn="1"/>
        </p:nvSpPr>
        <p:spPr>
          <a:xfrm>
            <a:off x="10332138" y="2532310"/>
            <a:ext cx="709636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Heart</a:t>
            </a:r>
          </a:p>
        </p:txBody>
      </p:sp>
      <p:sp>
        <p:nvSpPr>
          <p:cNvPr id="283" name="TextBox 282">
            <a:extLst>
              <a:ext uri="{FF2B5EF4-FFF2-40B4-BE49-F238E27FC236}">
                <a16:creationId xmlns:a16="http://schemas.microsoft.com/office/drawing/2014/main" id="{A5D6616A-77B0-DBAB-E910-D7E992E5CC91}"/>
              </a:ext>
            </a:extLst>
          </p:cNvPr>
          <p:cNvSpPr txBox="1"/>
          <p:nvPr userDrawn="1"/>
        </p:nvSpPr>
        <p:spPr>
          <a:xfrm>
            <a:off x="11038681" y="2532310"/>
            <a:ext cx="709636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Warning</a:t>
            </a:r>
          </a:p>
        </p:txBody>
      </p:sp>
      <p:sp>
        <p:nvSpPr>
          <p:cNvPr id="284" name="TextBox 283">
            <a:extLst>
              <a:ext uri="{FF2B5EF4-FFF2-40B4-BE49-F238E27FC236}">
                <a16:creationId xmlns:a16="http://schemas.microsoft.com/office/drawing/2014/main" id="{1909FEFD-A09A-45F9-ECC0-0D2D7A40A261}"/>
              </a:ext>
            </a:extLst>
          </p:cNvPr>
          <p:cNvSpPr txBox="1"/>
          <p:nvPr userDrawn="1"/>
        </p:nvSpPr>
        <p:spPr>
          <a:xfrm>
            <a:off x="440508" y="3381006"/>
            <a:ext cx="709636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Home</a:t>
            </a:r>
          </a:p>
        </p:txBody>
      </p:sp>
      <p:sp>
        <p:nvSpPr>
          <p:cNvPr id="285" name="TextBox 284">
            <a:extLst>
              <a:ext uri="{FF2B5EF4-FFF2-40B4-BE49-F238E27FC236}">
                <a16:creationId xmlns:a16="http://schemas.microsoft.com/office/drawing/2014/main" id="{B861A6C2-C20A-0806-56F3-07AFED57847B}"/>
              </a:ext>
            </a:extLst>
          </p:cNvPr>
          <p:cNvSpPr txBox="1"/>
          <p:nvPr userDrawn="1"/>
        </p:nvSpPr>
        <p:spPr>
          <a:xfrm>
            <a:off x="1147053" y="3381006"/>
            <a:ext cx="709636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Hourglass</a:t>
            </a:r>
          </a:p>
        </p:txBody>
      </p:sp>
      <p:sp>
        <p:nvSpPr>
          <p:cNvPr id="286" name="TextBox 285">
            <a:extLst>
              <a:ext uri="{FF2B5EF4-FFF2-40B4-BE49-F238E27FC236}">
                <a16:creationId xmlns:a16="http://schemas.microsoft.com/office/drawing/2014/main" id="{9C5A04D6-CA3F-C89E-49BA-7E471AE761BE}"/>
              </a:ext>
            </a:extLst>
          </p:cNvPr>
          <p:cNvSpPr txBox="1"/>
          <p:nvPr userDrawn="1"/>
        </p:nvSpPr>
        <p:spPr>
          <a:xfrm>
            <a:off x="1853598" y="3381006"/>
            <a:ext cx="709636" cy="33855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Icon Name</a:t>
            </a:r>
          </a:p>
          <a:p>
            <a:pPr algn="ctr"/>
            <a:r>
              <a:rPr lang="en-US" sz="80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287" name="TextBox 286">
            <a:extLst>
              <a:ext uri="{FF2B5EF4-FFF2-40B4-BE49-F238E27FC236}">
                <a16:creationId xmlns:a16="http://schemas.microsoft.com/office/drawing/2014/main" id="{AD569A71-CD28-C94F-ADF0-2C55B6B24264}"/>
              </a:ext>
            </a:extLst>
          </p:cNvPr>
          <p:cNvSpPr txBox="1"/>
          <p:nvPr userDrawn="1"/>
        </p:nvSpPr>
        <p:spPr>
          <a:xfrm>
            <a:off x="2560143" y="3381006"/>
            <a:ext cx="709636" cy="33855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Icon Name</a:t>
            </a:r>
          </a:p>
          <a:p>
            <a:pPr algn="ctr"/>
            <a:r>
              <a:rPr lang="en-US" sz="80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288" name="TextBox 287">
            <a:extLst>
              <a:ext uri="{FF2B5EF4-FFF2-40B4-BE49-F238E27FC236}">
                <a16:creationId xmlns:a16="http://schemas.microsoft.com/office/drawing/2014/main" id="{6D89861E-B4AE-23EF-4237-383AC6935D92}"/>
              </a:ext>
            </a:extLst>
          </p:cNvPr>
          <p:cNvSpPr txBox="1"/>
          <p:nvPr userDrawn="1"/>
        </p:nvSpPr>
        <p:spPr>
          <a:xfrm>
            <a:off x="3266688" y="3381006"/>
            <a:ext cx="709636" cy="33855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Icon Name</a:t>
            </a:r>
          </a:p>
          <a:p>
            <a:pPr algn="ctr"/>
            <a:r>
              <a:rPr lang="en-US" sz="80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289" name="TextBox 288">
            <a:extLst>
              <a:ext uri="{FF2B5EF4-FFF2-40B4-BE49-F238E27FC236}">
                <a16:creationId xmlns:a16="http://schemas.microsoft.com/office/drawing/2014/main" id="{57D4B19A-1242-CF8C-DEEF-DF21A8AECDD2}"/>
              </a:ext>
            </a:extLst>
          </p:cNvPr>
          <p:cNvSpPr txBox="1"/>
          <p:nvPr userDrawn="1"/>
        </p:nvSpPr>
        <p:spPr>
          <a:xfrm>
            <a:off x="3973233" y="3381006"/>
            <a:ext cx="709636" cy="33855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Icon Name</a:t>
            </a:r>
          </a:p>
          <a:p>
            <a:pPr algn="ctr"/>
            <a:r>
              <a:rPr lang="en-US" sz="80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290" name="TextBox 289">
            <a:extLst>
              <a:ext uri="{FF2B5EF4-FFF2-40B4-BE49-F238E27FC236}">
                <a16:creationId xmlns:a16="http://schemas.microsoft.com/office/drawing/2014/main" id="{9177A42D-D643-F175-61FE-070F20C569E7}"/>
              </a:ext>
            </a:extLst>
          </p:cNvPr>
          <p:cNvSpPr txBox="1"/>
          <p:nvPr userDrawn="1"/>
        </p:nvSpPr>
        <p:spPr>
          <a:xfrm>
            <a:off x="4679778" y="3381006"/>
            <a:ext cx="709636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Lock open</a:t>
            </a:r>
          </a:p>
        </p:txBody>
      </p:sp>
      <p:sp>
        <p:nvSpPr>
          <p:cNvPr id="291" name="TextBox 290">
            <a:extLst>
              <a:ext uri="{FF2B5EF4-FFF2-40B4-BE49-F238E27FC236}">
                <a16:creationId xmlns:a16="http://schemas.microsoft.com/office/drawing/2014/main" id="{3FC25E0A-33BF-C40E-ECE1-5BBC8FB3C9C3}"/>
              </a:ext>
            </a:extLst>
          </p:cNvPr>
          <p:cNvSpPr txBox="1"/>
          <p:nvPr userDrawn="1"/>
        </p:nvSpPr>
        <p:spPr>
          <a:xfrm>
            <a:off x="5386323" y="3381006"/>
            <a:ext cx="709636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Lock</a:t>
            </a:r>
          </a:p>
        </p:txBody>
      </p:sp>
      <p:sp>
        <p:nvSpPr>
          <p:cNvPr id="292" name="TextBox 291">
            <a:extLst>
              <a:ext uri="{FF2B5EF4-FFF2-40B4-BE49-F238E27FC236}">
                <a16:creationId xmlns:a16="http://schemas.microsoft.com/office/drawing/2014/main" id="{F1E49F81-0CF4-F3F8-A5F6-55664B6AADEC}"/>
              </a:ext>
            </a:extLst>
          </p:cNvPr>
          <p:cNvSpPr txBox="1"/>
          <p:nvPr userDrawn="1"/>
        </p:nvSpPr>
        <p:spPr>
          <a:xfrm>
            <a:off x="6092868" y="3381006"/>
            <a:ext cx="709636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Low cost 2</a:t>
            </a:r>
          </a:p>
        </p:txBody>
      </p:sp>
      <p:sp>
        <p:nvSpPr>
          <p:cNvPr id="293" name="TextBox 292">
            <a:extLst>
              <a:ext uri="{FF2B5EF4-FFF2-40B4-BE49-F238E27FC236}">
                <a16:creationId xmlns:a16="http://schemas.microsoft.com/office/drawing/2014/main" id="{4BE552D9-EF9D-BCF2-8E9B-E31BA47D0154}"/>
              </a:ext>
            </a:extLst>
          </p:cNvPr>
          <p:cNvSpPr txBox="1"/>
          <p:nvPr userDrawn="1"/>
        </p:nvSpPr>
        <p:spPr>
          <a:xfrm>
            <a:off x="6799413" y="3381006"/>
            <a:ext cx="709636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Low Cost</a:t>
            </a:r>
          </a:p>
        </p:txBody>
      </p:sp>
      <p:sp>
        <p:nvSpPr>
          <p:cNvPr id="294" name="TextBox 293">
            <a:extLst>
              <a:ext uri="{FF2B5EF4-FFF2-40B4-BE49-F238E27FC236}">
                <a16:creationId xmlns:a16="http://schemas.microsoft.com/office/drawing/2014/main" id="{58C7BC8D-9603-E2AA-EA97-B0BAF377F81B}"/>
              </a:ext>
            </a:extLst>
          </p:cNvPr>
          <p:cNvSpPr txBox="1"/>
          <p:nvPr userDrawn="1"/>
        </p:nvSpPr>
        <p:spPr>
          <a:xfrm>
            <a:off x="7505958" y="3381006"/>
            <a:ext cx="709636" cy="33855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Macro recording</a:t>
            </a:r>
          </a:p>
        </p:txBody>
      </p:sp>
      <p:sp>
        <p:nvSpPr>
          <p:cNvPr id="295" name="TextBox 294">
            <a:extLst>
              <a:ext uri="{FF2B5EF4-FFF2-40B4-BE49-F238E27FC236}">
                <a16:creationId xmlns:a16="http://schemas.microsoft.com/office/drawing/2014/main" id="{AEA58289-061A-9F88-5B05-05CC623858C3}"/>
              </a:ext>
            </a:extLst>
          </p:cNvPr>
          <p:cNvSpPr txBox="1"/>
          <p:nvPr userDrawn="1"/>
        </p:nvSpPr>
        <p:spPr>
          <a:xfrm>
            <a:off x="8212503" y="3381006"/>
            <a:ext cx="709636" cy="33855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Manage documents</a:t>
            </a:r>
          </a:p>
        </p:txBody>
      </p:sp>
      <p:sp>
        <p:nvSpPr>
          <p:cNvPr id="296" name="TextBox 295">
            <a:extLst>
              <a:ext uri="{FF2B5EF4-FFF2-40B4-BE49-F238E27FC236}">
                <a16:creationId xmlns:a16="http://schemas.microsoft.com/office/drawing/2014/main" id="{40846E98-0B7A-A2EC-2895-93821B4E99F4}"/>
              </a:ext>
            </a:extLst>
          </p:cNvPr>
          <p:cNvSpPr txBox="1"/>
          <p:nvPr userDrawn="1"/>
        </p:nvSpPr>
        <p:spPr>
          <a:xfrm>
            <a:off x="8919048" y="3381006"/>
            <a:ext cx="709636" cy="33855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Managing </a:t>
            </a:r>
            <a:br>
              <a:rPr lang="en-US" sz="800">
                <a:solidFill>
                  <a:schemeClr val="bg1"/>
                </a:solidFill>
              </a:rPr>
            </a:br>
            <a:r>
              <a:rPr lang="en-US" sz="800">
                <a:solidFill>
                  <a:schemeClr val="bg1"/>
                </a:solidFill>
              </a:rPr>
              <a:t>alt</a:t>
            </a:r>
          </a:p>
        </p:txBody>
      </p:sp>
      <p:sp>
        <p:nvSpPr>
          <p:cNvPr id="297" name="TextBox 296">
            <a:extLst>
              <a:ext uri="{FF2B5EF4-FFF2-40B4-BE49-F238E27FC236}">
                <a16:creationId xmlns:a16="http://schemas.microsoft.com/office/drawing/2014/main" id="{EA8D4CE7-7463-5DD3-96F4-287DA690D160}"/>
              </a:ext>
            </a:extLst>
          </p:cNvPr>
          <p:cNvSpPr txBox="1"/>
          <p:nvPr userDrawn="1"/>
        </p:nvSpPr>
        <p:spPr>
          <a:xfrm>
            <a:off x="9625593" y="3381006"/>
            <a:ext cx="709636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Managing</a:t>
            </a:r>
          </a:p>
        </p:txBody>
      </p:sp>
      <p:sp>
        <p:nvSpPr>
          <p:cNvPr id="298" name="TextBox 297">
            <a:extLst>
              <a:ext uri="{FF2B5EF4-FFF2-40B4-BE49-F238E27FC236}">
                <a16:creationId xmlns:a16="http://schemas.microsoft.com/office/drawing/2014/main" id="{C3C7604A-4BBF-A213-2AE8-0978DB0BCB30}"/>
              </a:ext>
            </a:extLst>
          </p:cNvPr>
          <p:cNvSpPr txBox="1"/>
          <p:nvPr userDrawn="1"/>
        </p:nvSpPr>
        <p:spPr>
          <a:xfrm>
            <a:off x="10332138" y="3381006"/>
            <a:ext cx="709636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Map alt 2</a:t>
            </a:r>
          </a:p>
        </p:txBody>
      </p:sp>
      <p:sp>
        <p:nvSpPr>
          <p:cNvPr id="299" name="TextBox 298">
            <a:extLst>
              <a:ext uri="{FF2B5EF4-FFF2-40B4-BE49-F238E27FC236}">
                <a16:creationId xmlns:a16="http://schemas.microsoft.com/office/drawing/2014/main" id="{F847882F-7CC4-A60F-65F8-D983F6699DD2}"/>
              </a:ext>
            </a:extLst>
          </p:cNvPr>
          <p:cNvSpPr txBox="1"/>
          <p:nvPr userDrawn="1"/>
        </p:nvSpPr>
        <p:spPr>
          <a:xfrm>
            <a:off x="11038681" y="3381006"/>
            <a:ext cx="709636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Visibility on</a:t>
            </a:r>
          </a:p>
        </p:txBody>
      </p:sp>
      <p:sp>
        <p:nvSpPr>
          <p:cNvPr id="300" name="TextBox 299">
            <a:extLst>
              <a:ext uri="{FF2B5EF4-FFF2-40B4-BE49-F238E27FC236}">
                <a16:creationId xmlns:a16="http://schemas.microsoft.com/office/drawing/2014/main" id="{4FED2632-4549-9F61-7511-4FA0A82C8C13}"/>
              </a:ext>
            </a:extLst>
          </p:cNvPr>
          <p:cNvSpPr txBox="1"/>
          <p:nvPr userDrawn="1"/>
        </p:nvSpPr>
        <p:spPr>
          <a:xfrm>
            <a:off x="440508" y="4214791"/>
            <a:ext cx="709636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Map alt</a:t>
            </a:r>
          </a:p>
        </p:txBody>
      </p:sp>
      <p:sp>
        <p:nvSpPr>
          <p:cNvPr id="301" name="TextBox 300">
            <a:extLst>
              <a:ext uri="{FF2B5EF4-FFF2-40B4-BE49-F238E27FC236}">
                <a16:creationId xmlns:a16="http://schemas.microsoft.com/office/drawing/2014/main" id="{190FE4A3-72D2-9E6A-17D5-E472BF08BEFD}"/>
              </a:ext>
            </a:extLst>
          </p:cNvPr>
          <p:cNvSpPr txBox="1"/>
          <p:nvPr userDrawn="1"/>
        </p:nvSpPr>
        <p:spPr>
          <a:xfrm>
            <a:off x="1147053" y="4214791"/>
            <a:ext cx="709636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Map</a:t>
            </a:r>
          </a:p>
        </p:txBody>
      </p:sp>
      <p:sp>
        <p:nvSpPr>
          <p:cNvPr id="302" name="TextBox 301">
            <a:extLst>
              <a:ext uri="{FF2B5EF4-FFF2-40B4-BE49-F238E27FC236}">
                <a16:creationId xmlns:a16="http://schemas.microsoft.com/office/drawing/2014/main" id="{86E041A5-4BBC-5E73-AA85-08AA04BA1924}"/>
              </a:ext>
            </a:extLst>
          </p:cNvPr>
          <p:cNvSpPr txBox="1"/>
          <p:nvPr userDrawn="1"/>
        </p:nvSpPr>
        <p:spPr>
          <a:xfrm>
            <a:off x="1853598" y="4214791"/>
            <a:ext cx="709636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Media</a:t>
            </a:r>
          </a:p>
        </p:txBody>
      </p:sp>
      <p:sp>
        <p:nvSpPr>
          <p:cNvPr id="303" name="TextBox 302">
            <a:extLst>
              <a:ext uri="{FF2B5EF4-FFF2-40B4-BE49-F238E27FC236}">
                <a16:creationId xmlns:a16="http://schemas.microsoft.com/office/drawing/2014/main" id="{77C3B9BA-B845-903C-0D8F-533AB6A639C2}"/>
              </a:ext>
            </a:extLst>
          </p:cNvPr>
          <p:cNvSpPr txBox="1"/>
          <p:nvPr userDrawn="1"/>
        </p:nvSpPr>
        <p:spPr>
          <a:xfrm>
            <a:off x="2560143" y="4214791"/>
            <a:ext cx="709636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Pivot</a:t>
            </a:r>
          </a:p>
        </p:txBody>
      </p:sp>
      <p:sp>
        <p:nvSpPr>
          <p:cNvPr id="304" name="TextBox 303">
            <a:extLst>
              <a:ext uri="{FF2B5EF4-FFF2-40B4-BE49-F238E27FC236}">
                <a16:creationId xmlns:a16="http://schemas.microsoft.com/office/drawing/2014/main" id="{6F840A39-026C-C7E2-70C8-565A2B5DE0B6}"/>
              </a:ext>
            </a:extLst>
          </p:cNvPr>
          <p:cNvSpPr txBox="1"/>
          <p:nvPr userDrawn="1"/>
        </p:nvSpPr>
        <p:spPr>
          <a:xfrm>
            <a:off x="3266688" y="4214791"/>
            <a:ext cx="709636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Plugin</a:t>
            </a:r>
          </a:p>
        </p:txBody>
      </p:sp>
      <p:sp>
        <p:nvSpPr>
          <p:cNvPr id="305" name="TextBox 304">
            <a:extLst>
              <a:ext uri="{FF2B5EF4-FFF2-40B4-BE49-F238E27FC236}">
                <a16:creationId xmlns:a16="http://schemas.microsoft.com/office/drawing/2014/main" id="{83EE46A2-CEAB-4B50-BB39-DDFFF27A9F33}"/>
              </a:ext>
            </a:extLst>
          </p:cNvPr>
          <p:cNvSpPr txBox="1"/>
          <p:nvPr userDrawn="1"/>
        </p:nvSpPr>
        <p:spPr>
          <a:xfrm>
            <a:off x="3941377" y="4214791"/>
            <a:ext cx="773348" cy="33855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Process Identification alt</a:t>
            </a:r>
          </a:p>
        </p:txBody>
      </p:sp>
      <p:sp>
        <p:nvSpPr>
          <p:cNvPr id="306" name="TextBox 305">
            <a:extLst>
              <a:ext uri="{FF2B5EF4-FFF2-40B4-BE49-F238E27FC236}">
                <a16:creationId xmlns:a16="http://schemas.microsoft.com/office/drawing/2014/main" id="{70F81E11-7B35-E4DC-F20B-56E70E8EA873}"/>
              </a:ext>
            </a:extLst>
          </p:cNvPr>
          <p:cNvSpPr txBox="1"/>
          <p:nvPr userDrawn="1"/>
        </p:nvSpPr>
        <p:spPr>
          <a:xfrm>
            <a:off x="4679778" y="4214791"/>
            <a:ext cx="709636" cy="33855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Process Identification</a:t>
            </a:r>
          </a:p>
        </p:txBody>
      </p:sp>
      <p:sp>
        <p:nvSpPr>
          <p:cNvPr id="307" name="TextBox 306">
            <a:extLst>
              <a:ext uri="{FF2B5EF4-FFF2-40B4-BE49-F238E27FC236}">
                <a16:creationId xmlns:a16="http://schemas.microsoft.com/office/drawing/2014/main" id="{6C714EA3-437D-09AE-1C2C-15E140EAECA3}"/>
              </a:ext>
            </a:extLst>
          </p:cNvPr>
          <p:cNvSpPr txBox="1"/>
          <p:nvPr userDrawn="1"/>
        </p:nvSpPr>
        <p:spPr>
          <a:xfrm>
            <a:off x="5386323" y="4214791"/>
            <a:ext cx="709636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Project</a:t>
            </a:r>
          </a:p>
        </p:txBody>
      </p:sp>
      <p:sp>
        <p:nvSpPr>
          <p:cNvPr id="308" name="TextBox 307">
            <a:extLst>
              <a:ext uri="{FF2B5EF4-FFF2-40B4-BE49-F238E27FC236}">
                <a16:creationId xmlns:a16="http://schemas.microsoft.com/office/drawing/2014/main" id="{8D98A44E-FCCD-36B5-0672-64428A019C4A}"/>
              </a:ext>
            </a:extLst>
          </p:cNvPr>
          <p:cNvSpPr txBox="1"/>
          <p:nvPr userDrawn="1"/>
        </p:nvSpPr>
        <p:spPr>
          <a:xfrm>
            <a:off x="6092868" y="4214791"/>
            <a:ext cx="709636" cy="33855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Promoter bullhorn</a:t>
            </a:r>
          </a:p>
        </p:txBody>
      </p:sp>
      <p:sp>
        <p:nvSpPr>
          <p:cNvPr id="309" name="TextBox 308">
            <a:extLst>
              <a:ext uri="{FF2B5EF4-FFF2-40B4-BE49-F238E27FC236}">
                <a16:creationId xmlns:a16="http://schemas.microsoft.com/office/drawing/2014/main" id="{8C785F62-F1A5-CD99-47D7-27A6C0439001}"/>
              </a:ext>
            </a:extLst>
          </p:cNvPr>
          <p:cNvSpPr txBox="1"/>
          <p:nvPr userDrawn="1"/>
        </p:nvSpPr>
        <p:spPr>
          <a:xfrm>
            <a:off x="6799413" y="4214791"/>
            <a:ext cx="709636" cy="33855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Proof of concept 2</a:t>
            </a:r>
          </a:p>
        </p:txBody>
      </p:sp>
      <p:sp>
        <p:nvSpPr>
          <p:cNvPr id="310" name="TextBox 309">
            <a:extLst>
              <a:ext uri="{FF2B5EF4-FFF2-40B4-BE49-F238E27FC236}">
                <a16:creationId xmlns:a16="http://schemas.microsoft.com/office/drawing/2014/main" id="{57E3DE3F-6A52-EE69-F4D6-4CFE59E76D66}"/>
              </a:ext>
            </a:extLst>
          </p:cNvPr>
          <p:cNvSpPr txBox="1"/>
          <p:nvPr userDrawn="1"/>
        </p:nvSpPr>
        <p:spPr>
          <a:xfrm>
            <a:off x="7505958" y="4214791"/>
            <a:ext cx="709636" cy="33855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Proof of concept</a:t>
            </a:r>
          </a:p>
        </p:txBody>
      </p:sp>
      <p:sp>
        <p:nvSpPr>
          <p:cNvPr id="311" name="TextBox 310">
            <a:extLst>
              <a:ext uri="{FF2B5EF4-FFF2-40B4-BE49-F238E27FC236}">
                <a16:creationId xmlns:a16="http://schemas.microsoft.com/office/drawing/2014/main" id="{94059AF5-371E-F99C-D407-3E4A1402BF2F}"/>
              </a:ext>
            </a:extLst>
          </p:cNvPr>
          <p:cNvSpPr txBox="1"/>
          <p:nvPr userDrawn="1"/>
        </p:nvSpPr>
        <p:spPr>
          <a:xfrm>
            <a:off x="8212503" y="4214791"/>
            <a:ext cx="709636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Public sector</a:t>
            </a:r>
          </a:p>
        </p:txBody>
      </p:sp>
      <p:sp>
        <p:nvSpPr>
          <p:cNvPr id="312" name="TextBox 311">
            <a:extLst>
              <a:ext uri="{FF2B5EF4-FFF2-40B4-BE49-F238E27FC236}">
                <a16:creationId xmlns:a16="http://schemas.microsoft.com/office/drawing/2014/main" id="{6D199F0C-59CE-5A4C-1776-51C1C6A67AF9}"/>
              </a:ext>
            </a:extLst>
          </p:cNvPr>
          <p:cNvSpPr txBox="1"/>
          <p:nvPr userDrawn="1"/>
        </p:nvSpPr>
        <p:spPr>
          <a:xfrm>
            <a:off x="8919048" y="4214791"/>
            <a:ext cx="709636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QA</a:t>
            </a:r>
          </a:p>
        </p:txBody>
      </p:sp>
      <p:sp>
        <p:nvSpPr>
          <p:cNvPr id="313" name="TextBox 312">
            <a:extLst>
              <a:ext uri="{FF2B5EF4-FFF2-40B4-BE49-F238E27FC236}">
                <a16:creationId xmlns:a16="http://schemas.microsoft.com/office/drawing/2014/main" id="{54AA07FE-9C32-2B69-B995-C4EE5DDBCE15}"/>
              </a:ext>
            </a:extLst>
          </p:cNvPr>
          <p:cNvSpPr txBox="1"/>
          <p:nvPr userDrawn="1"/>
        </p:nvSpPr>
        <p:spPr>
          <a:xfrm>
            <a:off x="9625593" y="4214791"/>
            <a:ext cx="709636" cy="33855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Question answer</a:t>
            </a:r>
          </a:p>
        </p:txBody>
      </p:sp>
      <p:sp>
        <p:nvSpPr>
          <p:cNvPr id="314" name="TextBox 313">
            <a:extLst>
              <a:ext uri="{FF2B5EF4-FFF2-40B4-BE49-F238E27FC236}">
                <a16:creationId xmlns:a16="http://schemas.microsoft.com/office/drawing/2014/main" id="{FD58717C-EAC4-4A74-B258-C05025E8F9EC}"/>
              </a:ext>
            </a:extLst>
          </p:cNvPr>
          <p:cNvSpPr txBox="1"/>
          <p:nvPr userDrawn="1"/>
        </p:nvSpPr>
        <p:spPr>
          <a:xfrm>
            <a:off x="10332138" y="4214791"/>
            <a:ext cx="709636" cy="33855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Question answer alt</a:t>
            </a:r>
          </a:p>
        </p:txBody>
      </p:sp>
      <p:sp>
        <p:nvSpPr>
          <p:cNvPr id="315" name="TextBox 314">
            <a:extLst>
              <a:ext uri="{FF2B5EF4-FFF2-40B4-BE49-F238E27FC236}">
                <a16:creationId xmlns:a16="http://schemas.microsoft.com/office/drawing/2014/main" id="{754FDF0A-3DCF-765B-E27E-C6CAF9C9A1AD}"/>
              </a:ext>
            </a:extLst>
          </p:cNvPr>
          <p:cNvSpPr txBox="1"/>
          <p:nvPr userDrawn="1"/>
        </p:nvSpPr>
        <p:spPr>
          <a:xfrm>
            <a:off x="11038681" y="4214791"/>
            <a:ext cx="709636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Visibility off</a:t>
            </a:r>
          </a:p>
        </p:txBody>
      </p:sp>
      <p:sp>
        <p:nvSpPr>
          <p:cNvPr id="316" name="TextBox 315">
            <a:extLst>
              <a:ext uri="{FF2B5EF4-FFF2-40B4-BE49-F238E27FC236}">
                <a16:creationId xmlns:a16="http://schemas.microsoft.com/office/drawing/2014/main" id="{1227DD33-1A12-478F-C022-D893691F1CE5}"/>
              </a:ext>
            </a:extLst>
          </p:cNvPr>
          <p:cNvSpPr txBox="1"/>
          <p:nvPr userDrawn="1"/>
        </p:nvSpPr>
        <p:spPr>
          <a:xfrm>
            <a:off x="440508" y="5040026"/>
            <a:ext cx="709636" cy="33855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Robot unattended</a:t>
            </a:r>
          </a:p>
        </p:txBody>
      </p:sp>
      <p:sp>
        <p:nvSpPr>
          <p:cNvPr id="317" name="TextBox 316">
            <a:extLst>
              <a:ext uri="{FF2B5EF4-FFF2-40B4-BE49-F238E27FC236}">
                <a16:creationId xmlns:a16="http://schemas.microsoft.com/office/drawing/2014/main" id="{C00D4795-A69D-95B1-B0F4-AA13DEACAA20}"/>
              </a:ext>
            </a:extLst>
          </p:cNvPr>
          <p:cNvSpPr txBox="1"/>
          <p:nvPr userDrawn="1"/>
        </p:nvSpPr>
        <p:spPr>
          <a:xfrm>
            <a:off x="1147053" y="5040026"/>
            <a:ext cx="709636" cy="33855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RPA business analyst</a:t>
            </a:r>
          </a:p>
        </p:txBody>
      </p:sp>
      <p:sp>
        <p:nvSpPr>
          <p:cNvPr id="318" name="TextBox 317">
            <a:extLst>
              <a:ext uri="{FF2B5EF4-FFF2-40B4-BE49-F238E27FC236}">
                <a16:creationId xmlns:a16="http://schemas.microsoft.com/office/drawing/2014/main" id="{AD63805C-E895-4D6B-C5C8-14C4DD682162}"/>
              </a:ext>
            </a:extLst>
          </p:cNvPr>
          <p:cNvSpPr txBox="1"/>
          <p:nvPr userDrawn="1"/>
        </p:nvSpPr>
        <p:spPr>
          <a:xfrm>
            <a:off x="1853598" y="5040026"/>
            <a:ext cx="709636" cy="33855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RPA </a:t>
            </a:r>
            <a:br>
              <a:rPr lang="en-US" sz="800">
                <a:solidFill>
                  <a:schemeClr val="bg1"/>
                </a:solidFill>
              </a:rPr>
            </a:br>
            <a:r>
              <a:rPr lang="en-US" sz="800">
                <a:solidFill>
                  <a:schemeClr val="bg1"/>
                </a:solidFill>
              </a:rPr>
              <a:t>champion</a:t>
            </a:r>
          </a:p>
        </p:txBody>
      </p:sp>
      <p:sp>
        <p:nvSpPr>
          <p:cNvPr id="319" name="TextBox 318">
            <a:extLst>
              <a:ext uri="{FF2B5EF4-FFF2-40B4-BE49-F238E27FC236}">
                <a16:creationId xmlns:a16="http://schemas.microsoft.com/office/drawing/2014/main" id="{2E9716B7-16AA-E399-4903-AB360670E80C}"/>
              </a:ext>
            </a:extLst>
          </p:cNvPr>
          <p:cNvSpPr txBox="1"/>
          <p:nvPr userDrawn="1"/>
        </p:nvSpPr>
        <p:spPr>
          <a:xfrm>
            <a:off x="2560143" y="5040026"/>
            <a:ext cx="709636" cy="33855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RPA </a:t>
            </a:r>
            <a:br>
              <a:rPr lang="en-US" sz="800">
                <a:solidFill>
                  <a:schemeClr val="bg1"/>
                </a:solidFill>
              </a:rPr>
            </a:br>
            <a:r>
              <a:rPr lang="en-US" sz="800">
                <a:solidFill>
                  <a:schemeClr val="bg1"/>
                </a:solidFill>
              </a:rPr>
              <a:t>developer</a:t>
            </a:r>
          </a:p>
        </p:txBody>
      </p:sp>
      <p:sp>
        <p:nvSpPr>
          <p:cNvPr id="320" name="TextBox 319">
            <a:extLst>
              <a:ext uri="{FF2B5EF4-FFF2-40B4-BE49-F238E27FC236}">
                <a16:creationId xmlns:a16="http://schemas.microsoft.com/office/drawing/2014/main" id="{BE5A7271-7D94-5EAC-5F47-98C5BEC161B0}"/>
              </a:ext>
            </a:extLst>
          </p:cNvPr>
          <p:cNvSpPr txBox="1"/>
          <p:nvPr userDrawn="1"/>
        </p:nvSpPr>
        <p:spPr>
          <a:xfrm>
            <a:off x="3201237" y="5040026"/>
            <a:ext cx="840538" cy="33855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RPA infrastructure engineer</a:t>
            </a:r>
          </a:p>
        </p:txBody>
      </p:sp>
      <p:sp>
        <p:nvSpPr>
          <p:cNvPr id="321" name="TextBox 320">
            <a:extLst>
              <a:ext uri="{FF2B5EF4-FFF2-40B4-BE49-F238E27FC236}">
                <a16:creationId xmlns:a16="http://schemas.microsoft.com/office/drawing/2014/main" id="{7A0A85BF-3C5E-B4E7-A5B3-9E2ED1A77EB4}"/>
              </a:ext>
            </a:extLst>
          </p:cNvPr>
          <p:cNvSpPr txBox="1"/>
          <p:nvPr userDrawn="1"/>
        </p:nvSpPr>
        <p:spPr>
          <a:xfrm>
            <a:off x="3973233" y="5040026"/>
            <a:ext cx="709636" cy="33855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RPA </a:t>
            </a:r>
            <a:br>
              <a:rPr lang="en-US" sz="800">
                <a:solidFill>
                  <a:schemeClr val="bg1"/>
                </a:solidFill>
              </a:rPr>
            </a:br>
            <a:r>
              <a:rPr lang="en-US" sz="800">
                <a:solidFill>
                  <a:schemeClr val="bg1"/>
                </a:solidFill>
              </a:rPr>
              <a:t>service support</a:t>
            </a:r>
          </a:p>
        </p:txBody>
      </p:sp>
      <p:sp>
        <p:nvSpPr>
          <p:cNvPr id="322" name="TextBox 321">
            <a:extLst>
              <a:ext uri="{FF2B5EF4-FFF2-40B4-BE49-F238E27FC236}">
                <a16:creationId xmlns:a16="http://schemas.microsoft.com/office/drawing/2014/main" id="{AEEB8AE1-BAA8-3167-00D6-1FE3A3AD4EAA}"/>
              </a:ext>
            </a:extLst>
          </p:cNvPr>
          <p:cNvSpPr txBox="1"/>
          <p:nvPr userDrawn="1"/>
        </p:nvSpPr>
        <p:spPr>
          <a:xfrm>
            <a:off x="4679778" y="5040026"/>
            <a:ext cx="709636" cy="33855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RPA solution architect</a:t>
            </a:r>
          </a:p>
        </p:txBody>
      </p:sp>
      <p:sp>
        <p:nvSpPr>
          <p:cNvPr id="323" name="TextBox 322">
            <a:extLst>
              <a:ext uri="{FF2B5EF4-FFF2-40B4-BE49-F238E27FC236}">
                <a16:creationId xmlns:a16="http://schemas.microsoft.com/office/drawing/2014/main" id="{F273C299-6338-4236-9368-08F49A35A795}"/>
              </a:ext>
            </a:extLst>
          </p:cNvPr>
          <p:cNvSpPr txBox="1"/>
          <p:nvPr userDrawn="1"/>
        </p:nvSpPr>
        <p:spPr>
          <a:xfrm>
            <a:off x="5386323" y="5040026"/>
            <a:ext cx="709636" cy="33855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RPA </a:t>
            </a:r>
            <a:br>
              <a:rPr lang="en-US" sz="800">
                <a:solidFill>
                  <a:schemeClr val="bg1"/>
                </a:solidFill>
              </a:rPr>
            </a:br>
            <a:r>
              <a:rPr lang="en-US" sz="800">
                <a:solidFill>
                  <a:schemeClr val="bg1"/>
                </a:solidFill>
              </a:rPr>
              <a:t>sponsor</a:t>
            </a:r>
          </a:p>
        </p:txBody>
      </p:sp>
      <p:sp>
        <p:nvSpPr>
          <p:cNvPr id="324" name="TextBox 323">
            <a:extLst>
              <a:ext uri="{FF2B5EF4-FFF2-40B4-BE49-F238E27FC236}">
                <a16:creationId xmlns:a16="http://schemas.microsoft.com/office/drawing/2014/main" id="{5FC55755-8073-B1FC-8A15-5109511CFADF}"/>
              </a:ext>
            </a:extLst>
          </p:cNvPr>
          <p:cNvSpPr txBox="1"/>
          <p:nvPr userDrawn="1"/>
        </p:nvSpPr>
        <p:spPr>
          <a:xfrm>
            <a:off x="6092868" y="5040026"/>
            <a:ext cx="709636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atellite</a:t>
            </a:r>
          </a:p>
        </p:txBody>
      </p:sp>
      <p:sp>
        <p:nvSpPr>
          <p:cNvPr id="325" name="TextBox 324">
            <a:extLst>
              <a:ext uri="{FF2B5EF4-FFF2-40B4-BE49-F238E27FC236}">
                <a16:creationId xmlns:a16="http://schemas.microsoft.com/office/drawing/2014/main" id="{41D99090-3CDB-4B35-22B7-EA66F1AE7BBE}"/>
              </a:ext>
            </a:extLst>
          </p:cNvPr>
          <p:cNvSpPr txBox="1"/>
          <p:nvPr userDrawn="1"/>
        </p:nvSpPr>
        <p:spPr>
          <a:xfrm>
            <a:off x="6799413" y="5040026"/>
            <a:ext cx="709636" cy="33855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eamless</a:t>
            </a:r>
            <a:br>
              <a:rPr lang="en-US" sz="800">
                <a:solidFill>
                  <a:schemeClr val="bg1"/>
                </a:solidFill>
              </a:rPr>
            </a:br>
            <a:r>
              <a:rPr lang="en-US" sz="800">
                <a:solidFill>
                  <a:schemeClr val="bg1"/>
                </a:solidFill>
              </a:rPr>
              <a:t>integration</a:t>
            </a:r>
          </a:p>
        </p:txBody>
      </p:sp>
      <p:sp>
        <p:nvSpPr>
          <p:cNvPr id="326" name="TextBox 325">
            <a:extLst>
              <a:ext uri="{FF2B5EF4-FFF2-40B4-BE49-F238E27FC236}">
                <a16:creationId xmlns:a16="http://schemas.microsoft.com/office/drawing/2014/main" id="{9AC34118-6053-F020-2FBD-5654195ECB9E}"/>
              </a:ext>
            </a:extLst>
          </p:cNvPr>
          <p:cNvSpPr txBox="1"/>
          <p:nvPr userDrawn="1"/>
        </p:nvSpPr>
        <p:spPr>
          <a:xfrm>
            <a:off x="7505958" y="5040026"/>
            <a:ext cx="709636" cy="33855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eamless</a:t>
            </a:r>
            <a:br>
              <a:rPr lang="en-US" sz="800">
                <a:solidFill>
                  <a:schemeClr val="bg1"/>
                </a:solidFill>
              </a:rPr>
            </a:br>
            <a:r>
              <a:rPr lang="en-US" sz="800">
                <a:solidFill>
                  <a:schemeClr val="bg1"/>
                </a:solidFill>
              </a:rPr>
              <a:t>integration alt</a:t>
            </a:r>
          </a:p>
        </p:txBody>
      </p:sp>
      <p:sp>
        <p:nvSpPr>
          <p:cNvPr id="327" name="TextBox 326">
            <a:extLst>
              <a:ext uri="{FF2B5EF4-FFF2-40B4-BE49-F238E27FC236}">
                <a16:creationId xmlns:a16="http://schemas.microsoft.com/office/drawing/2014/main" id="{5F3F9254-AD85-E65B-0833-A7018CE4ED14}"/>
              </a:ext>
            </a:extLst>
          </p:cNvPr>
          <p:cNvSpPr txBox="1"/>
          <p:nvPr userDrawn="1"/>
        </p:nvSpPr>
        <p:spPr>
          <a:xfrm>
            <a:off x="8212503" y="5040026"/>
            <a:ext cx="709636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earch</a:t>
            </a:r>
          </a:p>
        </p:txBody>
      </p:sp>
      <p:sp>
        <p:nvSpPr>
          <p:cNvPr id="328" name="TextBox 327">
            <a:extLst>
              <a:ext uri="{FF2B5EF4-FFF2-40B4-BE49-F238E27FC236}">
                <a16:creationId xmlns:a16="http://schemas.microsoft.com/office/drawing/2014/main" id="{9FFCF901-1546-5BC5-B03D-EE5BA5412649}"/>
              </a:ext>
            </a:extLst>
          </p:cNvPr>
          <p:cNvSpPr txBox="1"/>
          <p:nvPr userDrawn="1"/>
        </p:nvSpPr>
        <p:spPr>
          <a:xfrm>
            <a:off x="8919048" y="5040026"/>
            <a:ext cx="709636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tudent</a:t>
            </a:r>
          </a:p>
        </p:txBody>
      </p:sp>
      <p:sp>
        <p:nvSpPr>
          <p:cNvPr id="329" name="TextBox 328">
            <a:extLst>
              <a:ext uri="{FF2B5EF4-FFF2-40B4-BE49-F238E27FC236}">
                <a16:creationId xmlns:a16="http://schemas.microsoft.com/office/drawing/2014/main" id="{4CD9047E-2606-81A3-ECAA-374C07378EDA}"/>
              </a:ext>
            </a:extLst>
          </p:cNvPr>
          <p:cNvSpPr txBox="1"/>
          <p:nvPr userDrawn="1"/>
        </p:nvSpPr>
        <p:spPr>
          <a:xfrm>
            <a:off x="9625593" y="5040026"/>
            <a:ext cx="709636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tudio</a:t>
            </a:r>
          </a:p>
        </p:txBody>
      </p:sp>
      <p:sp>
        <p:nvSpPr>
          <p:cNvPr id="330" name="TextBox 329">
            <a:extLst>
              <a:ext uri="{FF2B5EF4-FFF2-40B4-BE49-F238E27FC236}">
                <a16:creationId xmlns:a16="http://schemas.microsoft.com/office/drawing/2014/main" id="{0F34C896-1587-D28C-B024-A1D8C56D45AF}"/>
              </a:ext>
            </a:extLst>
          </p:cNvPr>
          <p:cNvSpPr txBox="1"/>
          <p:nvPr userDrawn="1"/>
        </p:nvSpPr>
        <p:spPr>
          <a:xfrm>
            <a:off x="10332138" y="5040026"/>
            <a:ext cx="709636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uccess</a:t>
            </a:r>
          </a:p>
        </p:txBody>
      </p:sp>
      <p:sp>
        <p:nvSpPr>
          <p:cNvPr id="331" name="TextBox 330">
            <a:extLst>
              <a:ext uri="{FF2B5EF4-FFF2-40B4-BE49-F238E27FC236}">
                <a16:creationId xmlns:a16="http://schemas.microsoft.com/office/drawing/2014/main" id="{7935D88D-0B35-FFF3-E7F4-0DCFF6A03AE4}"/>
              </a:ext>
            </a:extLst>
          </p:cNvPr>
          <p:cNvSpPr txBox="1"/>
          <p:nvPr userDrawn="1"/>
        </p:nvSpPr>
        <p:spPr>
          <a:xfrm>
            <a:off x="11038681" y="5040026"/>
            <a:ext cx="709636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Vendor</a:t>
            </a:r>
          </a:p>
        </p:txBody>
      </p:sp>
      <p:sp>
        <p:nvSpPr>
          <p:cNvPr id="332" name="TextBox 331">
            <a:extLst>
              <a:ext uri="{FF2B5EF4-FFF2-40B4-BE49-F238E27FC236}">
                <a16:creationId xmlns:a16="http://schemas.microsoft.com/office/drawing/2014/main" id="{3808FAA3-5733-25E5-8873-FAC44CECB338}"/>
              </a:ext>
            </a:extLst>
          </p:cNvPr>
          <p:cNvSpPr txBox="1"/>
          <p:nvPr userDrawn="1"/>
        </p:nvSpPr>
        <p:spPr>
          <a:xfrm>
            <a:off x="440508" y="5834517"/>
            <a:ext cx="709636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upport</a:t>
            </a:r>
          </a:p>
        </p:txBody>
      </p:sp>
      <p:sp>
        <p:nvSpPr>
          <p:cNvPr id="333" name="TextBox 332">
            <a:extLst>
              <a:ext uri="{FF2B5EF4-FFF2-40B4-BE49-F238E27FC236}">
                <a16:creationId xmlns:a16="http://schemas.microsoft.com/office/drawing/2014/main" id="{9BE65FDB-BDC4-8B1D-C6D8-B231F4FDE410}"/>
              </a:ext>
            </a:extLst>
          </p:cNvPr>
          <p:cNvSpPr txBox="1"/>
          <p:nvPr userDrawn="1"/>
        </p:nvSpPr>
        <p:spPr>
          <a:xfrm>
            <a:off x="1147053" y="5834517"/>
            <a:ext cx="709636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urvey</a:t>
            </a:r>
          </a:p>
        </p:txBody>
      </p:sp>
      <p:sp>
        <p:nvSpPr>
          <p:cNvPr id="334" name="TextBox 333">
            <a:extLst>
              <a:ext uri="{FF2B5EF4-FFF2-40B4-BE49-F238E27FC236}">
                <a16:creationId xmlns:a16="http://schemas.microsoft.com/office/drawing/2014/main" id="{825953EE-A106-4355-F840-9902C041F6A0}"/>
              </a:ext>
            </a:extLst>
          </p:cNvPr>
          <p:cNvSpPr txBox="1"/>
          <p:nvPr userDrawn="1"/>
        </p:nvSpPr>
        <p:spPr>
          <a:xfrm>
            <a:off x="1853598" y="5834517"/>
            <a:ext cx="709636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ap touch</a:t>
            </a:r>
          </a:p>
        </p:txBody>
      </p:sp>
      <p:sp>
        <p:nvSpPr>
          <p:cNvPr id="335" name="TextBox 334">
            <a:extLst>
              <a:ext uri="{FF2B5EF4-FFF2-40B4-BE49-F238E27FC236}">
                <a16:creationId xmlns:a16="http://schemas.microsoft.com/office/drawing/2014/main" id="{43EF8B79-62C0-9DF7-9D33-26F7D91ABB56}"/>
              </a:ext>
            </a:extLst>
          </p:cNvPr>
          <p:cNvSpPr txBox="1"/>
          <p:nvPr userDrawn="1"/>
        </p:nvSpPr>
        <p:spPr>
          <a:xfrm>
            <a:off x="2560143" y="5834517"/>
            <a:ext cx="709636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arget</a:t>
            </a:r>
          </a:p>
        </p:txBody>
      </p:sp>
      <p:sp>
        <p:nvSpPr>
          <p:cNvPr id="336" name="TextBox 335">
            <a:extLst>
              <a:ext uri="{FF2B5EF4-FFF2-40B4-BE49-F238E27FC236}">
                <a16:creationId xmlns:a16="http://schemas.microsoft.com/office/drawing/2014/main" id="{D3C267E2-C3CC-D5FF-7766-12E23D9D4BAA}"/>
              </a:ext>
            </a:extLst>
          </p:cNvPr>
          <p:cNvSpPr txBox="1"/>
          <p:nvPr userDrawn="1"/>
        </p:nvSpPr>
        <p:spPr>
          <a:xfrm>
            <a:off x="3266688" y="5834517"/>
            <a:ext cx="709636" cy="33855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echnology</a:t>
            </a:r>
            <a:br>
              <a:rPr lang="en-US" sz="800">
                <a:solidFill>
                  <a:schemeClr val="bg1"/>
                </a:solidFill>
              </a:rPr>
            </a:br>
            <a:r>
              <a:rPr lang="en-US" sz="800">
                <a:solidFill>
                  <a:schemeClr val="bg1"/>
                </a:solidFill>
              </a:rPr>
              <a:t>alt</a:t>
            </a:r>
          </a:p>
        </p:txBody>
      </p:sp>
      <p:sp>
        <p:nvSpPr>
          <p:cNvPr id="337" name="TextBox 336">
            <a:extLst>
              <a:ext uri="{FF2B5EF4-FFF2-40B4-BE49-F238E27FC236}">
                <a16:creationId xmlns:a16="http://schemas.microsoft.com/office/drawing/2014/main" id="{C63A10FF-B169-30EC-C7AB-B2DF4D65F7B8}"/>
              </a:ext>
            </a:extLst>
          </p:cNvPr>
          <p:cNvSpPr txBox="1"/>
          <p:nvPr userDrawn="1"/>
        </p:nvSpPr>
        <p:spPr>
          <a:xfrm>
            <a:off x="3973233" y="5834517"/>
            <a:ext cx="709636" cy="33855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echnology</a:t>
            </a:r>
            <a:br>
              <a:rPr lang="en-US" sz="800">
                <a:solidFill>
                  <a:schemeClr val="bg1"/>
                </a:solidFill>
              </a:rPr>
            </a:br>
            <a:r>
              <a:rPr lang="en-US" sz="800">
                <a:solidFill>
                  <a:schemeClr val="bg1"/>
                </a:solidFill>
              </a:rPr>
              <a:t>alt 2</a:t>
            </a:r>
          </a:p>
        </p:txBody>
      </p:sp>
      <p:sp>
        <p:nvSpPr>
          <p:cNvPr id="338" name="TextBox 337">
            <a:extLst>
              <a:ext uri="{FF2B5EF4-FFF2-40B4-BE49-F238E27FC236}">
                <a16:creationId xmlns:a16="http://schemas.microsoft.com/office/drawing/2014/main" id="{ADE665BF-3E4E-DEF6-FF0B-9A871AEEE128}"/>
              </a:ext>
            </a:extLst>
          </p:cNvPr>
          <p:cNvSpPr txBox="1"/>
          <p:nvPr userDrawn="1"/>
        </p:nvSpPr>
        <p:spPr>
          <a:xfrm>
            <a:off x="4679778" y="5834517"/>
            <a:ext cx="709636" cy="33855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echnology</a:t>
            </a:r>
            <a:br>
              <a:rPr lang="en-US" sz="800">
                <a:solidFill>
                  <a:schemeClr val="bg1"/>
                </a:solidFill>
              </a:rPr>
            </a:br>
            <a:r>
              <a:rPr lang="en-US" sz="800">
                <a:solidFill>
                  <a:schemeClr val="bg1"/>
                </a:solidFill>
              </a:rPr>
              <a:t>alt 3</a:t>
            </a:r>
          </a:p>
        </p:txBody>
      </p:sp>
      <p:sp>
        <p:nvSpPr>
          <p:cNvPr id="339" name="TextBox 338">
            <a:extLst>
              <a:ext uri="{FF2B5EF4-FFF2-40B4-BE49-F238E27FC236}">
                <a16:creationId xmlns:a16="http://schemas.microsoft.com/office/drawing/2014/main" id="{4274EFEB-06FE-F5A9-247B-2DBA2A49D6EA}"/>
              </a:ext>
            </a:extLst>
          </p:cNvPr>
          <p:cNvSpPr txBox="1"/>
          <p:nvPr userDrawn="1"/>
        </p:nvSpPr>
        <p:spPr>
          <a:xfrm>
            <a:off x="5386323" y="5834517"/>
            <a:ext cx="709636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echnology</a:t>
            </a:r>
          </a:p>
        </p:txBody>
      </p:sp>
      <p:sp>
        <p:nvSpPr>
          <p:cNvPr id="340" name="TextBox 339">
            <a:extLst>
              <a:ext uri="{FF2B5EF4-FFF2-40B4-BE49-F238E27FC236}">
                <a16:creationId xmlns:a16="http://schemas.microsoft.com/office/drawing/2014/main" id="{8F77B91F-BD8B-DA15-D73C-DD7262889B14}"/>
              </a:ext>
            </a:extLst>
          </p:cNvPr>
          <p:cNvSpPr txBox="1"/>
          <p:nvPr userDrawn="1"/>
        </p:nvSpPr>
        <p:spPr>
          <a:xfrm>
            <a:off x="6088789" y="5834517"/>
            <a:ext cx="709636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ent</a:t>
            </a:r>
          </a:p>
        </p:txBody>
      </p:sp>
      <p:sp>
        <p:nvSpPr>
          <p:cNvPr id="341" name="Rectangle 340">
            <a:extLst>
              <a:ext uri="{FF2B5EF4-FFF2-40B4-BE49-F238E27FC236}">
                <a16:creationId xmlns:a16="http://schemas.microsoft.com/office/drawing/2014/main" id="{EAED1CE1-3720-DE56-6813-A6FD01BCD1CB}"/>
              </a:ext>
            </a:extLst>
          </p:cNvPr>
          <p:cNvSpPr/>
          <p:nvPr userDrawn="1"/>
        </p:nvSpPr>
        <p:spPr>
          <a:xfrm>
            <a:off x="-1" y="6812281"/>
            <a:ext cx="12188826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2" name="TextBox 341">
            <a:extLst>
              <a:ext uri="{FF2B5EF4-FFF2-40B4-BE49-F238E27FC236}">
                <a16:creationId xmlns:a16="http://schemas.microsoft.com/office/drawing/2014/main" id="{A875C936-79C3-EAB8-FCA2-B666875BACDE}"/>
              </a:ext>
            </a:extLst>
          </p:cNvPr>
          <p:cNvSpPr txBox="1"/>
          <p:nvPr userDrawn="1"/>
        </p:nvSpPr>
        <p:spPr>
          <a:xfrm>
            <a:off x="6799413" y="5834517"/>
            <a:ext cx="709636" cy="33855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Exception handling</a:t>
            </a:r>
          </a:p>
        </p:txBody>
      </p:sp>
    </p:spTree>
    <p:extLst>
      <p:ext uri="{BB962C8B-B14F-4D97-AF65-F5344CB8AC3E}">
        <p14:creationId xmlns:p14="http://schemas.microsoft.com/office/powerpoint/2010/main" val="96458435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US Ma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56">
            <a:extLst>
              <a:ext uri="{FF2B5EF4-FFF2-40B4-BE49-F238E27FC236}">
                <a16:creationId xmlns:a16="http://schemas.microsoft.com/office/drawing/2014/main" id="{1EC614DD-715F-4FED-8870-8126A5E30C3E}"/>
              </a:ext>
            </a:extLst>
          </p:cNvPr>
          <p:cNvGrpSpPr>
            <a:grpSpLocks/>
          </p:cNvGrpSpPr>
          <p:nvPr/>
        </p:nvGrpSpPr>
        <p:grpSpPr bwMode="auto">
          <a:xfrm>
            <a:off x="1478930" y="1386942"/>
            <a:ext cx="7785153" cy="5092700"/>
            <a:chOff x="1757363" y="1860550"/>
            <a:chExt cx="6414459" cy="3873500"/>
          </a:xfrm>
          <a:solidFill>
            <a:schemeClr val="bg2"/>
          </a:solidFill>
        </p:grpSpPr>
        <p:sp>
          <p:nvSpPr>
            <p:cNvPr id="6" name="Freeform 4">
              <a:extLst>
                <a:ext uri="{FF2B5EF4-FFF2-40B4-BE49-F238E27FC236}">
                  <a16:creationId xmlns:a16="http://schemas.microsoft.com/office/drawing/2014/main" id="{4D3AFE62-E176-4623-A52A-BE82F84C5C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697186" y="1860550"/>
              <a:ext cx="474636" cy="717550"/>
            </a:xfrm>
            <a:custGeom>
              <a:avLst/>
              <a:gdLst>
                <a:gd name="T0" fmla="*/ 74 w 230"/>
                <a:gd name="T1" fmla="*/ 12 h 377"/>
                <a:gd name="T2" fmla="*/ 28 w 230"/>
                <a:gd name="T3" fmla="*/ 81 h 377"/>
                <a:gd name="T4" fmla="*/ 49 w 230"/>
                <a:gd name="T5" fmla="*/ 107 h 377"/>
                <a:gd name="T6" fmla="*/ 28 w 230"/>
                <a:gd name="T7" fmla="*/ 139 h 377"/>
                <a:gd name="T8" fmla="*/ 41 w 230"/>
                <a:gd name="T9" fmla="*/ 149 h 377"/>
                <a:gd name="T10" fmla="*/ 31 w 230"/>
                <a:gd name="T11" fmla="*/ 171 h 377"/>
                <a:gd name="T12" fmla="*/ 31 w 230"/>
                <a:gd name="T13" fmla="*/ 206 h 377"/>
                <a:gd name="T14" fmla="*/ 0 w 230"/>
                <a:gd name="T15" fmla="*/ 219 h 377"/>
                <a:gd name="T16" fmla="*/ 13 w 230"/>
                <a:gd name="T17" fmla="*/ 229 h 377"/>
                <a:gd name="T18" fmla="*/ 79 w 230"/>
                <a:gd name="T19" fmla="*/ 361 h 377"/>
                <a:gd name="T20" fmla="*/ 131 w 230"/>
                <a:gd name="T21" fmla="*/ 377 h 377"/>
                <a:gd name="T22" fmla="*/ 128 w 230"/>
                <a:gd name="T23" fmla="*/ 350 h 377"/>
                <a:gd name="T24" fmla="*/ 154 w 230"/>
                <a:gd name="T25" fmla="*/ 329 h 377"/>
                <a:gd name="T26" fmla="*/ 144 w 230"/>
                <a:gd name="T27" fmla="*/ 307 h 377"/>
                <a:gd name="T28" fmla="*/ 210 w 230"/>
                <a:gd name="T29" fmla="*/ 280 h 377"/>
                <a:gd name="T30" fmla="*/ 212 w 230"/>
                <a:gd name="T31" fmla="*/ 243 h 377"/>
                <a:gd name="T32" fmla="*/ 250 w 230"/>
                <a:gd name="T33" fmla="*/ 241 h 377"/>
                <a:gd name="T34" fmla="*/ 280 w 230"/>
                <a:gd name="T35" fmla="*/ 213 h 377"/>
                <a:gd name="T36" fmla="*/ 316 w 230"/>
                <a:gd name="T37" fmla="*/ 194 h 377"/>
                <a:gd name="T38" fmla="*/ 316 w 230"/>
                <a:gd name="T39" fmla="*/ 171 h 377"/>
                <a:gd name="T40" fmla="*/ 266 w 230"/>
                <a:gd name="T41" fmla="*/ 163 h 377"/>
                <a:gd name="T42" fmla="*/ 257 w 230"/>
                <a:gd name="T43" fmla="*/ 138 h 377"/>
                <a:gd name="T44" fmla="*/ 207 w 230"/>
                <a:gd name="T45" fmla="*/ 134 h 377"/>
                <a:gd name="T46" fmla="*/ 168 w 230"/>
                <a:gd name="T47" fmla="*/ 22 h 377"/>
                <a:gd name="T48" fmla="*/ 148 w 230"/>
                <a:gd name="T49" fmla="*/ 0 h 377"/>
                <a:gd name="T50" fmla="*/ 99 w 230"/>
                <a:gd name="T51" fmla="*/ 9 h 377"/>
                <a:gd name="T52" fmla="*/ 90 w 230"/>
                <a:gd name="T53" fmla="*/ 20 h 377"/>
                <a:gd name="T54" fmla="*/ 74 w 230"/>
                <a:gd name="T55" fmla="*/ 12 h 377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230"/>
                <a:gd name="T85" fmla="*/ 0 h 377"/>
                <a:gd name="T86" fmla="*/ 230 w 230"/>
                <a:gd name="T87" fmla="*/ 377 h 377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230" h="377">
                  <a:moveTo>
                    <a:pt x="54" y="12"/>
                  </a:moveTo>
                  <a:lnTo>
                    <a:pt x="20" y="81"/>
                  </a:lnTo>
                  <a:lnTo>
                    <a:pt x="36" y="107"/>
                  </a:lnTo>
                  <a:lnTo>
                    <a:pt x="20" y="139"/>
                  </a:lnTo>
                  <a:lnTo>
                    <a:pt x="30" y="149"/>
                  </a:lnTo>
                  <a:lnTo>
                    <a:pt x="23" y="171"/>
                  </a:lnTo>
                  <a:lnTo>
                    <a:pt x="23" y="206"/>
                  </a:lnTo>
                  <a:lnTo>
                    <a:pt x="0" y="219"/>
                  </a:lnTo>
                  <a:lnTo>
                    <a:pt x="9" y="229"/>
                  </a:lnTo>
                  <a:lnTo>
                    <a:pt x="57" y="361"/>
                  </a:lnTo>
                  <a:lnTo>
                    <a:pt x="95" y="377"/>
                  </a:lnTo>
                  <a:lnTo>
                    <a:pt x="93" y="350"/>
                  </a:lnTo>
                  <a:lnTo>
                    <a:pt x="112" y="329"/>
                  </a:lnTo>
                  <a:lnTo>
                    <a:pt x="105" y="307"/>
                  </a:lnTo>
                  <a:lnTo>
                    <a:pt x="152" y="280"/>
                  </a:lnTo>
                  <a:lnTo>
                    <a:pt x="154" y="243"/>
                  </a:lnTo>
                  <a:lnTo>
                    <a:pt x="182" y="241"/>
                  </a:lnTo>
                  <a:lnTo>
                    <a:pt x="204" y="213"/>
                  </a:lnTo>
                  <a:lnTo>
                    <a:pt x="230" y="194"/>
                  </a:lnTo>
                  <a:lnTo>
                    <a:pt x="230" y="171"/>
                  </a:lnTo>
                  <a:lnTo>
                    <a:pt x="194" y="163"/>
                  </a:lnTo>
                  <a:lnTo>
                    <a:pt x="187" y="138"/>
                  </a:lnTo>
                  <a:lnTo>
                    <a:pt x="151" y="134"/>
                  </a:lnTo>
                  <a:lnTo>
                    <a:pt x="122" y="22"/>
                  </a:lnTo>
                  <a:lnTo>
                    <a:pt x="108" y="0"/>
                  </a:lnTo>
                  <a:lnTo>
                    <a:pt x="72" y="9"/>
                  </a:lnTo>
                  <a:lnTo>
                    <a:pt x="66" y="20"/>
                  </a:lnTo>
                  <a:lnTo>
                    <a:pt x="54" y="12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56D09F3E-B20F-432D-B2BA-3EB96BD63BEF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8691" y="4062413"/>
              <a:ext cx="607053" cy="561975"/>
            </a:xfrm>
            <a:custGeom>
              <a:avLst/>
              <a:gdLst>
                <a:gd name="T0" fmla="*/ 0 w 294"/>
                <a:gd name="T1" fmla="*/ 27 h 295"/>
                <a:gd name="T2" fmla="*/ 162 w 294"/>
                <a:gd name="T3" fmla="*/ 12 h 295"/>
                <a:gd name="T4" fmla="*/ 359 w 294"/>
                <a:gd name="T5" fmla="*/ 0 h 295"/>
                <a:gd name="T6" fmla="*/ 348 w 294"/>
                <a:gd name="T7" fmla="*/ 39 h 295"/>
                <a:gd name="T8" fmla="*/ 392 w 294"/>
                <a:gd name="T9" fmla="*/ 30 h 295"/>
                <a:gd name="T10" fmla="*/ 407 w 294"/>
                <a:gd name="T11" fmla="*/ 56 h 295"/>
                <a:gd name="T12" fmla="*/ 362 w 294"/>
                <a:gd name="T13" fmla="*/ 80 h 295"/>
                <a:gd name="T14" fmla="*/ 373 w 294"/>
                <a:gd name="T15" fmla="*/ 121 h 295"/>
                <a:gd name="T16" fmla="*/ 327 w 294"/>
                <a:gd name="T17" fmla="*/ 189 h 295"/>
                <a:gd name="T18" fmla="*/ 291 w 294"/>
                <a:gd name="T19" fmla="*/ 231 h 295"/>
                <a:gd name="T20" fmla="*/ 310 w 294"/>
                <a:gd name="T21" fmla="*/ 285 h 295"/>
                <a:gd name="T22" fmla="*/ 60 w 294"/>
                <a:gd name="T23" fmla="*/ 295 h 295"/>
                <a:gd name="T24" fmla="*/ 59 w 294"/>
                <a:gd name="T25" fmla="*/ 262 h 295"/>
                <a:gd name="T26" fmla="*/ 10 w 294"/>
                <a:gd name="T27" fmla="*/ 255 h 295"/>
                <a:gd name="T28" fmla="*/ 10 w 294"/>
                <a:gd name="T29" fmla="*/ 80 h 295"/>
                <a:gd name="T30" fmla="*/ 0 w 294"/>
                <a:gd name="T31" fmla="*/ 27 h 29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94"/>
                <a:gd name="T49" fmla="*/ 0 h 295"/>
                <a:gd name="T50" fmla="*/ 294 w 294"/>
                <a:gd name="T51" fmla="*/ 295 h 295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94" h="295">
                  <a:moveTo>
                    <a:pt x="0" y="27"/>
                  </a:moveTo>
                  <a:lnTo>
                    <a:pt x="116" y="12"/>
                  </a:lnTo>
                  <a:lnTo>
                    <a:pt x="259" y="0"/>
                  </a:lnTo>
                  <a:lnTo>
                    <a:pt x="252" y="39"/>
                  </a:lnTo>
                  <a:lnTo>
                    <a:pt x="283" y="30"/>
                  </a:lnTo>
                  <a:lnTo>
                    <a:pt x="294" y="56"/>
                  </a:lnTo>
                  <a:lnTo>
                    <a:pt x="262" y="80"/>
                  </a:lnTo>
                  <a:lnTo>
                    <a:pt x="269" y="121"/>
                  </a:lnTo>
                  <a:lnTo>
                    <a:pt x="235" y="189"/>
                  </a:lnTo>
                  <a:lnTo>
                    <a:pt x="210" y="231"/>
                  </a:lnTo>
                  <a:lnTo>
                    <a:pt x="224" y="285"/>
                  </a:lnTo>
                  <a:lnTo>
                    <a:pt x="43" y="295"/>
                  </a:lnTo>
                  <a:lnTo>
                    <a:pt x="42" y="262"/>
                  </a:lnTo>
                  <a:lnTo>
                    <a:pt x="6" y="255"/>
                  </a:lnTo>
                  <a:lnTo>
                    <a:pt x="6" y="80"/>
                  </a:lnTo>
                  <a:lnTo>
                    <a:pt x="0" y="27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F7B9766-CACB-4A5A-88EB-7FDF048205A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54963" y="4603750"/>
              <a:ext cx="741189" cy="588963"/>
            </a:xfrm>
            <a:custGeom>
              <a:avLst/>
              <a:gdLst>
                <a:gd name="T0" fmla="*/ 0 w 359"/>
                <a:gd name="T1" fmla="*/ 7 h 309"/>
                <a:gd name="T2" fmla="*/ 247 w 359"/>
                <a:gd name="T3" fmla="*/ 0 h 309"/>
                <a:gd name="T4" fmla="*/ 291 w 359"/>
                <a:gd name="T5" fmla="*/ 64 h 309"/>
                <a:gd name="T6" fmla="*/ 254 w 359"/>
                <a:gd name="T7" fmla="*/ 139 h 309"/>
                <a:gd name="T8" fmla="*/ 242 w 359"/>
                <a:gd name="T9" fmla="*/ 173 h 309"/>
                <a:gd name="T10" fmla="*/ 407 w 359"/>
                <a:gd name="T11" fmla="*/ 159 h 309"/>
                <a:gd name="T12" fmla="*/ 417 w 359"/>
                <a:gd name="T13" fmla="*/ 208 h 309"/>
                <a:gd name="T14" fmla="*/ 367 w 359"/>
                <a:gd name="T15" fmla="*/ 204 h 309"/>
                <a:gd name="T16" fmla="*/ 346 w 359"/>
                <a:gd name="T17" fmla="*/ 225 h 309"/>
                <a:gd name="T18" fmla="*/ 369 w 359"/>
                <a:gd name="T19" fmla="*/ 239 h 309"/>
                <a:gd name="T20" fmla="*/ 416 w 359"/>
                <a:gd name="T21" fmla="*/ 222 h 309"/>
                <a:gd name="T22" fmla="*/ 417 w 359"/>
                <a:gd name="T23" fmla="*/ 246 h 309"/>
                <a:gd name="T24" fmla="*/ 444 w 359"/>
                <a:gd name="T25" fmla="*/ 226 h 309"/>
                <a:gd name="T26" fmla="*/ 463 w 359"/>
                <a:gd name="T27" fmla="*/ 226 h 309"/>
                <a:gd name="T28" fmla="*/ 441 w 359"/>
                <a:gd name="T29" fmla="*/ 267 h 309"/>
                <a:gd name="T30" fmla="*/ 482 w 359"/>
                <a:gd name="T31" fmla="*/ 274 h 309"/>
                <a:gd name="T32" fmla="*/ 495 w 359"/>
                <a:gd name="T33" fmla="*/ 297 h 309"/>
                <a:gd name="T34" fmla="*/ 476 w 359"/>
                <a:gd name="T35" fmla="*/ 304 h 309"/>
                <a:gd name="T36" fmla="*/ 451 w 359"/>
                <a:gd name="T37" fmla="*/ 289 h 309"/>
                <a:gd name="T38" fmla="*/ 402 w 359"/>
                <a:gd name="T39" fmla="*/ 279 h 309"/>
                <a:gd name="T40" fmla="*/ 412 w 359"/>
                <a:gd name="T41" fmla="*/ 306 h 309"/>
                <a:gd name="T42" fmla="*/ 390 w 359"/>
                <a:gd name="T43" fmla="*/ 309 h 309"/>
                <a:gd name="T44" fmla="*/ 368 w 359"/>
                <a:gd name="T45" fmla="*/ 285 h 309"/>
                <a:gd name="T46" fmla="*/ 356 w 359"/>
                <a:gd name="T47" fmla="*/ 300 h 309"/>
                <a:gd name="T48" fmla="*/ 284 w 359"/>
                <a:gd name="T49" fmla="*/ 300 h 309"/>
                <a:gd name="T50" fmla="*/ 284 w 359"/>
                <a:gd name="T51" fmla="*/ 285 h 309"/>
                <a:gd name="T52" fmla="*/ 258 w 359"/>
                <a:gd name="T53" fmla="*/ 267 h 309"/>
                <a:gd name="T54" fmla="*/ 202 w 359"/>
                <a:gd name="T55" fmla="*/ 265 h 309"/>
                <a:gd name="T56" fmla="*/ 248 w 359"/>
                <a:gd name="T57" fmla="*/ 285 h 309"/>
                <a:gd name="T58" fmla="*/ 184 w 359"/>
                <a:gd name="T59" fmla="*/ 295 h 309"/>
                <a:gd name="T60" fmla="*/ 86 w 359"/>
                <a:gd name="T61" fmla="*/ 281 h 309"/>
                <a:gd name="T62" fmla="*/ 48 w 359"/>
                <a:gd name="T63" fmla="*/ 285 h 309"/>
                <a:gd name="T64" fmla="*/ 62 w 359"/>
                <a:gd name="T65" fmla="*/ 181 h 309"/>
                <a:gd name="T66" fmla="*/ 1 w 359"/>
                <a:gd name="T67" fmla="*/ 99 h 309"/>
                <a:gd name="T68" fmla="*/ 0 w 359"/>
                <a:gd name="T69" fmla="*/ 7 h 309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59"/>
                <a:gd name="T106" fmla="*/ 0 h 309"/>
                <a:gd name="T107" fmla="*/ 359 w 359"/>
                <a:gd name="T108" fmla="*/ 309 h 309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59" h="309">
                  <a:moveTo>
                    <a:pt x="0" y="7"/>
                  </a:moveTo>
                  <a:lnTo>
                    <a:pt x="179" y="0"/>
                  </a:lnTo>
                  <a:lnTo>
                    <a:pt x="211" y="64"/>
                  </a:lnTo>
                  <a:lnTo>
                    <a:pt x="184" y="139"/>
                  </a:lnTo>
                  <a:lnTo>
                    <a:pt x="175" y="173"/>
                  </a:lnTo>
                  <a:lnTo>
                    <a:pt x="295" y="159"/>
                  </a:lnTo>
                  <a:lnTo>
                    <a:pt x="303" y="208"/>
                  </a:lnTo>
                  <a:lnTo>
                    <a:pt x="267" y="204"/>
                  </a:lnTo>
                  <a:lnTo>
                    <a:pt x="250" y="225"/>
                  </a:lnTo>
                  <a:lnTo>
                    <a:pt x="269" y="239"/>
                  </a:lnTo>
                  <a:lnTo>
                    <a:pt x="302" y="222"/>
                  </a:lnTo>
                  <a:lnTo>
                    <a:pt x="303" y="246"/>
                  </a:lnTo>
                  <a:lnTo>
                    <a:pt x="322" y="226"/>
                  </a:lnTo>
                  <a:lnTo>
                    <a:pt x="336" y="226"/>
                  </a:lnTo>
                  <a:lnTo>
                    <a:pt x="320" y="267"/>
                  </a:lnTo>
                  <a:lnTo>
                    <a:pt x="350" y="274"/>
                  </a:lnTo>
                  <a:lnTo>
                    <a:pt x="359" y="297"/>
                  </a:lnTo>
                  <a:lnTo>
                    <a:pt x="345" y="304"/>
                  </a:lnTo>
                  <a:lnTo>
                    <a:pt x="327" y="289"/>
                  </a:lnTo>
                  <a:lnTo>
                    <a:pt x="292" y="279"/>
                  </a:lnTo>
                  <a:lnTo>
                    <a:pt x="299" y="306"/>
                  </a:lnTo>
                  <a:lnTo>
                    <a:pt x="282" y="309"/>
                  </a:lnTo>
                  <a:lnTo>
                    <a:pt x="268" y="285"/>
                  </a:lnTo>
                  <a:lnTo>
                    <a:pt x="259" y="300"/>
                  </a:lnTo>
                  <a:lnTo>
                    <a:pt x="206" y="300"/>
                  </a:lnTo>
                  <a:lnTo>
                    <a:pt x="206" y="285"/>
                  </a:lnTo>
                  <a:lnTo>
                    <a:pt x="187" y="267"/>
                  </a:lnTo>
                  <a:lnTo>
                    <a:pt x="147" y="265"/>
                  </a:lnTo>
                  <a:lnTo>
                    <a:pt x="180" y="285"/>
                  </a:lnTo>
                  <a:lnTo>
                    <a:pt x="134" y="295"/>
                  </a:lnTo>
                  <a:lnTo>
                    <a:pt x="62" y="281"/>
                  </a:lnTo>
                  <a:lnTo>
                    <a:pt x="35" y="285"/>
                  </a:lnTo>
                  <a:lnTo>
                    <a:pt x="45" y="181"/>
                  </a:lnTo>
                  <a:lnTo>
                    <a:pt x="1" y="99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AC3BEAE1-90DA-4F18-921F-21C047EBCCF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0151" y="2117725"/>
              <a:ext cx="825453" cy="923925"/>
            </a:xfrm>
            <a:custGeom>
              <a:avLst/>
              <a:gdLst>
                <a:gd name="T0" fmla="*/ 0 w 400"/>
                <a:gd name="T1" fmla="*/ 38 h 485"/>
                <a:gd name="T2" fmla="*/ 144 w 400"/>
                <a:gd name="T3" fmla="*/ 38 h 485"/>
                <a:gd name="T4" fmla="*/ 143 w 400"/>
                <a:gd name="T5" fmla="*/ 0 h 485"/>
                <a:gd name="T6" fmla="*/ 172 w 400"/>
                <a:gd name="T7" fmla="*/ 11 h 485"/>
                <a:gd name="T8" fmla="*/ 181 w 400"/>
                <a:gd name="T9" fmla="*/ 40 h 485"/>
                <a:gd name="T10" fmla="*/ 248 w 400"/>
                <a:gd name="T11" fmla="*/ 72 h 485"/>
                <a:gd name="T12" fmla="*/ 268 w 400"/>
                <a:gd name="T13" fmla="*/ 58 h 485"/>
                <a:gd name="T14" fmla="*/ 311 w 400"/>
                <a:gd name="T15" fmla="*/ 58 h 485"/>
                <a:gd name="T16" fmla="*/ 342 w 400"/>
                <a:gd name="T17" fmla="*/ 86 h 485"/>
                <a:gd name="T18" fmla="*/ 364 w 400"/>
                <a:gd name="T19" fmla="*/ 76 h 485"/>
                <a:gd name="T20" fmla="*/ 422 w 400"/>
                <a:gd name="T21" fmla="*/ 87 h 485"/>
                <a:gd name="T22" fmla="*/ 444 w 400"/>
                <a:gd name="T23" fmla="*/ 66 h 485"/>
                <a:gd name="T24" fmla="*/ 482 w 400"/>
                <a:gd name="T25" fmla="*/ 83 h 485"/>
                <a:gd name="T26" fmla="*/ 550 w 400"/>
                <a:gd name="T27" fmla="*/ 80 h 485"/>
                <a:gd name="T28" fmla="*/ 439 w 400"/>
                <a:gd name="T29" fmla="*/ 140 h 485"/>
                <a:gd name="T30" fmla="*/ 385 w 400"/>
                <a:gd name="T31" fmla="*/ 193 h 485"/>
                <a:gd name="T32" fmla="*/ 396 w 400"/>
                <a:gd name="T33" fmla="*/ 269 h 485"/>
                <a:gd name="T34" fmla="*/ 358 w 400"/>
                <a:gd name="T35" fmla="*/ 301 h 485"/>
                <a:gd name="T36" fmla="*/ 372 w 400"/>
                <a:gd name="T37" fmla="*/ 324 h 485"/>
                <a:gd name="T38" fmla="*/ 372 w 400"/>
                <a:gd name="T39" fmla="*/ 380 h 485"/>
                <a:gd name="T40" fmla="*/ 411 w 400"/>
                <a:gd name="T41" fmla="*/ 380 h 485"/>
                <a:gd name="T42" fmla="*/ 467 w 400"/>
                <a:gd name="T43" fmla="*/ 421 h 485"/>
                <a:gd name="T44" fmla="*/ 488 w 400"/>
                <a:gd name="T45" fmla="*/ 471 h 485"/>
                <a:gd name="T46" fmla="*/ 101 w 400"/>
                <a:gd name="T47" fmla="*/ 485 h 485"/>
                <a:gd name="T48" fmla="*/ 102 w 400"/>
                <a:gd name="T49" fmla="*/ 351 h 485"/>
                <a:gd name="T50" fmla="*/ 67 w 400"/>
                <a:gd name="T51" fmla="*/ 321 h 485"/>
                <a:gd name="T52" fmla="*/ 80 w 400"/>
                <a:gd name="T53" fmla="*/ 286 h 485"/>
                <a:gd name="T54" fmla="*/ 90 w 400"/>
                <a:gd name="T55" fmla="*/ 266 h 485"/>
                <a:gd name="T56" fmla="*/ 67 w 400"/>
                <a:gd name="T57" fmla="*/ 173 h 485"/>
                <a:gd name="T58" fmla="*/ 34 w 400"/>
                <a:gd name="T59" fmla="*/ 112 h 485"/>
                <a:gd name="T60" fmla="*/ 0 w 400"/>
                <a:gd name="T61" fmla="*/ 38 h 485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400"/>
                <a:gd name="T94" fmla="*/ 0 h 485"/>
                <a:gd name="T95" fmla="*/ 400 w 400"/>
                <a:gd name="T96" fmla="*/ 485 h 485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400" h="485">
                  <a:moveTo>
                    <a:pt x="0" y="38"/>
                  </a:moveTo>
                  <a:lnTo>
                    <a:pt x="105" y="38"/>
                  </a:lnTo>
                  <a:lnTo>
                    <a:pt x="104" y="0"/>
                  </a:lnTo>
                  <a:lnTo>
                    <a:pt x="126" y="11"/>
                  </a:lnTo>
                  <a:lnTo>
                    <a:pt x="131" y="40"/>
                  </a:lnTo>
                  <a:lnTo>
                    <a:pt x="181" y="72"/>
                  </a:lnTo>
                  <a:lnTo>
                    <a:pt x="196" y="58"/>
                  </a:lnTo>
                  <a:lnTo>
                    <a:pt x="226" y="58"/>
                  </a:lnTo>
                  <a:lnTo>
                    <a:pt x="249" y="86"/>
                  </a:lnTo>
                  <a:lnTo>
                    <a:pt x="264" y="76"/>
                  </a:lnTo>
                  <a:lnTo>
                    <a:pt x="308" y="87"/>
                  </a:lnTo>
                  <a:lnTo>
                    <a:pt x="323" y="66"/>
                  </a:lnTo>
                  <a:lnTo>
                    <a:pt x="351" y="83"/>
                  </a:lnTo>
                  <a:lnTo>
                    <a:pt x="400" y="80"/>
                  </a:lnTo>
                  <a:lnTo>
                    <a:pt x="320" y="140"/>
                  </a:lnTo>
                  <a:lnTo>
                    <a:pt x="281" y="193"/>
                  </a:lnTo>
                  <a:lnTo>
                    <a:pt x="288" y="269"/>
                  </a:lnTo>
                  <a:lnTo>
                    <a:pt x="261" y="301"/>
                  </a:lnTo>
                  <a:lnTo>
                    <a:pt x="272" y="324"/>
                  </a:lnTo>
                  <a:lnTo>
                    <a:pt x="272" y="380"/>
                  </a:lnTo>
                  <a:lnTo>
                    <a:pt x="299" y="380"/>
                  </a:lnTo>
                  <a:lnTo>
                    <a:pt x="340" y="421"/>
                  </a:lnTo>
                  <a:lnTo>
                    <a:pt x="356" y="471"/>
                  </a:lnTo>
                  <a:lnTo>
                    <a:pt x="73" y="485"/>
                  </a:lnTo>
                  <a:lnTo>
                    <a:pt x="74" y="351"/>
                  </a:lnTo>
                  <a:lnTo>
                    <a:pt x="49" y="321"/>
                  </a:lnTo>
                  <a:lnTo>
                    <a:pt x="58" y="286"/>
                  </a:lnTo>
                  <a:lnTo>
                    <a:pt x="66" y="266"/>
                  </a:lnTo>
                  <a:lnTo>
                    <a:pt x="49" y="173"/>
                  </a:lnTo>
                  <a:lnTo>
                    <a:pt x="25" y="112"/>
                  </a:lnTo>
                  <a:lnTo>
                    <a:pt x="0" y="3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9EB14C47-F99E-47A3-96B4-6BCCB6C596C4}"/>
                </a:ext>
              </a:extLst>
            </p:cNvPr>
            <p:cNvSpPr>
              <a:spLocks/>
            </p:cNvSpPr>
            <p:nvPr/>
          </p:nvSpPr>
          <p:spPr bwMode="auto">
            <a:xfrm>
              <a:off x="5380937" y="2435225"/>
              <a:ext cx="627688" cy="728663"/>
            </a:xfrm>
            <a:custGeom>
              <a:avLst/>
              <a:gdLst>
                <a:gd name="T0" fmla="*/ 30 w 304"/>
                <a:gd name="T1" fmla="*/ 26 h 382"/>
                <a:gd name="T2" fmla="*/ 62 w 304"/>
                <a:gd name="T3" fmla="*/ 23 h 382"/>
                <a:gd name="T4" fmla="*/ 89 w 304"/>
                <a:gd name="T5" fmla="*/ 23 h 382"/>
                <a:gd name="T6" fmla="*/ 108 w 304"/>
                <a:gd name="T7" fmla="*/ 0 h 382"/>
                <a:gd name="T8" fmla="*/ 120 w 304"/>
                <a:gd name="T9" fmla="*/ 28 h 382"/>
                <a:gd name="T10" fmla="*/ 167 w 304"/>
                <a:gd name="T11" fmla="*/ 28 h 382"/>
                <a:gd name="T12" fmla="*/ 189 w 304"/>
                <a:gd name="T13" fmla="*/ 54 h 382"/>
                <a:gd name="T14" fmla="*/ 237 w 304"/>
                <a:gd name="T15" fmla="*/ 47 h 382"/>
                <a:gd name="T16" fmla="*/ 268 w 304"/>
                <a:gd name="T17" fmla="*/ 64 h 382"/>
                <a:gd name="T18" fmla="*/ 327 w 304"/>
                <a:gd name="T19" fmla="*/ 75 h 382"/>
                <a:gd name="T20" fmla="*/ 338 w 304"/>
                <a:gd name="T21" fmla="*/ 95 h 382"/>
                <a:gd name="T22" fmla="*/ 368 w 304"/>
                <a:gd name="T23" fmla="*/ 97 h 382"/>
                <a:gd name="T24" fmla="*/ 357 w 304"/>
                <a:gd name="T25" fmla="*/ 117 h 382"/>
                <a:gd name="T26" fmla="*/ 369 w 304"/>
                <a:gd name="T27" fmla="*/ 139 h 382"/>
                <a:gd name="T28" fmla="*/ 351 w 304"/>
                <a:gd name="T29" fmla="*/ 167 h 382"/>
                <a:gd name="T30" fmla="*/ 365 w 304"/>
                <a:gd name="T31" fmla="*/ 173 h 382"/>
                <a:gd name="T32" fmla="*/ 397 w 304"/>
                <a:gd name="T33" fmla="*/ 142 h 382"/>
                <a:gd name="T34" fmla="*/ 396 w 304"/>
                <a:gd name="T35" fmla="*/ 132 h 382"/>
                <a:gd name="T36" fmla="*/ 407 w 304"/>
                <a:gd name="T37" fmla="*/ 127 h 382"/>
                <a:gd name="T38" fmla="*/ 417 w 304"/>
                <a:gd name="T39" fmla="*/ 142 h 382"/>
                <a:gd name="T40" fmla="*/ 390 w 304"/>
                <a:gd name="T41" fmla="*/ 164 h 382"/>
                <a:gd name="T42" fmla="*/ 382 w 304"/>
                <a:gd name="T43" fmla="*/ 212 h 382"/>
                <a:gd name="T44" fmla="*/ 382 w 304"/>
                <a:gd name="T45" fmla="*/ 293 h 382"/>
                <a:gd name="T46" fmla="*/ 397 w 304"/>
                <a:gd name="T47" fmla="*/ 307 h 382"/>
                <a:gd name="T48" fmla="*/ 389 w 304"/>
                <a:gd name="T49" fmla="*/ 358 h 382"/>
                <a:gd name="T50" fmla="*/ 194 w 304"/>
                <a:gd name="T51" fmla="*/ 382 h 382"/>
                <a:gd name="T52" fmla="*/ 143 w 304"/>
                <a:gd name="T53" fmla="*/ 359 h 382"/>
                <a:gd name="T54" fmla="*/ 153 w 304"/>
                <a:gd name="T55" fmla="*/ 328 h 382"/>
                <a:gd name="T56" fmla="*/ 129 w 304"/>
                <a:gd name="T57" fmla="*/ 295 h 382"/>
                <a:gd name="T58" fmla="*/ 108 w 304"/>
                <a:gd name="T59" fmla="*/ 254 h 382"/>
                <a:gd name="T60" fmla="*/ 52 w 304"/>
                <a:gd name="T61" fmla="*/ 213 h 382"/>
                <a:gd name="T62" fmla="*/ 17 w 304"/>
                <a:gd name="T63" fmla="*/ 213 h 382"/>
                <a:gd name="T64" fmla="*/ 17 w 304"/>
                <a:gd name="T65" fmla="*/ 157 h 382"/>
                <a:gd name="T66" fmla="*/ 0 w 304"/>
                <a:gd name="T67" fmla="*/ 135 h 382"/>
                <a:gd name="T68" fmla="*/ 38 w 304"/>
                <a:gd name="T69" fmla="*/ 102 h 382"/>
                <a:gd name="T70" fmla="*/ 30 w 304"/>
                <a:gd name="T71" fmla="*/ 26 h 38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04"/>
                <a:gd name="T109" fmla="*/ 0 h 382"/>
                <a:gd name="T110" fmla="*/ 304 w 304"/>
                <a:gd name="T111" fmla="*/ 382 h 38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04" h="382">
                  <a:moveTo>
                    <a:pt x="22" y="26"/>
                  </a:moveTo>
                  <a:lnTo>
                    <a:pt x="45" y="23"/>
                  </a:lnTo>
                  <a:lnTo>
                    <a:pt x="65" y="23"/>
                  </a:lnTo>
                  <a:lnTo>
                    <a:pt x="79" y="0"/>
                  </a:lnTo>
                  <a:lnTo>
                    <a:pt x="88" y="28"/>
                  </a:lnTo>
                  <a:lnTo>
                    <a:pt x="121" y="28"/>
                  </a:lnTo>
                  <a:lnTo>
                    <a:pt x="139" y="54"/>
                  </a:lnTo>
                  <a:lnTo>
                    <a:pt x="173" y="47"/>
                  </a:lnTo>
                  <a:lnTo>
                    <a:pt x="196" y="64"/>
                  </a:lnTo>
                  <a:lnTo>
                    <a:pt x="238" y="75"/>
                  </a:lnTo>
                  <a:lnTo>
                    <a:pt x="246" y="95"/>
                  </a:lnTo>
                  <a:lnTo>
                    <a:pt x="268" y="97"/>
                  </a:lnTo>
                  <a:lnTo>
                    <a:pt x="261" y="117"/>
                  </a:lnTo>
                  <a:lnTo>
                    <a:pt x="269" y="139"/>
                  </a:lnTo>
                  <a:lnTo>
                    <a:pt x="255" y="167"/>
                  </a:lnTo>
                  <a:lnTo>
                    <a:pt x="265" y="173"/>
                  </a:lnTo>
                  <a:lnTo>
                    <a:pt x="289" y="142"/>
                  </a:lnTo>
                  <a:lnTo>
                    <a:pt x="288" y="132"/>
                  </a:lnTo>
                  <a:lnTo>
                    <a:pt x="297" y="127"/>
                  </a:lnTo>
                  <a:lnTo>
                    <a:pt x="304" y="142"/>
                  </a:lnTo>
                  <a:lnTo>
                    <a:pt x="285" y="164"/>
                  </a:lnTo>
                  <a:lnTo>
                    <a:pt x="278" y="212"/>
                  </a:lnTo>
                  <a:lnTo>
                    <a:pt x="278" y="293"/>
                  </a:lnTo>
                  <a:lnTo>
                    <a:pt x="289" y="307"/>
                  </a:lnTo>
                  <a:lnTo>
                    <a:pt x="284" y="358"/>
                  </a:lnTo>
                  <a:lnTo>
                    <a:pt x="140" y="382"/>
                  </a:lnTo>
                  <a:lnTo>
                    <a:pt x="104" y="359"/>
                  </a:lnTo>
                  <a:lnTo>
                    <a:pt x="111" y="328"/>
                  </a:lnTo>
                  <a:lnTo>
                    <a:pt x="94" y="295"/>
                  </a:lnTo>
                  <a:lnTo>
                    <a:pt x="79" y="254"/>
                  </a:lnTo>
                  <a:lnTo>
                    <a:pt x="38" y="213"/>
                  </a:lnTo>
                  <a:lnTo>
                    <a:pt x="13" y="213"/>
                  </a:lnTo>
                  <a:lnTo>
                    <a:pt x="13" y="157"/>
                  </a:lnTo>
                  <a:lnTo>
                    <a:pt x="0" y="135"/>
                  </a:lnTo>
                  <a:lnTo>
                    <a:pt x="28" y="102"/>
                  </a:lnTo>
                  <a:lnTo>
                    <a:pt x="22" y="2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FEBA65BB-55DD-4ED4-8C9F-2A0782DC976B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7771" y="2331821"/>
              <a:ext cx="677559" cy="288925"/>
            </a:xfrm>
            <a:custGeom>
              <a:avLst/>
              <a:gdLst>
                <a:gd name="T0" fmla="*/ 0 w 327"/>
                <a:gd name="T1" fmla="*/ 84 h 152"/>
                <a:gd name="T2" fmla="*/ 101 w 327"/>
                <a:gd name="T3" fmla="*/ 0 h 152"/>
                <a:gd name="T4" fmla="*/ 84 w 327"/>
                <a:gd name="T5" fmla="*/ 34 h 152"/>
                <a:gd name="T6" fmla="*/ 98 w 327"/>
                <a:gd name="T7" fmla="*/ 45 h 152"/>
                <a:gd name="T8" fmla="*/ 129 w 327"/>
                <a:gd name="T9" fmla="*/ 31 h 152"/>
                <a:gd name="T10" fmla="*/ 198 w 327"/>
                <a:gd name="T11" fmla="*/ 52 h 152"/>
                <a:gd name="T12" fmla="*/ 229 w 327"/>
                <a:gd name="T13" fmla="*/ 34 h 152"/>
                <a:gd name="T14" fmla="*/ 325 w 327"/>
                <a:gd name="T15" fmla="*/ 25 h 152"/>
                <a:gd name="T16" fmla="*/ 342 w 327"/>
                <a:gd name="T17" fmla="*/ 46 h 152"/>
                <a:gd name="T18" fmla="*/ 377 w 327"/>
                <a:gd name="T19" fmla="*/ 41 h 152"/>
                <a:gd name="T20" fmla="*/ 451 w 327"/>
                <a:gd name="T21" fmla="*/ 64 h 152"/>
                <a:gd name="T22" fmla="*/ 454 w 327"/>
                <a:gd name="T23" fmla="*/ 80 h 152"/>
                <a:gd name="T24" fmla="*/ 376 w 327"/>
                <a:gd name="T25" fmla="*/ 94 h 152"/>
                <a:gd name="T26" fmla="*/ 355 w 327"/>
                <a:gd name="T27" fmla="*/ 84 h 152"/>
                <a:gd name="T28" fmla="*/ 315 w 327"/>
                <a:gd name="T29" fmla="*/ 87 h 152"/>
                <a:gd name="T30" fmla="*/ 270 w 327"/>
                <a:gd name="T31" fmla="*/ 108 h 152"/>
                <a:gd name="T32" fmla="*/ 248 w 327"/>
                <a:gd name="T33" fmla="*/ 109 h 152"/>
                <a:gd name="T34" fmla="*/ 230 w 327"/>
                <a:gd name="T35" fmla="*/ 94 h 152"/>
                <a:gd name="T36" fmla="*/ 206 w 327"/>
                <a:gd name="T37" fmla="*/ 151 h 152"/>
                <a:gd name="T38" fmla="*/ 177 w 327"/>
                <a:gd name="T39" fmla="*/ 152 h 152"/>
                <a:gd name="T40" fmla="*/ 164 w 327"/>
                <a:gd name="T41" fmla="*/ 129 h 152"/>
                <a:gd name="T42" fmla="*/ 102 w 327"/>
                <a:gd name="T43" fmla="*/ 119 h 152"/>
                <a:gd name="T44" fmla="*/ 75 w 327"/>
                <a:gd name="T45" fmla="*/ 102 h 152"/>
                <a:gd name="T46" fmla="*/ 26 w 327"/>
                <a:gd name="T47" fmla="*/ 108 h 152"/>
                <a:gd name="T48" fmla="*/ 0 w 327"/>
                <a:gd name="T49" fmla="*/ 84 h 15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327"/>
                <a:gd name="T76" fmla="*/ 0 h 152"/>
                <a:gd name="T77" fmla="*/ 327 w 327"/>
                <a:gd name="T78" fmla="*/ 152 h 15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327" h="152">
                  <a:moveTo>
                    <a:pt x="0" y="84"/>
                  </a:moveTo>
                  <a:lnTo>
                    <a:pt x="73" y="0"/>
                  </a:lnTo>
                  <a:lnTo>
                    <a:pt x="60" y="34"/>
                  </a:lnTo>
                  <a:lnTo>
                    <a:pt x="70" y="45"/>
                  </a:lnTo>
                  <a:lnTo>
                    <a:pt x="93" y="31"/>
                  </a:lnTo>
                  <a:lnTo>
                    <a:pt x="143" y="52"/>
                  </a:lnTo>
                  <a:lnTo>
                    <a:pt x="165" y="34"/>
                  </a:lnTo>
                  <a:lnTo>
                    <a:pt x="233" y="25"/>
                  </a:lnTo>
                  <a:lnTo>
                    <a:pt x="246" y="46"/>
                  </a:lnTo>
                  <a:lnTo>
                    <a:pt x="272" y="41"/>
                  </a:lnTo>
                  <a:lnTo>
                    <a:pt x="324" y="64"/>
                  </a:lnTo>
                  <a:lnTo>
                    <a:pt x="327" y="80"/>
                  </a:lnTo>
                  <a:lnTo>
                    <a:pt x="271" y="94"/>
                  </a:lnTo>
                  <a:lnTo>
                    <a:pt x="255" y="84"/>
                  </a:lnTo>
                  <a:lnTo>
                    <a:pt x="227" y="87"/>
                  </a:lnTo>
                  <a:lnTo>
                    <a:pt x="194" y="108"/>
                  </a:lnTo>
                  <a:lnTo>
                    <a:pt x="178" y="109"/>
                  </a:lnTo>
                  <a:lnTo>
                    <a:pt x="166" y="94"/>
                  </a:lnTo>
                  <a:lnTo>
                    <a:pt x="148" y="151"/>
                  </a:lnTo>
                  <a:lnTo>
                    <a:pt x="127" y="152"/>
                  </a:lnTo>
                  <a:lnTo>
                    <a:pt x="118" y="129"/>
                  </a:lnTo>
                  <a:lnTo>
                    <a:pt x="74" y="119"/>
                  </a:lnTo>
                  <a:lnTo>
                    <a:pt x="54" y="102"/>
                  </a:lnTo>
                  <a:lnTo>
                    <a:pt x="18" y="108"/>
                  </a:lnTo>
                  <a:lnTo>
                    <a:pt x="0" y="84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EEC6AF57-10DE-45E2-93F6-96E58BEBC118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6152" y="2536825"/>
              <a:ext cx="481514" cy="649288"/>
            </a:xfrm>
            <a:custGeom>
              <a:avLst/>
              <a:gdLst>
                <a:gd name="T0" fmla="*/ 81 w 234"/>
                <a:gd name="T1" fmla="*/ 14 h 341"/>
                <a:gd name="T2" fmla="*/ 91 w 234"/>
                <a:gd name="T3" fmla="*/ 35 h 341"/>
                <a:gd name="T4" fmla="*/ 69 w 234"/>
                <a:gd name="T5" fmla="*/ 48 h 341"/>
                <a:gd name="T6" fmla="*/ 68 w 234"/>
                <a:gd name="T7" fmla="*/ 102 h 341"/>
                <a:gd name="T8" fmla="*/ 56 w 234"/>
                <a:gd name="T9" fmla="*/ 67 h 341"/>
                <a:gd name="T10" fmla="*/ 11 w 234"/>
                <a:gd name="T11" fmla="*/ 101 h 341"/>
                <a:gd name="T12" fmla="*/ 0 w 234"/>
                <a:gd name="T13" fmla="*/ 199 h 341"/>
                <a:gd name="T14" fmla="*/ 29 w 234"/>
                <a:gd name="T15" fmla="*/ 247 h 341"/>
                <a:gd name="T16" fmla="*/ 32 w 234"/>
                <a:gd name="T17" fmla="*/ 272 h 341"/>
                <a:gd name="T18" fmla="*/ 34 w 234"/>
                <a:gd name="T19" fmla="*/ 292 h 341"/>
                <a:gd name="T20" fmla="*/ 32 w 234"/>
                <a:gd name="T21" fmla="*/ 309 h 341"/>
                <a:gd name="T22" fmla="*/ 27 w 234"/>
                <a:gd name="T23" fmla="*/ 341 h 341"/>
                <a:gd name="T24" fmla="*/ 152 w 234"/>
                <a:gd name="T25" fmla="*/ 335 h 341"/>
                <a:gd name="T26" fmla="*/ 318 w 234"/>
                <a:gd name="T27" fmla="*/ 323 h 341"/>
                <a:gd name="T28" fmla="*/ 289 w 234"/>
                <a:gd name="T29" fmla="*/ 316 h 341"/>
                <a:gd name="T30" fmla="*/ 271 w 234"/>
                <a:gd name="T31" fmla="*/ 299 h 341"/>
                <a:gd name="T32" fmla="*/ 297 w 234"/>
                <a:gd name="T33" fmla="*/ 283 h 341"/>
                <a:gd name="T34" fmla="*/ 297 w 234"/>
                <a:gd name="T35" fmla="*/ 265 h 341"/>
                <a:gd name="T36" fmla="*/ 284 w 234"/>
                <a:gd name="T37" fmla="*/ 248 h 341"/>
                <a:gd name="T38" fmla="*/ 297 w 234"/>
                <a:gd name="T39" fmla="*/ 236 h 341"/>
                <a:gd name="T40" fmla="*/ 320 w 234"/>
                <a:gd name="T41" fmla="*/ 238 h 341"/>
                <a:gd name="T42" fmla="*/ 315 w 234"/>
                <a:gd name="T43" fmla="*/ 191 h 341"/>
                <a:gd name="T44" fmla="*/ 308 w 234"/>
                <a:gd name="T45" fmla="*/ 162 h 341"/>
                <a:gd name="T46" fmla="*/ 296 w 234"/>
                <a:gd name="T47" fmla="*/ 145 h 341"/>
                <a:gd name="T48" fmla="*/ 282 w 234"/>
                <a:gd name="T49" fmla="*/ 134 h 341"/>
                <a:gd name="T50" fmla="*/ 262 w 234"/>
                <a:gd name="T51" fmla="*/ 131 h 341"/>
                <a:gd name="T52" fmla="*/ 242 w 234"/>
                <a:gd name="T53" fmla="*/ 131 h 341"/>
                <a:gd name="T54" fmla="*/ 219 w 234"/>
                <a:gd name="T55" fmla="*/ 153 h 341"/>
                <a:gd name="T56" fmla="*/ 207 w 234"/>
                <a:gd name="T57" fmla="*/ 160 h 341"/>
                <a:gd name="T58" fmla="*/ 199 w 234"/>
                <a:gd name="T59" fmla="*/ 162 h 341"/>
                <a:gd name="T60" fmla="*/ 187 w 234"/>
                <a:gd name="T61" fmla="*/ 159 h 341"/>
                <a:gd name="T62" fmla="*/ 185 w 234"/>
                <a:gd name="T63" fmla="*/ 148 h 341"/>
                <a:gd name="T64" fmla="*/ 187 w 234"/>
                <a:gd name="T65" fmla="*/ 141 h 341"/>
                <a:gd name="T66" fmla="*/ 198 w 234"/>
                <a:gd name="T67" fmla="*/ 134 h 341"/>
                <a:gd name="T68" fmla="*/ 205 w 234"/>
                <a:gd name="T69" fmla="*/ 131 h 341"/>
                <a:gd name="T70" fmla="*/ 215 w 234"/>
                <a:gd name="T71" fmla="*/ 129 h 341"/>
                <a:gd name="T72" fmla="*/ 215 w 234"/>
                <a:gd name="T73" fmla="*/ 117 h 341"/>
                <a:gd name="T74" fmla="*/ 239 w 234"/>
                <a:gd name="T75" fmla="*/ 102 h 341"/>
                <a:gd name="T76" fmla="*/ 215 w 234"/>
                <a:gd name="T77" fmla="*/ 58 h 341"/>
                <a:gd name="T78" fmla="*/ 215 w 234"/>
                <a:gd name="T79" fmla="*/ 37 h 341"/>
                <a:gd name="T80" fmla="*/ 174 w 234"/>
                <a:gd name="T81" fmla="*/ 28 h 341"/>
                <a:gd name="T82" fmla="*/ 116 w 234"/>
                <a:gd name="T83" fmla="*/ 0 h 341"/>
                <a:gd name="T84" fmla="*/ 81 w 234"/>
                <a:gd name="T85" fmla="*/ 14 h 34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234"/>
                <a:gd name="T130" fmla="*/ 0 h 341"/>
                <a:gd name="T131" fmla="*/ 234 w 234"/>
                <a:gd name="T132" fmla="*/ 341 h 341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234" h="341">
                  <a:moveTo>
                    <a:pt x="59" y="14"/>
                  </a:moveTo>
                  <a:lnTo>
                    <a:pt x="67" y="35"/>
                  </a:lnTo>
                  <a:lnTo>
                    <a:pt x="51" y="48"/>
                  </a:lnTo>
                  <a:lnTo>
                    <a:pt x="50" y="102"/>
                  </a:lnTo>
                  <a:lnTo>
                    <a:pt x="41" y="67"/>
                  </a:lnTo>
                  <a:lnTo>
                    <a:pt x="7" y="101"/>
                  </a:lnTo>
                  <a:lnTo>
                    <a:pt x="0" y="199"/>
                  </a:lnTo>
                  <a:lnTo>
                    <a:pt x="21" y="247"/>
                  </a:lnTo>
                  <a:lnTo>
                    <a:pt x="24" y="272"/>
                  </a:lnTo>
                  <a:lnTo>
                    <a:pt x="25" y="292"/>
                  </a:lnTo>
                  <a:lnTo>
                    <a:pt x="24" y="309"/>
                  </a:lnTo>
                  <a:lnTo>
                    <a:pt x="19" y="341"/>
                  </a:lnTo>
                  <a:lnTo>
                    <a:pt x="111" y="335"/>
                  </a:lnTo>
                  <a:lnTo>
                    <a:pt x="233" y="323"/>
                  </a:lnTo>
                  <a:lnTo>
                    <a:pt x="211" y="316"/>
                  </a:lnTo>
                  <a:lnTo>
                    <a:pt x="199" y="299"/>
                  </a:lnTo>
                  <a:lnTo>
                    <a:pt x="217" y="283"/>
                  </a:lnTo>
                  <a:lnTo>
                    <a:pt x="217" y="265"/>
                  </a:lnTo>
                  <a:lnTo>
                    <a:pt x="208" y="248"/>
                  </a:lnTo>
                  <a:lnTo>
                    <a:pt x="217" y="236"/>
                  </a:lnTo>
                  <a:lnTo>
                    <a:pt x="234" y="238"/>
                  </a:lnTo>
                  <a:lnTo>
                    <a:pt x="230" y="191"/>
                  </a:lnTo>
                  <a:lnTo>
                    <a:pt x="226" y="162"/>
                  </a:lnTo>
                  <a:lnTo>
                    <a:pt x="216" y="145"/>
                  </a:lnTo>
                  <a:lnTo>
                    <a:pt x="206" y="134"/>
                  </a:lnTo>
                  <a:lnTo>
                    <a:pt x="191" y="131"/>
                  </a:lnTo>
                  <a:lnTo>
                    <a:pt x="177" y="131"/>
                  </a:lnTo>
                  <a:lnTo>
                    <a:pt x="161" y="153"/>
                  </a:lnTo>
                  <a:lnTo>
                    <a:pt x="152" y="160"/>
                  </a:lnTo>
                  <a:lnTo>
                    <a:pt x="145" y="162"/>
                  </a:lnTo>
                  <a:lnTo>
                    <a:pt x="137" y="159"/>
                  </a:lnTo>
                  <a:lnTo>
                    <a:pt x="135" y="148"/>
                  </a:lnTo>
                  <a:lnTo>
                    <a:pt x="137" y="141"/>
                  </a:lnTo>
                  <a:lnTo>
                    <a:pt x="144" y="134"/>
                  </a:lnTo>
                  <a:lnTo>
                    <a:pt x="151" y="131"/>
                  </a:lnTo>
                  <a:lnTo>
                    <a:pt x="157" y="129"/>
                  </a:lnTo>
                  <a:lnTo>
                    <a:pt x="157" y="117"/>
                  </a:lnTo>
                  <a:lnTo>
                    <a:pt x="175" y="102"/>
                  </a:lnTo>
                  <a:lnTo>
                    <a:pt x="157" y="58"/>
                  </a:lnTo>
                  <a:lnTo>
                    <a:pt x="157" y="37"/>
                  </a:lnTo>
                  <a:lnTo>
                    <a:pt x="128" y="28"/>
                  </a:lnTo>
                  <a:lnTo>
                    <a:pt x="85" y="0"/>
                  </a:lnTo>
                  <a:lnTo>
                    <a:pt x="59" y="14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6D1C84AE-24BC-40D8-943C-247D8B7BC727}"/>
                </a:ext>
              </a:extLst>
            </p:cNvPr>
            <p:cNvSpPr>
              <a:spLocks/>
            </p:cNvSpPr>
            <p:nvPr/>
          </p:nvSpPr>
          <p:spPr bwMode="auto">
            <a:xfrm>
              <a:off x="6710082" y="4090988"/>
              <a:ext cx="619090" cy="485775"/>
            </a:xfrm>
            <a:custGeom>
              <a:avLst/>
              <a:gdLst>
                <a:gd name="T0" fmla="*/ 15 w 300"/>
                <a:gd name="T1" fmla="*/ 46 h 255"/>
                <a:gd name="T2" fmla="*/ 48 w 300"/>
                <a:gd name="T3" fmla="*/ 21 h 255"/>
                <a:gd name="T4" fmla="*/ 171 w 300"/>
                <a:gd name="T5" fmla="*/ 0 h 255"/>
                <a:gd name="T6" fmla="*/ 210 w 300"/>
                <a:gd name="T7" fmla="*/ 14 h 255"/>
                <a:gd name="T8" fmla="*/ 288 w 300"/>
                <a:gd name="T9" fmla="*/ 4 h 255"/>
                <a:gd name="T10" fmla="*/ 353 w 300"/>
                <a:gd name="T11" fmla="*/ 40 h 255"/>
                <a:gd name="T12" fmla="*/ 413 w 300"/>
                <a:gd name="T13" fmla="*/ 68 h 255"/>
                <a:gd name="T14" fmla="*/ 380 w 300"/>
                <a:gd name="T15" fmla="*/ 145 h 255"/>
                <a:gd name="T16" fmla="*/ 331 w 300"/>
                <a:gd name="T17" fmla="*/ 183 h 255"/>
                <a:gd name="T18" fmla="*/ 276 w 300"/>
                <a:gd name="T19" fmla="*/ 195 h 255"/>
                <a:gd name="T20" fmla="*/ 286 w 300"/>
                <a:gd name="T21" fmla="*/ 226 h 255"/>
                <a:gd name="T22" fmla="*/ 253 w 300"/>
                <a:gd name="T23" fmla="*/ 255 h 255"/>
                <a:gd name="T24" fmla="*/ 192 w 300"/>
                <a:gd name="T25" fmla="*/ 183 h 255"/>
                <a:gd name="T26" fmla="*/ 28 w 300"/>
                <a:gd name="T27" fmla="*/ 68 h 255"/>
                <a:gd name="T28" fmla="*/ 0 w 300"/>
                <a:gd name="T29" fmla="*/ 68 h 255"/>
                <a:gd name="T30" fmla="*/ 15 w 300"/>
                <a:gd name="T31" fmla="*/ 46 h 25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300"/>
                <a:gd name="T49" fmla="*/ 0 h 255"/>
                <a:gd name="T50" fmla="*/ 300 w 300"/>
                <a:gd name="T51" fmla="*/ 255 h 255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300" h="255">
                  <a:moveTo>
                    <a:pt x="11" y="46"/>
                  </a:moveTo>
                  <a:lnTo>
                    <a:pt x="35" y="21"/>
                  </a:lnTo>
                  <a:lnTo>
                    <a:pt x="125" y="0"/>
                  </a:lnTo>
                  <a:lnTo>
                    <a:pt x="152" y="14"/>
                  </a:lnTo>
                  <a:lnTo>
                    <a:pt x="210" y="4"/>
                  </a:lnTo>
                  <a:lnTo>
                    <a:pt x="257" y="40"/>
                  </a:lnTo>
                  <a:lnTo>
                    <a:pt x="300" y="68"/>
                  </a:lnTo>
                  <a:lnTo>
                    <a:pt x="276" y="145"/>
                  </a:lnTo>
                  <a:lnTo>
                    <a:pt x="240" y="183"/>
                  </a:lnTo>
                  <a:lnTo>
                    <a:pt x="200" y="195"/>
                  </a:lnTo>
                  <a:lnTo>
                    <a:pt x="208" y="226"/>
                  </a:lnTo>
                  <a:lnTo>
                    <a:pt x="184" y="255"/>
                  </a:lnTo>
                  <a:lnTo>
                    <a:pt x="138" y="183"/>
                  </a:lnTo>
                  <a:lnTo>
                    <a:pt x="20" y="68"/>
                  </a:lnTo>
                  <a:lnTo>
                    <a:pt x="0" y="68"/>
                  </a:lnTo>
                  <a:lnTo>
                    <a:pt x="11" y="4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16" name="Freeform 13">
              <a:extLst>
                <a:ext uri="{FF2B5EF4-FFF2-40B4-BE49-F238E27FC236}">
                  <a16:creationId xmlns:a16="http://schemas.microsoft.com/office/drawing/2014/main" id="{96F28FED-D84E-4D4D-AB3C-7056FFD95662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0976" y="3375025"/>
              <a:ext cx="932074" cy="576263"/>
            </a:xfrm>
            <a:custGeom>
              <a:avLst/>
              <a:gdLst>
                <a:gd name="T0" fmla="*/ 102 w 452"/>
                <a:gd name="T1" fmla="*/ 211 h 302"/>
                <a:gd name="T2" fmla="*/ 83 w 452"/>
                <a:gd name="T3" fmla="*/ 242 h 302"/>
                <a:gd name="T4" fmla="*/ 57 w 452"/>
                <a:gd name="T5" fmla="*/ 250 h 302"/>
                <a:gd name="T6" fmla="*/ 56 w 452"/>
                <a:gd name="T7" fmla="*/ 270 h 302"/>
                <a:gd name="T8" fmla="*/ 2 w 452"/>
                <a:gd name="T9" fmla="*/ 286 h 302"/>
                <a:gd name="T10" fmla="*/ 0 w 452"/>
                <a:gd name="T11" fmla="*/ 302 h 302"/>
                <a:gd name="T12" fmla="*/ 146 w 452"/>
                <a:gd name="T13" fmla="*/ 282 h 302"/>
                <a:gd name="T14" fmla="*/ 414 w 452"/>
                <a:gd name="T15" fmla="*/ 238 h 302"/>
                <a:gd name="T16" fmla="*/ 619 w 452"/>
                <a:gd name="T17" fmla="*/ 200 h 302"/>
                <a:gd name="T18" fmla="*/ 619 w 452"/>
                <a:gd name="T19" fmla="*/ 169 h 302"/>
                <a:gd name="T20" fmla="*/ 597 w 452"/>
                <a:gd name="T21" fmla="*/ 160 h 302"/>
                <a:gd name="T22" fmla="*/ 578 w 452"/>
                <a:gd name="T23" fmla="*/ 175 h 302"/>
                <a:gd name="T24" fmla="*/ 568 w 452"/>
                <a:gd name="T25" fmla="*/ 134 h 302"/>
                <a:gd name="T26" fmla="*/ 578 w 452"/>
                <a:gd name="T27" fmla="*/ 97 h 302"/>
                <a:gd name="T28" fmla="*/ 501 w 452"/>
                <a:gd name="T29" fmla="*/ 70 h 302"/>
                <a:gd name="T30" fmla="*/ 449 w 452"/>
                <a:gd name="T31" fmla="*/ 77 h 302"/>
                <a:gd name="T32" fmla="*/ 448 w 452"/>
                <a:gd name="T33" fmla="*/ 21 h 302"/>
                <a:gd name="T34" fmla="*/ 396 w 452"/>
                <a:gd name="T35" fmla="*/ 0 h 302"/>
                <a:gd name="T36" fmla="*/ 354 w 452"/>
                <a:gd name="T37" fmla="*/ 13 h 302"/>
                <a:gd name="T38" fmla="*/ 326 w 452"/>
                <a:gd name="T39" fmla="*/ 66 h 302"/>
                <a:gd name="T40" fmla="*/ 278 w 452"/>
                <a:gd name="T41" fmla="*/ 87 h 302"/>
                <a:gd name="T42" fmla="*/ 259 w 452"/>
                <a:gd name="T43" fmla="*/ 170 h 302"/>
                <a:gd name="T44" fmla="*/ 182 w 452"/>
                <a:gd name="T45" fmla="*/ 211 h 302"/>
                <a:gd name="T46" fmla="*/ 118 w 452"/>
                <a:gd name="T47" fmla="*/ 228 h 302"/>
                <a:gd name="T48" fmla="*/ 102 w 452"/>
                <a:gd name="T49" fmla="*/ 211 h 30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452"/>
                <a:gd name="T76" fmla="*/ 0 h 302"/>
                <a:gd name="T77" fmla="*/ 452 w 452"/>
                <a:gd name="T78" fmla="*/ 302 h 30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452" h="302">
                  <a:moveTo>
                    <a:pt x="74" y="211"/>
                  </a:moveTo>
                  <a:lnTo>
                    <a:pt x="61" y="242"/>
                  </a:lnTo>
                  <a:lnTo>
                    <a:pt x="42" y="250"/>
                  </a:lnTo>
                  <a:lnTo>
                    <a:pt x="41" y="270"/>
                  </a:lnTo>
                  <a:lnTo>
                    <a:pt x="2" y="286"/>
                  </a:lnTo>
                  <a:lnTo>
                    <a:pt x="0" y="302"/>
                  </a:lnTo>
                  <a:lnTo>
                    <a:pt x="107" y="282"/>
                  </a:lnTo>
                  <a:lnTo>
                    <a:pt x="302" y="238"/>
                  </a:lnTo>
                  <a:lnTo>
                    <a:pt x="452" y="200"/>
                  </a:lnTo>
                  <a:lnTo>
                    <a:pt x="452" y="169"/>
                  </a:lnTo>
                  <a:lnTo>
                    <a:pt x="435" y="160"/>
                  </a:lnTo>
                  <a:lnTo>
                    <a:pt x="422" y="175"/>
                  </a:lnTo>
                  <a:lnTo>
                    <a:pt x="414" y="134"/>
                  </a:lnTo>
                  <a:lnTo>
                    <a:pt x="422" y="97"/>
                  </a:lnTo>
                  <a:lnTo>
                    <a:pt x="366" y="70"/>
                  </a:lnTo>
                  <a:lnTo>
                    <a:pt x="328" y="77"/>
                  </a:lnTo>
                  <a:lnTo>
                    <a:pt x="327" y="21"/>
                  </a:lnTo>
                  <a:lnTo>
                    <a:pt x="288" y="0"/>
                  </a:lnTo>
                  <a:lnTo>
                    <a:pt x="258" y="13"/>
                  </a:lnTo>
                  <a:lnTo>
                    <a:pt x="238" y="66"/>
                  </a:lnTo>
                  <a:lnTo>
                    <a:pt x="203" y="87"/>
                  </a:lnTo>
                  <a:lnTo>
                    <a:pt x="189" y="170"/>
                  </a:lnTo>
                  <a:lnTo>
                    <a:pt x="132" y="211"/>
                  </a:lnTo>
                  <a:lnTo>
                    <a:pt x="86" y="228"/>
                  </a:lnTo>
                  <a:lnTo>
                    <a:pt x="74" y="211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17" name="Freeform 14">
              <a:extLst>
                <a:ext uri="{FF2B5EF4-FFF2-40B4-BE49-F238E27FC236}">
                  <a16:creationId xmlns:a16="http://schemas.microsoft.com/office/drawing/2014/main" id="{B8C44A6C-1F62-4550-9028-E5B9F11F074D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3264" y="2908300"/>
              <a:ext cx="715393" cy="466725"/>
            </a:xfrm>
            <a:custGeom>
              <a:avLst/>
              <a:gdLst>
                <a:gd name="T0" fmla="*/ 44 w 347"/>
                <a:gd name="T1" fmla="*/ 36 h 245"/>
                <a:gd name="T2" fmla="*/ 0 w 347"/>
                <a:gd name="T3" fmla="*/ 68 h 245"/>
                <a:gd name="T4" fmla="*/ 26 w 347"/>
                <a:gd name="T5" fmla="*/ 187 h 245"/>
                <a:gd name="T6" fmla="*/ 44 w 347"/>
                <a:gd name="T7" fmla="*/ 245 h 245"/>
                <a:gd name="T8" fmla="*/ 126 w 347"/>
                <a:gd name="T9" fmla="*/ 240 h 245"/>
                <a:gd name="T10" fmla="*/ 427 w 347"/>
                <a:gd name="T11" fmla="*/ 195 h 245"/>
                <a:gd name="T12" fmla="*/ 448 w 347"/>
                <a:gd name="T13" fmla="*/ 188 h 245"/>
                <a:gd name="T14" fmla="*/ 478 w 347"/>
                <a:gd name="T15" fmla="*/ 133 h 245"/>
                <a:gd name="T16" fmla="*/ 432 w 347"/>
                <a:gd name="T17" fmla="*/ 103 h 245"/>
                <a:gd name="T18" fmla="*/ 458 w 347"/>
                <a:gd name="T19" fmla="*/ 32 h 245"/>
                <a:gd name="T20" fmla="*/ 424 w 347"/>
                <a:gd name="T21" fmla="*/ 25 h 245"/>
                <a:gd name="T22" fmla="*/ 424 w 347"/>
                <a:gd name="T23" fmla="*/ 7 h 245"/>
                <a:gd name="T24" fmla="*/ 409 w 347"/>
                <a:gd name="T25" fmla="*/ 0 h 245"/>
                <a:gd name="T26" fmla="*/ 59 w 347"/>
                <a:gd name="T27" fmla="*/ 51 h 245"/>
                <a:gd name="T28" fmla="*/ 44 w 347"/>
                <a:gd name="T29" fmla="*/ 36 h 24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47"/>
                <a:gd name="T46" fmla="*/ 0 h 245"/>
                <a:gd name="T47" fmla="*/ 347 w 347"/>
                <a:gd name="T48" fmla="*/ 245 h 245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47" h="245">
                  <a:moveTo>
                    <a:pt x="32" y="36"/>
                  </a:moveTo>
                  <a:lnTo>
                    <a:pt x="0" y="68"/>
                  </a:lnTo>
                  <a:lnTo>
                    <a:pt x="18" y="187"/>
                  </a:lnTo>
                  <a:lnTo>
                    <a:pt x="32" y="245"/>
                  </a:lnTo>
                  <a:lnTo>
                    <a:pt x="91" y="240"/>
                  </a:lnTo>
                  <a:lnTo>
                    <a:pt x="310" y="195"/>
                  </a:lnTo>
                  <a:lnTo>
                    <a:pt x="325" y="188"/>
                  </a:lnTo>
                  <a:lnTo>
                    <a:pt x="347" y="133"/>
                  </a:lnTo>
                  <a:lnTo>
                    <a:pt x="314" y="103"/>
                  </a:lnTo>
                  <a:lnTo>
                    <a:pt x="332" y="32"/>
                  </a:lnTo>
                  <a:lnTo>
                    <a:pt x="307" y="25"/>
                  </a:lnTo>
                  <a:lnTo>
                    <a:pt x="307" y="7"/>
                  </a:lnTo>
                  <a:lnTo>
                    <a:pt x="296" y="0"/>
                  </a:lnTo>
                  <a:lnTo>
                    <a:pt x="42" y="51"/>
                  </a:lnTo>
                  <a:lnTo>
                    <a:pt x="32" y="3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18" name="Freeform 15">
              <a:extLst>
                <a:ext uri="{FF2B5EF4-FFF2-40B4-BE49-F238E27FC236}">
                  <a16:creationId xmlns:a16="http://schemas.microsoft.com/office/drawing/2014/main" id="{E3FC2059-5256-44A0-880D-9ADE3285117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90393" y="3279775"/>
              <a:ext cx="608772" cy="249238"/>
            </a:xfrm>
            <a:custGeom>
              <a:avLst/>
              <a:gdLst>
                <a:gd name="T0" fmla="*/ 0 w 295"/>
                <a:gd name="T1" fmla="*/ 45 h 131"/>
                <a:gd name="T2" fmla="*/ 305 w 295"/>
                <a:gd name="T3" fmla="*/ 0 h 131"/>
                <a:gd name="T4" fmla="*/ 356 w 295"/>
                <a:gd name="T5" fmla="*/ 90 h 131"/>
                <a:gd name="T6" fmla="*/ 407 w 295"/>
                <a:gd name="T7" fmla="*/ 80 h 131"/>
                <a:gd name="T8" fmla="*/ 408 w 295"/>
                <a:gd name="T9" fmla="*/ 125 h 131"/>
                <a:gd name="T10" fmla="*/ 364 w 295"/>
                <a:gd name="T11" fmla="*/ 131 h 131"/>
                <a:gd name="T12" fmla="*/ 329 w 295"/>
                <a:gd name="T13" fmla="*/ 102 h 131"/>
                <a:gd name="T14" fmla="*/ 305 w 295"/>
                <a:gd name="T15" fmla="*/ 66 h 131"/>
                <a:gd name="T16" fmla="*/ 299 w 295"/>
                <a:gd name="T17" fmla="*/ 17 h 131"/>
                <a:gd name="T18" fmla="*/ 281 w 295"/>
                <a:gd name="T19" fmla="*/ 42 h 131"/>
                <a:gd name="T20" fmla="*/ 304 w 295"/>
                <a:gd name="T21" fmla="*/ 116 h 131"/>
                <a:gd name="T22" fmla="*/ 213 w 295"/>
                <a:gd name="T23" fmla="*/ 126 h 131"/>
                <a:gd name="T24" fmla="*/ 210 w 295"/>
                <a:gd name="T25" fmla="*/ 72 h 131"/>
                <a:gd name="T26" fmla="*/ 154 w 295"/>
                <a:gd name="T27" fmla="*/ 49 h 131"/>
                <a:gd name="T28" fmla="*/ 110 w 295"/>
                <a:gd name="T29" fmla="*/ 43 h 131"/>
                <a:gd name="T30" fmla="*/ 12 w 295"/>
                <a:gd name="T31" fmla="*/ 80 h 131"/>
                <a:gd name="T32" fmla="*/ 0 w 295"/>
                <a:gd name="T33" fmla="*/ 45 h 131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95"/>
                <a:gd name="T52" fmla="*/ 0 h 131"/>
                <a:gd name="T53" fmla="*/ 295 w 295"/>
                <a:gd name="T54" fmla="*/ 131 h 131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95" h="131">
                  <a:moveTo>
                    <a:pt x="0" y="45"/>
                  </a:moveTo>
                  <a:lnTo>
                    <a:pt x="220" y="0"/>
                  </a:lnTo>
                  <a:lnTo>
                    <a:pt x="256" y="90"/>
                  </a:lnTo>
                  <a:lnTo>
                    <a:pt x="294" y="80"/>
                  </a:lnTo>
                  <a:lnTo>
                    <a:pt x="295" y="125"/>
                  </a:lnTo>
                  <a:lnTo>
                    <a:pt x="264" y="131"/>
                  </a:lnTo>
                  <a:lnTo>
                    <a:pt x="237" y="102"/>
                  </a:lnTo>
                  <a:lnTo>
                    <a:pt x="220" y="66"/>
                  </a:lnTo>
                  <a:lnTo>
                    <a:pt x="216" y="17"/>
                  </a:lnTo>
                  <a:lnTo>
                    <a:pt x="203" y="42"/>
                  </a:lnTo>
                  <a:lnTo>
                    <a:pt x="219" y="116"/>
                  </a:lnTo>
                  <a:lnTo>
                    <a:pt x="154" y="126"/>
                  </a:lnTo>
                  <a:lnTo>
                    <a:pt x="152" y="72"/>
                  </a:lnTo>
                  <a:lnTo>
                    <a:pt x="112" y="49"/>
                  </a:lnTo>
                  <a:lnTo>
                    <a:pt x="79" y="43"/>
                  </a:lnTo>
                  <a:lnTo>
                    <a:pt x="8" y="80"/>
                  </a:lnTo>
                  <a:lnTo>
                    <a:pt x="0" y="45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19" name="Freeform 16">
              <a:extLst>
                <a:ext uri="{FF2B5EF4-FFF2-40B4-BE49-F238E27FC236}">
                  <a16:creationId xmlns:a16="http://schemas.microsoft.com/office/drawing/2014/main" id="{D9AC98BC-DB17-448E-824D-D0C685C50F03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2997" y="2052638"/>
              <a:ext cx="1251937" cy="776287"/>
            </a:xfrm>
            <a:custGeom>
              <a:avLst/>
              <a:gdLst>
                <a:gd name="T0" fmla="*/ 14 w 607"/>
                <a:gd name="T1" fmla="*/ 0 h 407"/>
                <a:gd name="T2" fmla="*/ 179 w 607"/>
                <a:gd name="T3" fmla="*/ 17 h 407"/>
                <a:gd name="T4" fmla="*/ 278 w 607"/>
                <a:gd name="T5" fmla="*/ 27 h 407"/>
                <a:gd name="T6" fmla="*/ 407 w 607"/>
                <a:gd name="T7" fmla="*/ 38 h 407"/>
                <a:gd name="T8" fmla="*/ 527 w 607"/>
                <a:gd name="T9" fmla="*/ 47 h 407"/>
                <a:gd name="T10" fmla="*/ 736 w 607"/>
                <a:gd name="T11" fmla="*/ 59 h 407"/>
                <a:gd name="T12" fmla="*/ 833 w 607"/>
                <a:gd name="T13" fmla="*/ 65 h 407"/>
                <a:gd name="T14" fmla="*/ 830 w 607"/>
                <a:gd name="T15" fmla="*/ 396 h 407"/>
                <a:gd name="T16" fmla="*/ 319 w 607"/>
                <a:gd name="T17" fmla="*/ 362 h 407"/>
                <a:gd name="T18" fmla="*/ 311 w 607"/>
                <a:gd name="T19" fmla="*/ 407 h 407"/>
                <a:gd name="T20" fmla="*/ 289 w 607"/>
                <a:gd name="T21" fmla="*/ 386 h 407"/>
                <a:gd name="T22" fmla="*/ 245 w 607"/>
                <a:gd name="T23" fmla="*/ 389 h 407"/>
                <a:gd name="T24" fmla="*/ 175 w 607"/>
                <a:gd name="T25" fmla="*/ 398 h 407"/>
                <a:gd name="T26" fmla="*/ 166 w 607"/>
                <a:gd name="T27" fmla="*/ 340 h 407"/>
                <a:gd name="T28" fmla="*/ 86 w 607"/>
                <a:gd name="T29" fmla="*/ 294 h 407"/>
                <a:gd name="T30" fmla="*/ 96 w 607"/>
                <a:gd name="T31" fmla="*/ 251 h 407"/>
                <a:gd name="T32" fmla="*/ 104 w 607"/>
                <a:gd name="T33" fmla="*/ 215 h 407"/>
                <a:gd name="T34" fmla="*/ 0 w 607"/>
                <a:gd name="T35" fmla="*/ 101 h 407"/>
                <a:gd name="T36" fmla="*/ 14 w 607"/>
                <a:gd name="T37" fmla="*/ 0 h 40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607"/>
                <a:gd name="T58" fmla="*/ 0 h 407"/>
                <a:gd name="T59" fmla="*/ 607 w 607"/>
                <a:gd name="T60" fmla="*/ 407 h 407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607" h="407">
                  <a:moveTo>
                    <a:pt x="10" y="0"/>
                  </a:moveTo>
                  <a:lnTo>
                    <a:pt x="129" y="17"/>
                  </a:lnTo>
                  <a:lnTo>
                    <a:pt x="202" y="27"/>
                  </a:lnTo>
                  <a:lnTo>
                    <a:pt x="297" y="38"/>
                  </a:lnTo>
                  <a:lnTo>
                    <a:pt x="384" y="47"/>
                  </a:lnTo>
                  <a:lnTo>
                    <a:pt x="536" y="59"/>
                  </a:lnTo>
                  <a:lnTo>
                    <a:pt x="607" y="65"/>
                  </a:lnTo>
                  <a:lnTo>
                    <a:pt x="605" y="396"/>
                  </a:lnTo>
                  <a:lnTo>
                    <a:pt x="233" y="362"/>
                  </a:lnTo>
                  <a:lnTo>
                    <a:pt x="226" y="407"/>
                  </a:lnTo>
                  <a:lnTo>
                    <a:pt x="211" y="386"/>
                  </a:lnTo>
                  <a:lnTo>
                    <a:pt x="178" y="389"/>
                  </a:lnTo>
                  <a:lnTo>
                    <a:pt x="128" y="398"/>
                  </a:lnTo>
                  <a:lnTo>
                    <a:pt x="120" y="340"/>
                  </a:lnTo>
                  <a:lnTo>
                    <a:pt x="62" y="294"/>
                  </a:lnTo>
                  <a:lnTo>
                    <a:pt x="70" y="251"/>
                  </a:lnTo>
                  <a:lnTo>
                    <a:pt x="76" y="215"/>
                  </a:lnTo>
                  <a:lnTo>
                    <a:pt x="0" y="101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20" name="Freeform 17">
              <a:extLst>
                <a:ext uri="{FF2B5EF4-FFF2-40B4-BE49-F238E27FC236}">
                  <a16:creationId xmlns:a16="http://schemas.microsoft.com/office/drawing/2014/main" id="{C26F7E2F-8201-485E-AF54-CA8250984850}"/>
                </a:ext>
              </a:extLst>
            </p:cNvPr>
            <p:cNvSpPr>
              <a:spLocks/>
            </p:cNvSpPr>
            <p:nvPr/>
          </p:nvSpPr>
          <p:spPr bwMode="auto">
            <a:xfrm>
              <a:off x="5102169" y="3459163"/>
              <a:ext cx="832332" cy="679450"/>
            </a:xfrm>
            <a:custGeom>
              <a:avLst/>
              <a:gdLst>
                <a:gd name="T0" fmla="*/ 0 w 403"/>
                <a:gd name="T1" fmla="*/ 12 h 357"/>
                <a:gd name="T2" fmla="*/ 241 w 403"/>
                <a:gd name="T3" fmla="*/ 0 h 357"/>
                <a:gd name="T4" fmla="*/ 294 w 403"/>
                <a:gd name="T5" fmla="*/ 0 h 357"/>
                <a:gd name="T6" fmla="*/ 331 w 403"/>
                <a:gd name="T7" fmla="*/ 11 h 357"/>
                <a:gd name="T8" fmla="*/ 312 w 403"/>
                <a:gd name="T9" fmla="*/ 42 h 357"/>
                <a:gd name="T10" fmla="*/ 382 w 403"/>
                <a:gd name="T11" fmla="*/ 92 h 357"/>
                <a:gd name="T12" fmla="*/ 404 w 403"/>
                <a:gd name="T13" fmla="*/ 135 h 357"/>
                <a:gd name="T14" fmla="*/ 446 w 403"/>
                <a:gd name="T15" fmla="*/ 124 h 357"/>
                <a:gd name="T16" fmla="*/ 445 w 403"/>
                <a:gd name="T17" fmla="*/ 184 h 357"/>
                <a:gd name="T18" fmla="*/ 486 w 403"/>
                <a:gd name="T19" fmla="*/ 202 h 357"/>
                <a:gd name="T20" fmla="*/ 505 w 403"/>
                <a:gd name="T21" fmla="*/ 254 h 357"/>
                <a:gd name="T22" fmla="*/ 537 w 403"/>
                <a:gd name="T23" fmla="*/ 259 h 357"/>
                <a:gd name="T24" fmla="*/ 553 w 403"/>
                <a:gd name="T25" fmla="*/ 281 h 357"/>
                <a:gd name="T26" fmla="*/ 515 w 403"/>
                <a:gd name="T27" fmla="*/ 312 h 357"/>
                <a:gd name="T28" fmla="*/ 503 w 403"/>
                <a:gd name="T29" fmla="*/ 347 h 357"/>
                <a:gd name="T30" fmla="*/ 449 w 403"/>
                <a:gd name="T31" fmla="*/ 357 h 357"/>
                <a:gd name="T32" fmla="*/ 463 w 403"/>
                <a:gd name="T33" fmla="*/ 318 h 357"/>
                <a:gd name="T34" fmla="*/ 256 w 403"/>
                <a:gd name="T35" fmla="*/ 332 h 357"/>
                <a:gd name="T36" fmla="*/ 108 w 403"/>
                <a:gd name="T37" fmla="*/ 346 h 357"/>
                <a:gd name="T38" fmla="*/ 98 w 403"/>
                <a:gd name="T39" fmla="*/ 309 h 357"/>
                <a:gd name="T40" fmla="*/ 89 w 403"/>
                <a:gd name="T41" fmla="*/ 194 h 357"/>
                <a:gd name="T42" fmla="*/ 88 w 403"/>
                <a:gd name="T43" fmla="*/ 132 h 357"/>
                <a:gd name="T44" fmla="*/ 38 w 403"/>
                <a:gd name="T45" fmla="*/ 104 h 357"/>
                <a:gd name="T46" fmla="*/ 56 w 403"/>
                <a:gd name="T47" fmla="*/ 78 h 357"/>
                <a:gd name="T48" fmla="*/ 31 w 403"/>
                <a:gd name="T49" fmla="*/ 64 h 357"/>
                <a:gd name="T50" fmla="*/ 0 w 403"/>
                <a:gd name="T51" fmla="*/ 12 h 357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403"/>
                <a:gd name="T79" fmla="*/ 0 h 357"/>
                <a:gd name="T80" fmla="*/ 403 w 403"/>
                <a:gd name="T81" fmla="*/ 357 h 357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403" h="357">
                  <a:moveTo>
                    <a:pt x="0" y="12"/>
                  </a:moveTo>
                  <a:lnTo>
                    <a:pt x="176" y="0"/>
                  </a:lnTo>
                  <a:lnTo>
                    <a:pt x="214" y="0"/>
                  </a:lnTo>
                  <a:lnTo>
                    <a:pt x="242" y="11"/>
                  </a:lnTo>
                  <a:lnTo>
                    <a:pt x="227" y="42"/>
                  </a:lnTo>
                  <a:lnTo>
                    <a:pt x="278" y="92"/>
                  </a:lnTo>
                  <a:lnTo>
                    <a:pt x="295" y="135"/>
                  </a:lnTo>
                  <a:lnTo>
                    <a:pt x="325" y="124"/>
                  </a:lnTo>
                  <a:lnTo>
                    <a:pt x="324" y="184"/>
                  </a:lnTo>
                  <a:lnTo>
                    <a:pt x="355" y="202"/>
                  </a:lnTo>
                  <a:lnTo>
                    <a:pt x="369" y="254"/>
                  </a:lnTo>
                  <a:lnTo>
                    <a:pt x="391" y="259"/>
                  </a:lnTo>
                  <a:lnTo>
                    <a:pt x="403" y="281"/>
                  </a:lnTo>
                  <a:lnTo>
                    <a:pt x="376" y="312"/>
                  </a:lnTo>
                  <a:lnTo>
                    <a:pt x="367" y="347"/>
                  </a:lnTo>
                  <a:lnTo>
                    <a:pt x="328" y="357"/>
                  </a:lnTo>
                  <a:lnTo>
                    <a:pt x="338" y="318"/>
                  </a:lnTo>
                  <a:lnTo>
                    <a:pt x="187" y="332"/>
                  </a:lnTo>
                  <a:lnTo>
                    <a:pt x="79" y="346"/>
                  </a:lnTo>
                  <a:lnTo>
                    <a:pt x="72" y="309"/>
                  </a:lnTo>
                  <a:lnTo>
                    <a:pt x="65" y="194"/>
                  </a:lnTo>
                  <a:lnTo>
                    <a:pt x="64" y="132"/>
                  </a:lnTo>
                  <a:lnTo>
                    <a:pt x="28" y="104"/>
                  </a:lnTo>
                  <a:lnTo>
                    <a:pt x="41" y="78"/>
                  </a:lnTo>
                  <a:lnTo>
                    <a:pt x="23" y="64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21" name="Freeform 18">
              <a:extLst>
                <a:ext uri="{FF2B5EF4-FFF2-40B4-BE49-F238E27FC236}">
                  <a16:creationId xmlns:a16="http://schemas.microsoft.com/office/drawing/2014/main" id="{2592AE8A-2EAB-47A4-831E-C5585002B6B3}"/>
                </a:ext>
              </a:extLst>
            </p:cNvPr>
            <p:cNvSpPr>
              <a:spLocks/>
            </p:cNvSpPr>
            <p:nvPr/>
          </p:nvSpPr>
          <p:spPr bwMode="auto">
            <a:xfrm>
              <a:off x="6013606" y="3173413"/>
              <a:ext cx="405848" cy="663575"/>
            </a:xfrm>
            <a:custGeom>
              <a:avLst/>
              <a:gdLst>
                <a:gd name="T0" fmla="*/ 0 w 197"/>
                <a:gd name="T1" fmla="*/ 25 h 348"/>
                <a:gd name="T2" fmla="*/ 31 w 197"/>
                <a:gd name="T3" fmla="*/ 38 h 348"/>
                <a:gd name="T4" fmla="*/ 62 w 197"/>
                <a:gd name="T5" fmla="*/ 35 h 348"/>
                <a:gd name="T6" fmla="*/ 72 w 197"/>
                <a:gd name="T7" fmla="*/ 28 h 348"/>
                <a:gd name="T8" fmla="*/ 80 w 197"/>
                <a:gd name="T9" fmla="*/ 7 h 348"/>
                <a:gd name="T10" fmla="*/ 208 w 197"/>
                <a:gd name="T11" fmla="*/ 0 h 348"/>
                <a:gd name="T12" fmla="*/ 269 w 197"/>
                <a:gd name="T13" fmla="*/ 246 h 348"/>
                <a:gd name="T14" fmla="*/ 265 w 197"/>
                <a:gd name="T15" fmla="*/ 243 h 348"/>
                <a:gd name="T16" fmla="*/ 219 w 197"/>
                <a:gd name="T17" fmla="*/ 257 h 348"/>
                <a:gd name="T18" fmla="*/ 188 w 197"/>
                <a:gd name="T19" fmla="*/ 323 h 348"/>
                <a:gd name="T20" fmla="*/ 142 w 197"/>
                <a:gd name="T21" fmla="*/ 314 h 348"/>
                <a:gd name="T22" fmla="*/ 89 w 197"/>
                <a:gd name="T23" fmla="*/ 339 h 348"/>
                <a:gd name="T24" fmla="*/ 17 w 197"/>
                <a:gd name="T25" fmla="*/ 348 h 348"/>
                <a:gd name="T26" fmla="*/ 49 w 197"/>
                <a:gd name="T27" fmla="*/ 283 h 348"/>
                <a:gd name="T28" fmla="*/ 35 w 197"/>
                <a:gd name="T29" fmla="*/ 247 h 348"/>
                <a:gd name="T30" fmla="*/ 0 w 197"/>
                <a:gd name="T31" fmla="*/ 25 h 348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97"/>
                <a:gd name="T49" fmla="*/ 0 h 348"/>
                <a:gd name="T50" fmla="*/ 197 w 197"/>
                <a:gd name="T51" fmla="*/ 348 h 348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97" h="348">
                  <a:moveTo>
                    <a:pt x="0" y="25"/>
                  </a:moveTo>
                  <a:lnTo>
                    <a:pt x="23" y="38"/>
                  </a:lnTo>
                  <a:lnTo>
                    <a:pt x="45" y="35"/>
                  </a:lnTo>
                  <a:lnTo>
                    <a:pt x="53" y="28"/>
                  </a:lnTo>
                  <a:lnTo>
                    <a:pt x="58" y="7"/>
                  </a:lnTo>
                  <a:lnTo>
                    <a:pt x="153" y="0"/>
                  </a:lnTo>
                  <a:lnTo>
                    <a:pt x="197" y="246"/>
                  </a:lnTo>
                  <a:lnTo>
                    <a:pt x="194" y="243"/>
                  </a:lnTo>
                  <a:lnTo>
                    <a:pt x="161" y="257"/>
                  </a:lnTo>
                  <a:lnTo>
                    <a:pt x="138" y="323"/>
                  </a:lnTo>
                  <a:lnTo>
                    <a:pt x="104" y="314"/>
                  </a:lnTo>
                  <a:lnTo>
                    <a:pt x="65" y="339"/>
                  </a:lnTo>
                  <a:lnTo>
                    <a:pt x="13" y="348"/>
                  </a:lnTo>
                  <a:lnTo>
                    <a:pt x="36" y="283"/>
                  </a:lnTo>
                  <a:lnTo>
                    <a:pt x="26" y="247"/>
                  </a:lnTo>
                  <a:lnTo>
                    <a:pt x="0" y="25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22" name="Freeform 19">
              <a:extLst>
                <a:ext uri="{FF2B5EF4-FFF2-40B4-BE49-F238E27FC236}">
                  <a16:creationId xmlns:a16="http://schemas.microsoft.com/office/drawing/2014/main" id="{31FE521B-E629-4AFE-A9F1-4F78699CB36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8310" y="3038475"/>
              <a:ext cx="522787" cy="598488"/>
            </a:xfrm>
            <a:custGeom>
              <a:avLst/>
              <a:gdLst>
                <a:gd name="T0" fmla="*/ 0 w 253"/>
                <a:gd name="T1" fmla="*/ 71 h 314"/>
                <a:gd name="T2" fmla="*/ 156 w 253"/>
                <a:gd name="T3" fmla="*/ 59 h 314"/>
                <a:gd name="T4" fmla="*/ 188 w 253"/>
                <a:gd name="T5" fmla="*/ 64 h 314"/>
                <a:gd name="T6" fmla="*/ 264 w 253"/>
                <a:gd name="T7" fmla="*/ 37 h 314"/>
                <a:gd name="T8" fmla="*/ 280 w 253"/>
                <a:gd name="T9" fmla="*/ 12 h 314"/>
                <a:gd name="T10" fmla="*/ 325 w 253"/>
                <a:gd name="T11" fmla="*/ 0 h 314"/>
                <a:gd name="T12" fmla="*/ 349 w 253"/>
                <a:gd name="T13" fmla="*/ 119 h 314"/>
                <a:gd name="T14" fmla="*/ 330 w 253"/>
                <a:gd name="T15" fmla="*/ 132 h 314"/>
                <a:gd name="T16" fmla="*/ 335 w 253"/>
                <a:gd name="T17" fmla="*/ 214 h 314"/>
                <a:gd name="T18" fmla="*/ 300 w 253"/>
                <a:gd name="T19" fmla="*/ 221 h 314"/>
                <a:gd name="T20" fmla="*/ 280 w 253"/>
                <a:gd name="T21" fmla="*/ 267 h 314"/>
                <a:gd name="T22" fmla="*/ 253 w 253"/>
                <a:gd name="T23" fmla="*/ 261 h 314"/>
                <a:gd name="T24" fmla="*/ 245 w 253"/>
                <a:gd name="T25" fmla="*/ 314 h 314"/>
                <a:gd name="T26" fmla="*/ 204 w 253"/>
                <a:gd name="T27" fmla="*/ 292 h 314"/>
                <a:gd name="T28" fmla="*/ 128 w 253"/>
                <a:gd name="T29" fmla="*/ 306 h 314"/>
                <a:gd name="T30" fmla="*/ 95 w 253"/>
                <a:gd name="T31" fmla="*/ 286 h 314"/>
                <a:gd name="T32" fmla="*/ 52 w 253"/>
                <a:gd name="T33" fmla="*/ 285 h 314"/>
                <a:gd name="T34" fmla="*/ 29 w 253"/>
                <a:gd name="T35" fmla="*/ 197 h 314"/>
                <a:gd name="T36" fmla="*/ 0 w 253"/>
                <a:gd name="T37" fmla="*/ 71 h 31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253"/>
                <a:gd name="T58" fmla="*/ 0 h 314"/>
                <a:gd name="T59" fmla="*/ 253 w 253"/>
                <a:gd name="T60" fmla="*/ 314 h 31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253" h="314">
                  <a:moveTo>
                    <a:pt x="0" y="71"/>
                  </a:moveTo>
                  <a:lnTo>
                    <a:pt x="114" y="59"/>
                  </a:lnTo>
                  <a:lnTo>
                    <a:pt x="138" y="64"/>
                  </a:lnTo>
                  <a:lnTo>
                    <a:pt x="192" y="37"/>
                  </a:lnTo>
                  <a:lnTo>
                    <a:pt x="204" y="12"/>
                  </a:lnTo>
                  <a:lnTo>
                    <a:pt x="236" y="0"/>
                  </a:lnTo>
                  <a:lnTo>
                    <a:pt x="253" y="119"/>
                  </a:lnTo>
                  <a:lnTo>
                    <a:pt x="240" y="132"/>
                  </a:lnTo>
                  <a:lnTo>
                    <a:pt x="243" y="214"/>
                  </a:lnTo>
                  <a:lnTo>
                    <a:pt x="218" y="221"/>
                  </a:lnTo>
                  <a:lnTo>
                    <a:pt x="204" y="267"/>
                  </a:lnTo>
                  <a:lnTo>
                    <a:pt x="184" y="261"/>
                  </a:lnTo>
                  <a:lnTo>
                    <a:pt x="178" y="314"/>
                  </a:lnTo>
                  <a:lnTo>
                    <a:pt x="149" y="292"/>
                  </a:lnTo>
                  <a:lnTo>
                    <a:pt x="93" y="306"/>
                  </a:lnTo>
                  <a:lnTo>
                    <a:pt x="69" y="286"/>
                  </a:lnTo>
                  <a:lnTo>
                    <a:pt x="38" y="285"/>
                  </a:lnTo>
                  <a:lnTo>
                    <a:pt x="21" y="197"/>
                  </a:lnTo>
                  <a:lnTo>
                    <a:pt x="0" y="71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23" name="Freeform 20">
              <a:extLst>
                <a:ext uri="{FF2B5EF4-FFF2-40B4-BE49-F238E27FC236}">
                  <a16:creationId xmlns:a16="http://schemas.microsoft.com/office/drawing/2014/main" id="{F8E20DED-C11D-4041-A3D4-11C887021566}"/>
                </a:ext>
              </a:extLst>
            </p:cNvPr>
            <p:cNvSpPr>
              <a:spLocks/>
            </p:cNvSpPr>
            <p:nvPr/>
          </p:nvSpPr>
          <p:spPr bwMode="auto">
            <a:xfrm>
              <a:off x="5865713" y="3579813"/>
              <a:ext cx="918317" cy="506412"/>
            </a:xfrm>
            <a:custGeom>
              <a:avLst/>
              <a:gdLst>
                <a:gd name="T0" fmla="*/ 0 w 445"/>
                <a:gd name="T1" fmla="*/ 266 h 266"/>
                <a:gd name="T2" fmla="*/ 149 w 445"/>
                <a:gd name="T3" fmla="*/ 249 h 266"/>
                <a:gd name="T4" fmla="*/ 149 w 445"/>
                <a:gd name="T5" fmla="*/ 237 h 266"/>
                <a:gd name="T6" fmla="*/ 509 w 445"/>
                <a:gd name="T7" fmla="*/ 199 h 266"/>
                <a:gd name="T8" fmla="*/ 516 w 445"/>
                <a:gd name="T9" fmla="*/ 179 h 266"/>
                <a:gd name="T10" fmla="*/ 566 w 445"/>
                <a:gd name="T11" fmla="*/ 163 h 266"/>
                <a:gd name="T12" fmla="*/ 575 w 445"/>
                <a:gd name="T13" fmla="*/ 142 h 266"/>
                <a:gd name="T14" fmla="*/ 596 w 445"/>
                <a:gd name="T15" fmla="*/ 135 h 266"/>
                <a:gd name="T16" fmla="*/ 612 w 445"/>
                <a:gd name="T17" fmla="*/ 103 h 266"/>
                <a:gd name="T18" fmla="*/ 563 w 445"/>
                <a:gd name="T19" fmla="*/ 72 h 266"/>
                <a:gd name="T20" fmla="*/ 555 w 445"/>
                <a:gd name="T21" fmla="*/ 29 h 266"/>
                <a:gd name="T22" fmla="*/ 516 w 445"/>
                <a:gd name="T23" fmla="*/ 8 h 266"/>
                <a:gd name="T24" fmla="*/ 434 w 445"/>
                <a:gd name="T25" fmla="*/ 20 h 266"/>
                <a:gd name="T26" fmla="*/ 398 w 445"/>
                <a:gd name="T27" fmla="*/ 1 h 266"/>
                <a:gd name="T28" fmla="*/ 363 w 445"/>
                <a:gd name="T29" fmla="*/ 0 h 266"/>
                <a:gd name="T30" fmla="*/ 368 w 445"/>
                <a:gd name="T31" fmla="*/ 29 h 266"/>
                <a:gd name="T32" fmla="*/ 320 w 445"/>
                <a:gd name="T33" fmla="*/ 44 h 266"/>
                <a:gd name="T34" fmla="*/ 286 w 445"/>
                <a:gd name="T35" fmla="*/ 110 h 266"/>
                <a:gd name="T36" fmla="*/ 242 w 445"/>
                <a:gd name="T37" fmla="*/ 100 h 266"/>
                <a:gd name="T38" fmla="*/ 186 w 445"/>
                <a:gd name="T39" fmla="*/ 124 h 266"/>
                <a:gd name="T40" fmla="*/ 117 w 445"/>
                <a:gd name="T41" fmla="*/ 134 h 266"/>
                <a:gd name="T42" fmla="*/ 117 w 445"/>
                <a:gd name="T43" fmla="*/ 171 h 266"/>
                <a:gd name="T44" fmla="*/ 82 w 445"/>
                <a:gd name="T45" fmla="*/ 170 h 266"/>
                <a:gd name="T46" fmla="*/ 83 w 445"/>
                <a:gd name="T47" fmla="*/ 203 h 266"/>
                <a:gd name="T48" fmla="*/ 48 w 445"/>
                <a:gd name="T49" fmla="*/ 190 h 266"/>
                <a:gd name="T50" fmla="*/ 28 w 445"/>
                <a:gd name="T51" fmla="*/ 196 h 266"/>
                <a:gd name="T52" fmla="*/ 45 w 445"/>
                <a:gd name="T53" fmla="*/ 218 h 266"/>
                <a:gd name="T54" fmla="*/ 5 w 445"/>
                <a:gd name="T55" fmla="*/ 248 h 266"/>
                <a:gd name="T56" fmla="*/ 0 w 445"/>
                <a:gd name="T57" fmla="*/ 266 h 26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445"/>
                <a:gd name="T88" fmla="*/ 0 h 266"/>
                <a:gd name="T89" fmla="*/ 445 w 445"/>
                <a:gd name="T90" fmla="*/ 266 h 26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445" h="266">
                  <a:moveTo>
                    <a:pt x="0" y="266"/>
                  </a:moveTo>
                  <a:lnTo>
                    <a:pt x="108" y="249"/>
                  </a:lnTo>
                  <a:lnTo>
                    <a:pt x="108" y="237"/>
                  </a:lnTo>
                  <a:lnTo>
                    <a:pt x="370" y="199"/>
                  </a:lnTo>
                  <a:lnTo>
                    <a:pt x="374" y="179"/>
                  </a:lnTo>
                  <a:lnTo>
                    <a:pt x="412" y="163"/>
                  </a:lnTo>
                  <a:lnTo>
                    <a:pt x="417" y="142"/>
                  </a:lnTo>
                  <a:lnTo>
                    <a:pt x="433" y="135"/>
                  </a:lnTo>
                  <a:lnTo>
                    <a:pt x="445" y="103"/>
                  </a:lnTo>
                  <a:lnTo>
                    <a:pt x="409" y="72"/>
                  </a:lnTo>
                  <a:lnTo>
                    <a:pt x="403" y="29"/>
                  </a:lnTo>
                  <a:lnTo>
                    <a:pt x="374" y="8"/>
                  </a:lnTo>
                  <a:lnTo>
                    <a:pt x="316" y="20"/>
                  </a:lnTo>
                  <a:lnTo>
                    <a:pt x="289" y="1"/>
                  </a:lnTo>
                  <a:lnTo>
                    <a:pt x="263" y="0"/>
                  </a:lnTo>
                  <a:lnTo>
                    <a:pt x="268" y="29"/>
                  </a:lnTo>
                  <a:lnTo>
                    <a:pt x="232" y="44"/>
                  </a:lnTo>
                  <a:lnTo>
                    <a:pt x="208" y="110"/>
                  </a:lnTo>
                  <a:lnTo>
                    <a:pt x="175" y="100"/>
                  </a:lnTo>
                  <a:lnTo>
                    <a:pt x="136" y="124"/>
                  </a:lnTo>
                  <a:lnTo>
                    <a:pt x="85" y="134"/>
                  </a:lnTo>
                  <a:lnTo>
                    <a:pt x="85" y="171"/>
                  </a:lnTo>
                  <a:lnTo>
                    <a:pt x="60" y="170"/>
                  </a:lnTo>
                  <a:lnTo>
                    <a:pt x="61" y="203"/>
                  </a:lnTo>
                  <a:lnTo>
                    <a:pt x="35" y="190"/>
                  </a:lnTo>
                  <a:lnTo>
                    <a:pt x="20" y="196"/>
                  </a:lnTo>
                  <a:lnTo>
                    <a:pt x="33" y="218"/>
                  </a:lnTo>
                  <a:lnTo>
                    <a:pt x="5" y="248"/>
                  </a:lnTo>
                  <a:lnTo>
                    <a:pt x="0" y="26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24" name="Freeform 21">
              <a:extLst>
                <a:ext uri="{FF2B5EF4-FFF2-40B4-BE49-F238E27FC236}">
                  <a16:creationId xmlns:a16="http://schemas.microsoft.com/office/drawing/2014/main" id="{B1D0E33C-E08E-430D-923C-D48AEBEC6FCC}"/>
                </a:ext>
              </a:extLst>
            </p:cNvPr>
            <p:cNvSpPr>
              <a:spLocks/>
            </p:cNvSpPr>
            <p:nvPr/>
          </p:nvSpPr>
          <p:spPr bwMode="auto">
            <a:xfrm>
              <a:off x="5802084" y="3905250"/>
              <a:ext cx="1059332" cy="384175"/>
            </a:xfrm>
            <a:custGeom>
              <a:avLst/>
              <a:gdLst>
                <a:gd name="T0" fmla="*/ 43 w 513"/>
                <a:gd name="T1" fmla="*/ 92 h 202"/>
                <a:gd name="T2" fmla="*/ 43 w 513"/>
                <a:gd name="T3" fmla="*/ 96 h 202"/>
                <a:gd name="T4" fmla="*/ 30 w 513"/>
                <a:gd name="T5" fmla="*/ 115 h 202"/>
                <a:gd name="T6" fmla="*/ 44 w 513"/>
                <a:gd name="T7" fmla="*/ 140 h 202"/>
                <a:gd name="T8" fmla="*/ 0 w 513"/>
                <a:gd name="T9" fmla="*/ 163 h 202"/>
                <a:gd name="T10" fmla="*/ 11 w 513"/>
                <a:gd name="T11" fmla="*/ 202 h 202"/>
                <a:gd name="T12" fmla="*/ 196 w 513"/>
                <a:gd name="T13" fmla="*/ 190 h 202"/>
                <a:gd name="T14" fmla="*/ 415 w 513"/>
                <a:gd name="T15" fmla="*/ 170 h 202"/>
                <a:gd name="T16" fmla="*/ 527 w 513"/>
                <a:gd name="T17" fmla="*/ 154 h 202"/>
                <a:gd name="T18" fmla="*/ 548 w 513"/>
                <a:gd name="T19" fmla="*/ 103 h 202"/>
                <a:gd name="T20" fmla="*/ 589 w 513"/>
                <a:gd name="T21" fmla="*/ 100 h 202"/>
                <a:gd name="T22" fmla="*/ 709 w 513"/>
                <a:gd name="T23" fmla="*/ 0 h 202"/>
                <a:gd name="T24" fmla="*/ 552 w 513"/>
                <a:gd name="T25" fmla="*/ 25 h 202"/>
                <a:gd name="T26" fmla="*/ 185 w 513"/>
                <a:gd name="T27" fmla="*/ 66 h 202"/>
                <a:gd name="T28" fmla="*/ 188 w 513"/>
                <a:gd name="T29" fmla="*/ 78 h 202"/>
                <a:gd name="T30" fmla="*/ 43 w 513"/>
                <a:gd name="T31" fmla="*/ 92 h 20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13"/>
                <a:gd name="T49" fmla="*/ 0 h 202"/>
                <a:gd name="T50" fmla="*/ 513 w 513"/>
                <a:gd name="T51" fmla="*/ 202 h 20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13" h="202">
                  <a:moveTo>
                    <a:pt x="31" y="92"/>
                  </a:moveTo>
                  <a:lnTo>
                    <a:pt x="31" y="96"/>
                  </a:lnTo>
                  <a:lnTo>
                    <a:pt x="22" y="115"/>
                  </a:lnTo>
                  <a:lnTo>
                    <a:pt x="32" y="140"/>
                  </a:lnTo>
                  <a:lnTo>
                    <a:pt x="0" y="163"/>
                  </a:lnTo>
                  <a:lnTo>
                    <a:pt x="7" y="202"/>
                  </a:lnTo>
                  <a:lnTo>
                    <a:pt x="142" y="190"/>
                  </a:lnTo>
                  <a:lnTo>
                    <a:pt x="301" y="170"/>
                  </a:lnTo>
                  <a:lnTo>
                    <a:pt x="381" y="154"/>
                  </a:lnTo>
                  <a:lnTo>
                    <a:pt x="398" y="103"/>
                  </a:lnTo>
                  <a:lnTo>
                    <a:pt x="426" y="100"/>
                  </a:lnTo>
                  <a:lnTo>
                    <a:pt x="513" y="0"/>
                  </a:lnTo>
                  <a:lnTo>
                    <a:pt x="400" y="25"/>
                  </a:lnTo>
                  <a:lnTo>
                    <a:pt x="135" y="66"/>
                  </a:lnTo>
                  <a:lnTo>
                    <a:pt x="137" y="78"/>
                  </a:lnTo>
                  <a:lnTo>
                    <a:pt x="31" y="92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25" name="Freeform 22">
              <a:extLst>
                <a:ext uri="{FF2B5EF4-FFF2-40B4-BE49-F238E27FC236}">
                  <a16:creationId xmlns:a16="http://schemas.microsoft.com/office/drawing/2014/main" id="{0598434B-8DC1-4049-8FAA-E6DCA9C23549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9840" y="4787900"/>
              <a:ext cx="1159074" cy="777875"/>
            </a:xfrm>
            <a:custGeom>
              <a:avLst/>
              <a:gdLst>
                <a:gd name="T0" fmla="*/ 0 w 561"/>
                <a:gd name="T1" fmla="*/ 39 h 409"/>
                <a:gd name="T2" fmla="*/ 212 w 561"/>
                <a:gd name="T3" fmla="*/ 23 h 409"/>
                <a:gd name="T4" fmla="*/ 234 w 561"/>
                <a:gd name="T5" fmla="*/ 50 h 409"/>
                <a:gd name="T6" fmla="*/ 463 w 561"/>
                <a:gd name="T7" fmla="*/ 23 h 409"/>
                <a:gd name="T8" fmla="*/ 502 w 561"/>
                <a:gd name="T9" fmla="*/ 45 h 409"/>
                <a:gd name="T10" fmla="*/ 502 w 561"/>
                <a:gd name="T11" fmla="*/ 3 h 409"/>
                <a:gd name="T12" fmla="*/ 500 w 561"/>
                <a:gd name="T13" fmla="*/ 0 h 409"/>
                <a:gd name="T14" fmla="*/ 545 w 561"/>
                <a:gd name="T15" fmla="*/ 2 h 409"/>
                <a:gd name="T16" fmla="*/ 593 w 561"/>
                <a:gd name="T17" fmla="*/ 65 h 409"/>
                <a:gd name="T18" fmla="*/ 670 w 561"/>
                <a:gd name="T19" fmla="*/ 151 h 409"/>
                <a:gd name="T20" fmla="*/ 709 w 561"/>
                <a:gd name="T21" fmla="*/ 225 h 409"/>
                <a:gd name="T22" fmla="*/ 763 w 561"/>
                <a:gd name="T23" fmla="*/ 277 h 409"/>
                <a:gd name="T24" fmla="*/ 774 w 561"/>
                <a:gd name="T25" fmla="*/ 352 h 409"/>
                <a:gd name="T26" fmla="*/ 756 w 561"/>
                <a:gd name="T27" fmla="*/ 397 h 409"/>
                <a:gd name="T28" fmla="*/ 674 w 561"/>
                <a:gd name="T29" fmla="*/ 409 h 409"/>
                <a:gd name="T30" fmla="*/ 660 w 561"/>
                <a:gd name="T31" fmla="*/ 390 h 409"/>
                <a:gd name="T32" fmla="*/ 604 w 561"/>
                <a:gd name="T33" fmla="*/ 363 h 409"/>
                <a:gd name="T34" fmla="*/ 586 w 561"/>
                <a:gd name="T35" fmla="*/ 335 h 409"/>
                <a:gd name="T36" fmla="*/ 571 w 561"/>
                <a:gd name="T37" fmla="*/ 324 h 409"/>
                <a:gd name="T38" fmla="*/ 561 w 561"/>
                <a:gd name="T39" fmla="*/ 298 h 409"/>
                <a:gd name="T40" fmla="*/ 547 w 561"/>
                <a:gd name="T41" fmla="*/ 305 h 409"/>
                <a:gd name="T42" fmla="*/ 502 w 561"/>
                <a:gd name="T43" fmla="*/ 271 h 409"/>
                <a:gd name="T44" fmla="*/ 514 w 561"/>
                <a:gd name="T45" fmla="*/ 239 h 409"/>
                <a:gd name="T46" fmla="*/ 502 w 561"/>
                <a:gd name="T47" fmla="*/ 222 h 409"/>
                <a:gd name="T48" fmla="*/ 489 w 561"/>
                <a:gd name="T49" fmla="*/ 228 h 409"/>
                <a:gd name="T50" fmla="*/ 490 w 561"/>
                <a:gd name="T51" fmla="*/ 246 h 409"/>
                <a:gd name="T52" fmla="*/ 475 w 561"/>
                <a:gd name="T53" fmla="*/ 222 h 409"/>
                <a:gd name="T54" fmla="*/ 476 w 561"/>
                <a:gd name="T55" fmla="*/ 164 h 409"/>
                <a:gd name="T56" fmla="*/ 448 w 561"/>
                <a:gd name="T57" fmla="*/ 130 h 409"/>
                <a:gd name="T58" fmla="*/ 376 w 561"/>
                <a:gd name="T59" fmla="*/ 102 h 409"/>
                <a:gd name="T60" fmla="*/ 339 w 561"/>
                <a:gd name="T61" fmla="*/ 70 h 409"/>
                <a:gd name="T62" fmla="*/ 298 w 561"/>
                <a:gd name="T63" fmla="*/ 67 h 409"/>
                <a:gd name="T64" fmla="*/ 282 w 561"/>
                <a:gd name="T65" fmla="*/ 87 h 409"/>
                <a:gd name="T66" fmla="*/ 222 w 561"/>
                <a:gd name="T67" fmla="*/ 101 h 409"/>
                <a:gd name="T68" fmla="*/ 185 w 561"/>
                <a:gd name="T69" fmla="*/ 87 h 409"/>
                <a:gd name="T70" fmla="*/ 168 w 561"/>
                <a:gd name="T71" fmla="*/ 65 h 409"/>
                <a:gd name="T72" fmla="*/ 55 w 561"/>
                <a:gd name="T73" fmla="*/ 84 h 409"/>
                <a:gd name="T74" fmla="*/ 31 w 561"/>
                <a:gd name="T75" fmla="*/ 69 h 409"/>
                <a:gd name="T76" fmla="*/ 4 w 561"/>
                <a:gd name="T77" fmla="*/ 85 h 409"/>
                <a:gd name="T78" fmla="*/ 0 w 561"/>
                <a:gd name="T79" fmla="*/ 39 h 409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561"/>
                <a:gd name="T121" fmla="*/ 0 h 409"/>
                <a:gd name="T122" fmla="*/ 561 w 561"/>
                <a:gd name="T123" fmla="*/ 409 h 409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561" h="409">
                  <a:moveTo>
                    <a:pt x="0" y="39"/>
                  </a:moveTo>
                  <a:lnTo>
                    <a:pt x="154" y="23"/>
                  </a:lnTo>
                  <a:lnTo>
                    <a:pt x="170" y="50"/>
                  </a:lnTo>
                  <a:lnTo>
                    <a:pt x="336" y="23"/>
                  </a:lnTo>
                  <a:lnTo>
                    <a:pt x="364" y="45"/>
                  </a:lnTo>
                  <a:lnTo>
                    <a:pt x="364" y="3"/>
                  </a:lnTo>
                  <a:lnTo>
                    <a:pt x="362" y="0"/>
                  </a:lnTo>
                  <a:lnTo>
                    <a:pt x="395" y="2"/>
                  </a:lnTo>
                  <a:lnTo>
                    <a:pt x="430" y="65"/>
                  </a:lnTo>
                  <a:lnTo>
                    <a:pt x="485" y="151"/>
                  </a:lnTo>
                  <a:lnTo>
                    <a:pt x="513" y="225"/>
                  </a:lnTo>
                  <a:lnTo>
                    <a:pt x="554" y="277"/>
                  </a:lnTo>
                  <a:lnTo>
                    <a:pt x="561" y="352"/>
                  </a:lnTo>
                  <a:lnTo>
                    <a:pt x="548" y="397"/>
                  </a:lnTo>
                  <a:lnTo>
                    <a:pt x="489" y="409"/>
                  </a:lnTo>
                  <a:lnTo>
                    <a:pt x="479" y="390"/>
                  </a:lnTo>
                  <a:lnTo>
                    <a:pt x="437" y="363"/>
                  </a:lnTo>
                  <a:lnTo>
                    <a:pt x="424" y="335"/>
                  </a:lnTo>
                  <a:lnTo>
                    <a:pt x="413" y="324"/>
                  </a:lnTo>
                  <a:lnTo>
                    <a:pt x="407" y="298"/>
                  </a:lnTo>
                  <a:lnTo>
                    <a:pt x="397" y="305"/>
                  </a:lnTo>
                  <a:lnTo>
                    <a:pt x="364" y="271"/>
                  </a:lnTo>
                  <a:lnTo>
                    <a:pt x="372" y="239"/>
                  </a:lnTo>
                  <a:lnTo>
                    <a:pt x="364" y="222"/>
                  </a:lnTo>
                  <a:lnTo>
                    <a:pt x="354" y="228"/>
                  </a:lnTo>
                  <a:lnTo>
                    <a:pt x="355" y="246"/>
                  </a:lnTo>
                  <a:lnTo>
                    <a:pt x="344" y="222"/>
                  </a:lnTo>
                  <a:lnTo>
                    <a:pt x="345" y="164"/>
                  </a:lnTo>
                  <a:lnTo>
                    <a:pt x="325" y="130"/>
                  </a:lnTo>
                  <a:lnTo>
                    <a:pt x="272" y="102"/>
                  </a:lnTo>
                  <a:lnTo>
                    <a:pt x="246" y="70"/>
                  </a:lnTo>
                  <a:lnTo>
                    <a:pt x="216" y="67"/>
                  </a:lnTo>
                  <a:lnTo>
                    <a:pt x="204" y="87"/>
                  </a:lnTo>
                  <a:lnTo>
                    <a:pt x="161" y="101"/>
                  </a:lnTo>
                  <a:lnTo>
                    <a:pt x="135" y="87"/>
                  </a:lnTo>
                  <a:lnTo>
                    <a:pt x="122" y="65"/>
                  </a:lnTo>
                  <a:lnTo>
                    <a:pt x="40" y="84"/>
                  </a:lnTo>
                  <a:lnTo>
                    <a:pt x="23" y="69"/>
                  </a:lnTo>
                  <a:lnTo>
                    <a:pt x="4" y="85"/>
                  </a:lnTo>
                  <a:lnTo>
                    <a:pt x="0" y="39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26" name="Freeform 23">
              <a:extLst>
                <a:ext uri="{FF2B5EF4-FFF2-40B4-BE49-F238E27FC236}">
                  <a16:creationId xmlns:a16="http://schemas.microsoft.com/office/drawing/2014/main" id="{72F953FE-3F68-4F3A-B005-4D0BBC04CB84}"/>
                </a:ext>
              </a:extLst>
            </p:cNvPr>
            <p:cNvSpPr>
              <a:spLocks/>
            </p:cNvSpPr>
            <p:nvPr/>
          </p:nvSpPr>
          <p:spPr bwMode="auto">
            <a:xfrm>
              <a:off x="6696324" y="3260725"/>
              <a:ext cx="529666" cy="549275"/>
            </a:xfrm>
            <a:custGeom>
              <a:avLst/>
              <a:gdLst>
                <a:gd name="T0" fmla="*/ 36 w 256"/>
                <a:gd name="T1" fmla="*/ 150 h 288"/>
                <a:gd name="T2" fmla="*/ 10 w 256"/>
                <a:gd name="T3" fmla="*/ 144 h 288"/>
                <a:gd name="T4" fmla="*/ 0 w 256"/>
                <a:gd name="T5" fmla="*/ 190 h 288"/>
                <a:gd name="T6" fmla="*/ 10 w 256"/>
                <a:gd name="T7" fmla="*/ 239 h 288"/>
                <a:gd name="T8" fmla="*/ 60 w 256"/>
                <a:gd name="T9" fmla="*/ 271 h 288"/>
                <a:gd name="T10" fmla="*/ 72 w 256"/>
                <a:gd name="T11" fmla="*/ 288 h 288"/>
                <a:gd name="T12" fmla="*/ 138 w 256"/>
                <a:gd name="T13" fmla="*/ 271 h 288"/>
                <a:gd name="T14" fmla="*/ 215 w 256"/>
                <a:gd name="T15" fmla="*/ 233 h 288"/>
                <a:gd name="T16" fmla="*/ 238 w 256"/>
                <a:gd name="T17" fmla="*/ 148 h 288"/>
                <a:gd name="T18" fmla="*/ 288 w 256"/>
                <a:gd name="T19" fmla="*/ 126 h 288"/>
                <a:gd name="T20" fmla="*/ 316 w 256"/>
                <a:gd name="T21" fmla="*/ 74 h 288"/>
                <a:gd name="T22" fmla="*/ 356 w 256"/>
                <a:gd name="T23" fmla="*/ 60 h 288"/>
                <a:gd name="T24" fmla="*/ 303 w 256"/>
                <a:gd name="T25" fmla="*/ 53 h 288"/>
                <a:gd name="T26" fmla="*/ 214 w 256"/>
                <a:gd name="T27" fmla="*/ 90 h 288"/>
                <a:gd name="T28" fmla="*/ 200 w 256"/>
                <a:gd name="T29" fmla="*/ 54 h 288"/>
                <a:gd name="T30" fmla="*/ 123 w 256"/>
                <a:gd name="T31" fmla="*/ 57 h 288"/>
                <a:gd name="T32" fmla="*/ 104 w 256"/>
                <a:gd name="T33" fmla="*/ 0 h 288"/>
                <a:gd name="T34" fmla="*/ 85 w 256"/>
                <a:gd name="T35" fmla="*/ 15 h 288"/>
                <a:gd name="T36" fmla="*/ 91 w 256"/>
                <a:gd name="T37" fmla="*/ 97 h 288"/>
                <a:gd name="T38" fmla="*/ 55 w 256"/>
                <a:gd name="T39" fmla="*/ 104 h 288"/>
                <a:gd name="T40" fmla="*/ 36 w 256"/>
                <a:gd name="T41" fmla="*/ 150 h 288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256"/>
                <a:gd name="T64" fmla="*/ 0 h 288"/>
                <a:gd name="T65" fmla="*/ 256 w 256"/>
                <a:gd name="T66" fmla="*/ 288 h 288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256" h="288">
                  <a:moveTo>
                    <a:pt x="26" y="150"/>
                  </a:moveTo>
                  <a:lnTo>
                    <a:pt x="6" y="144"/>
                  </a:lnTo>
                  <a:lnTo>
                    <a:pt x="0" y="190"/>
                  </a:lnTo>
                  <a:lnTo>
                    <a:pt x="6" y="239"/>
                  </a:lnTo>
                  <a:lnTo>
                    <a:pt x="43" y="271"/>
                  </a:lnTo>
                  <a:lnTo>
                    <a:pt x="52" y="288"/>
                  </a:lnTo>
                  <a:lnTo>
                    <a:pt x="99" y="271"/>
                  </a:lnTo>
                  <a:lnTo>
                    <a:pt x="155" y="233"/>
                  </a:lnTo>
                  <a:lnTo>
                    <a:pt x="171" y="148"/>
                  </a:lnTo>
                  <a:lnTo>
                    <a:pt x="207" y="126"/>
                  </a:lnTo>
                  <a:lnTo>
                    <a:pt x="227" y="74"/>
                  </a:lnTo>
                  <a:lnTo>
                    <a:pt x="256" y="60"/>
                  </a:lnTo>
                  <a:lnTo>
                    <a:pt x="218" y="53"/>
                  </a:lnTo>
                  <a:lnTo>
                    <a:pt x="154" y="90"/>
                  </a:lnTo>
                  <a:lnTo>
                    <a:pt x="144" y="54"/>
                  </a:lnTo>
                  <a:lnTo>
                    <a:pt x="88" y="57"/>
                  </a:lnTo>
                  <a:lnTo>
                    <a:pt x="75" y="0"/>
                  </a:lnTo>
                  <a:lnTo>
                    <a:pt x="61" y="15"/>
                  </a:lnTo>
                  <a:lnTo>
                    <a:pt x="65" y="97"/>
                  </a:lnTo>
                  <a:lnTo>
                    <a:pt x="40" y="104"/>
                  </a:lnTo>
                  <a:lnTo>
                    <a:pt x="26" y="15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27" name="Freeform 24">
              <a:extLst>
                <a:ext uri="{FF2B5EF4-FFF2-40B4-BE49-F238E27FC236}">
                  <a16:creationId xmlns:a16="http://schemas.microsoft.com/office/drawing/2014/main" id="{6EF5E097-F6CA-4844-BDD5-32B172EB9610}"/>
                </a:ext>
              </a:extLst>
            </p:cNvPr>
            <p:cNvSpPr>
              <a:spLocks/>
            </p:cNvSpPr>
            <p:nvPr/>
          </p:nvSpPr>
          <p:spPr bwMode="auto">
            <a:xfrm>
              <a:off x="7492543" y="2346325"/>
              <a:ext cx="208082" cy="384175"/>
            </a:xfrm>
            <a:custGeom>
              <a:avLst/>
              <a:gdLst>
                <a:gd name="T0" fmla="*/ 0 w 101"/>
                <a:gd name="T1" fmla="*/ 21 h 202"/>
                <a:gd name="T2" fmla="*/ 100 w 101"/>
                <a:gd name="T3" fmla="*/ 0 h 202"/>
                <a:gd name="T4" fmla="*/ 137 w 101"/>
                <a:gd name="T5" fmla="*/ 55 h 202"/>
                <a:gd name="T6" fmla="*/ 118 w 101"/>
                <a:gd name="T7" fmla="*/ 70 h 202"/>
                <a:gd name="T8" fmla="*/ 126 w 101"/>
                <a:gd name="T9" fmla="*/ 192 h 202"/>
                <a:gd name="T10" fmla="*/ 68 w 101"/>
                <a:gd name="T11" fmla="*/ 202 h 202"/>
                <a:gd name="T12" fmla="*/ 39 w 101"/>
                <a:gd name="T13" fmla="*/ 152 h 202"/>
                <a:gd name="T14" fmla="*/ 38 w 101"/>
                <a:gd name="T15" fmla="*/ 92 h 202"/>
                <a:gd name="T16" fmla="*/ 13 w 101"/>
                <a:gd name="T17" fmla="*/ 74 h 202"/>
                <a:gd name="T18" fmla="*/ 0 w 101"/>
                <a:gd name="T19" fmla="*/ 21 h 20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01"/>
                <a:gd name="T31" fmla="*/ 0 h 202"/>
                <a:gd name="T32" fmla="*/ 101 w 101"/>
                <a:gd name="T33" fmla="*/ 202 h 20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01" h="202">
                  <a:moveTo>
                    <a:pt x="0" y="21"/>
                  </a:moveTo>
                  <a:lnTo>
                    <a:pt x="74" y="0"/>
                  </a:lnTo>
                  <a:lnTo>
                    <a:pt x="101" y="55"/>
                  </a:lnTo>
                  <a:lnTo>
                    <a:pt x="87" y="70"/>
                  </a:lnTo>
                  <a:lnTo>
                    <a:pt x="93" y="192"/>
                  </a:lnTo>
                  <a:lnTo>
                    <a:pt x="50" y="202"/>
                  </a:lnTo>
                  <a:lnTo>
                    <a:pt x="29" y="152"/>
                  </a:lnTo>
                  <a:lnTo>
                    <a:pt x="28" y="92"/>
                  </a:lnTo>
                  <a:lnTo>
                    <a:pt x="9" y="74"/>
                  </a:lnTo>
                  <a:lnTo>
                    <a:pt x="0" y="21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28" name="Freeform 25">
              <a:extLst>
                <a:ext uri="{FF2B5EF4-FFF2-40B4-BE49-F238E27FC236}">
                  <a16:creationId xmlns:a16="http://schemas.microsoft.com/office/drawing/2014/main" id="{D2A0A74E-91D7-4D20-86F1-DD0D42739559}"/>
                </a:ext>
              </a:extLst>
            </p:cNvPr>
            <p:cNvSpPr>
              <a:spLocks/>
            </p:cNvSpPr>
            <p:nvPr/>
          </p:nvSpPr>
          <p:spPr bwMode="auto">
            <a:xfrm>
              <a:off x="7592286" y="2647950"/>
              <a:ext cx="445400" cy="201613"/>
            </a:xfrm>
            <a:custGeom>
              <a:avLst/>
              <a:gdLst>
                <a:gd name="T0" fmla="*/ 0 w 216"/>
                <a:gd name="T1" fmla="*/ 42 h 106"/>
                <a:gd name="T2" fmla="*/ 152 w 216"/>
                <a:gd name="T3" fmla="*/ 13 h 106"/>
                <a:gd name="T4" fmla="*/ 169 w 216"/>
                <a:gd name="T5" fmla="*/ 14 h 106"/>
                <a:gd name="T6" fmla="*/ 187 w 216"/>
                <a:gd name="T7" fmla="*/ 0 h 106"/>
                <a:gd name="T8" fmla="*/ 203 w 216"/>
                <a:gd name="T9" fmla="*/ 7 h 106"/>
                <a:gd name="T10" fmla="*/ 184 w 216"/>
                <a:gd name="T11" fmla="*/ 37 h 106"/>
                <a:gd name="T12" fmla="*/ 216 w 216"/>
                <a:gd name="T13" fmla="*/ 35 h 106"/>
                <a:gd name="T14" fmla="*/ 234 w 216"/>
                <a:gd name="T15" fmla="*/ 59 h 106"/>
                <a:gd name="T16" fmla="*/ 257 w 216"/>
                <a:gd name="T17" fmla="*/ 61 h 106"/>
                <a:gd name="T18" fmla="*/ 271 w 216"/>
                <a:gd name="T19" fmla="*/ 57 h 106"/>
                <a:gd name="T20" fmla="*/ 271 w 216"/>
                <a:gd name="T21" fmla="*/ 44 h 106"/>
                <a:gd name="T22" fmla="*/ 245 w 216"/>
                <a:gd name="T23" fmla="*/ 28 h 106"/>
                <a:gd name="T24" fmla="*/ 264 w 216"/>
                <a:gd name="T25" fmla="*/ 27 h 106"/>
                <a:gd name="T26" fmla="*/ 297 w 216"/>
                <a:gd name="T27" fmla="*/ 62 h 106"/>
                <a:gd name="T28" fmla="*/ 265 w 216"/>
                <a:gd name="T29" fmla="*/ 83 h 106"/>
                <a:gd name="T30" fmla="*/ 230 w 216"/>
                <a:gd name="T31" fmla="*/ 73 h 106"/>
                <a:gd name="T32" fmla="*/ 209 w 216"/>
                <a:gd name="T33" fmla="*/ 98 h 106"/>
                <a:gd name="T34" fmla="*/ 164 w 216"/>
                <a:gd name="T35" fmla="*/ 73 h 106"/>
                <a:gd name="T36" fmla="*/ 13 w 216"/>
                <a:gd name="T37" fmla="*/ 106 h 106"/>
                <a:gd name="T38" fmla="*/ 0 w 216"/>
                <a:gd name="T39" fmla="*/ 42 h 10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16"/>
                <a:gd name="T61" fmla="*/ 0 h 106"/>
                <a:gd name="T62" fmla="*/ 216 w 216"/>
                <a:gd name="T63" fmla="*/ 106 h 10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16" h="106">
                  <a:moveTo>
                    <a:pt x="0" y="42"/>
                  </a:moveTo>
                  <a:lnTo>
                    <a:pt x="110" y="13"/>
                  </a:lnTo>
                  <a:lnTo>
                    <a:pt x="123" y="14"/>
                  </a:lnTo>
                  <a:lnTo>
                    <a:pt x="137" y="0"/>
                  </a:lnTo>
                  <a:lnTo>
                    <a:pt x="148" y="7"/>
                  </a:lnTo>
                  <a:lnTo>
                    <a:pt x="134" y="37"/>
                  </a:lnTo>
                  <a:lnTo>
                    <a:pt x="157" y="35"/>
                  </a:lnTo>
                  <a:lnTo>
                    <a:pt x="170" y="59"/>
                  </a:lnTo>
                  <a:lnTo>
                    <a:pt x="186" y="61"/>
                  </a:lnTo>
                  <a:lnTo>
                    <a:pt x="197" y="57"/>
                  </a:lnTo>
                  <a:lnTo>
                    <a:pt x="197" y="44"/>
                  </a:lnTo>
                  <a:lnTo>
                    <a:pt x="178" y="28"/>
                  </a:lnTo>
                  <a:lnTo>
                    <a:pt x="192" y="27"/>
                  </a:lnTo>
                  <a:lnTo>
                    <a:pt x="216" y="62"/>
                  </a:lnTo>
                  <a:lnTo>
                    <a:pt x="193" y="83"/>
                  </a:lnTo>
                  <a:lnTo>
                    <a:pt x="167" y="73"/>
                  </a:lnTo>
                  <a:lnTo>
                    <a:pt x="151" y="98"/>
                  </a:lnTo>
                  <a:lnTo>
                    <a:pt x="118" y="73"/>
                  </a:lnTo>
                  <a:lnTo>
                    <a:pt x="9" y="106"/>
                  </a:lnTo>
                  <a:lnTo>
                    <a:pt x="0" y="42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29" name="Freeform 26">
              <a:extLst>
                <a:ext uri="{FF2B5EF4-FFF2-40B4-BE49-F238E27FC236}">
                  <a16:creationId xmlns:a16="http://schemas.microsoft.com/office/drawing/2014/main" id="{9E18E62C-FFEE-40EB-ACBE-CD85B312D72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43876" y="2271713"/>
              <a:ext cx="245916" cy="434975"/>
            </a:xfrm>
            <a:custGeom>
              <a:avLst/>
              <a:gdLst>
                <a:gd name="T0" fmla="*/ 34 w 119"/>
                <a:gd name="T1" fmla="*/ 0 h 228"/>
                <a:gd name="T2" fmla="*/ 0 w 119"/>
                <a:gd name="T3" fmla="*/ 40 h 228"/>
                <a:gd name="T4" fmla="*/ 37 w 119"/>
                <a:gd name="T5" fmla="*/ 93 h 228"/>
                <a:gd name="T6" fmla="*/ 15 w 119"/>
                <a:gd name="T7" fmla="*/ 107 h 228"/>
                <a:gd name="T8" fmla="*/ 24 w 119"/>
                <a:gd name="T9" fmla="*/ 228 h 228"/>
                <a:gd name="T10" fmla="*/ 116 w 119"/>
                <a:gd name="T11" fmla="*/ 211 h 228"/>
                <a:gd name="T12" fmla="*/ 141 w 119"/>
                <a:gd name="T13" fmla="*/ 211 h 228"/>
                <a:gd name="T14" fmla="*/ 154 w 119"/>
                <a:gd name="T15" fmla="*/ 198 h 228"/>
                <a:gd name="T16" fmla="*/ 154 w 119"/>
                <a:gd name="T17" fmla="*/ 176 h 228"/>
                <a:gd name="T18" fmla="*/ 165 w 119"/>
                <a:gd name="T19" fmla="*/ 161 h 228"/>
                <a:gd name="T20" fmla="*/ 113 w 119"/>
                <a:gd name="T21" fmla="*/ 144 h 228"/>
                <a:gd name="T22" fmla="*/ 47 w 119"/>
                <a:gd name="T23" fmla="*/ 11 h 228"/>
                <a:gd name="T24" fmla="*/ 34 w 119"/>
                <a:gd name="T25" fmla="*/ 0 h 22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19"/>
                <a:gd name="T40" fmla="*/ 0 h 228"/>
                <a:gd name="T41" fmla="*/ 119 w 119"/>
                <a:gd name="T42" fmla="*/ 228 h 228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19" h="228">
                  <a:moveTo>
                    <a:pt x="25" y="0"/>
                  </a:moveTo>
                  <a:lnTo>
                    <a:pt x="0" y="40"/>
                  </a:lnTo>
                  <a:lnTo>
                    <a:pt x="27" y="93"/>
                  </a:lnTo>
                  <a:lnTo>
                    <a:pt x="11" y="107"/>
                  </a:lnTo>
                  <a:lnTo>
                    <a:pt x="17" y="228"/>
                  </a:lnTo>
                  <a:lnTo>
                    <a:pt x="84" y="211"/>
                  </a:lnTo>
                  <a:lnTo>
                    <a:pt x="102" y="211"/>
                  </a:lnTo>
                  <a:lnTo>
                    <a:pt x="112" y="198"/>
                  </a:lnTo>
                  <a:lnTo>
                    <a:pt x="112" y="176"/>
                  </a:lnTo>
                  <a:lnTo>
                    <a:pt x="119" y="161"/>
                  </a:lnTo>
                  <a:lnTo>
                    <a:pt x="82" y="144"/>
                  </a:lnTo>
                  <a:lnTo>
                    <a:pt x="34" y="11"/>
                  </a:lnTo>
                  <a:lnTo>
                    <a:pt x="25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1366E7EF-7CDE-4DE0-9260-74B249B9B079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199628" y="2176832"/>
              <a:ext cx="5701793" cy="2675059"/>
              <a:chOff x="1657" y="1277"/>
              <a:chExt cx="2764" cy="1404"/>
            </a:xfrm>
            <a:grpFill/>
          </p:grpSpPr>
          <p:sp>
            <p:nvSpPr>
              <p:cNvPr id="44" name="Freeform 28">
                <a:extLst>
                  <a:ext uri="{FF2B5EF4-FFF2-40B4-BE49-F238E27FC236}">
                    <a16:creationId xmlns:a16="http://schemas.microsoft.com/office/drawing/2014/main" id="{9D75BDA7-5A83-4C19-93E2-4E7BD2AF10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57" y="1722"/>
                <a:ext cx="388" cy="629"/>
              </a:xfrm>
              <a:custGeom>
                <a:avLst/>
                <a:gdLst>
                  <a:gd name="T0" fmla="*/ 50 w 388"/>
                  <a:gd name="T1" fmla="*/ 0 h 629"/>
                  <a:gd name="T2" fmla="*/ 0 w 388"/>
                  <a:gd name="T3" fmla="*/ 250 h 629"/>
                  <a:gd name="T4" fmla="*/ 264 w 388"/>
                  <a:gd name="T5" fmla="*/ 629 h 629"/>
                  <a:gd name="T6" fmla="*/ 281 w 388"/>
                  <a:gd name="T7" fmla="*/ 613 h 629"/>
                  <a:gd name="T8" fmla="*/ 279 w 388"/>
                  <a:gd name="T9" fmla="*/ 538 h 629"/>
                  <a:gd name="T10" fmla="*/ 312 w 388"/>
                  <a:gd name="T11" fmla="*/ 544 h 629"/>
                  <a:gd name="T12" fmla="*/ 346 w 388"/>
                  <a:gd name="T13" fmla="*/ 313 h 629"/>
                  <a:gd name="T14" fmla="*/ 369 w 388"/>
                  <a:gd name="T15" fmla="*/ 157 h 629"/>
                  <a:gd name="T16" fmla="*/ 376 w 388"/>
                  <a:gd name="T17" fmla="*/ 110 h 629"/>
                  <a:gd name="T18" fmla="*/ 388 w 388"/>
                  <a:gd name="T19" fmla="*/ 67 h 629"/>
                  <a:gd name="T20" fmla="*/ 214 w 388"/>
                  <a:gd name="T21" fmla="*/ 38 h 629"/>
                  <a:gd name="T22" fmla="*/ 50 w 388"/>
                  <a:gd name="T23" fmla="*/ 0 h 629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388"/>
                  <a:gd name="T37" fmla="*/ 0 h 629"/>
                  <a:gd name="T38" fmla="*/ 388 w 388"/>
                  <a:gd name="T39" fmla="*/ 629 h 629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388" h="629">
                    <a:moveTo>
                      <a:pt x="50" y="0"/>
                    </a:moveTo>
                    <a:lnTo>
                      <a:pt x="0" y="250"/>
                    </a:lnTo>
                    <a:lnTo>
                      <a:pt x="264" y="629"/>
                    </a:lnTo>
                    <a:lnTo>
                      <a:pt x="281" y="613"/>
                    </a:lnTo>
                    <a:lnTo>
                      <a:pt x="279" y="538"/>
                    </a:lnTo>
                    <a:lnTo>
                      <a:pt x="312" y="544"/>
                    </a:lnTo>
                    <a:lnTo>
                      <a:pt x="346" y="313"/>
                    </a:lnTo>
                    <a:lnTo>
                      <a:pt x="369" y="157"/>
                    </a:lnTo>
                    <a:lnTo>
                      <a:pt x="376" y="110"/>
                    </a:lnTo>
                    <a:lnTo>
                      <a:pt x="388" y="67"/>
                    </a:lnTo>
                    <a:lnTo>
                      <a:pt x="214" y="38"/>
                    </a:lnTo>
                    <a:lnTo>
                      <a:pt x="50" y="0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/>
              </a:p>
            </p:txBody>
          </p:sp>
          <p:sp>
            <p:nvSpPr>
              <p:cNvPr id="45" name="Freeform 29">
                <a:extLst>
                  <a:ext uri="{FF2B5EF4-FFF2-40B4-BE49-F238E27FC236}">
                    <a16:creationId xmlns:a16="http://schemas.microsoft.com/office/drawing/2014/main" id="{053F844D-2F18-408E-8245-95FB5369AB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78" y="1791"/>
                <a:ext cx="324" cy="449"/>
              </a:xfrm>
              <a:custGeom>
                <a:avLst/>
                <a:gdLst>
                  <a:gd name="T0" fmla="*/ 60 w 324"/>
                  <a:gd name="T1" fmla="*/ 0 h 449"/>
                  <a:gd name="T2" fmla="*/ 219 w 324"/>
                  <a:gd name="T3" fmla="*/ 23 h 449"/>
                  <a:gd name="T4" fmla="*/ 208 w 324"/>
                  <a:gd name="T5" fmla="*/ 109 h 449"/>
                  <a:gd name="T6" fmla="*/ 324 w 324"/>
                  <a:gd name="T7" fmla="*/ 121 h 449"/>
                  <a:gd name="T8" fmla="*/ 292 w 324"/>
                  <a:gd name="T9" fmla="*/ 449 h 449"/>
                  <a:gd name="T10" fmla="*/ 0 w 324"/>
                  <a:gd name="T11" fmla="*/ 415 h 449"/>
                  <a:gd name="T12" fmla="*/ 30 w 324"/>
                  <a:gd name="T13" fmla="*/ 205 h 449"/>
                  <a:gd name="T14" fmla="*/ 60 w 324"/>
                  <a:gd name="T15" fmla="*/ 0 h 44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24"/>
                  <a:gd name="T25" fmla="*/ 0 h 449"/>
                  <a:gd name="T26" fmla="*/ 324 w 324"/>
                  <a:gd name="T27" fmla="*/ 449 h 449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24" h="449">
                    <a:moveTo>
                      <a:pt x="60" y="0"/>
                    </a:moveTo>
                    <a:lnTo>
                      <a:pt x="219" y="23"/>
                    </a:lnTo>
                    <a:lnTo>
                      <a:pt x="208" y="109"/>
                    </a:lnTo>
                    <a:lnTo>
                      <a:pt x="324" y="121"/>
                    </a:lnTo>
                    <a:lnTo>
                      <a:pt x="292" y="449"/>
                    </a:lnTo>
                    <a:lnTo>
                      <a:pt x="0" y="415"/>
                    </a:lnTo>
                    <a:lnTo>
                      <a:pt x="30" y="205"/>
                    </a:lnTo>
                    <a:lnTo>
                      <a:pt x="60" y="0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/>
              </a:p>
            </p:txBody>
          </p:sp>
          <p:sp>
            <p:nvSpPr>
              <p:cNvPr id="46" name="Freeform 30">
                <a:extLst>
                  <a:ext uri="{FF2B5EF4-FFF2-40B4-BE49-F238E27FC236}">
                    <a16:creationId xmlns:a16="http://schemas.microsoft.com/office/drawing/2014/main" id="{52FC6EAD-0A95-4201-B288-8BB0433192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83" y="1571"/>
                <a:ext cx="415" cy="365"/>
              </a:xfrm>
              <a:custGeom>
                <a:avLst/>
                <a:gdLst>
                  <a:gd name="T0" fmla="*/ 40 w 415"/>
                  <a:gd name="T1" fmla="*/ 0 h 365"/>
                  <a:gd name="T2" fmla="*/ 25 w 415"/>
                  <a:gd name="T3" fmla="*/ 136 h 365"/>
                  <a:gd name="T4" fmla="*/ 0 w 415"/>
                  <a:gd name="T5" fmla="*/ 331 h 365"/>
                  <a:gd name="T6" fmla="*/ 120 w 415"/>
                  <a:gd name="T7" fmla="*/ 342 h 365"/>
                  <a:gd name="T8" fmla="*/ 401 w 415"/>
                  <a:gd name="T9" fmla="*/ 365 h 365"/>
                  <a:gd name="T10" fmla="*/ 415 w 415"/>
                  <a:gd name="T11" fmla="*/ 37 h 365"/>
                  <a:gd name="T12" fmla="*/ 40 w 415"/>
                  <a:gd name="T13" fmla="*/ 0 h 36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415"/>
                  <a:gd name="T22" fmla="*/ 0 h 365"/>
                  <a:gd name="T23" fmla="*/ 415 w 415"/>
                  <a:gd name="T24" fmla="*/ 365 h 365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415" h="365">
                    <a:moveTo>
                      <a:pt x="40" y="0"/>
                    </a:moveTo>
                    <a:lnTo>
                      <a:pt x="25" y="136"/>
                    </a:lnTo>
                    <a:lnTo>
                      <a:pt x="0" y="331"/>
                    </a:lnTo>
                    <a:lnTo>
                      <a:pt x="120" y="342"/>
                    </a:lnTo>
                    <a:lnTo>
                      <a:pt x="401" y="365"/>
                    </a:lnTo>
                    <a:lnTo>
                      <a:pt x="415" y="37"/>
                    </a:lnTo>
                    <a:lnTo>
                      <a:pt x="40" y="0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/>
              </a:p>
            </p:txBody>
          </p:sp>
          <p:sp>
            <p:nvSpPr>
              <p:cNvPr id="47" name="Freeform 31">
                <a:extLst>
                  <a:ext uri="{FF2B5EF4-FFF2-40B4-BE49-F238E27FC236}">
                    <a16:creationId xmlns:a16="http://schemas.microsoft.com/office/drawing/2014/main" id="{2C11F221-F283-4865-9170-ACEA1505BC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67" y="1912"/>
                <a:ext cx="433" cy="347"/>
              </a:xfrm>
              <a:custGeom>
                <a:avLst/>
                <a:gdLst>
                  <a:gd name="T0" fmla="*/ 36 w 433"/>
                  <a:gd name="T1" fmla="*/ 0 h 347"/>
                  <a:gd name="T2" fmla="*/ 14 w 433"/>
                  <a:gd name="T3" fmla="*/ 208 h 347"/>
                  <a:gd name="T4" fmla="*/ 0 w 433"/>
                  <a:gd name="T5" fmla="*/ 328 h 347"/>
                  <a:gd name="T6" fmla="*/ 216 w 433"/>
                  <a:gd name="T7" fmla="*/ 339 h 347"/>
                  <a:gd name="T8" fmla="*/ 423 w 433"/>
                  <a:gd name="T9" fmla="*/ 347 h 347"/>
                  <a:gd name="T10" fmla="*/ 430 w 433"/>
                  <a:gd name="T11" fmla="*/ 184 h 347"/>
                  <a:gd name="T12" fmla="*/ 433 w 433"/>
                  <a:gd name="T13" fmla="*/ 26 h 347"/>
                  <a:gd name="T14" fmla="*/ 315 w 433"/>
                  <a:gd name="T15" fmla="*/ 23 h 347"/>
                  <a:gd name="T16" fmla="*/ 36 w 433"/>
                  <a:gd name="T17" fmla="*/ 0 h 34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433"/>
                  <a:gd name="T28" fmla="*/ 0 h 347"/>
                  <a:gd name="T29" fmla="*/ 433 w 433"/>
                  <a:gd name="T30" fmla="*/ 347 h 347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433" h="347">
                    <a:moveTo>
                      <a:pt x="36" y="0"/>
                    </a:moveTo>
                    <a:lnTo>
                      <a:pt x="14" y="208"/>
                    </a:lnTo>
                    <a:lnTo>
                      <a:pt x="0" y="328"/>
                    </a:lnTo>
                    <a:lnTo>
                      <a:pt x="216" y="339"/>
                    </a:lnTo>
                    <a:lnTo>
                      <a:pt x="423" y="347"/>
                    </a:lnTo>
                    <a:lnTo>
                      <a:pt x="430" y="184"/>
                    </a:lnTo>
                    <a:lnTo>
                      <a:pt x="433" y="26"/>
                    </a:lnTo>
                    <a:lnTo>
                      <a:pt x="315" y="23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/>
              </a:p>
            </p:txBody>
          </p:sp>
          <p:sp>
            <p:nvSpPr>
              <p:cNvPr id="48" name="Freeform 32">
                <a:extLst>
                  <a:ext uri="{FF2B5EF4-FFF2-40B4-BE49-F238E27FC236}">
                    <a16:creationId xmlns:a16="http://schemas.microsoft.com/office/drawing/2014/main" id="{42B27A1A-562B-46BC-8772-A95246863C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77" y="2203"/>
                <a:ext cx="393" cy="469"/>
              </a:xfrm>
              <a:custGeom>
                <a:avLst/>
                <a:gdLst>
                  <a:gd name="T0" fmla="*/ 100 w 393"/>
                  <a:gd name="T1" fmla="*/ 0 h 469"/>
                  <a:gd name="T2" fmla="*/ 92 w 393"/>
                  <a:gd name="T3" fmla="*/ 61 h 469"/>
                  <a:gd name="T4" fmla="*/ 58 w 393"/>
                  <a:gd name="T5" fmla="*/ 54 h 469"/>
                  <a:gd name="T6" fmla="*/ 61 w 393"/>
                  <a:gd name="T7" fmla="*/ 133 h 469"/>
                  <a:gd name="T8" fmla="*/ 44 w 393"/>
                  <a:gd name="T9" fmla="*/ 148 h 469"/>
                  <a:gd name="T10" fmla="*/ 68 w 393"/>
                  <a:gd name="T11" fmla="*/ 197 h 469"/>
                  <a:gd name="T12" fmla="*/ 44 w 393"/>
                  <a:gd name="T13" fmla="*/ 218 h 469"/>
                  <a:gd name="T14" fmla="*/ 31 w 393"/>
                  <a:gd name="T15" fmla="*/ 253 h 469"/>
                  <a:gd name="T16" fmla="*/ 12 w 393"/>
                  <a:gd name="T17" fmla="*/ 287 h 469"/>
                  <a:gd name="T18" fmla="*/ 26 w 393"/>
                  <a:gd name="T19" fmla="*/ 307 h 469"/>
                  <a:gd name="T20" fmla="*/ 3 w 393"/>
                  <a:gd name="T21" fmla="*/ 315 h 469"/>
                  <a:gd name="T22" fmla="*/ 0 w 393"/>
                  <a:gd name="T23" fmla="*/ 347 h 469"/>
                  <a:gd name="T24" fmla="*/ 221 w 393"/>
                  <a:gd name="T25" fmla="*/ 467 h 469"/>
                  <a:gd name="T26" fmla="*/ 346 w 393"/>
                  <a:gd name="T27" fmla="*/ 469 h 469"/>
                  <a:gd name="T28" fmla="*/ 393 w 393"/>
                  <a:gd name="T29" fmla="*/ 37 h 469"/>
                  <a:gd name="T30" fmla="*/ 100 w 393"/>
                  <a:gd name="T31" fmla="*/ 0 h 469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393"/>
                  <a:gd name="T49" fmla="*/ 0 h 469"/>
                  <a:gd name="T50" fmla="*/ 393 w 393"/>
                  <a:gd name="T51" fmla="*/ 469 h 469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393" h="469">
                    <a:moveTo>
                      <a:pt x="100" y="0"/>
                    </a:moveTo>
                    <a:lnTo>
                      <a:pt x="92" y="61"/>
                    </a:lnTo>
                    <a:lnTo>
                      <a:pt x="58" y="54"/>
                    </a:lnTo>
                    <a:lnTo>
                      <a:pt x="61" y="133"/>
                    </a:lnTo>
                    <a:lnTo>
                      <a:pt x="44" y="148"/>
                    </a:lnTo>
                    <a:lnTo>
                      <a:pt x="68" y="197"/>
                    </a:lnTo>
                    <a:lnTo>
                      <a:pt x="44" y="218"/>
                    </a:lnTo>
                    <a:lnTo>
                      <a:pt x="31" y="253"/>
                    </a:lnTo>
                    <a:lnTo>
                      <a:pt x="12" y="287"/>
                    </a:lnTo>
                    <a:lnTo>
                      <a:pt x="26" y="307"/>
                    </a:lnTo>
                    <a:lnTo>
                      <a:pt x="3" y="315"/>
                    </a:lnTo>
                    <a:lnTo>
                      <a:pt x="0" y="347"/>
                    </a:lnTo>
                    <a:lnTo>
                      <a:pt x="221" y="467"/>
                    </a:lnTo>
                    <a:lnTo>
                      <a:pt x="346" y="469"/>
                    </a:lnTo>
                    <a:lnTo>
                      <a:pt x="393" y="37"/>
                    </a:lnTo>
                    <a:lnTo>
                      <a:pt x="100" y="0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/>
              </a:p>
            </p:txBody>
          </p:sp>
          <p:sp>
            <p:nvSpPr>
              <p:cNvPr id="49" name="Freeform 33">
                <a:extLst>
                  <a:ext uri="{FF2B5EF4-FFF2-40B4-BE49-F238E27FC236}">
                    <a16:creationId xmlns:a16="http://schemas.microsoft.com/office/drawing/2014/main" id="{EDDA9195-68DF-4649-8B41-661F3C03A6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20" y="2236"/>
                <a:ext cx="417" cy="445"/>
              </a:xfrm>
              <a:custGeom>
                <a:avLst/>
                <a:gdLst>
                  <a:gd name="T0" fmla="*/ 50 w 417"/>
                  <a:gd name="T1" fmla="*/ 0 h 445"/>
                  <a:gd name="T2" fmla="*/ 417 w 417"/>
                  <a:gd name="T3" fmla="*/ 18 h 445"/>
                  <a:gd name="T4" fmla="*/ 399 w 417"/>
                  <a:gd name="T5" fmla="*/ 411 h 445"/>
                  <a:gd name="T6" fmla="*/ 280 w 417"/>
                  <a:gd name="T7" fmla="*/ 403 h 445"/>
                  <a:gd name="T8" fmla="*/ 168 w 417"/>
                  <a:gd name="T9" fmla="*/ 400 h 445"/>
                  <a:gd name="T10" fmla="*/ 168 w 417"/>
                  <a:gd name="T11" fmla="*/ 415 h 445"/>
                  <a:gd name="T12" fmla="*/ 75 w 417"/>
                  <a:gd name="T13" fmla="*/ 415 h 445"/>
                  <a:gd name="T14" fmla="*/ 70 w 417"/>
                  <a:gd name="T15" fmla="*/ 445 h 445"/>
                  <a:gd name="T16" fmla="*/ 0 w 417"/>
                  <a:gd name="T17" fmla="*/ 435 h 445"/>
                  <a:gd name="T18" fmla="*/ 39 w 417"/>
                  <a:gd name="T19" fmla="*/ 102 h 445"/>
                  <a:gd name="T20" fmla="*/ 50 w 417"/>
                  <a:gd name="T21" fmla="*/ 0 h 445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417"/>
                  <a:gd name="T34" fmla="*/ 0 h 445"/>
                  <a:gd name="T35" fmla="*/ 417 w 417"/>
                  <a:gd name="T36" fmla="*/ 445 h 445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417" h="445">
                    <a:moveTo>
                      <a:pt x="50" y="0"/>
                    </a:moveTo>
                    <a:lnTo>
                      <a:pt x="417" y="18"/>
                    </a:lnTo>
                    <a:lnTo>
                      <a:pt x="399" y="411"/>
                    </a:lnTo>
                    <a:lnTo>
                      <a:pt x="280" y="403"/>
                    </a:lnTo>
                    <a:lnTo>
                      <a:pt x="168" y="400"/>
                    </a:lnTo>
                    <a:lnTo>
                      <a:pt x="168" y="415"/>
                    </a:lnTo>
                    <a:lnTo>
                      <a:pt x="75" y="415"/>
                    </a:lnTo>
                    <a:lnTo>
                      <a:pt x="70" y="445"/>
                    </a:lnTo>
                    <a:lnTo>
                      <a:pt x="0" y="435"/>
                    </a:lnTo>
                    <a:lnTo>
                      <a:pt x="39" y="102"/>
                    </a:lnTo>
                    <a:lnTo>
                      <a:pt x="50" y="0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/>
              </a:p>
            </p:txBody>
          </p:sp>
          <p:sp>
            <p:nvSpPr>
              <p:cNvPr id="50" name="Freeform 34">
                <a:extLst>
                  <a:ext uri="{FF2B5EF4-FFF2-40B4-BE49-F238E27FC236}">
                    <a16:creationId xmlns:a16="http://schemas.microsoft.com/office/drawing/2014/main" id="{EE701A10-269A-4EE5-B5FB-51BCE44CF5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99" y="1277"/>
                <a:ext cx="407" cy="256"/>
              </a:xfrm>
              <a:custGeom>
                <a:avLst/>
                <a:gdLst>
                  <a:gd name="T0" fmla="*/ 1 w 407"/>
                  <a:gd name="T1" fmla="*/ 0 h 256"/>
                  <a:gd name="T2" fmla="*/ 342 w 407"/>
                  <a:gd name="T3" fmla="*/ 8 h 256"/>
                  <a:gd name="T4" fmla="*/ 367 w 407"/>
                  <a:gd name="T5" fmla="*/ 83 h 256"/>
                  <a:gd name="T6" fmla="*/ 391 w 407"/>
                  <a:gd name="T7" fmla="*/ 141 h 256"/>
                  <a:gd name="T8" fmla="*/ 407 w 407"/>
                  <a:gd name="T9" fmla="*/ 235 h 256"/>
                  <a:gd name="T10" fmla="*/ 397 w 407"/>
                  <a:gd name="T11" fmla="*/ 256 h 256"/>
                  <a:gd name="T12" fmla="*/ 272 w 407"/>
                  <a:gd name="T13" fmla="*/ 253 h 256"/>
                  <a:gd name="T14" fmla="*/ 0 w 407"/>
                  <a:gd name="T15" fmla="*/ 248 h 256"/>
                  <a:gd name="T16" fmla="*/ 1 w 407"/>
                  <a:gd name="T17" fmla="*/ 0 h 25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407"/>
                  <a:gd name="T28" fmla="*/ 0 h 256"/>
                  <a:gd name="T29" fmla="*/ 407 w 407"/>
                  <a:gd name="T30" fmla="*/ 256 h 25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407" h="256">
                    <a:moveTo>
                      <a:pt x="1" y="0"/>
                    </a:moveTo>
                    <a:lnTo>
                      <a:pt x="342" y="8"/>
                    </a:lnTo>
                    <a:lnTo>
                      <a:pt x="367" y="83"/>
                    </a:lnTo>
                    <a:lnTo>
                      <a:pt x="391" y="141"/>
                    </a:lnTo>
                    <a:lnTo>
                      <a:pt x="407" y="235"/>
                    </a:lnTo>
                    <a:lnTo>
                      <a:pt x="397" y="256"/>
                    </a:lnTo>
                    <a:lnTo>
                      <a:pt x="272" y="253"/>
                    </a:lnTo>
                    <a:lnTo>
                      <a:pt x="0" y="248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/>
              </a:p>
            </p:txBody>
          </p:sp>
          <p:sp>
            <p:nvSpPr>
              <p:cNvPr id="51" name="Freeform 35">
                <a:extLst>
                  <a:ext uri="{FF2B5EF4-FFF2-40B4-BE49-F238E27FC236}">
                    <a16:creationId xmlns:a16="http://schemas.microsoft.com/office/drawing/2014/main" id="{9D4FDF83-505A-49E9-A3FD-5A71ED8571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88" y="1524"/>
                <a:ext cx="428" cy="300"/>
              </a:xfrm>
              <a:custGeom>
                <a:avLst/>
                <a:gdLst>
                  <a:gd name="T0" fmla="*/ 8 w 428"/>
                  <a:gd name="T1" fmla="*/ 0 h 300"/>
                  <a:gd name="T2" fmla="*/ 7 w 428"/>
                  <a:gd name="T3" fmla="*/ 116 h 300"/>
                  <a:gd name="T4" fmla="*/ 0 w 428"/>
                  <a:gd name="T5" fmla="*/ 252 h 300"/>
                  <a:gd name="T6" fmla="*/ 311 w 428"/>
                  <a:gd name="T7" fmla="*/ 257 h 300"/>
                  <a:gd name="T8" fmla="*/ 344 w 428"/>
                  <a:gd name="T9" fmla="*/ 276 h 300"/>
                  <a:gd name="T10" fmla="*/ 367 w 428"/>
                  <a:gd name="T11" fmla="*/ 250 h 300"/>
                  <a:gd name="T12" fmla="*/ 428 w 428"/>
                  <a:gd name="T13" fmla="*/ 300 h 300"/>
                  <a:gd name="T14" fmla="*/ 419 w 428"/>
                  <a:gd name="T15" fmla="*/ 248 h 300"/>
                  <a:gd name="T16" fmla="*/ 425 w 428"/>
                  <a:gd name="T17" fmla="*/ 208 h 300"/>
                  <a:gd name="T18" fmla="*/ 428 w 428"/>
                  <a:gd name="T19" fmla="*/ 71 h 300"/>
                  <a:gd name="T20" fmla="*/ 401 w 428"/>
                  <a:gd name="T21" fmla="*/ 42 h 300"/>
                  <a:gd name="T22" fmla="*/ 412 w 428"/>
                  <a:gd name="T23" fmla="*/ 4 h 300"/>
                  <a:gd name="T24" fmla="*/ 208 w 428"/>
                  <a:gd name="T25" fmla="*/ 3 h 300"/>
                  <a:gd name="T26" fmla="*/ 8 w 428"/>
                  <a:gd name="T27" fmla="*/ 0 h 300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428"/>
                  <a:gd name="T43" fmla="*/ 0 h 300"/>
                  <a:gd name="T44" fmla="*/ 428 w 428"/>
                  <a:gd name="T45" fmla="*/ 300 h 300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428" h="300">
                    <a:moveTo>
                      <a:pt x="8" y="0"/>
                    </a:moveTo>
                    <a:lnTo>
                      <a:pt x="7" y="116"/>
                    </a:lnTo>
                    <a:lnTo>
                      <a:pt x="0" y="252"/>
                    </a:lnTo>
                    <a:lnTo>
                      <a:pt x="311" y="257"/>
                    </a:lnTo>
                    <a:lnTo>
                      <a:pt x="344" y="276"/>
                    </a:lnTo>
                    <a:lnTo>
                      <a:pt x="367" y="250"/>
                    </a:lnTo>
                    <a:lnTo>
                      <a:pt x="428" y="300"/>
                    </a:lnTo>
                    <a:lnTo>
                      <a:pt x="419" y="248"/>
                    </a:lnTo>
                    <a:lnTo>
                      <a:pt x="425" y="208"/>
                    </a:lnTo>
                    <a:lnTo>
                      <a:pt x="428" y="71"/>
                    </a:lnTo>
                    <a:lnTo>
                      <a:pt x="401" y="42"/>
                    </a:lnTo>
                    <a:lnTo>
                      <a:pt x="412" y="4"/>
                    </a:lnTo>
                    <a:lnTo>
                      <a:pt x="208" y="3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/>
              </a:p>
            </p:txBody>
          </p:sp>
          <p:sp>
            <p:nvSpPr>
              <p:cNvPr id="52" name="Freeform 36">
                <a:extLst>
                  <a:ext uri="{FF2B5EF4-FFF2-40B4-BE49-F238E27FC236}">
                    <a16:creationId xmlns:a16="http://schemas.microsoft.com/office/drawing/2014/main" id="{2070092D-D5C0-4F31-8F0E-F3FE8B45E1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82" y="1773"/>
                <a:ext cx="510" cy="247"/>
              </a:xfrm>
              <a:custGeom>
                <a:avLst/>
                <a:gdLst>
                  <a:gd name="T0" fmla="*/ 5 w 510"/>
                  <a:gd name="T1" fmla="*/ 0 h 247"/>
                  <a:gd name="T2" fmla="*/ 0 w 510"/>
                  <a:gd name="T3" fmla="*/ 163 h 247"/>
                  <a:gd name="T4" fmla="*/ 115 w 510"/>
                  <a:gd name="T5" fmla="*/ 167 h 247"/>
                  <a:gd name="T6" fmla="*/ 114 w 510"/>
                  <a:gd name="T7" fmla="*/ 247 h 247"/>
                  <a:gd name="T8" fmla="*/ 269 w 510"/>
                  <a:gd name="T9" fmla="*/ 245 h 247"/>
                  <a:gd name="T10" fmla="*/ 408 w 510"/>
                  <a:gd name="T11" fmla="*/ 242 h 247"/>
                  <a:gd name="T12" fmla="*/ 510 w 510"/>
                  <a:gd name="T13" fmla="*/ 245 h 247"/>
                  <a:gd name="T14" fmla="*/ 478 w 510"/>
                  <a:gd name="T15" fmla="*/ 175 h 247"/>
                  <a:gd name="T16" fmla="*/ 456 w 510"/>
                  <a:gd name="T17" fmla="*/ 110 h 247"/>
                  <a:gd name="T18" fmla="*/ 432 w 510"/>
                  <a:gd name="T19" fmla="*/ 43 h 247"/>
                  <a:gd name="T20" fmla="*/ 374 w 510"/>
                  <a:gd name="T21" fmla="*/ 1 h 247"/>
                  <a:gd name="T22" fmla="*/ 348 w 510"/>
                  <a:gd name="T23" fmla="*/ 26 h 247"/>
                  <a:gd name="T24" fmla="*/ 316 w 510"/>
                  <a:gd name="T25" fmla="*/ 8 h 247"/>
                  <a:gd name="T26" fmla="*/ 177 w 510"/>
                  <a:gd name="T27" fmla="*/ 3 h 247"/>
                  <a:gd name="T28" fmla="*/ 5 w 510"/>
                  <a:gd name="T29" fmla="*/ 0 h 247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510"/>
                  <a:gd name="T46" fmla="*/ 0 h 247"/>
                  <a:gd name="T47" fmla="*/ 510 w 510"/>
                  <a:gd name="T48" fmla="*/ 247 h 247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510" h="247">
                    <a:moveTo>
                      <a:pt x="5" y="0"/>
                    </a:moveTo>
                    <a:lnTo>
                      <a:pt x="0" y="163"/>
                    </a:lnTo>
                    <a:lnTo>
                      <a:pt x="115" y="167"/>
                    </a:lnTo>
                    <a:lnTo>
                      <a:pt x="114" y="247"/>
                    </a:lnTo>
                    <a:lnTo>
                      <a:pt x="269" y="245"/>
                    </a:lnTo>
                    <a:lnTo>
                      <a:pt x="408" y="242"/>
                    </a:lnTo>
                    <a:lnTo>
                      <a:pt x="510" y="245"/>
                    </a:lnTo>
                    <a:lnTo>
                      <a:pt x="478" y="175"/>
                    </a:lnTo>
                    <a:lnTo>
                      <a:pt x="456" y="110"/>
                    </a:lnTo>
                    <a:lnTo>
                      <a:pt x="432" y="43"/>
                    </a:lnTo>
                    <a:lnTo>
                      <a:pt x="374" y="1"/>
                    </a:lnTo>
                    <a:lnTo>
                      <a:pt x="348" y="26"/>
                    </a:lnTo>
                    <a:lnTo>
                      <a:pt x="316" y="8"/>
                    </a:lnTo>
                    <a:lnTo>
                      <a:pt x="177" y="3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/>
              </a:p>
            </p:txBody>
          </p:sp>
          <p:sp>
            <p:nvSpPr>
              <p:cNvPr id="53" name="Freeform 37">
                <a:extLst>
                  <a:ext uri="{FF2B5EF4-FFF2-40B4-BE49-F238E27FC236}">
                    <a16:creationId xmlns:a16="http://schemas.microsoft.com/office/drawing/2014/main" id="{E1EB0082-2BF0-4D9B-A0F0-8DB65D08CA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90" y="2014"/>
                <a:ext cx="449" cy="246"/>
              </a:xfrm>
              <a:custGeom>
                <a:avLst/>
                <a:gdLst>
                  <a:gd name="T0" fmla="*/ 5 w 449"/>
                  <a:gd name="T1" fmla="*/ 2 h 246"/>
                  <a:gd name="T2" fmla="*/ 3 w 449"/>
                  <a:gd name="T3" fmla="*/ 143 h 246"/>
                  <a:gd name="T4" fmla="*/ 0 w 449"/>
                  <a:gd name="T5" fmla="*/ 243 h 246"/>
                  <a:gd name="T6" fmla="*/ 449 w 449"/>
                  <a:gd name="T7" fmla="*/ 246 h 246"/>
                  <a:gd name="T8" fmla="*/ 440 w 449"/>
                  <a:gd name="T9" fmla="*/ 118 h 246"/>
                  <a:gd name="T10" fmla="*/ 440 w 449"/>
                  <a:gd name="T11" fmla="*/ 69 h 246"/>
                  <a:gd name="T12" fmla="*/ 404 w 449"/>
                  <a:gd name="T13" fmla="*/ 40 h 246"/>
                  <a:gd name="T14" fmla="*/ 415 w 449"/>
                  <a:gd name="T15" fmla="*/ 14 h 246"/>
                  <a:gd name="T16" fmla="*/ 399 w 449"/>
                  <a:gd name="T17" fmla="*/ 0 h 246"/>
                  <a:gd name="T18" fmla="*/ 196 w 449"/>
                  <a:gd name="T19" fmla="*/ 2 h 246"/>
                  <a:gd name="T20" fmla="*/ 5 w 449"/>
                  <a:gd name="T21" fmla="*/ 2 h 24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449"/>
                  <a:gd name="T34" fmla="*/ 0 h 246"/>
                  <a:gd name="T35" fmla="*/ 449 w 449"/>
                  <a:gd name="T36" fmla="*/ 246 h 24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449" h="246">
                    <a:moveTo>
                      <a:pt x="5" y="2"/>
                    </a:moveTo>
                    <a:lnTo>
                      <a:pt x="3" y="143"/>
                    </a:lnTo>
                    <a:lnTo>
                      <a:pt x="0" y="243"/>
                    </a:lnTo>
                    <a:lnTo>
                      <a:pt x="449" y="246"/>
                    </a:lnTo>
                    <a:lnTo>
                      <a:pt x="440" y="118"/>
                    </a:lnTo>
                    <a:lnTo>
                      <a:pt x="440" y="69"/>
                    </a:lnTo>
                    <a:lnTo>
                      <a:pt x="404" y="40"/>
                    </a:lnTo>
                    <a:lnTo>
                      <a:pt x="415" y="14"/>
                    </a:lnTo>
                    <a:lnTo>
                      <a:pt x="399" y="0"/>
                    </a:lnTo>
                    <a:lnTo>
                      <a:pt x="196" y="2"/>
                    </a:lnTo>
                    <a:lnTo>
                      <a:pt x="5" y="2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/>
              </a:p>
            </p:txBody>
          </p:sp>
          <p:sp>
            <p:nvSpPr>
              <p:cNvPr id="54" name="Freeform 38">
                <a:extLst>
                  <a:ext uri="{FF2B5EF4-FFF2-40B4-BE49-F238E27FC236}">
                    <a16:creationId xmlns:a16="http://schemas.microsoft.com/office/drawing/2014/main" id="{26934ECF-B65A-4F99-98F9-9362158C2E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30" y="2254"/>
                <a:ext cx="523" cy="270"/>
              </a:xfrm>
              <a:custGeom>
                <a:avLst/>
                <a:gdLst>
                  <a:gd name="T0" fmla="*/ 3 w 523"/>
                  <a:gd name="T1" fmla="*/ 0 h 270"/>
                  <a:gd name="T2" fmla="*/ 0 w 523"/>
                  <a:gd name="T3" fmla="*/ 48 h 270"/>
                  <a:gd name="T4" fmla="*/ 186 w 523"/>
                  <a:gd name="T5" fmla="*/ 55 h 270"/>
                  <a:gd name="T6" fmla="*/ 187 w 523"/>
                  <a:gd name="T7" fmla="*/ 209 h 270"/>
                  <a:gd name="T8" fmla="*/ 282 w 523"/>
                  <a:gd name="T9" fmla="*/ 251 h 270"/>
                  <a:gd name="T10" fmla="*/ 308 w 523"/>
                  <a:gd name="T11" fmla="*/ 236 h 270"/>
                  <a:gd name="T12" fmla="*/ 369 w 523"/>
                  <a:gd name="T13" fmla="*/ 270 h 270"/>
                  <a:gd name="T14" fmla="*/ 408 w 523"/>
                  <a:gd name="T15" fmla="*/ 269 h 270"/>
                  <a:gd name="T16" fmla="*/ 480 w 523"/>
                  <a:gd name="T17" fmla="*/ 236 h 270"/>
                  <a:gd name="T18" fmla="*/ 523 w 523"/>
                  <a:gd name="T19" fmla="*/ 268 h 270"/>
                  <a:gd name="T20" fmla="*/ 523 w 523"/>
                  <a:gd name="T21" fmla="*/ 101 h 270"/>
                  <a:gd name="T22" fmla="*/ 510 w 523"/>
                  <a:gd name="T23" fmla="*/ 3 h 270"/>
                  <a:gd name="T24" fmla="*/ 3 w 523"/>
                  <a:gd name="T25" fmla="*/ 0 h 270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523"/>
                  <a:gd name="T40" fmla="*/ 0 h 270"/>
                  <a:gd name="T41" fmla="*/ 523 w 523"/>
                  <a:gd name="T42" fmla="*/ 270 h 270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523" h="270">
                    <a:moveTo>
                      <a:pt x="3" y="0"/>
                    </a:moveTo>
                    <a:lnTo>
                      <a:pt x="0" y="48"/>
                    </a:lnTo>
                    <a:lnTo>
                      <a:pt x="186" y="55"/>
                    </a:lnTo>
                    <a:lnTo>
                      <a:pt x="187" y="209"/>
                    </a:lnTo>
                    <a:lnTo>
                      <a:pt x="282" y="251"/>
                    </a:lnTo>
                    <a:lnTo>
                      <a:pt x="308" y="236"/>
                    </a:lnTo>
                    <a:lnTo>
                      <a:pt x="369" y="270"/>
                    </a:lnTo>
                    <a:lnTo>
                      <a:pt x="408" y="269"/>
                    </a:lnTo>
                    <a:lnTo>
                      <a:pt x="480" y="236"/>
                    </a:lnTo>
                    <a:lnTo>
                      <a:pt x="523" y="268"/>
                    </a:lnTo>
                    <a:lnTo>
                      <a:pt x="523" y="101"/>
                    </a:lnTo>
                    <a:lnTo>
                      <a:pt x="510" y="3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/>
              </a:p>
            </p:txBody>
          </p:sp>
          <p:sp>
            <p:nvSpPr>
              <p:cNvPr id="55" name="Freeform 39">
                <a:extLst>
                  <a:ext uri="{FF2B5EF4-FFF2-40B4-BE49-F238E27FC236}">
                    <a16:creationId xmlns:a16="http://schemas.microsoft.com/office/drawing/2014/main" id="{D737A285-5E46-4B78-B77A-B5A782B901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06" y="1715"/>
                <a:ext cx="354" cy="247"/>
              </a:xfrm>
              <a:custGeom>
                <a:avLst/>
                <a:gdLst>
                  <a:gd name="T0" fmla="*/ 6 w 354"/>
                  <a:gd name="T1" fmla="*/ 13 h 247"/>
                  <a:gd name="T2" fmla="*/ 0 w 354"/>
                  <a:gd name="T3" fmla="*/ 57 h 247"/>
                  <a:gd name="T4" fmla="*/ 8 w 354"/>
                  <a:gd name="T5" fmla="*/ 103 h 247"/>
                  <a:gd name="T6" fmla="*/ 41 w 354"/>
                  <a:gd name="T7" fmla="*/ 197 h 247"/>
                  <a:gd name="T8" fmla="*/ 59 w 354"/>
                  <a:gd name="T9" fmla="*/ 247 h 247"/>
                  <a:gd name="T10" fmla="*/ 267 w 354"/>
                  <a:gd name="T11" fmla="*/ 235 h 247"/>
                  <a:gd name="T12" fmla="*/ 301 w 354"/>
                  <a:gd name="T13" fmla="*/ 247 h 247"/>
                  <a:gd name="T14" fmla="*/ 322 w 354"/>
                  <a:gd name="T15" fmla="*/ 199 h 247"/>
                  <a:gd name="T16" fmla="*/ 314 w 354"/>
                  <a:gd name="T17" fmla="*/ 165 h 247"/>
                  <a:gd name="T18" fmla="*/ 349 w 354"/>
                  <a:gd name="T19" fmla="*/ 158 h 247"/>
                  <a:gd name="T20" fmla="*/ 354 w 354"/>
                  <a:gd name="T21" fmla="*/ 104 h 247"/>
                  <a:gd name="T22" fmla="*/ 333 w 354"/>
                  <a:gd name="T23" fmla="*/ 80 h 247"/>
                  <a:gd name="T24" fmla="*/ 297 w 354"/>
                  <a:gd name="T25" fmla="*/ 57 h 247"/>
                  <a:gd name="T26" fmla="*/ 304 w 354"/>
                  <a:gd name="T27" fmla="*/ 24 h 247"/>
                  <a:gd name="T28" fmla="*/ 289 w 354"/>
                  <a:gd name="T29" fmla="*/ 0 h 247"/>
                  <a:gd name="T30" fmla="*/ 211 w 354"/>
                  <a:gd name="T31" fmla="*/ 4 h 247"/>
                  <a:gd name="T32" fmla="*/ 133 w 354"/>
                  <a:gd name="T33" fmla="*/ 7 h 247"/>
                  <a:gd name="T34" fmla="*/ 6 w 354"/>
                  <a:gd name="T35" fmla="*/ 13 h 247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354"/>
                  <a:gd name="T55" fmla="*/ 0 h 247"/>
                  <a:gd name="T56" fmla="*/ 354 w 354"/>
                  <a:gd name="T57" fmla="*/ 247 h 247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354" h="247">
                    <a:moveTo>
                      <a:pt x="6" y="13"/>
                    </a:moveTo>
                    <a:lnTo>
                      <a:pt x="0" y="57"/>
                    </a:lnTo>
                    <a:lnTo>
                      <a:pt x="8" y="103"/>
                    </a:lnTo>
                    <a:lnTo>
                      <a:pt x="41" y="197"/>
                    </a:lnTo>
                    <a:lnTo>
                      <a:pt x="59" y="247"/>
                    </a:lnTo>
                    <a:lnTo>
                      <a:pt x="267" y="235"/>
                    </a:lnTo>
                    <a:lnTo>
                      <a:pt x="301" y="247"/>
                    </a:lnTo>
                    <a:lnTo>
                      <a:pt x="322" y="199"/>
                    </a:lnTo>
                    <a:lnTo>
                      <a:pt x="314" y="165"/>
                    </a:lnTo>
                    <a:lnTo>
                      <a:pt x="349" y="158"/>
                    </a:lnTo>
                    <a:lnTo>
                      <a:pt x="354" y="104"/>
                    </a:lnTo>
                    <a:lnTo>
                      <a:pt x="333" y="80"/>
                    </a:lnTo>
                    <a:lnTo>
                      <a:pt x="297" y="57"/>
                    </a:lnTo>
                    <a:lnTo>
                      <a:pt x="304" y="24"/>
                    </a:lnTo>
                    <a:lnTo>
                      <a:pt x="289" y="0"/>
                    </a:lnTo>
                    <a:lnTo>
                      <a:pt x="211" y="4"/>
                    </a:lnTo>
                    <a:lnTo>
                      <a:pt x="133" y="7"/>
                    </a:lnTo>
                    <a:lnTo>
                      <a:pt x="6" y="13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/>
              </a:p>
            </p:txBody>
          </p:sp>
          <p:sp>
            <p:nvSpPr>
              <p:cNvPr id="56" name="Freeform 40">
                <a:extLst>
                  <a:ext uri="{FF2B5EF4-FFF2-40B4-BE49-F238E27FC236}">
                    <a16:creationId xmlns:a16="http://schemas.microsoft.com/office/drawing/2014/main" id="{E1A3CFA2-E893-438C-8CE1-A3037AE6A0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90" y="1768"/>
                <a:ext cx="253" cy="451"/>
              </a:xfrm>
              <a:custGeom>
                <a:avLst/>
                <a:gdLst>
                  <a:gd name="T0" fmla="*/ 47 w 253"/>
                  <a:gd name="T1" fmla="*/ 26 h 451"/>
                  <a:gd name="T2" fmla="*/ 192 w 253"/>
                  <a:gd name="T3" fmla="*/ 0 h 451"/>
                  <a:gd name="T4" fmla="*/ 215 w 253"/>
                  <a:gd name="T5" fmla="*/ 56 h 451"/>
                  <a:gd name="T6" fmla="*/ 245 w 253"/>
                  <a:gd name="T7" fmla="*/ 286 h 451"/>
                  <a:gd name="T8" fmla="*/ 253 w 253"/>
                  <a:gd name="T9" fmla="*/ 317 h 451"/>
                  <a:gd name="T10" fmla="*/ 230 w 253"/>
                  <a:gd name="T11" fmla="*/ 378 h 451"/>
                  <a:gd name="T12" fmla="*/ 230 w 253"/>
                  <a:gd name="T13" fmla="*/ 420 h 451"/>
                  <a:gd name="T14" fmla="*/ 204 w 253"/>
                  <a:gd name="T15" fmla="*/ 415 h 451"/>
                  <a:gd name="T16" fmla="*/ 205 w 253"/>
                  <a:gd name="T17" fmla="*/ 451 h 451"/>
                  <a:gd name="T18" fmla="*/ 178 w 253"/>
                  <a:gd name="T19" fmla="*/ 436 h 451"/>
                  <a:gd name="T20" fmla="*/ 164 w 253"/>
                  <a:gd name="T21" fmla="*/ 441 h 451"/>
                  <a:gd name="T22" fmla="*/ 143 w 253"/>
                  <a:gd name="T23" fmla="*/ 438 h 451"/>
                  <a:gd name="T24" fmla="*/ 128 w 253"/>
                  <a:gd name="T25" fmla="*/ 384 h 451"/>
                  <a:gd name="T26" fmla="*/ 98 w 253"/>
                  <a:gd name="T27" fmla="*/ 367 h 451"/>
                  <a:gd name="T28" fmla="*/ 98 w 253"/>
                  <a:gd name="T29" fmla="*/ 309 h 451"/>
                  <a:gd name="T30" fmla="*/ 69 w 253"/>
                  <a:gd name="T31" fmla="*/ 317 h 451"/>
                  <a:gd name="T32" fmla="*/ 52 w 253"/>
                  <a:gd name="T33" fmla="*/ 274 h 451"/>
                  <a:gd name="T34" fmla="*/ 0 w 253"/>
                  <a:gd name="T35" fmla="*/ 225 h 451"/>
                  <a:gd name="T36" fmla="*/ 38 w 253"/>
                  <a:gd name="T37" fmla="*/ 147 h 451"/>
                  <a:gd name="T38" fmla="*/ 27 w 253"/>
                  <a:gd name="T39" fmla="*/ 111 h 451"/>
                  <a:gd name="T40" fmla="*/ 65 w 253"/>
                  <a:gd name="T41" fmla="*/ 104 h 451"/>
                  <a:gd name="T42" fmla="*/ 69 w 253"/>
                  <a:gd name="T43" fmla="*/ 53 h 451"/>
                  <a:gd name="T44" fmla="*/ 47 w 253"/>
                  <a:gd name="T45" fmla="*/ 26 h 451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253"/>
                  <a:gd name="T70" fmla="*/ 0 h 451"/>
                  <a:gd name="T71" fmla="*/ 253 w 253"/>
                  <a:gd name="T72" fmla="*/ 451 h 451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253" h="451">
                    <a:moveTo>
                      <a:pt x="47" y="26"/>
                    </a:moveTo>
                    <a:lnTo>
                      <a:pt x="192" y="0"/>
                    </a:lnTo>
                    <a:lnTo>
                      <a:pt x="215" y="56"/>
                    </a:lnTo>
                    <a:lnTo>
                      <a:pt x="245" y="286"/>
                    </a:lnTo>
                    <a:lnTo>
                      <a:pt x="253" y="317"/>
                    </a:lnTo>
                    <a:lnTo>
                      <a:pt x="230" y="378"/>
                    </a:lnTo>
                    <a:lnTo>
                      <a:pt x="230" y="420"/>
                    </a:lnTo>
                    <a:lnTo>
                      <a:pt x="204" y="415"/>
                    </a:lnTo>
                    <a:lnTo>
                      <a:pt x="205" y="451"/>
                    </a:lnTo>
                    <a:lnTo>
                      <a:pt x="178" y="436"/>
                    </a:lnTo>
                    <a:lnTo>
                      <a:pt x="164" y="441"/>
                    </a:lnTo>
                    <a:lnTo>
                      <a:pt x="143" y="438"/>
                    </a:lnTo>
                    <a:lnTo>
                      <a:pt x="128" y="384"/>
                    </a:lnTo>
                    <a:lnTo>
                      <a:pt x="98" y="367"/>
                    </a:lnTo>
                    <a:lnTo>
                      <a:pt x="98" y="309"/>
                    </a:lnTo>
                    <a:lnTo>
                      <a:pt x="69" y="317"/>
                    </a:lnTo>
                    <a:lnTo>
                      <a:pt x="52" y="274"/>
                    </a:lnTo>
                    <a:lnTo>
                      <a:pt x="0" y="225"/>
                    </a:lnTo>
                    <a:lnTo>
                      <a:pt x="38" y="147"/>
                    </a:lnTo>
                    <a:lnTo>
                      <a:pt x="27" y="111"/>
                    </a:lnTo>
                    <a:lnTo>
                      <a:pt x="65" y="104"/>
                    </a:lnTo>
                    <a:lnTo>
                      <a:pt x="69" y="53"/>
                    </a:lnTo>
                    <a:lnTo>
                      <a:pt x="47" y="26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/>
              </a:p>
            </p:txBody>
          </p:sp>
          <p:sp>
            <p:nvSpPr>
              <p:cNvPr id="57" name="Freeform 41">
                <a:extLst>
                  <a:ext uri="{FF2B5EF4-FFF2-40B4-BE49-F238E27FC236}">
                    <a16:creationId xmlns:a16="http://schemas.microsoft.com/office/drawing/2014/main" id="{E31AE2D7-C441-465F-A6E6-2B61AE6477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06" y="1689"/>
                <a:ext cx="92" cy="196"/>
              </a:xfrm>
              <a:custGeom>
                <a:avLst/>
                <a:gdLst>
                  <a:gd name="T0" fmla="*/ 17 w 92"/>
                  <a:gd name="T1" fmla="*/ 2 h 196"/>
                  <a:gd name="T2" fmla="*/ 39 w 92"/>
                  <a:gd name="T3" fmla="*/ 0 h 196"/>
                  <a:gd name="T4" fmla="*/ 82 w 92"/>
                  <a:gd name="T5" fmla="*/ 30 h 196"/>
                  <a:gd name="T6" fmla="*/ 76 w 92"/>
                  <a:gd name="T7" fmla="*/ 53 h 196"/>
                  <a:gd name="T8" fmla="*/ 91 w 92"/>
                  <a:gd name="T9" fmla="*/ 69 h 196"/>
                  <a:gd name="T10" fmla="*/ 92 w 92"/>
                  <a:gd name="T11" fmla="*/ 160 h 196"/>
                  <a:gd name="T12" fmla="*/ 77 w 92"/>
                  <a:gd name="T13" fmla="*/ 196 h 196"/>
                  <a:gd name="T14" fmla="*/ 59 w 92"/>
                  <a:gd name="T15" fmla="*/ 183 h 196"/>
                  <a:gd name="T16" fmla="*/ 41 w 92"/>
                  <a:gd name="T17" fmla="*/ 182 h 196"/>
                  <a:gd name="T18" fmla="*/ 9 w 92"/>
                  <a:gd name="T19" fmla="*/ 163 h 196"/>
                  <a:gd name="T20" fmla="*/ 33 w 92"/>
                  <a:gd name="T21" fmla="*/ 105 h 196"/>
                  <a:gd name="T22" fmla="*/ 0 w 92"/>
                  <a:gd name="T23" fmla="*/ 75 h 196"/>
                  <a:gd name="T24" fmla="*/ 17 w 92"/>
                  <a:gd name="T25" fmla="*/ 2 h 19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92"/>
                  <a:gd name="T40" fmla="*/ 0 h 196"/>
                  <a:gd name="T41" fmla="*/ 92 w 92"/>
                  <a:gd name="T42" fmla="*/ 196 h 19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92" h="196">
                    <a:moveTo>
                      <a:pt x="17" y="2"/>
                    </a:moveTo>
                    <a:lnTo>
                      <a:pt x="39" y="0"/>
                    </a:lnTo>
                    <a:lnTo>
                      <a:pt x="82" y="30"/>
                    </a:lnTo>
                    <a:lnTo>
                      <a:pt x="76" y="53"/>
                    </a:lnTo>
                    <a:lnTo>
                      <a:pt x="91" y="69"/>
                    </a:lnTo>
                    <a:lnTo>
                      <a:pt x="92" y="160"/>
                    </a:lnTo>
                    <a:lnTo>
                      <a:pt x="77" y="196"/>
                    </a:lnTo>
                    <a:lnTo>
                      <a:pt x="59" y="183"/>
                    </a:lnTo>
                    <a:lnTo>
                      <a:pt x="41" y="182"/>
                    </a:lnTo>
                    <a:lnTo>
                      <a:pt x="9" y="163"/>
                    </a:lnTo>
                    <a:lnTo>
                      <a:pt x="33" y="105"/>
                    </a:lnTo>
                    <a:lnTo>
                      <a:pt x="0" y="75"/>
                    </a:lnTo>
                    <a:lnTo>
                      <a:pt x="17" y="2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/>
              </a:p>
            </p:txBody>
          </p:sp>
          <p:sp>
            <p:nvSpPr>
              <p:cNvPr id="58" name="Freeform 42">
                <a:extLst>
                  <a:ext uri="{FF2B5EF4-FFF2-40B4-BE49-F238E27FC236}">
                    <a16:creationId xmlns:a16="http://schemas.microsoft.com/office/drawing/2014/main" id="{00000453-7A9F-4A08-8FC2-45EE87F867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7" y="1604"/>
                <a:ext cx="113" cy="93"/>
              </a:xfrm>
              <a:custGeom>
                <a:avLst/>
                <a:gdLst>
                  <a:gd name="T0" fmla="*/ 0 w 113"/>
                  <a:gd name="T1" fmla="*/ 23 h 93"/>
                  <a:gd name="T2" fmla="*/ 87 w 113"/>
                  <a:gd name="T3" fmla="*/ 0 h 93"/>
                  <a:gd name="T4" fmla="*/ 113 w 113"/>
                  <a:gd name="T5" fmla="*/ 42 h 93"/>
                  <a:gd name="T6" fmla="*/ 98 w 113"/>
                  <a:gd name="T7" fmla="*/ 61 h 93"/>
                  <a:gd name="T8" fmla="*/ 70 w 113"/>
                  <a:gd name="T9" fmla="*/ 54 h 93"/>
                  <a:gd name="T10" fmla="*/ 28 w 113"/>
                  <a:gd name="T11" fmla="*/ 93 h 93"/>
                  <a:gd name="T12" fmla="*/ 5 w 113"/>
                  <a:gd name="T13" fmla="*/ 73 h 93"/>
                  <a:gd name="T14" fmla="*/ 0 w 113"/>
                  <a:gd name="T15" fmla="*/ 23 h 9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13"/>
                  <a:gd name="T25" fmla="*/ 0 h 93"/>
                  <a:gd name="T26" fmla="*/ 113 w 113"/>
                  <a:gd name="T27" fmla="*/ 93 h 9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13" h="93">
                    <a:moveTo>
                      <a:pt x="0" y="23"/>
                    </a:moveTo>
                    <a:lnTo>
                      <a:pt x="87" y="0"/>
                    </a:lnTo>
                    <a:lnTo>
                      <a:pt x="113" y="42"/>
                    </a:lnTo>
                    <a:lnTo>
                      <a:pt x="98" y="61"/>
                    </a:lnTo>
                    <a:lnTo>
                      <a:pt x="70" y="54"/>
                    </a:lnTo>
                    <a:lnTo>
                      <a:pt x="28" y="93"/>
                    </a:lnTo>
                    <a:lnTo>
                      <a:pt x="5" y="73"/>
                    </a:lnTo>
                    <a:lnTo>
                      <a:pt x="0" y="23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/>
              </a:p>
            </p:txBody>
          </p:sp>
          <p:sp>
            <p:nvSpPr>
              <p:cNvPr id="59" name="Freeform 43">
                <a:extLst>
                  <a:ext uri="{FF2B5EF4-FFF2-40B4-BE49-F238E27FC236}">
                    <a16:creationId xmlns:a16="http://schemas.microsoft.com/office/drawing/2014/main" id="{7FF2E43F-92ED-4A99-BECB-35FA8F5659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64" y="1595"/>
                <a:ext cx="57" cy="51"/>
              </a:xfrm>
              <a:custGeom>
                <a:avLst/>
                <a:gdLst>
                  <a:gd name="T0" fmla="*/ 0 w 57"/>
                  <a:gd name="T1" fmla="*/ 9 h 51"/>
                  <a:gd name="T2" fmla="*/ 24 w 57"/>
                  <a:gd name="T3" fmla="*/ 0 h 51"/>
                  <a:gd name="T4" fmla="*/ 57 w 57"/>
                  <a:gd name="T5" fmla="*/ 26 h 51"/>
                  <a:gd name="T6" fmla="*/ 50 w 57"/>
                  <a:gd name="T7" fmla="*/ 33 h 51"/>
                  <a:gd name="T8" fmla="*/ 34 w 57"/>
                  <a:gd name="T9" fmla="*/ 33 h 51"/>
                  <a:gd name="T10" fmla="*/ 26 w 57"/>
                  <a:gd name="T11" fmla="*/ 51 h 51"/>
                  <a:gd name="T12" fmla="*/ 0 w 57"/>
                  <a:gd name="T13" fmla="*/ 9 h 51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57"/>
                  <a:gd name="T22" fmla="*/ 0 h 51"/>
                  <a:gd name="T23" fmla="*/ 57 w 57"/>
                  <a:gd name="T24" fmla="*/ 51 h 51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57" h="51">
                    <a:moveTo>
                      <a:pt x="0" y="9"/>
                    </a:moveTo>
                    <a:lnTo>
                      <a:pt x="24" y="0"/>
                    </a:lnTo>
                    <a:lnTo>
                      <a:pt x="57" y="26"/>
                    </a:lnTo>
                    <a:lnTo>
                      <a:pt x="50" y="33"/>
                    </a:lnTo>
                    <a:lnTo>
                      <a:pt x="34" y="33"/>
                    </a:lnTo>
                    <a:lnTo>
                      <a:pt x="26" y="51"/>
                    </a:lnTo>
                    <a:lnTo>
                      <a:pt x="0" y="9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/>
              </a:p>
            </p:txBody>
          </p:sp>
        </p:grpSp>
        <p:sp>
          <p:nvSpPr>
            <p:cNvPr id="31" name="Freeform 44">
              <a:extLst>
                <a:ext uri="{FF2B5EF4-FFF2-40B4-BE49-F238E27FC236}">
                  <a16:creationId xmlns:a16="http://schemas.microsoft.com/office/drawing/2014/main" id="{442B8ABC-B6E9-495F-94BC-225F7C2E55BE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795" y="1914525"/>
              <a:ext cx="801377" cy="584200"/>
            </a:xfrm>
            <a:custGeom>
              <a:avLst/>
              <a:gdLst>
                <a:gd name="T0" fmla="*/ 134 w 389"/>
                <a:gd name="T1" fmla="*/ 0 h 307"/>
                <a:gd name="T2" fmla="*/ 245 w 389"/>
                <a:gd name="T3" fmla="*/ 24 h 307"/>
                <a:gd name="T4" fmla="*/ 328 w 389"/>
                <a:gd name="T5" fmla="*/ 39 h 307"/>
                <a:gd name="T6" fmla="*/ 369 w 389"/>
                <a:gd name="T7" fmla="*/ 46 h 307"/>
                <a:gd name="T8" fmla="*/ 411 w 389"/>
                <a:gd name="T9" fmla="*/ 51 h 307"/>
                <a:gd name="T10" fmla="*/ 466 w 389"/>
                <a:gd name="T11" fmla="*/ 59 h 307"/>
                <a:gd name="T12" fmla="*/ 535 w 389"/>
                <a:gd name="T13" fmla="*/ 68 h 307"/>
                <a:gd name="T14" fmla="*/ 489 w 389"/>
                <a:gd name="T15" fmla="*/ 307 h 307"/>
                <a:gd name="T16" fmla="*/ 282 w 389"/>
                <a:gd name="T17" fmla="*/ 273 h 307"/>
                <a:gd name="T18" fmla="*/ 255 w 389"/>
                <a:gd name="T19" fmla="*/ 288 h 307"/>
                <a:gd name="T20" fmla="*/ 216 w 389"/>
                <a:gd name="T21" fmla="*/ 265 h 307"/>
                <a:gd name="T22" fmla="*/ 184 w 389"/>
                <a:gd name="T23" fmla="*/ 288 h 307"/>
                <a:gd name="T24" fmla="*/ 154 w 389"/>
                <a:gd name="T25" fmla="*/ 268 h 307"/>
                <a:gd name="T26" fmla="*/ 68 w 389"/>
                <a:gd name="T27" fmla="*/ 265 h 307"/>
                <a:gd name="T28" fmla="*/ 81 w 389"/>
                <a:gd name="T29" fmla="*/ 226 h 307"/>
                <a:gd name="T30" fmla="*/ 18 w 389"/>
                <a:gd name="T31" fmla="*/ 222 h 307"/>
                <a:gd name="T32" fmla="*/ 13 w 389"/>
                <a:gd name="T33" fmla="*/ 200 h 307"/>
                <a:gd name="T34" fmla="*/ 25 w 389"/>
                <a:gd name="T35" fmla="*/ 177 h 307"/>
                <a:gd name="T36" fmla="*/ 11 w 389"/>
                <a:gd name="T37" fmla="*/ 155 h 307"/>
                <a:gd name="T38" fmla="*/ 12 w 389"/>
                <a:gd name="T39" fmla="*/ 96 h 307"/>
                <a:gd name="T40" fmla="*/ 0 w 389"/>
                <a:gd name="T41" fmla="*/ 50 h 307"/>
                <a:gd name="T42" fmla="*/ 5 w 389"/>
                <a:gd name="T43" fmla="*/ 32 h 307"/>
                <a:gd name="T44" fmla="*/ 34 w 389"/>
                <a:gd name="T45" fmla="*/ 39 h 307"/>
                <a:gd name="T46" fmla="*/ 63 w 389"/>
                <a:gd name="T47" fmla="*/ 66 h 307"/>
                <a:gd name="T48" fmla="*/ 115 w 389"/>
                <a:gd name="T49" fmla="*/ 72 h 307"/>
                <a:gd name="T50" fmla="*/ 129 w 389"/>
                <a:gd name="T51" fmla="*/ 94 h 307"/>
                <a:gd name="T52" fmla="*/ 103 w 389"/>
                <a:gd name="T53" fmla="*/ 94 h 307"/>
                <a:gd name="T54" fmla="*/ 100 w 389"/>
                <a:gd name="T55" fmla="*/ 113 h 307"/>
                <a:gd name="T56" fmla="*/ 115 w 389"/>
                <a:gd name="T57" fmla="*/ 115 h 307"/>
                <a:gd name="T58" fmla="*/ 120 w 389"/>
                <a:gd name="T59" fmla="*/ 134 h 307"/>
                <a:gd name="T60" fmla="*/ 89 w 389"/>
                <a:gd name="T61" fmla="*/ 148 h 307"/>
                <a:gd name="T62" fmla="*/ 89 w 389"/>
                <a:gd name="T63" fmla="*/ 161 h 307"/>
                <a:gd name="T64" fmla="*/ 124 w 389"/>
                <a:gd name="T65" fmla="*/ 161 h 307"/>
                <a:gd name="T66" fmla="*/ 134 w 389"/>
                <a:gd name="T67" fmla="*/ 128 h 307"/>
                <a:gd name="T68" fmla="*/ 162 w 389"/>
                <a:gd name="T69" fmla="*/ 108 h 307"/>
                <a:gd name="T70" fmla="*/ 129 w 389"/>
                <a:gd name="T71" fmla="*/ 57 h 307"/>
                <a:gd name="T72" fmla="*/ 150 w 389"/>
                <a:gd name="T73" fmla="*/ 40 h 307"/>
                <a:gd name="T74" fmla="*/ 134 w 389"/>
                <a:gd name="T75" fmla="*/ 0 h 30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389"/>
                <a:gd name="T115" fmla="*/ 0 h 307"/>
                <a:gd name="T116" fmla="*/ 389 w 389"/>
                <a:gd name="T117" fmla="*/ 307 h 307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389" h="307">
                  <a:moveTo>
                    <a:pt x="98" y="0"/>
                  </a:moveTo>
                  <a:lnTo>
                    <a:pt x="178" y="24"/>
                  </a:lnTo>
                  <a:lnTo>
                    <a:pt x="239" y="39"/>
                  </a:lnTo>
                  <a:lnTo>
                    <a:pt x="269" y="46"/>
                  </a:lnTo>
                  <a:lnTo>
                    <a:pt x="299" y="51"/>
                  </a:lnTo>
                  <a:lnTo>
                    <a:pt x="340" y="59"/>
                  </a:lnTo>
                  <a:lnTo>
                    <a:pt x="389" y="68"/>
                  </a:lnTo>
                  <a:lnTo>
                    <a:pt x="357" y="307"/>
                  </a:lnTo>
                  <a:lnTo>
                    <a:pt x="206" y="273"/>
                  </a:lnTo>
                  <a:lnTo>
                    <a:pt x="186" y="288"/>
                  </a:lnTo>
                  <a:lnTo>
                    <a:pt x="158" y="265"/>
                  </a:lnTo>
                  <a:lnTo>
                    <a:pt x="134" y="288"/>
                  </a:lnTo>
                  <a:lnTo>
                    <a:pt x="112" y="268"/>
                  </a:lnTo>
                  <a:lnTo>
                    <a:pt x="50" y="265"/>
                  </a:lnTo>
                  <a:lnTo>
                    <a:pt x="59" y="226"/>
                  </a:lnTo>
                  <a:lnTo>
                    <a:pt x="14" y="222"/>
                  </a:lnTo>
                  <a:lnTo>
                    <a:pt x="9" y="200"/>
                  </a:lnTo>
                  <a:lnTo>
                    <a:pt x="18" y="177"/>
                  </a:lnTo>
                  <a:lnTo>
                    <a:pt x="7" y="155"/>
                  </a:lnTo>
                  <a:lnTo>
                    <a:pt x="8" y="96"/>
                  </a:lnTo>
                  <a:lnTo>
                    <a:pt x="0" y="50"/>
                  </a:lnTo>
                  <a:lnTo>
                    <a:pt x="5" y="32"/>
                  </a:lnTo>
                  <a:lnTo>
                    <a:pt x="25" y="39"/>
                  </a:lnTo>
                  <a:lnTo>
                    <a:pt x="46" y="66"/>
                  </a:lnTo>
                  <a:lnTo>
                    <a:pt x="84" y="72"/>
                  </a:lnTo>
                  <a:lnTo>
                    <a:pt x="94" y="94"/>
                  </a:lnTo>
                  <a:lnTo>
                    <a:pt x="75" y="94"/>
                  </a:lnTo>
                  <a:lnTo>
                    <a:pt x="73" y="113"/>
                  </a:lnTo>
                  <a:lnTo>
                    <a:pt x="84" y="115"/>
                  </a:lnTo>
                  <a:lnTo>
                    <a:pt x="88" y="134"/>
                  </a:lnTo>
                  <a:lnTo>
                    <a:pt x="65" y="148"/>
                  </a:lnTo>
                  <a:lnTo>
                    <a:pt x="65" y="161"/>
                  </a:lnTo>
                  <a:lnTo>
                    <a:pt x="91" y="161"/>
                  </a:lnTo>
                  <a:lnTo>
                    <a:pt x="98" y="128"/>
                  </a:lnTo>
                  <a:lnTo>
                    <a:pt x="118" y="108"/>
                  </a:lnTo>
                  <a:lnTo>
                    <a:pt x="94" y="57"/>
                  </a:lnTo>
                  <a:lnTo>
                    <a:pt x="109" y="40"/>
                  </a:lnTo>
                  <a:lnTo>
                    <a:pt x="98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32" name="Freeform 45">
              <a:extLst>
                <a:ext uri="{FF2B5EF4-FFF2-40B4-BE49-F238E27FC236}">
                  <a16:creationId xmlns:a16="http://schemas.microsoft.com/office/drawing/2014/main" id="{120EE865-432D-43B1-B243-8A95B59207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9908" y="2336800"/>
              <a:ext cx="1002582" cy="760413"/>
            </a:xfrm>
            <a:custGeom>
              <a:avLst/>
              <a:gdLst>
                <a:gd name="T0" fmla="*/ 147 w 485"/>
                <a:gd name="T1" fmla="*/ 0 h 399"/>
                <a:gd name="T2" fmla="*/ 127 w 485"/>
                <a:gd name="T3" fmla="*/ 9 h 399"/>
                <a:gd name="T4" fmla="*/ 115 w 485"/>
                <a:gd name="T5" fmla="*/ 44 h 399"/>
                <a:gd name="T6" fmla="*/ 102 w 485"/>
                <a:gd name="T7" fmla="*/ 73 h 399"/>
                <a:gd name="T8" fmla="*/ 94 w 485"/>
                <a:gd name="T9" fmla="*/ 97 h 399"/>
                <a:gd name="T10" fmla="*/ 81 w 485"/>
                <a:gd name="T11" fmla="*/ 123 h 399"/>
                <a:gd name="T12" fmla="*/ 67 w 485"/>
                <a:gd name="T13" fmla="*/ 149 h 399"/>
                <a:gd name="T14" fmla="*/ 50 w 485"/>
                <a:gd name="T15" fmla="*/ 177 h 399"/>
                <a:gd name="T16" fmla="*/ 26 w 485"/>
                <a:gd name="T17" fmla="*/ 210 h 399"/>
                <a:gd name="T18" fmla="*/ 0 w 485"/>
                <a:gd name="T19" fmla="*/ 241 h 399"/>
                <a:gd name="T20" fmla="*/ 0 w 485"/>
                <a:gd name="T21" fmla="*/ 311 h 399"/>
                <a:gd name="T22" fmla="*/ 376 w 485"/>
                <a:gd name="T23" fmla="*/ 371 h 399"/>
                <a:gd name="T24" fmla="*/ 552 w 485"/>
                <a:gd name="T25" fmla="*/ 399 h 399"/>
                <a:gd name="T26" fmla="*/ 587 w 485"/>
                <a:gd name="T27" fmla="*/ 260 h 399"/>
                <a:gd name="T28" fmla="*/ 610 w 485"/>
                <a:gd name="T29" fmla="*/ 249 h 399"/>
                <a:gd name="T30" fmla="*/ 588 w 485"/>
                <a:gd name="T31" fmla="*/ 218 h 399"/>
                <a:gd name="T32" fmla="*/ 600 w 485"/>
                <a:gd name="T33" fmla="*/ 186 h 399"/>
                <a:gd name="T34" fmla="*/ 670 w 485"/>
                <a:gd name="T35" fmla="*/ 133 h 399"/>
                <a:gd name="T36" fmla="*/ 621 w 485"/>
                <a:gd name="T37" fmla="*/ 85 h 399"/>
                <a:gd name="T38" fmla="*/ 412 w 485"/>
                <a:gd name="T39" fmla="*/ 51 h 399"/>
                <a:gd name="T40" fmla="*/ 386 w 485"/>
                <a:gd name="T41" fmla="*/ 65 h 399"/>
                <a:gd name="T42" fmla="*/ 346 w 485"/>
                <a:gd name="T43" fmla="*/ 42 h 399"/>
                <a:gd name="T44" fmla="*/ 312 w 485"/>
                <a:gd name="T45" fmla="*/ 66 h 399"/>
                <a:gd name="T46" fmla="*/ 281 w 485"/>
                <a:gd name="T47" fmla="*/ 42 h 399"/>
                <a:gd name="T48" fmla="*/ 197 w 485"/>
                <a:gd name="T49" fmla="*/ 43 h 399"/>
                <a:gd name="T50" fmla="*/ 209 w 485"/>
                <a:gd name="T51" fmla="*/ 4 h 399"/>
                <a:gd name="T52" fmla="*/ 147 w 485"/>
                <a:gd name="T53" fmla="*/ 0 h 399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485"/>
                <a:gd name="T82" fmla="*/ 0 h 399"/>
                <a:gd name="T83" fmla="*/ 485 w 485"/>
                <a:gd name="T84" fmla="*/ 399 h 399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485" h="399">
                  <a:moveTo>
                    <a:pt x="106" y="0"/>
                  </a:moveTo>
                  <a:lnTo>
                    <a:pt x="92" y="9"/>
                  </a:lnTo>
                  <a:lnTo>
                    <a:pt x="83" y="44"/>
                  </a:lnTo>
                  <a:lnTo>
                    <a:pt x="74" y="73"/>
                  </a:lnTo>
                  <a:lnTo>
                    <a:pt x="68" y="97"/>
                  </a:lnTo>
                  <a:lnTo>
                    <a:pt x="59" y="123"/>
                  </a:lnTo>
                  <a:lnTo>
                    <a:pt x="49" y="149"/>
                  </a:lnTo>
                  <a:lnTo>
                    <a:pt x="36" y="177"/>
                  </a:lnTo>
                  <a:lnTo>
                    <a:pt x="18" y="210"/>
                  </a:lnTo>
                  <a:lnTo>
                    <a:pt x="0" y="241"/>
                  </a:lnTo>
                  <a:lnTo>
                    <a:pt x="0" y="311"/>
                  </a:lnTo>
                  <a:lnTo>
                    <a:pt x="272" y="371"/>
                  </a:lnTo>
                  <a:lnTo>
                    <a:pt x="398" y="399"/>
                  </a:lnTo>
                  <a:lnTo>
                    <a:pt x="424" y="260"/>
                  </a:lnTo>
                  <a:lnTo>
                    <a:pt x="441" y="249"/>
                  </a:lnTo>
                  <a:lnTo>
                    <a:pt x="425" y="218"/>
                  </a:lnTo>
                  <a:lnTo>
                    <a:pt x="433" y="186"/>
                  </a:lnTo>
                  <a:lnTo>
                    <a:pt x="485" y="133"/>
                  </a:lnTo>
                  <a:lnTo>
                    <a:pt x="449" y="85"/>
                  </a:lnTo>
                  <a:lnTo>
                    <a:pt x="298" y="51"/>
                  </a:lnTo>
                  <a:lnTo>
                    <a:pt x="278" y="65"/>
                  </a:lnTo>
                  <a:lnTo>
                    <a:pt x="250" y="42"/>
                  </a:lnTo>
                  <a:lnTo>
                    <a:pt x="226" y="66"/>
                  </a:lnTo>
                  <a:lnTo>
                    <a:pt x="203" y="42"/>
                  </a:lnTo>
                  <a:lnTo>
                    <a:pt x="143" y="43"/>
                  </a:lnTo>
                  <a:lnTo>
                    <a:pt x="151" y="4"/>
                  </a:lnTo>
                  <a:lnTo>
                    <a:pt x="106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33" name="Freeform 46">
              <a:extLst>
                <a:ext uri="{FF2B5EF4-FFF2-40B4-BE49-F238E27FC236}">
                  <a16:creationId xmlns:a16="http://schemas.microsoft.com/office/drawing/2014/main" id="{D8772527-92BC-4CEC-BE0D-CE17009D2CF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7363" y="2925763"/>
              <a:ext cx="1057612" cy="1619250"/>
            </a:xfrm>
            <a:custGeom>
              <a:avLst/>
              <a:gdLst>
                <a:gd name="T0" fmla="*/ 55 w 512"/>
                <a:gd name="T1" fmla="*/ 0 h 850"/>
                <a:gd name="T2" fmla="*/ 379 w 512"/>
                <a:gd name="T3" fmla="*/ 50 h 850"/>
                <a:gd name="T4" fmla="*/ 308 w 512"/>
                <a:gd name="T5" fmla="*/ 300 h 850"/>
                <a:gd name="T6" fmla="*/ 673 w 512"/>
                <a:gd name="T7" fmla="*/ 681 h 850"/>
                <a:gd name="T8" fmla="*/ 708 w 512"/>
                <a:gd name="T9" fmla="*/ 730 h 850"/>
                <a:gd name="T10" fmla="*/ 672 w 512"/>
                <a:gd name="T11" fmla="*/ 753 h 850"/>
                <a:gd name="T12" fmla="*/ 651 w 512"/>
                <a:gd name="T13" fmla="*/ 795 h 850"/>
                <a:gd name="T14" fmla="*/ 628 w 512"/>
                <a:gd name="T15" fmla="*/ 820 h 850"/>
                <a:gd name="T16" fmla="*/ 653 w 512"/>
                <a:gd name="T17" fmla="*/ 842 h 850"/>
                <a:gd name="T18" fmla="*/ 612 w 512"/>
                <a:gd name="T19" fmla="*/ 850 h 850"/>
                <a:gd name="T20" fmla="*/ 398 w 512"/>
                <a:gd name="T21" fmla="*/ 844 h 850"/>
                <a:gd name="T22" fmla="*/ 384 w 512"/>
                <a:gd name="T23" fmla="*/ 794 h 850"/>
                <a:gd name="T24" fmla="*/ 348 w 512"/>
                <a:gd name="T25" fmla="*/ 758 h 850"/>
                <a:gd name="T26" fmla="*/ 320 w 512"/>
                <a:gd name="T27" fmla="*/ 745 h 850"/>
                <a:gd name="T28" fmla="*/ 313 w 512"/>
                <a:gd name="T29" fmla="*/ 719 h 850"/>
                <a:gd name="T30" fmla="*/ 291 w 512"/>
                <a:gd name="T31" fmla="*/ 705 h 850"/>
                <a:gd name="T32" fmla="*/ 268 w 512"/>
                <a:gd name="T33" fmla="*/ 687 h 850"/>
                <a:gd name="T34" fmla="*/ 260 w 512"/>
                <a:gd name="T35" fmla="*/ 667 h 850"/>
                <a:gd name="T36" fmla="*/ 240 w 512"/>
                <a:gd name="T37" fmla="*/ 654 h 850"/>
                <a:gd name="T38" fmla="*/ 207 w 512"/>
                <a:gd name="T39" fmla="*/ 661 h 850"/>
                <a:gd name="T40" fmla="*/ 168 w 512"/>
                <a:gd name="T41" fmla="*/ 651 h 850"/>
                <a:gd name="T42" fmla="*/ 168 w 512"/>
                <a:gd name="T43" fmla="*/ 640 h 850"/>
                <a:gd name="T44" fmla="*/ 167 w 512"/>
                <a:gd name="T45" fmla="*/ 617 h 850"/>
                <a:gd name="T46" fmla="*/ 152 w 512"/>
                <a:gd name="T47" fmla="*/ 591 h 850"/>
                <a:gd name="T48" fmla="*/ 151 w 512"/>
                <a:gd name="T49" fmla="*/ 570 h 850"/>
                <a:gd name="T50" fmla="*/ 134 w 512"/>
                <a:gd name="T51" fmla="*/ 551 h 850"/>
                <a:gd name="T52" fmla="*/ 138 w 512"/>
                <a:gd name="T53" fmla="*/ 533 h 850"/>
                <a:gd name="T54" fmla="*/ 92 w 512"/>
                <a:gd name="T55" fmla="*/ 490 h 850"/>
                <a:gd name="T56" fmla="*/ 92 w 512"/>
                <a:gd name="T57" fmla="*/ 465 h 850"/>
                <a:gd name="T58" fmla="*/ 115 w 512"/>
                <a:gd name="T59" fmla="*/ 456 h 850"/>
                <a:gd name="T60" fmla="*/ 115 w 512"/>
                <a:gd name="T61" fmla="*/ 440 h 850"/>
                <a:gd name="T62" fmla="*/ 92 w 512"/>
                <a:gd name="T63" fmla="*/ 436 h 850"/>
                <a:gd name="T64" fmla="*/ 80 w 512"/>
                <a:gd name="T65" fmla="*/ 412 h 850"/>
                <a:gd name="T66" fmla="*/ 69 w 512"/>
                <a:gd name="T67" fmla="*/ 371 h 850"/>
                <a:gd name="T68" fmla="*/ 103 w 512"/>
                <a:gd name="T69" fmla="*/ 393 h 850"/>
                <a:gd name="T70" fmla="*/ 89 w 512"/>
                <a:gd name="T71" fmla="*/ 364 h 850"/>
                <a:gd name="T72" fmla="*/ 115 w 512"/>
                <a:gd name="T73" fmla="*/ 364 h 850"/>
                <a:gd name="T74" fmla="*/ 115 w 512"/>
                <a:gd name="T75" fmla="*/ 343 h 850"/>
                <a:gd name="T76" fmla="*/ 89 w 512"/>
                <a:gd name="T77" fmla="*/ 329 h 850"/>
                <a:gd name="T78" fmla="*/ 78 w 512"/>
                <a:gd name="T79" fmla="*/ 349 h 850"/>
                <a:gd name="T80" fmla="*/ 55 w 512"/>
                <a:gd name="T81" fmla="*/ 342 h 850"/>
                <a:gd name="T82" fmla="*/ 11 w 512"/>
                <a:gd name="T83" fmla="*/ 246 h 850"/>
                <a:gd name="T84" fmla="*/ 22 w 512"/>
                <a:gd name="T85" fmla="*/ 178 h 850"/>
                <a:gd name="T86" fmla="*/ 0 w 512"/>
                <a:gd name="T87" fmla="*/ 139 h 850"/>
                <a:gd name="T88" fmla="*/ 12 w 512"/>
                <a:gd name="T89" fmla="*/ 110 h 850"/>
                <a:gd name="T90" fmla="*/ 33 w 512"/>
                <a:gd name="T91" fmla="*/ 104 h 850"/>
                <a:gd name="T92" fmla="*/ 55 w 512"/>
                <a:gd name="T93" fmla="*/ 57 h 850"/>
                <a:gd name="T94" fmla="*/ 55 w 512"/>
                <a:gd name="T95" fmla="*/ 0 h 85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512"/>
                <a:gd name="T145" fmla="*/ 0 h 850"/>
                <a:gd name="T146" fmla="*/ 512 w 512"/>
                <a:gd name="T147" fmla="*/ 850 h 85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512" h="850">
                  <a:moveTo>
                    <a:pt x="40" y="0"/>
                  </a:moveTo>
                  <a:lnTo>
                    <a:pt x="275" y="50"/>
                  </a:lnTo>
                  <a:lnTo>
                    <a:pt x="223" y="300"/>
                  </a:lnTo>
                  <a:lnTo>
                    <a:pt x="488" y="681"/>
                  </a:lnTo>
                  <a:lnTo>
                    <a:pt x="512" y="730"/>
                  </a:lnTo>
                  <a:lnTo>
                    <a:pt x="487" y="753"/>
                  </a:lnTo>
                  <a:lnTo>
                    <a:pt x="471" y="795"/>
                  </a:lnTo>
                  <a:lnTo>
                    <a:pt x="455" y="820"/>
                  </a:lnTo>
                  <a:lnTo>
                    <a:pt x="472" y="842"/>
                  </a:lnTo>
                  <a:lnTo>
                    <a:pt x="444" y="850"/>
                  </a:lnTo>
                  <a:lnTo>
                    <a:pt x="289" y="844"/>
                  </a:lnTo>
                  <a:lnTo>
                    <a:pt x="279" y="794"/>
                  </a:lnTo>
                  <a:lnTo>
                    <a:pt x="252" y="758"/>
                  </a:lnTo>
                  <a:lnTo>
                    <a:pt x="232" y="745"/>
                  </a:lnTo>
                  <a:lnTo>
                    <a:pt x="227" y="719"/>
                  </a:lnTo>
                  <a:lnTo>
                    <a:pt x="210" y="705"/>
                  </a:lnTo>
                  <a:lnTo>
                    <a:pt x="194" y="687"/>
                  </a:lnTo>
                  <a:lnTo>
                    <a:pt x="188" y="667"/>
                  </a:lnTo>
                  <a:lnTo>
                    <a:pt x="173" y="654"/>
                  </a:lnTo>
                  <a:lnTo>
                    <a:pt x="149" y="661"/>
                  </a:lnTo>
                  <a:lnTo>
                    <a:pt x="122" y="651"/>
                  </a:lnTo>
                  <a:lnTo>
                    <a:pt x="122" y="640"/>
                  </a:lnTo>
                  <a:lnTo>
                    <a:pt x="121" y="617"/>
                  </a:lnTo>
                  <a:lnTo>
                    <a:pt x="110" y="591"/>
                  </a:lnTo>
                  <a:lnTo>
                    <a:pt x="109" y="570"/>
                  </a:lnTo>
                  <a:lnTo>
                    <a:pt x="97" y="551"/>
                  </a:lnTo>
                  <a:lnTo>
                    <a:pt x="100" y="533"/>
                  </a:lnTo>
                  <a:lnTo>
                    <a:pt x="66" y="490"/>
                  </a:lnTo>
                  <a:lnTo>
                    <a:pt x="66" y="465"/>
                  </a:lnTo>
                  <a:lnTo>
                    <a:pt x="83" y="456"/>
                  </a:lnTo>
                  <a:lnTo>
                    <a:pt x="83" y="440"/>
                  </a:lnTo>
                  <a:lnTo>
                    <a:pt x="66" y="436"/>
                  </a:lnTo>
                  <a:lnTo>
                    <a:pt x="58" y="412"/>
                  </a:lnTo>
                  <a:lnTo>
                    <a:pt x="50" y="371"/>
                  </a:lnTo>
                  <a:lnTo>
                    <a:pt x="75" y="393"/>
                  </a:lnTo>
                  <a:lnTo>
                    <a:pt x="65" y="364"/>
                  </a:lnTo>
                  <a:lnTo>
                    <a:pt x="83" y="364"/>
                  </a:lnTo>
                  <a:lnTo>
                    <a:pt x="83" y="343"/>
                  </a:lnTo>
                  <a:lnTo>
                    <a:pt x="65" y="329"/>
                  </a:lnTo>
                  <a:lnTo>
                    <a:pt x="56" y="349"/>
                  </a:lnTo>
                  <a:lnTo>
                    <a:pt x="40" y="342"/>
                  </a:lnTo>
                  <a:lnTo>
                    <a:pt x="7" y="246"/>
                  </a:lnTo>
                  <a:lnTo>
                    <a:pt x="16" y="178"/>
                  </a:lnTo>
                  <a:lnTo>
                    <a:pt x="0" y="139"/>
                  </a:lnTo>
                  <a:lnTo>
                    <a:pt x="8" y="110"/>
                  </a:lnTo>
                  <a:lnTo>
                    <a:pt x="24" y="104"/>
                  </a:lnTo>
                  <a:lnTo>
                    <a:pt x="40" y="57"/>
                  </a:lnTo>
                  <a:lnTo>
                    <a:pt x="40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34" name="Freeform 47">
              <a:extLst>
                <a:ext uri="{FF2B5EF4-FFF2-40B4-BE49-F238E27FC236}">
                  <a16:creationId xmlns:a16="http://schemas.microsoft.com/office/drawing/2014/main" id="{C2BE81C8-9672-45DA-87F4-C088CACB5C85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8483" y="2041525"/>
              <a:ext cx="722272" cy="1158875"/>
            </a:xfrm>
            <a:custGeom>
              <a:avLst/>
              <a:gdLst>
                <a:gd name="T0" fmla="*/ 117 w 349"/>
                <a:gd name="T1" fmla="*/ 0 h 608"/>
                <a:gd name="T2" fmla="*/ 72 w 349"/>
                <a:gd name="T3" fmla="*/ 238 h 608"/>
                <a:gd name="T4" fmla="*/ 118 w 349"/>
                <a:gd name="T5" fmla="*/ 288 h 608"/>
                <a:gd name="T6" fmla="*/ 47 w 349"/>
                <a:gd name="T7" fmla="*/ 341 h 608"/>
                <a:gd name="T8" fmla="*/ 37 w 349"/>
                <a:gd name="T9" fmla="*/ 378 h 608"/>
                <a:gd name="T10" fmla="*/ 58 w 349"/>
                <a:gd name="T11" fmla="*/ 404 h 608"/>
                <a:gd name="T12" fmla="*/ 37 w 349"/>
                <a:gd name="T13" fmla="*/ 416 h 608"/>
                <a:gd name="T14" fmla="*/ 0 w 349"/>
                <a:gd name="T15" fmla="*/ 554 h 608"/>
                <a:gd name="T16" fmla="*/ 230 w 349"/>
                <a:gd name="T17" fmla="*/ 586 h 608"/>
                <a:gd name="T18" fmla="*/ 451 w 349"/>
                <a:gd name="T19" fmla="*/ 608 h 608"/>
                <a:gd name="T20" fmla="*/ 472 w 349"/>
                <a:gd name="T21" fmla="*/ 482 h 608"/>
                <a:gd name="T22" fmla="*/ 485 w 349"/>
                <a:gd name="T23" fmla="*/ 413 h 608"/>
                <a:gd name="T24" fmla="*/ 464 w 349"/>
                <a:gd name="T25" fmla="*/ 388 h 608"/>
                <a:gd name="T26" fmla="*/ 414 w 349"/>
                <a:gd name="T27" fmla="*/ 395 h 608"/>
                <a:gd name="T28" fmla="*/ 346 w 349"/>
                <a:gd name="T29" fmla="*/ 401 h 608"/>
                <a:gd name="T30" fmla="*/ 338 w 349"/>
                <a:gd name="T31" fmla="*/ 345 h 608"/>
                <a:gd name="T32" fmla="*/ 257 w 349"/>
                <a:gd name="T33" fmla="*/ 299 h 608"/>
                <a:gd name="T34" fmla="*/ 268 w 349"/>
                <a:gd name="T35" fmla="*/ 270 h 608"/>
                <a:gd name="T36" fmla="*/ 275 w 349"/>
                <a:gd name="T37" fmla="*/ 218 h 608"/>
                <a:gd name="T38" fmla="*/ 175 w 349"/>
                <a:gd name="T39" fmla="*/ 106 h 608"/>
                <a:gd name="T40" fmla="*/ 188 w 349"/>
                <a:gd name="T41" fmla="*/ 7 h 608"/>
                <a:gd name="T42" fmla="*/ 117 w 349"/>
                <a:gd name="T43" fmla="*/ 0 h 608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349"/>
                <a:gd name="T67" fmla="*/ 0 h 608"/>
                <a:gd name="T68" fmla="*/ 349 w 349"/>
                <a:gd name="T69" fmla="*/ 608 h 608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349" h="608">
                  <a:moveTo>
                    <a:pt x="84" y="0"/>
                  </a:moveTo>
                  <a:lnTo>
                    <a:pt x="52" y="238"/>
                  </a:lnTo>
                  <a:lnTo>
                    <a:pt x="85" y="288"/>
                  </a:lnTo>
                  <a:lnTo>
                    <a:pt x="34" y="341"/>
                  </a:lnTo>
                  <a:lnTo>
                    <a:pt x="27" y="378"/>
                  </a:lnTo>
                  <a:lnTo>
                    <a:pt x="41" y="404"/>
                  </a:lnTo>
                  <a:lnTo>
                    <a:pt x="27" y="416"/>
                  </a:lnTo>
                  <a:lnTo>
                    <a:pt x="0" y="554"/>
                  </a:lnTo>
                  <a:lnTo>
                    <a:pt x="166" y="586"/>
                  </a:lnTo>
                  <a:lnTo>
                    <a:pt x="324" y="608"/>
                  </a:lnTo>
                  <a:lnTo>
                    <a:pt x="340" y="482"/>
                  </a:lnTo>
                  <a:lnTo>
                    <a:pt x="349" y="413"/>
                  </a:lnTo>
                  <a:lnTo>
                    <a:pt x="333" y="388"/>
                  </a:lnTo>
                  <a:lnTo>
                    <a:pt x="297" y="395"/>
                  </a:lnTo>
                  <a:lnTo>
                    <a:pt x="250" y="401"/>
                  </a:lnTo>
                  <a:lnTo>
                    <a:pt x="242" y="345"/>
                  </a:lnTo>
                  <a:lnTo>
                    <a:pt x="185" y="299"/>
                  </a:lnTo>
                  <a:lnTo>
                    <a:pt x="192" y="270"/>
                  </a:lnTo>
                  <a:lnTo>
                    <a:pt x="198" y="218"/>
                  </a:lnTo>
                  <a:lnTo>
                    <a:pt x="125" y="106"/>
                  </a:lnTo>
                  <a:lnTo>
                    <a:pt x="134" y="7"/>
                  </a:lnTo>
                  <a:lnTo>
                    <a:pt x="84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35" name="Freeform 48">
              <a:extLst>
                <a:ext uri="{FF2B5EF4-FFF2-40B4-BE49-F238E27FC236}">
                  <a16:creationId xmlns:a16="http://schemas.microsoft.com/office/drawing/2014/main" id="{5DE191FF-194F-4363-BFE9-A1559DFA5420}"/>
                </a:ext>
              </a:extLst>
            </p:cNvPr>
            <p:cNvSpPr>
              <a:spLocks/>
            </p:cNvSpPr>
            <p:nvPr/>
          </p:nvSpPr>
          <p:spPr bwMode="auto">
            <a:xfrm>
              <a:off x="5698902" y="4259263"/>
              <a:ext cx="433363" cy="750887"/>
            </a:xfrm>
            <a:custGeom>
              <a:avLst/>
              <a:gdLst>
                <a:gd name="T0" fmla="*/ 81 w 210"/>
                <a:gd name="T1" fmla="*/ 13 h 394"/>
                <a:gd name="T2" fmla="*/ 37 w 210"/>
                <a:gd name="T3" fmla="*/ 80 h 394"/>
                <a:gd name="T4" fmla="*/ 0 w 210"/>
                <a:gd name="T5" fmla="*/ 124 h 394"/>
                <a:gd name="T6" fmla="*/ 13 w 210"/>
                <a:gd name="T7" fmla="*/ 175 h 394"/>
                <a:gd name="T8" fmla="*/ 57 w 210"/>
                <a:gd name="T9" fmla="*/ 246 h 394"/>
                <a:gd name="T10" fmla="*/ 23 w 210"/>
                <a:gd name="T11" fmla="*/ 318 h 394"/>
                <a:gd name="T12" fmla="*/ 6 w 210"/>
                <a:gd name="T13" fmla="*/ 355 h 394"/>
                <a:gd name="T14" fmla="*/ 174 w 210"/>
                <a:gd name="T15" fmla="*/ 340 h 394"/>
                <a:gd name="T16" fmla="*/ 184 w 210"/>
                <a:gd name="T17" fmla="*/ 388 h 394"/>
                <a:gd name="T18" fmla="*/ 217 w 210"/>
                <a:gd name="T19" fmla="*/ 394 h 394"/>
                <a:gd name="T20" fmla="*/ 225 w 210"/>
                <a:gd name="T21" fmla="*/ 369 h 394"/>
                <a:gd name="T22" fmla="*/ 286 w 210"/>
                <a:gd name="T23" fmla="*/ 362 h 394"/>
                <a:gd name="T24" fmla="*/ 272 w 210"/>
                <a:gd name="T25" fmla="*/ 282 h 394"/>
                <a:gd name="T26" fmla="*/ 270 w 210"/>
                <a:gd name="T27" fmla="*/ 0 h 394"/>
                <a:gd name="T28" fmla="*/ 81 w 210"/>
                <a:gd name="T29" fmla="*/ 13 h 39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10"/>
                <a:gd name="T46" fmla="*/ 0 h 394"/>
                <a:gd name="T47" fmla="*/ 210 w 210"/>
                <a:gd name="T48" fmla="*/ 394 h 39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10" h="394">
                  <a:moveTo>
                    <a:pt x="59" y="13"/>
                  </a:moveTo>
                  <a:lnTo>
                    <a:pt x="27" y="80"/>
                  </a:lnTo>
                  <a:lnTo>
                    <a:pt x="0" y="124"/>
                  </a:lnTo>
                  <a:lnTo>
                    <a:pt x="9" y="175"/>
                  </a:lnTo>
                  <a:lnTo>
                    <a:pt x="42" y="246"/>
                  </a:lnTo>
                  <a:lnTo>
                    <a:pt x="17" y="318"/>
                  </a:lnTo>
                  <a:lnTo>
                    <a:pt x="6" y="355"/>
                  </a:lnTo>
                  <a:lnTo>
                    <a:pt x="128" y="340"/>
                  </a:lnTo>
                  <a:lnTo>
                    <a:pt x="134" y="388"/>
                  </a:lnTo>
                  <a:lnTo>
                    <a:pt x="159" y="394"/>
                  </a:lnTo>
                  <a:lnTo>
                    <a:pt x="165" y="369"/>
                  </a:lnTo>
                  <a:lnTo>
                    <a:pt x="210" y="362"/>
                  </a:lnTo>
                  <a:lnTo>
                    <a:pt x="200" y="282"/>
                  </a:lnTo>
                  <a:lnTo>
                    <a:pt x="198" y="0"/>
                  </a:lnTo>
                  <a:lnTo>
                    <a:pt x="59" y="13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36" name="Freeform 49">
              <a:extLst>
                <a:ext uri="{FF2B5EF4-FFF2-40B4-BE49-F238E27FC236}">
                  <a16:creationId xmlns:a16="http://schemas.microsoft.com/office/drawing/2014/main" id="{80B6F277-45F4-4D57-847D-8756FE015EFD}"/>
                </a:ext>
              </a:extLst>
            </p:cNvPr>
            <p:cNvSpPr>
              <a:spLocks/>
            </p:cNvSpPr>
            <p:nvPr/>
          </p:nvSpPr>
          <p:spPr bwMode="auto">
            <a:xfrm>
              <a:off x="6104750" y="4222750"/>
              <a:ext cx="490113" cy="758825"/>
            </a:xfrm>
            <a:custGeom>
              <a:avLst/>
              <a:gdLst>
                <a:gd name="T0" fmla="*/ 0 w 237"/>
                <a:gd name="T1" fmla="*/ 20 h 398"/>
                <a:gd name="T2" fmla="*/ 213 w 237"/>
                <a:gd name="T3" fmla="*/ 0 h 398"/>
                <a:gd name="T4" fmla="*/ 281 w 237"/>
                <a:gd name="T5" fmla="*/ 184 h 398"/>
                <a:gd name="T6" fmla="*/ 329 w 237"/>
                <a:gd name="T7" fmla="*/ 213 h 398"/>
                <a:gd name="T8" fmla="*/ 291 w 237"/>
                <a:gd name="T9" fmla="*/ 267 h 398"/>
                <a:gd name="T10" fmla="*/ 326 w 237"/>
                <a:gd name="T11" fmla="*/ 319 h 398"/>
                <a:gd name="T12" fmla="*/ 110 w 237"/>
                <a:gd name="T13" fmla="*/ 338 h 398"/>
                <a:gd name="T14" fmla="*/ 117 w 237"/>
                <a:gd name="T15" fmla="*/ 383 h 398"/>
                <a:gd name="T16" fmla="*/ 86 w 237"/>
                <a:gd name="T17" fmla="*/ 398 h 398"/>
                <a:gd name="T18" fmla="*/ 61 w 237"/>
                <a:gd name="T19" fmla="*/ 341 h 398"/>
                <a:gd name="T20" fmla="*/ 46 w 237"/>
                <a:gd name="T21" fmla="*/ 387 h 398"/>
                <a:gd name="T22" fmla="*/ 17 w 237"/>
                <a:gd name="T23" fmla="*/ 383 h 398"/>
                <a:gd name="T24" fmla="*/ 11 w 237"/>
                <a:gd name="T25" fmla="*/ 337 h 398"/>
                <a:gd name="T26" fmla="*/ 1 w 237"/>
                <a:gd name="T27" fmla="*/ 297 h 398"/>
                <a:gd name="T28" fmla="*/ 0 w 237"/>
                <a:gd name="T29" fmla="*/ 20 h 39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37"/>
                <a:gd name="T46" fmla="*/ 0 h 398"/>
                <a:gd name="T47" fmla="*/ 237 w 237"/>
                <a:gd name="T48" fmla="*/ 398 h 398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37" h="398">
                  <a:moveTo>
                    <a:pt x="0" y="20"/>
                  </a:moveTo>
                  <a:lnTo>
                    <a:pt x="154" y="0"/>
                  </a:lnTo>
                  <a:lnTo>
                    <a:pt x="203" y="184"/>
                  </a:lnTo>
                  <a:lnTo>
                    <a:pt x="237" y="213"/>
                  </a:lnTo>
                  <a:lnTo>
                    <a:pt x="210" y="267"/>
                  </a:lnTo>
                  <a:lnTo>
                    <a:pt x="236" y="319"/>
                  </a:lnTo>
                  <a:lnTo>
                    <a:pt x="79" y="338"/>
                  </a:lnTo>
                  <a:lnTo>
                    <a:pt x="85" y="383"/>
                  </a:lnTo>
                  <a:lnTo>
                    <a:pt x="62" y="398"/>
                  </a:lnTo>
                  <a:lnTo>
                    <a:pt x="44" y="341"/>
                  </a:lnTo>
                  <a:lnTo>
                    <a:pt x="33" y="387"/>
                  </a:lnTo>
                  <a:lnTo>
                    <a:pt x="13" y="383"/>
                  </a:lnTo>
                  <a:lnTo>
                    <a:pt x="7" y="337"/>
                  </a:lnTo>
                  <a:lnTo>
                    <a:pt x="1" y="297"/>
                  </a:lnTo>
                  <a:lnTo>
                    <a:pt x="0" y="2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37" name="Freeform 50">
              <a:extLst>
                <a:ext uri="{FF2B5EF4-FFF2-40B4-BE49-F238E27FC236}">
                  <a16:creationId xmlns:a16="http://schemas.microsoft.com/office/drawing/2014/main" id="{73220F68-016F-49B5-B97D-4EB04D899674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2894" y="4184650"/>
              <a:ext cx="679279" cy="698500"/>
            </a:xfrm>
            <a:custGeom>
              <a:avLst/>
              <a:gdLst>
                <a:gd name="T0" fmla="*/ 0 w 328"/>
                <a:gd name="T1" fmla="*/ 23 h 366"/>
                <a:gd name="T2" fmla="*/ 4 w 328"/>
                <a:gd name="T3" fmla="*/ 23 h 366"/>
                <a:gd name="T4" fmla="*/ 111 w 328"/>
                <a:gd name="T5" fmla="*/ 7 h 366"/>
                <a:gd name="T6" fmla="*/ 206 w 328"/>
                <a:gd name="T7" fmla="*/ 0 h 366"/>
                <a:gd name="T8" fmla="*/ 192 w 328"/>
                <a:gd name="T9" fmla="*/ 19 h 366"/>
                <a:gd name="T10" fmla="*/ 221 w 328"/>
                <a:gd name="T11" fmla="*/ 19 h 366"/>
                <a:gd name="T12" fmla="*/ 384 w 328"/>
                <a:gd name="T13" fmla="*/ 132 h 366"/>
                <a:gd name="T14" fmla="*/ 446 w 328"/>
                <a:gd name="T15" fmla="*/ 205 h 366"/>
                <a:gd name="T16" fmla="*/ 455 w 328"/>
                <a:gd name="T17" fmla="*/ 254 h 366"/>
                <a:gd name="T18" fmla="*/ 434 w 328"/>
                <a:gd name="T19" fmla="*/ 266 h 366"/>
                <a:gd name="T20" fmla="*/ 446 w 328"/>
                <a:gd name="T21" fmla="*/ 316 h 366"/>
                <a:gd name="T22" fmla="*/ 402 w 328"/>
                <a:gd name="T23" fmla="*/ 318 h 366"/>
                <a:gd name="T24" fmla="*/ 402 w 328"/>
                <a:gd name="T25" fmla="*/ 360 h 366"/>
                <a:gd name="T26" fmla="*/ 364 w 328"/>
                <a:gd name="T27" fmla="*/ 339 h 366"/>
                <a:gd name="T28" fmla="*/ 130 w 328"/>
                <a:gd name="T29" fmla="*/ 366 h 366"/>
                <a:gd name="T30" fmla="*/ 78 w 328"/>
                <a:gd name="T31" fmla="*/ 287 h 366"/>
                <a:gd name="T32" fmla="*/ 115 w 328"/>
                <a:gd name="T33" fmla="*/ 233 h 366"/>
                <a:gd name="T34" fmla="*/ 65 w 328"/>
                <a:gd name="T35" fmla="*/ 206 h 366"/>
                <a:gd name="T36" fmla="*/ 0 w 328"/>
                <a:gd name="T37" fmla="*/ 23 h 36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328"/>
                <a:gd name="T58" fmla="*/ 0 h 366"/>
                <a:gd name="T59" fmla="*/ 328 w 328"/>
                <a:gd name="T60" fmla="*/ 366 h 36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328" h="366">
                  <a:moveTo>
                    <a:pt x="0" y="23"/>
                  </a:moveTo>
                  <a:lnTo>
                    <a:pt x="4" y="23"/>
                  </a:lnTo>
                  <a:lnTo>
                    <a:pt x="80" y="7"/>
                  </a:lnTo>
                  <a:lnTo>
                    <a:pt x="148" y="0"/>
                  </a:lnTo>
                  <a:lnTo>
                    <a:pt x="138" y="19"/>
                  </a:lnTo>
                  <a:lnTo>
                    <a:pt x="159" y="19"/>
                  </a:lnTo>
                  <a:lnTo>
                    <a:pt x="276" y="132"/>
                  </a:lnTo>
                  <a:lnTo>
                    <a:pt x="322" y="205"/>
                  </a:lnTo>
                  <a:lnTo>
                    <a:pt x="328" y="254"/>
                  </a:lnTo>
                  <a:lnTo>
                    <a:pt x="313" y="266"/>
                  </a:lnTo>
                  <a:lnTo>
                    <a:pt x="322" y="316"/>
                  </a:lnTo>
                  <a:lnTo>
                    <a:pt x="289" y="318"/>
                  </a:lnTo>
                  <a:lnTo>
                    <a:pt x="289" y="360"/>
                  </a:lnTo>
                  <a:lnTo>
                    <a:pt x="263" y="339"/>
                  </a:lnTo>
                  <a:lnTo>
                    <a:pt x="94" y="366"/>
                  </a:lnTo>
                  <a:lnTo>
                    <a:pt x="56" y="287"/>
                  </a:lnTo>
                  <a:lnTo>
                    <a:pt x="83" y="233"/>
                  </a:lnTo>
                  <a:lnTo>
                    <a:pt x="47" y="206"/>
                  </a:lnTo>
                  <a:lnTo>
                    <a:pt x="0" y="23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38" name="Freeform 51">
              <a:extLst>
                <a:ext uri="{FF2B5EF4-FFF2-40B4-BE49-F238E27FC236}">
                  <a16:creationId xmlns:a16="http://schemas.microsoft.com/office/drawing/2014/main" id="{2F6C4EA2-2E1D-4EB3-BC03-0B86EC5BCFA3}"/>
                </a:ext>
              </a:extLst>
            </p:cNvPr>
            <p:cNvSpPr>
              <a:spLocks/>
            </p:cNvSpPr>
            <p:nvPr/>
          </p:nvSpPr>
          <p:spPr bwMode="auto">
            <a:xfrm>
              <a:off x="6587984" y="3757613"/>
              <a:ext cx="1064490" cy="463550"/>
            </a:xfrm>
            <a:custGeom>
              <a:avLst/>
              <a:gdLst>
                <a:gd name="T0" fmla="*/ 25 w 516"/>
                <a:gd name="T1" fmla="*/ 180 h 243"/>
                <a:gd name="T2" fmla="*/ 0 w 516"/>
                <a:gd name="T3" fmla="*/ 231 h 243"/>
                <a:gd name="T4" fmla="*/ 93 w 516"/>
                <a:gd name="T5" fmla="*/ 224 h 243"/>
                <a:gd name="T6" fmla="*/ 128 w 516"/>
                <a:gd name="T7" fmla="*/ 201 h 243"/>
                <a:gd name="T8" fmla="*/ 253 w 516"/>
                <a:gd name="T9" fmla="*/ 175 h 243"/>
                <a:gd name="T10" fmla="*/ 287 w 516"/>
                <a:gd name="T11" fmla="*/ 189 h 243"/>
                <a:gd name="T12" fmla="*/ 369 w 516"/>
                <a:gd name="T13" fmla="*/ 180 h 243"/>
                <a:gd name="T14" fmla="*/ 369 w 516"/>
                <a:gd name="T15" fmla="*/ 183 h 243"/>
                <a:gd name="T16" fmla="*/ 494 w 516"/>
                <a:gd name="T17" fmla="*/ 243 h 243"/>
                <a:gd name="T18" fmla="*/ 565 w 516"/>
                <a:gd name="T19" fmla="*/ 226 h 243"/>
                <a:gd name="T20" fmla="*/ 608 w 516"/>
                <a:gd name="T21" fmla="*/ 159 h 243"/>
                <a:gd name="T22" fmla="*/ 677 w 516"/>
                <a:gd name="T23" fmla="*/ 140 h 243"/>
                <a:gd name="T24" fmla="*/ 711 w 516"/>
                <a:gd name="T25" fmla="*/ 90 h 243"/>
                <a:gd name="T26" fmla="*/ 708 w 516"/>
                <a:gd name="T27" fmla="*/ 30 h 243"/>
                <a:gd name="T28" fmla="*/ 701 w 516"/>
                <a:gd name="T29" fmla="*/ 80 h 243"/>
                <a:gd name="T30" fmla="*/ 661 w 516"/>
                <a:gd name="T31" fmla="*/ 122 h 243"/>
                <a:gd name="T32" fmla="*/ 646 w 516"/>
                <a:gd name="T33" fmla="*/ 119 h 243"/>
                <a:gd name="T34" fmla="*/ 594 w 516"/>
                <a:gd name="T35" fmla="*/ 130 h 243"/>
                <a:gd name="T36" fmla="*/ 594 w 516"/>
                <a:gd name="T37" fmla="*/ 116 h 243"/>
                <a:gd name="T38" fmla="*/ 646 w 516"/>
                <a:gd name="T39" fmla="*/ 102 h 243"/>
                <a:gd name="T40" fmla="*/ 597 w 516"/>
                <a:gd name="T41" fmla="*/ 97 h 243"/>
                <a:gd name="T42" fmla="*/ 652 w 516"/>
                <a:gd name="T43" fmla="*/ 85 h 243"/>
                <a:gd name="T44" fmla="*/ 674 w 516"/>
                <a:gd name="T45" fmla="*/ 92 h 243"/>
                <a:gd name="T46" fmla="*/ 685 w 516"/>
                <a:gd name="T47" fmla="*/ 45 h 243"/>
                <a:gd name="T48" fmla="*/ 672 w 516"/>
                <a:gd name="T49" fmla="*/ 34 h 243"/>
                <a:gd name="T50" fmla="*/ 607 w 516"/>
                <a:gd name="T51" fmla="*/ 53 h 243"/>
                <a:gd name="T52" fmla="*/ 608 w 516"/>
                <a:gd name="T53" fmla="*/ 25 h 243"/>
                <a:gd name="T54" fmla="*/ 635 w 516"/>
                <a:gd name="T55" fmla="*/ 32 h 243"/>
                <a:gd name="T56" fmla="*/ 672 w 516"/>
                <a:gd name="T57" fmla="*/ 10 h 243"/>
                <a:gd name="T58" fmla="*/ 651 w 516"/>
                <a:gd name="T59" fmla="*/ 0 h 243"/>
                <a:gd name="T60" fmla="*/ 438 w 516"/>
                <a:gd name="T61" fmla="*/ 37 h 243"/>
                <a:gd name="T62" fmla="*/ 179 w 516"/>
                <a:gd name="T63" fmla="*/ 79 h 243"/>
                <a:gd name="T64" fmla="*/ 60 w 516"/>
                <a:gd name="T65" fmla="*/ 179 h 243"/>
                <a:gd name="T66" fmla="*/ 25 w 516"/>
                <a:gd name="T67" fmla="*/ 180 h 243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516"/>
                <a:gd name="T103" fmla="*/ 0 h 243"/>
                <a:gd name="T104" fmla="*/ 516 w 516"/>
                <a:gd name="T105" fmla="*/ 243 h 243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516" h="243">
                  <a:moveTo>
                    <a:pt x="18" y="180"/>
                  </a:moveTo>
                  <a:lnTo>
                    <a:pt x="0" y="231"/>
                  </a:lnTo>
                  <a:lnTo>
                    <a:pt x="67" y="224"/>
                  </a:lnTo>
                  <a:lnTo>
                    <a:pt x="93" y="201"/>
                  </a:lnTo>
                  <a:lnTo>
                    <a:pt x="184" y="175"/>
                  </a:lnTo>
                  <a:lnTo>
                    <a:pt x="209" y="189"/>
                  </a:lnTo>
                  <a:lnTo>
                    <a:pt x="269" y="180"/>
                  </a:lnTo>
                  <a:lnTo>
                    <a:pt x="269" y="183"/>
                  </a:lnTo>
                  <a:lnTo>
                    <a:pt x="359" y="243"/>
                  </a:lnTo>
                  <a:lnTo>
                    <a:pt x="411" y="226"/>
                  </a:lnTo>
                  <a:lnTo>
                    <a:pt x="441" y="159"/>
                  </a:lnTo>
                  <a:lnTo>
                    <a:pt x="492" y="140"/>
                  </a:lnTo>
                  <a:lnTo>
                    <a:pt x="516" y="90"/>
                  </a:lnTo>
                  <a:lnTo>
                    <a:pt x="515" y="30"/>
                  </a:lnTo>
                  <a:lnTo>
                    <a:pt x="509" y="80"/>
                  </a:lnTo>
                  <a:lnTo>
                    <a:pt x="480" y="122"/>
                  </a:lnTo>
                  <a:lnTo>
                    <a:pt x="469" y="119"/>
                  </a:lnTo>
                  <a:lnTo>
                    <a:pt x="431" y="130"/>
                  </a:lnTo>
                  <a:lnTo>
                    <a:pt x="431" y="116"/>
                  </a:lnTo>
                  <a:lnTo>
                    <a:pt x="469" y="102"/>
                  </a:lnTo>
                  <a:lnTo>
                    <a:pt x="434" y="97"/>
                  </a:lnTo>
                  <a:lnTo>
                    <a:pt x="474" y="85"/>
                  </a:lnTo>
                  <a:lnTo>
                    <a:pt x="489" y="92"/>
                  </a:lnTo>
                  <a:lnTo>
                    <a:pt x="497" y="45"/>
                  </a:lnTo>
                  <a:lnTo>
                    <a:pt x="487" y="34"/>
                  </a:lnTo>
                  <a:lnTo>
                    <a:pt x="440" y="53"/>
                  </a:lnTo>
                  <a:lnTo>
                    <a:pt x="441" y="25"/>
                  </a:lnTo>
                  <a:lnTo>
                    <a:pt x="461" y="32"/>
                  </a:lnTo>
                  <a:lnTo>
                    <a:pt x="487" y="10"/>
                  </a:lnTo>
                  <a:lnTo>
                    <a:pt x="473" y="0"/>
                  </a:lnTo>
                  <a:lnTo>
                    <a:pt x="318" y="37"/>
                  </a:lnTo>
                  <a:lnTo>
                    <a:pt x="129" y="79"/>
                  </a:lnTo>
                  <a:lnTo>
                    <a:pt x="43" y="179"/>
                  </a:lnTo>
                  <a:lnTo>
                    <a:pt x="18" y="18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39" name="Freeform 52">
              <a:extLst>
                <a:ext uri="{FF2B5EF4-FFF2-40B4-BE49-F238E27FC236}">
                  <a16:creationId xmlns:a16="http://schemas.microsoft.com/office/drawing/2014/main" id="{2AFF1AE2-F51D-416E-8146-D5FB1E0206BD}"/>
                </a:ext>
              </a:extLst>
            </p:cNvPr>
            <p:cNvSpPr>
              <a:spLocks/>
            </p:cNvSpPr>
            <p:nvPr/>
          </p:nvSpPr>
          <p:spPr bwMode="auto">
            <a:xfrm>
              <a:off x="7449550" y="3270250"/>
              <a:ext cx="147894" cy="182563"/>
            </a:xfrm>
            <a:custGeom>
              <a:avLst/>
              <a:gdLst>
                <a:gd name="T0" fmla="*/ 0 w 72"/>
                <a:gd name="T1" fmla="*/ 5 h 96"/>
                <a:gd name="T2" fmla="*/ 20 w 72"/>
                <a:gd name="T3" fmla="*/ 0 h 96"/>
                <a:gd name="T4" fmla="*/ 66 w 72"/>
                <a:gd name="T5" fmla="*/ 21 h 96"/>
                <a:gd name="T6" fmla="*/ 66 w 72"/>
                <a:gd name="T7" fmla="*/ 42 h 96"/>
                <a:gd name="T8" fmla="*/ 97 w 72"/>
                <a:gd name="T9" fmla="*/ 57 h 96"/>
                <a:gd name="T10" fmla="*/ 99 w 72"/>
                <a:gd name="T11" fmla="*/ 85 h 96"/>
                <a:gd name="T12" fmla="*/ 48 w 72"/>
                <a:gd name="T13" fmla="*/ 96 h 96"/>
                <a:gd name="T14" fmla="*/ 0 w 72"/>
                <a:gd name="T15" fmla="*/ 5 h 9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72"/>
                <a:gd name="T25" fmla="*/ 0 h 96"/>
                <a:gd name="T26" fmla="*/ 72 w 72"/>
                <a:gd name="T27" fmla="*/ 96 h 9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72" h="96">
                  <a:moveTo>
                    <a:pt x="0" y="5"/>
                  </a:moveTo>
                  <a:lnTo>
                    <a:pt x="15" y="0"/>
                  </a:lnTo>
                  <a:lnTo>
                    <a:pt x="48" y="21"/>
                  </a:lnTo>
                  <a:lnTo>
                    <a:pt x="48" y="42"/>
                  </a:lnTo>
                  <a:lnTo>
                    <a:pt x="71" y="57"/>
                  </a:lnTo>
                  <a:lnTo>
                    <a:pt x="72" y="85"/>
                  </a:lnTo>
                  <a:lnTo>
                    <a:pt x="35" y="96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40" name="Freeform 53">
              <a:extLst>
                <a:ext uri="{FF2B5EF4-FFF2-40B4-BE49-F238E27FC236}">
                  <a16:creationId xmlns:a16="http://schemas.microsoft.com/office/drawing/2014/main" id="{F49C6F81-C55F-48BE-BDF3-DB293B7006F6}"/>
                </a:ext>
              </a:extLst>
            </p:cNvPr>
            <p:cNvSpPr>
              <a:spLocks/>
            </p:cNvSpPr>
            <p:nvPr/>
          </p:nvSpPr>
          <p:spPr bwMode="auto">
            <a:xfrm>
              <a:off x="6873453" y="2382838"/>
              <a:ext cx="792778" cy="639762"/>
            </a:xfrm>
            <a:custGeom>
              <a:avLst/>
              <a:gdLst>
                <a:gd name="T0" fmla="*/ 40 w 384"/>
                <a:gd name="T1" fmla="*/ 226 h 336"/>
                <a:gd name="T2" fmla="*/ 92 w 384"/>
                <a:gd name="T3" fmla="*/ 206 h 336"/>
                <a:gd name="T4" fmla="*/ 158 w 384"/>
                <a:gd name="T5" fmla="*/ 201 h 336"/>
                <a:gd name="T6" fmla="*/ 177 w 384"/>
                <a:gd name="T7" fmla="*/ 183 h 336"/>
                <a:gd name="T8" fmla="*/ 198 w 384"/>
                <a:gd name="T9" fmla="*/ 181 h 336"/>
                <a:gd name="T10" fmla="*/ 212 w 384"/>
                <a:gd name="T11" fmla="*/ 162 h 336"/>
                <a:gd name="T12" fmla="*/ 235 w 384"/>
                <a:gd name="T13" fmla="*/ 155 h 336"/>
                <a:gd name="T14" fmla="*/ 225 w 384"/>
                <a:gd name="T15" fmla="*/ 120 h 336"/>
                <a:gd name="T16" fmla="*/ 211 w 384"/>
                <a:gd name="T17" fmla="*/ 111 h 336"/>
                <a:gd name="T18" fmla="*/ 240 w 384"/>
                <a:gd name="T19" fmla="*/ 82 h 336"/>
                <a:gd name="T20" fmla="*/ 258 w 384"/>
                <a:gd name="T21" fmla="*/ 82 h 336"/>
                <a:gd name="T22" fmla="*/ 320 w 384"/>
                <a:gd name="T23" fmla="*/ 22 h 336"/>
                <a:gd name="T24" fmla="*/ 414 w 384"/>
                <a:gd name="T25" fmla="*/ 0 h 336"/>
                <a:gd name="T26" fmla="*/ 425 w 384"/>
                <a:gd name="T27" fmla="*/ 56 h 336"/>
                <a:gd name="T28" fmla="*/ 430 w 384"/>
                <a:gd name="T29" fmla="*/ 54 h 336"/>
                <a:gd name="T30" fmla="*/ 452 w 384"/>
                <a:gd name="T31" fmla="*/ 74 h 336"/>
                <a:gd name="T32" fmla="*/ 453 w 384"/>
                <a:gd name="T33" fmla="*/ 132 h 336"/>
                <a:gd name="T34" fmla="*/ 482 w 384"/>
                <a:gd name="T35" fmla="*/ 179 h 336"/>
                <a:gd name="T36" fmla="*/ 493 w 384"/>
                <a:gd name="T37" fmla="*/ 240 h 336"/>
                <a:gd name="T38" fmla="*/ 495 w 384"/>
                <a:gd name="T39" fmla="*/ 293 h 336"/>
                <a:gd name="T40" fmla="*/ 530 w 384"/>
                <a:gd name="T41" fmla="*/ 310 h 336"/>
                <a:gd name="T42" fmla="*/ 505 w 384"/>
                <a:gd name="T43" fmla="*/ 336 h 336"/>
                <a:gd name="T44" fmla="*/ 444 w 384"/>
                <a:gd name="T45" fmla="*/ 306 h 336"/>
                <a:gd name="T46" fmla="*/ 412 w 384"/>
                <a:gd name="T47" fmla="*/ 308 h 336"/>
                <a:gd name="T48" fmla="*/ 380 w 384"/>
                <a:gd name="T49" fmla="*/ 301 h 336"/>
                <a:gd name="T50" fmla="*/ 381 w 384"/>
                <a:gd name="T51" fmla="*/ 283 h 336"/>
                <a:gd name="T52" fmla="*/ 362 w 384"/>
                <a:gd name="T53" fmla="*/ 277 h 336"/>
                <a:gd name="T54" fmla="*/ 15 w 384"/>
                <a:gd name="T55" fmla="*/ 329 h 336"/>
                <a:gd name="T56" fmla="*/ 0 w 384"/>
                <a:gd name="T57" fmla="*/ 314 h 336"/>
                <a:gd name="T58" fmla="*/ 52 w 384"/>
                <a:gd name="T59" fmla="*/ 254 h 336"/>
                <a:gd name="T60" fmla="*/ 40 w 384"/>
                <a:gd name="T61" fmla="*/ 226 h 3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384"/>
                <a:gd name="T94" fmla="*/ 0 h 336"/>
                <a:gd name="T95" fmla="*/ 384 w 384"/>
                <a:gd name="T96" fmla="*/ 336 h 3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384" h="336">
                  <a:moveTo>
                    <a:pt x="29" y="226"/>
                  </a:moveTo>
                  <a:lnTo>
                    <a:pt x="66" y="206"/>
                  </a:lnTo>
                  <a:lnTo>
                    <a:pt x="115" y="201"/>
                  </a:lnTo>
                  <a:lnTo>
                    <a:pt x="127" y="183"/>
                  </a:lnTo>
                  <a:lnTo>
                    <a:pt x="144" y="181"/>
                  </a:lnTo>
                  <a:lnTo>
                    <a:pt x="154" y="162"/>
                  </a:lnTo>
                  <a:lnTo>
                    <a:pt x="171" y="155"/>
                  </a:lnTo>
                  <a:lnTo>
                    <a:pt x="163" y="120"/>
                  </a:lnTo>
                  <a:lnTo>
                    <a:pt x="153" y="111"/>
                  </a:lnTo>
                  <a:lnTo>
                    <a:pt x="174" y="82"/>
                  </a:lnTo>
                  <a:lnTo>
                    <a:pt x="187" y="82"/>
                  </a:lnTo>
                  <a:lnTo>
                    <a:pt x="232" y="22"/>
                  </a:lnTo>
                  <a:lnTo>
                    <a:pt x="301" y="0"/>
                  </a:lnTo>
                  <a:lnTo>
                    <a:pt x="308" y="56"/>
                  </a:lnTo>
                  <a:lnTo>
                    <a:pt x="312" y="54"/>
                  </a:lnTo>
                  <a:lnTo>
                    <a:pt x="328" y="74"/>
                  </a:lnTo>
                  <a:lnTo>
                    <a:pt x="329" y="132"/>
                  </a:lnTo>
                  <a:lnTo>
                    <a:pt x="350" y="179"/>
                  </a:lnTo>
                  <a:lnTo>
                    <a:pt x="358" y="240"/>
                  </a:lnTo>
                  <a:lnTo>
                    <a:pt x="360" y="293"/>
                  </a:lnTo>
                  <a:lnTo>
                    <a:pt x="384" y="310"/>
                  </a:lnTo>
                  <a:lnTo>
                    <a:pt x="366" y="336"/>
                  </a:lnTo>
                  <a:lnTo>
                    <a:pt x="322" y="306"/>
                  </a:lnTo>
                  <a:lnTo>
                    <a:pt x="299" y="308"/>
                  </a:lnTo>
                  <a:lnTo>
                    <a:pt x="276" y="301"/>
                  </a:lnTo>
                  <a:lnTo>
                    <a:pt x="277" y="283"/>
                  </a:lnTo>
                  <a:lnTo>
                    <a:pt x="262" y="277"/>
                  </a:lnTo>
                  <a:lnTo>
                    <a:pt x="11" y="329"/>
                  </a:lnTo>
                  <a:lnTo>
                    <a:pt x="0" y="314"/>
                  </a:lnTo>
                  <a:lnTo>
                    <a:pt x="38" y="254"/>
                  </a:lnTo>
                  <a:lnTo>
                    <a:pt x="29" y="22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41" name="Freeform 54">
              <a:extLst>
                <a:ext uri="{FF2B5EF4-FFF2-40B4-BE49-F238E27FC236}">
                  <a16:creationId xmlns:a16="http://schemas.microsoft.com/office/drawing/2014/main" id="{36BBFDC9-F535-4D1B-BBDB-5236FC3A8C38}"/>
                </a:ext>
              </a:extLst>
            </p:cNvPr>
            <p:cNvSpPr>
              <a:spLocks/>
            </p:cNvSpPr>
            <p:nvPr/>
          </p:nvSpPr>
          <p:spPr bwMode="auto">
            <a:xfrm>
              <a:off x="7647316" y="2919413"/>
              <a:ext cx="230439" cy="138112"/>
            </a:xfrm>
            <a:custGeom>
              <a:avLst/>
              <a:gdLst>
                <a:gd name="T0" fmla="*/ 0 w 112"/>
                <a:gd name="T1" fmla="*/ 53 h 72"/>
                <a:gd name="T2" fmla="*/ 63 w 112"/>
                <a:gd name="T3" fmla="*/ 30 h 72"/>
                <a:gd name="T4" fmla="*/ 124 w 112"/>
                <a:gd name="T5" fmla="*/ 0 h 72"/>
                <a:gd name="T6" fmla="*/ 135 w 112"/>
                <a:gd name="T7" fmla="*/ 1 h 72"/>
                <a:gd name="T8" fmla="*/ 153 w 112"/>
                <a:gd name="T9" fmla="*/ 3 h 72"/>
                <a:gd name="T10" fmla="*/ 92 w 112"/>
                <a:gd name="T11" fmla="*/ 40 h 72"/>
                <a:gd name="T12" fmla="*/ 17 w 112"/>
                <a:gd name="T13" fmla="*/ 72 h 72"/>
                <a:gd name="T14" fmla="*/ 0 w 112"/>
                <a:gd name="T15" fmla="*/ 53 h 7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12"/>
                <a:gd name="T25" fmla="*/ 0 h 72"/>
                <a:gd name="T26" fmla="*/ 112 w 112"/>
                <a:gd name="T27" fmla="*/ 72 h 7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12" h="72">
                  <a:moveTo>
                    <a:pt x="0" y="53"/>
                  </a:moveTo>
                  <a:lnTo>
                    <a:pt x="46" y="30"/>
                  </a:lnTo>
                  <a:lnTo>
                    <a:pt x="91" y="0"/>
                  </a:lnTo>
                  <a:lnTo>
                    <a:pt x="99" y="1"/>
                  </a:lnTo>
                  <a:lnTo>
                    <a:pt x="112" y="3"/>
                  </a:lnTo>
                  <a:lnTo>
                    <a:pt x="68" y="40"/>
                  </a:lnTo>
                  <a:lnTo>
                    <a:pt x="13" y="72"/>
                  </a:lnTo>
                  <a:lnTo>
                    <a:pt x="0" y="53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42" name="Freeform 55">
              <a:extLst>
                <a:ext uri="{FF2B5EF4-FFF2-40B4-BE49-F238E27FC236}">
                  <a16:creationId xmlns:a16="http://schemas.microsoft.com/office/drawing/2014/main" id="{BD841423-1244-4055-9F44-D74FC02AE1E9}"/>
                </a:ext>
              </a:extLst>
            </p:cNvPr>
            <p:cNvSpPr>
              <a:spLocks/>
            </p:cNvSpPr>
            <p:nvPr/>
          </p:nvSpPr>
          <p:spPr bwMode="auto">
            <a:xfrm>
              <a:off x="7535535" y="3517900"/>
              <a:ext cx="63629" cy="109538"/>
            </a:xfrm>
            <a:custGeom>
              <a:avLst/>
              <a:gdLst>
                <a:gd name="T0" fmla="*/ 0 w 31"/>
                <a:gd name="T1" fmla="*/ 5 h 57"/>
                <a:gd name="T2" fmla="*/ 45 w 31"/>
                <a:gd name="T3" fmla="*/ 0 h 57"/>
                <a:gd name="T4" fmla="*/ 20 w 31"/>
                <a:gd name="T5" fmla="*/ 57 h 57"/>
                <a:gd name="T6" fmla="*/ 2 w 31"/>
                <a:gd name="T7" fmla="*/ 55 h 57"/>
                <a:gd name="T8" fmla="*/ 0 w 31"/>
                <a:gd name="T9" fmla="*/ 5 h 5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1"/>
                <a:gd name="T16" fmla="*/ 0 h 57"/>
                <a:gd name="T17" fmla="*/ 31 w 31"/>
                <a:gd name="T18" fmla="*/ 57 h 5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1" h="57">
                  <a:moveTo>
                    <a:pt x="0" y="5"/>
                  </a:moveTo>
                  <a:lnTo>
                    <a:pt x="31" y="0"/>
                  </a:lnTo>
                  <a:lnTo>
                    <a:pt x="14" y="57"/>
                  </a:lnTo>
                  <a:lnTo>
                    <a:pt x="2" y="55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43" name="Freeform 5">
              <a:extLst>
                <a:ext uri="{FF2B5EF4-FFF2-40B4-BE49-F238E27FC236}">
                  <a16:creationId xmlns:a16="http://schemas.microsoft.com/office/drawing/2014/main" id="{51E08425-1167-4E8F-BD25-59F4B19A911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9626" y="4129088"/>
              <a:ext cx="1745489" cy="1604962"/>
            </a:xfrm>
            <a:custGeom>
              <a:avLst/>
              <a:gdLst>
                <a:gd name="T0" fmla="*/ 337 w 846"/>
                <a:gd name="T1" fmla="*/ 0 h 842"/>
                <a:gd name="T2" fmla="*/ 594 w 846"/>
                <a:gd name="T3" fmla="*/ 7 h 842"/>
                <a:gd name="T4" fmla="*/ 594 w 846"/>
                <a:gd name="T5" fmla="*/ 160 h 842"/>
                <a:gd name="T6" fmla="*/ 724 w 846"/>
                <a:gd name="T7" fmla="*/ 202 h 842"/>
                <a:gd name="T8" fmla="*/ 761 w 846"/>
                <a:gd name="T9" fmla="*/ 188 h 842"/>
                <a:gd name="T10" fmla="*/ 847 w 846"/>
                <a:gd name="T11" fmla="*/ 221 h 842"/>
                <a:gd name="T12" fmla="*/ 897 w 846"/>
                <a:gd name="T13" fmla="*/ 219 h 842"/>
                <a:gd name="T14" fmla="*/ 996 w 846"/>
                <a:gd name="T15" fmla="*/ 186 h 842"/>
                <a:gd name="T16" fmla="*/ 1054 w 846"/>
                <a:gd name="T17" fmla="*/ 218 h 842"/>
                <a:gd name="T18" fmla="*/ 1103 w 846"/>
                <a:gd name="T19" fmla="*/ 226 h 842"/>
                <a:gd name="T20" fmla="*/ 1103 w 846"/>
                <a:gd name="T21" fmla="*/ 350 h 842"/>
                <a:gd name="T22" fmla="*/ 1163 w 846"/>
                <a:gd name="T23" fmla="*/ 428 h 842"/>
                <a:gd name="T24" fmla="*/ 1149 w 846"/>
                <a:gd name="T25" fmla="*/ 534 h 842"/>
                <a:gd name="T26" fmla="*/ 1086 w 846"/>
                <a:gd name="T27" fmla="*/ 576 h 842"/>
                <a:gd name="T28" fmla="*/ 1073 w 846"/>
                <a:gd name="T29" fmla="*/ 537 h 842"/>
                <a:gd name="T30" fmla="*/ 1054 w 846"/>
                <a:gd name="T31" fmla="*/ 555 h 842"/>
                <a:gd name="T32" fmla="*/ 1068 w 846"/>
                <a:gd name="T33" fmla="*/ 580 h 842"/>
                <a:gd name="T34" fmla="*/ 955 w 846"/>
                <a:gd name="T35" fmla="*/ 643 h 842"/>
                <a:gd name="T36" fmla="*/ 927 w 846"/>
                <a:gd name="T37" fmla="*/ 647 h 842"/>
                <a:gd name="T38" fmla="*/ 868 w 846"/>
                <a:gd name="T39" fmla="*/ 678 h 842"/>
                <a:gd name="T40" fmla="*/ 868 w 846"/>
                <a:gd name="T41" fmla="*/ 696 h 842"/>
                <a:gd name="T42" fmla="*/ 850 w 846"/>
                <a:gd name="T43" fmla="*/ 700 h 842"/>
                <a:gd name="T44" fmla="*/ 864 w 846"/>
                <a:gd name="T45" fmla="*/ 721 h 842"/>
                <a:gd name="T46" fmla="*/ 833 w 846"/>
                <a:gd name="T47" fmla="*/ 752 h 842"/>
                <a:gd name="T48" fmla="*/ 850 w 846"/>
                <a:gd name="T49" fmla="*/ 798 h 842"/>
                <a:gd name="T50" fmla="*/ 868 w 846"/>
                <a:gd name="T51" fmla="*/ 814 h 842"/>
                <a:gd name="T52" fmla="*/ 864 w 846"/>
                <a:gd name="T53" fmla="*/ 842 h 842"/>
                <a:gd name="T54" fmla="*/ 819 w 846"/>
                <a:gd name="T55" fmla="*/ 842 h 842"/>
                <a:gd name="T56" fmla="*/ 780 w 846"/>
                <a:gd name="T57" fmla="*/ 828 h 842"/>
                <a:gd name="T58" fmla="*/ 751 w 846"/>
                <a:gd name="T59" fmla="*/ 831 h 842"/>
                <a:gd name="T60" fmla="*/ 662 w 846"/>
                <a:gd name="T61" fmla="*/ 807 h 842"/>
                <a:gd name="T62" fmla="*/ 620 w 846"/>
                <a:gd name="T63" fmla="*/ 710 h 842"/>
                <a:gd name="T64" fmla="*/ 558 w 846"/>
                <a:gd name="T65" fmla="*/ 664 h 842"/>
                <a:gd name="T66" fmla="*/ 501 w 846"/>
                <a:gd name="T67" fmla="*/ 580 h 842"/>
                <a:gd name="T68" fmla="*/ 477 w 846"/>
                <a:gd name="T69" fmla="*/ 571 h 842"/>
                <a:gd name="T70" fmla="*/ 447 w 846"/>
                <a:gd name="T71" fmla="*/ 550 h 842"/>
                <a:gd name="T72" fmla="*/ 417 w 846"/>
                <a:gd name="T73" fmla="*/ 550 h 842"/>
                <a:gd name="T74" fmla="*/ 374 w 846"/>
                <a:gd name="T75" fmla="*/ 543 h 842"/>
                <a:gd name="T76" fmla="*/ 341 w 846"/>
                <a:gd name="T77" fmla="*/ 550 h 842"/>
                <a:gd name="T78" fmla="*/ 319 w 846"/>
                <a:gd name="T79" fmla="*/ 593 h 842"/>
                <a:gd name="T80" fmla="*/ 285 w 846"/>
                <a:gd name="T81" fmla="*/ 600 h 842"/>
                <a:gd name="T82" fmla="*/ 211 w 846"/>
                <a:gd name="T83" fmla="*/ 567 h 842"/>
                <a:gd name="T84" fmla="*/ 167 w 846"/>
                <a:gd name="T85" fmla="*/ 527 h 842"/>
                <a:gd name="T86" fmla="*/ 159 w 846"/>
                <a:gd name="T87" fmla="*/ 479 h 842"/>
                <a:gd name="T88" fmla="*/ 128 w 846"/>
                <a:gd name="T89" fmla="*/ 446 h 842"/>
                <a:gd name="T90" fmla="*/ 53 w 846"/>
                <a:gd name="T91" fmla="*/ 400 h 842"/>
                <a:gd name="T92" fmla="*/ 0 w 846"/>
                <a:gd name="T93" fmla="*/ 352 h 842"/>
                <a:gd name="T94" fmla="*/ 0 w 846"/>
                <a:gd name="T95" fmla="*/ 332 h 842"/>
                <a:gd name="T96" fmla="*/ 176 w 846"/>
                <a:gd name="T97" fmla="*/ 333 h 842"/>
                <a:gd name="T98" fmla="*/ 319 w 846"/>
                <a:gd name="T99" fmla="*/ 342 h 842"/>
                <a:gd name="T100" fmla="*/ 337 w 846"/>
                <a:gd name="T101" fmla="*/ 0 h 84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46"/>
                <a:gd name="T154" fmla="*/ 0 h 842"/>
                <a:gd name="T155" fmla="*/ 846 w 846"/>
                <a:gd name="T156" fmla="*/ 842 h 84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46" h="842">
                  <a:moveTo>
                    <a:pt x="245" y="0"/>
                  </a:moveTo>
                  <a:lnTo>
                    <a:pt x="432" y="7"/>
                  </a:lnTo>
                  <a:lnTo>
                    <a:pt x="432" y="160"/>
                  </a:lnTo>
                  <a:lnTo>
                    <a:pt x="527" y="202"/>
                  </a:lnTo>
                  <a:lnTo>
                    <a:pt x="553" y="188"/>
                  </a:lnTo>
                  <a:lnTo>
                    <a:pt x="616" y="221"/>
                  </a:lnTo>
                  <a:lnTo>
                    <a:pt x="653" y="219"/>
                  </a:lnTo>
                  <a:lnTo>
                    <a:pt x="725" y="186"/>
                  </a:lnTo>
                  <a:lnTo>
                    <a:pt x="767" y="218"/>
                  </a:lnTo>
                  <a:lnTo>
                    <a:pt x="803" y="226"/>
                  </a:lnTo>
                  <a:lnTo>
                    <a:pt x="803" y="350"/>
                  </a:lnTo>
                  <a:lnTo>
                    <a:pt x="846" y="428"/>
                  </a:lnTo>
                  <a:lnTo>
                    <a:pt x="836" y="534"/>
                  </a:lnTo>
                  <a:lnTo>
                    <a:pt x="790" y="576"/>
                  </a:lnTo>
                  <a:lnTo>
                    <a:pt x="780" y="537"/>
                  </a:lnTo>
                  <a:lnTo>
                    <a:pt x="767" y="555"/>
                  </a:lnTo>
                  <a:lnTo>
                    <a:pt x="777" y="580"/>
                  </a:lnTo>
                  <a:lnTo>
                    <a:pt x="695" y="643"/>
                  </a:lnTo>
                  <a:lnTo>
                    <a:pt x="675" y="647"/>
                  </a:lnTo>
                  <a:lnTo>
                    <a:pt x="632" y="678"/>
                  </a:lnTo>
                  <a:lnTo>
                    <a:pt x="632" y="696"/>
                  </a:lnTo>
                  <a:lnTo>
                    <a:pt x="619" y="700"/>
                  </a:lnTo>
                  <a:lnTo>
                    <a:pt x="629" y="721"/>
                  </a:lnTo>
                  <a:lnTo>
                    <a:pt x="606" y="752"/>
                  </a:lnTo>
                  <a:lnTo>
                    <a:pt x="619" y="798"/>
                  </a:lnTo>
                  <a:lnTo>
                    <a:pt x="632" y="814"/>
                  </a:lnTo>
                  <a:lnTo>
                    <a:pt x="629" y="842"/>
                  </a:lnTo>
                  <a:lnTo>
                    <a:pt x="596" y="842"/>
                  </a:lnTo>
                  <a:lnTo>
                    <a:pt x="567" y="828"/>
                  </a:lnTo>
                  <a:lnTo>
                    <a:pt x="547" y="831"/>
                  </a:lnTo>
                  <a:lnTo>
                    <a:pt x="481" y="807"/>
                  </a:lnTo>
                  <a:lnTo>
                    <a:pt x="452" y="710"/>
                  </a:lnTo>
                  <a:lnTo>
                    <a:pt x="406" y="664"/>
                  </a:lnTo>
                  <a:lnTo>
                    <a:pt x="365" y="580"/>
                  </a:lnTo>
                  <a:lnTo>
                    <a:pt x="347" y="571"/>
                  </a:lnTo>
                  <a:lnTo>
                    <a:pt x="325" y="550"/>
                  </a:lnTo>
                  <a:lnTo>
                    <a:pt x="304" y="550"/>
                  </a:lnTo>
                  <a:lnTo>
                    <a:pt x="272" y="543"/>
                  </a:lnTo>
                  <a:lnTo>
                    <a:pt x="248" y="550"/>
                  </a:lnTo>
                  <a:lnTo>
                    <a:pt x="232" y="593"/>
                  </a:lnTo>
                  <a:lnTo>
                    <a:pt x="207" y="600"/>
                  </a:lnTo>
                  <a:lnTo>
                    <a:pt x="153" y="567"/>
                  </a:lnTo>
                  <a:lnTo>
                    <a:pt x="121" y="527"/>
                  </a:lnTo>
                  <a:lnTo>
                    <a:pt x="116" y="479"/>
                  </a:lnTo>
                  <a:lnTo>
                    <a:pt x="93" y="446"/>
                  </a:lnTo>
                  <a:lnTo>
                    <a:pt x="39" y="400"/>
                  </a:lnTo>
                  <a:lnTo>
                    <a:pt x="0" y="352"/>
                  </a:lnTo>
                  <a:lnTo>
                    <a:pt x="0" y="332"/>
                  </a:lnTo>
                  <a:lnTo>
                    <a:pt x="128" y="333"/>
                  </a:lnTo>
                  <a:lnTo>
                    <a:pt x="232" y="342"/>
                  </a:lnTo>
                  <a:lnTo>
                    <a:pt x="245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</p:grpSp>
      <p:sp>
        <p:nvSpPr>
          <p:cNvPr id="64" name="Text Placeholder 63">
            <a:extLst>
              <a:ext uri="{FF2B5EF4-FFF2-40B4-BE49-F238E27FC236}">
                <a16:creationId xmlns:a16="http://schemas.microsoft.com/office/drawing/2014/main" id="{6A78AED2-D80F-486D-9A5F-7BE35FD8D64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87759" y="2363006"/>
            <a:ext cx="407089" cy="491402"/>
          </a:xfrm>
          <a:custGeom>
            <a:avLst/>
            <a:gdLst>
              <a:gd name="connsiteX0" fmla="*/ 197521 w 395043"/>
              <a:gd name="connsiteY0" fmla="*/ 127878 h 476860"/>
              <a:gd name="connsiteX1" fmla="*/ 134426 w 395043"/>
              <a:gd name="connsiteY1" fmla="*/ 190974 h 476860"/>
              <a:gd name="connsiteX2" fmla="*/ 197521 w 395043"/>
              <a:gd name="connsiteY2" fmla="*/ 254069 h 476860"/>
              <a:gd name="connsiteX3" fmla="*/ 260616 w 395043"/>
              <a:gd name="connsiteY3" fmla="*/ 190974 h 476860"/>
              <a:gd name="connsiteX4" fmla="*/ 197521 w 395043"/>
              <a:gd name="connsiteY4" fmla="*/ 127878 h 476860"/>
              <a:gd name="connsiteX5" fmla="*/ 197522 w 395043"/>
              <a:gd name="connsiteY5" fmla="*/ 0 h 476860"/>
              <a:gd name="connsiteX6" fmla="*/ 337191 w 395043"/>
              <a:gd name="connsiteY6" fmla="*/ 57853 h 476860"/>
              <a:gd name="connsiteX7" fmla="*/ 337191 w 395043"/>
              <a:gd name="connsiteY7" fmla="*/ 57854 h 476860"/>
              <a:gd name="connsiteX8" fmla="*/ 337191 w 395043"/>
              <a:gd name="connsiteY8" fmla="*/ 337192 h 476860"/>
              <a:gd name="connsiteX9" fmla="*/ 197522 w 395043"/>
              <a:gd name="connsiteY9" fmla="*/ 476860 h 476860"/>
              <a:gd name="connsiteX10" fmla="*/ 57853 w 395043"/>
              <a:gd name="connsiteY10" fmla="*/ 337191 h 476860"/>
              <a:gd name="connsiteX11" fmla="*/ 57853 w 395043"/>
              <a:gd name="connsiteY11" fmla="*/ 57853 h 476860"/>
              <a:gd name="connsiteX12" fmla="*/ 197522 w 395043"/>
              <a:gd name="connsiteY12" fmla="*/ 0 h 4768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95043" h="476860">
                <a:moveTo>
                  <a:pt x="197521" y="127878"/>
                </a:moveTo>
                <a:cubicBezTo>
                  <a:pt x="162675" y="127878"/>
                  <a:pt x="134426" y="156127"/>
                  <a:pt x="134426" y="190974"/>
                </a:cubicBezTo>
                <a:cubicBezTo>
                  <a:pt x="134427" y="225819"/>
                  <a:pt x="162676" y="254068"/>
                  <a:pt x="197521" y="254069"/>
                </a:cubicBezTo>
                <a:cubicBezTo>
                  <a:pt x="232368" y="254069"/>
                  <a:pt x="260616" y="225820"/>
                  <a:pt x="260616" y="190974"/>
                </a:cubicBezTo>
                <a:cubicBezTo>
                  <a:pt x="260616" y="156127"/>
                  <a:pt x="232368" y="127878"/>
                  <a:pt x="197521" y="127878"/>
                </a:cubicBezTo>
                <a:close/>
                <a:moveTo>
                  <a:pt x="197522" y="0"/>
                </a:moveTo>
                <a:cubicBezTo>
                  <a:pt x="248073" y="0"/>
                  <a:pt x="298623" y="19285"/>
                  <a:pt x="337191" y="57853"/>
                </a:cubicBezTo>
                <a:lnTo>
                  <a:pt x="337191" y="57854"/>
                </a:lnTo>
                <a:cubicBezTo>
                  <a:pt x="414327" y="134991"/>
                  <a:pt x="414327" y="260055"/>
                  <a:pt x="337191" y="337192"/>
                </a:cubicBezTo>
                <a:lnTo>
                  <a:pt x="197522" y="476860"/>
                </a:lnTo>
                <a:lnTo>
                  <a:pt x="57853" y="337191"/>
                </a:lnTo>
                <a:cubicBezTo>
                  <a:pt x="-19284" y="260054"/>
                  <a:pt x="-19284" y="134990"/>
                  <a:pt x="57853" y="57853"/>
                </a:cubicBezTo>
                <a:cubicBezTo>
                  <a:pt x="96421" y="19285"/>
                  <a:pt x="146971" y="0"/>
                  <a:pt x="197522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none" lIns="0" rIns="731520" anchor="ctr" anchorCtr="0">
            <a:noAutofit/>
          </a:bodyPr>
          <a:lstStyle>
            <a:lvl1pPr algn="r">
              <a:defRPr sz="2400" b="1"/>
            </a:lvl1pPr>
          </a:lstStyle>
          <a:p>
            <a:pPr lvl="0"/>
            <a:r>
              <a:rPr lang="en-US"/>
              <a:t>New York HQ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120C356-CC85-4EB7-916E-AEFBD416DC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040009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orld Ma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2" name="Group 201">
            <a:extLst>
              <a:ext uri="{FF2B5EF4-FFF2-40B4-BE49-F238E27FC236}">
                <a16:creationId xmlns:a16="http://schemas.microsoft.com/office/drawing/2014/main" id="{2DDE1C8B-2964-4902-841B-E8E86E5D5DFB}"/>
              </a:ext>
            </a:extLst>
          </p:cNvPr>
          <p:cNvGrpSpPr>
            <a:grpSpLocks noChangeAspect="1"/>
          </p:cNvGrpSpPr>
          <p:nvPr/>
        </p:nvGrpSpPr>
        <p:grpSpPr>
          <a:xfrm>
            <a:off x="751231" y="1258518"/>
            <a:ext cx="10363229" cy="5111535"/>
            <a:chOff x="2235200" y="1676289"/>
            <a:chExt cx="8248805" cy="4068623"/>
          </a:xfrm>
          <a:solidFill>
            <a:schemeClr val="bg2"/>
          </a:solidFill>
        </p:grpSpPr>
        <p:sp>
          <p:nvSpPr>
            <p:cNvPr id="203" name="Freeform 107">
              <a:extLst>
                <a:ext uri="{FF2B5EF4-FFF2-40B4-BE49-F238E27FC236}">
                  <a16:creationId xmlns:a16="http://schemas.microsoft.com/office/drawing/2014/main" id="{8BE6A7DE-2B2A-4DE3-859A-59525608091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98108" y="4184703"/>
              <a:ext cx="914123" cy="931166"/>
            </a:xfrm>
            <a:custGeom>
              <a:avLst/>
              <a:gdLst>
                <a:gd name="T0" fmla="*/ 181 w 321"/>
                <a:gd name="T1" fmla="*/ 304 h 327"/>
                <a:gd name="T2" fmla="*/ 186 w 321"/>
                <a:gd name="T3" fmla="*/ 305 h 327"/>
                <a:gd name="T4" fmla="*/ 206 w 321"/>
                <a:gd name="T5" fmla="*/ 269 h 327"/>
                <a:gd name="T6" fmla="*/ 219 w 321"/>
                <a:gd name="T7" fmla="*/ 244 h 327"/>
                <a:gd name="T8" fmla="*/ 240 w 321"/>
                <a:gd name="T9" fmla="*/ 232 h 327"/>
                <a:gd name="T10" fmla="*/ 265 w 321"/>
                <a:gd name="T11" fmla="*/ 225 h 327"/>
                <a:gd name="T12" fmla="*/ 275 w 321"/>
                <a:gd name="T13" fmla="*/ 206 h 327"/>
                <a:gd name="T14" fmla="*/ 284 w 321"/>
                <a:gd name="T15" fmla="*/ 187 h 327"/>
                <a:gd name="T16" fmla="*/ 286 w 321"/>
                <a:gd name="T17" fmla="*/ 150 h 327"/>
                <a:gd name="T18" fmla="*/ 292 w 321"/>
                <a:gd name="T19" fmla="*/ 146 h 327"/>
                <a:gd name="T20" fmla="*/ 318 w 321"/>
                <a:gd name="T21" fmla="*/ 112 h 327"/>
                <a:gd name="T22" fmla="*/ 290 w 321"/>
                <a:gd name="T23" fmla="*/ 73 h 327"/>
                <a:gd name="T24" fmla="*/ 240 w 321"/>
                <a:gd name="T25" fmla="*/ 68 h 327"/>
                <a:gd name="T26" fmla="*/ 211 w 321"/>
                <a:gd name="T27" fmla="*/ 52 h 327"/>
                <a:gd name="T28" fmla="*/ 208 w 321"/>
                <a:gd name="T29" fmla="*/ 47 h 327"/>
                <a:gd name="T30" fmla="*/ 189 w 321"/>
                <a:gd name="T31" fmla="*/ 42 h 327"/>
                <a:gd name="T32" fmla="*/ 184 w 321"/>
                <a:gd name="T33" fmla="*/ 8 h 327"/>
                <a:gd name="T34" fmla="*/ 158 w 321"/>
                <a:gd name="T35" fmla="*/ 22 h 327"/>
                <a:gd name="T36" fmla="*/ 136 w 321"/>
                <a:gd name="T37" fmla="*/ 27 h 327"/>
                <a:gd name="T38" fmla="*/ 118 w 321"/>
                <a:gd name="T39" fmla="*/ 28 h 327"/>
                <a:gd name="T40" fmla="*/ 112 w 321"/>
                <a:gd name="T41" fmla="*/ 0 h 327"/>
                <a:gd name="T42" fmla="*/ 92 w 321"/>
                <a:gd name="T43" fmla="*/ 12 h 327"/>
                <a:gd name="T44" fmla="*/ 76 w 321"/>
                <a:gd name="T45" fmla="*/ 10 h 327"/>
                <a:gd name="T46" fmla="*/ 86 w 321"/>
                <a:gd name="T47" fmla="*/ 22 h 327"/>
                <a:gd name="T48" fmla="*/ 75 w 321"/>
                <a:gd name="T49" fmla="*/ 32 h 327"/>
                <a:gd name="T50" fmla="*/ 60 w 321"/>
                <a:gd name="T51" fmla="*/ 34 h 327"/>
                <a:gd name="T52" fmla="*/ 34 w 321"/>
                <a:gd name="T53" fmla="*/ 29 h 327"/>
                <a:gd name="T54" fmla="*/ 32 w 321"/>
                <a:gd name="T55" fmla="*/ 41 h 327"/>
                <a:gd name="T56" fmla="*/ 33 w 321"/>
                <a:gd name="T57" fmla="*/ 76 h 327"/>
                <a:gd name="T58" fmla="*/ 9 w 321"/>
                <a:gd name="T59" fmla="*/ 85 h 327"/>
                <a:gd name="T60" fmla="*/ 2 w 321"/>
                <a:gd name="T61" fmla="*/ 102 h 327"/>
                <a:gd name="T62" fmla="*/ 11 w 321"/>
                <a:gd name="T63" fmla="*/ 119 h 327"/>
                <a:gd name="T64" fmla="*/ 28 w 321"/>
                <a:gd name="T65" fmla="*/ 122 h 327"/>
                <a:gd name="T66" fmla="*/ 47 w 321"/>
                <a:gd name="T67" fmla="*/ 131 h 327"/>
                <a:gd name="T68" fmla="*/ 71 w 321"/>
                <a:gd name="T69" fmla="*/ 123 h 327"/>
                <a:gd name="T70" fmla="*/ 89 w 321"/>
                <a:gd name="T71" fmla="*/ 146 h 327"/>
                <a:gd name="T72" fmla="*/ 107 w 321"/>
                <a:gd name="T73" fmla="*/ 154 h 327"/>
                <a:gd name="T74" fmla="*/ 113 w 321"/>
                <a:gd name="T75" fmla="*/ 172 h 327"/>
                <a:gd name="T76" fmla="*/ 133 w 321"/>
                <a:gd name="T77" fmla="*/ 188 h 327"/>
                <a:gd name="T78" fmla="*/ 130 w 321"/>
                <a:gd name="T79" fmla="*/ 208 h 327"/>
                <a:gd name="T80" fmla="*/ 142 w 321"/>
                <a:gd name="T81" fmla="*/ 225 h 327"/>
                <a:gd name="T82" fmla="*/ 159 w 321"/>
                <a:gd name="T83" fmla="*/ 240 h 327"/>
                <a:gd name="T84" fmla="*/ 165 w 321"/>
                <a:gd name="T85" fmla="*/ 267 h 327"/>
                <a:gd name="T86" fmla="*/ 134 w 321"/>
                <a:gd name="T87" fmla="*/ 295 h 327"/>
                <a:gd name="T88" fmla="*/ 147 w 321"/>
                <a:gd name="T89" fmla="*/ 303 h 327"/>
                <a:gd name="T90" fmla="*/ 166 w 321"/>
                <a:gd name="T91" fmla="*/ 315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1" h="327">
                  <a:moveTo>
                    <a:pt x="170" y="324"/>
                  </a:moveTo>
                  <a:cubicBezTo>
                    <a:pt x="175" y="320"/>
                    <a:pt x="174" y="318"/>
                    <a:pt x="176" y="314"/>
                  </a:cubicBezTo>
                  <a:cubicBezTo>
                    <a:pt x="179" y="309"/>
                    <a:pt x="177" y="307"/>
                    <a:pt x="181" y="304"/>
                  </a:cubicBezTo>
                  <a:cubicBezTo>
                    <a:pt x="185" y="300"/>
                    <a:pt x="180" y="297"/>
                    <a:pt x="185" y="295"/>
                  </a:cubicBezTo>
                  <a:cubicBezTo>
                    <a:pt x="190" y="293"/>
                    <a:pt x="189" y="297"/>
                    <a:pt x="185" y="302"/>
                  </a:cubicBezTo>
                  <a:cubicBezTo>
                    <a:pt x="181" y="308"/>
                    <a:pt x="180" y="309"/>
                    <a:pt x="186" y="305"/>
                  </a:cubicBezTo>
                  <a:cubicBezTo>
                    <a:pt x="191" y="301"/>
                    <a:pt x="193" y="296"/>
                    <a:pt x="196" y="289"/>
                  </a:cubicBezTo>
                  <a:cubicBezTo>
                    <a:pt x="199" y="283"/>
                    <a:pt x="201" y="281"/>
                    <a:pt x="204" y="281"/>
                  </a:cubicBezTo>
                  <a:cubicBezTo>
                    <a:pt x="207" y="281"/>
                    <a:pt x="207" y="274"/>
                    <a:pt x="206" y="269"/>
                  </a:cubicBezTo>
                  <a:cubicBezTo>
                    <a:pt x="206" y="265"/>
                    <a:pt x="204" y="260"/>
                    <a:pt x="206" y="257"/>
                  </a:cubicBezTo>
                  <a:cubicBezTo>
                    <a:pt x="208" y="254"/>
                    <a:pt x="206" y="251"/>
                    <a:pt x="209" y="251"/>
                  </a:cubicBezTo>
                  <a:cubicBezTo>
                    <a:pt x="211" y="251"/>
                    <a:pt x="215" y="248"/>
                    <a:pt x="219" y="244"/>
                  </a:cubicBezTo>
                  <a:cubicBezTo>
                    <a:pt x="223" y="240"/>
                    <a:pt x="226" y="240"/>
                    <a:pt x="230" y="239"/>
                  </a:cubicBezTo>
                  <a:cubicBezTo>
                    <a:pt x="234" y="239"/>
                    <a:pt x="231" y="237"/>
                    <a:pt x="234" y="237"/>
                  </a:cubicBezTo>
                  <a:cubicBezTo>
                    <a:pt x="237" y="236"/>
                    <a:pt x="239" y="233"/>
                    <a:pt x="240" y="232"/>
                  </a:cubicBezTo>
                  <a:cubicBezTo>
                    <a:pt x="242" y="230"/>
                    <a:pt x="249" y="232"/>
                    <a:pt x="254" y="232"/>
                  </a:cubicBezTo>
                  <a:cubicBezTo>
                    <a:pt x="258" y="232"/>
                    <a:pt x="261" y="232"/>
                    <a:pt x="261" y="230"/>
                  </a:cubicBezTo>
                  <a:cubicBezTo>
                    <a:pt x="261" y="227"/>
                    <a:pt x="263" y="225"/>
                    <a:pt x="265" y="225"/>
                  </a:cubicBezTo>
                  <a:cubicBezTo>
                    <a:pt x="268" y="225"/>
                    <a:pt x="269" y="224"/>
                    <a:pt x="269" y="221"/>
                  </a:cubicBezTo>
                  <a:cubicBezTo>
                    <a:pt x="269" y="217"/>
                    <a:pt x="270" y="215"/>
                    <a:pt x="272" y="213"/>
                  </a:cubicBezTo>
                  <a:cubicBezTo>
                    <a:pt x="274" y="212"/>
                    <a:pt x="275" y="208"/>
                    <a:pt x="275" y="206"/>
                  </a:cubicBezTo>
                  <a:cubicBezTo>
                    <a:pt x="276" y="203"/>
                    <a:pt x="278" y="205"/>
                    <a:pt x="278" y="202"/>
                  </a:cubicBezTo>
                  <a:cubicBezTo>
                    <a:pt x="278" y="198"/>
                    <a:pt x="280" y="194"/>
                    <a:pt x="280" y="192"/>
                  </a:cubicBezTo>
                  <a:cubicBezTo>
                    <a:pt x="280" y="189"/>
                    <a:pt x="282" y="189"/>
                    <a:pt x="284" y="187"/>
                  </a:cubicBezTo>
                  <a:cubicBezTo>
                    <a:pt x="285" y="185"/>
                    <a:pt x="283" y="183"/>
                    <a:pt x="285" y="177"/>
                  </a:cubicBezTo>
                  <a:cubicBezTo>
                    <a:pt x="287" y="172"/>
                    <a:pt x="285" y="167"/>
                    <a:pt x="285" y="162"/>
                  </a:cubicBezTo>
                  <a:cubicBezTo>
                    <a:pt x="285" y="157"/>
                    <a:pt x="285" y="152"/>
                    <a:pt x="286" y="150"/>
                  </a:cubicBezTo>
                  <a:cubicBezTo>
                    <a:pt x="288" y="148"/>
                    <a:pt x="287" y="147"/>
                    <a:pt x="286" y="147"/>
                  </a:cubicBezTo>
                  <a:cubicBezTo>
                    <a:pt x="284" y="146"/>
                    <a:pt x="286" y="144"/>
                    <a:pt x="287" y="144"/>
                  </a:cubicBezTo>
                  <a:cubicBezTo>
                    <a:pt x="288" y="145"/>
                    <a:pt x="290" y="147"/>
                    <a:pt x="292" y="146"/>
                  </a:cubicBezTo>
                  <a:cubicBezTo>
                    <a:pt x="295" y="145"/>
                    <a:pt x="297" y="139"/>
                    <a:pt x="299" y="134"/>
                  </a:cubicBezTo>
                  <a:cubicBezTo>
                    <a:pt x="301" y="129"/>
                    <a:pt x="304" y="129"/>
                    <a:pt x="306" y="128"/>
                  </a:cubicBezTo>
                  <a:cubicBezTo>
                    <a:pt x="309" y="127"/>
                    <a:pt x="314" y="121"/>
                    <a:pt x="318" y="112"/>
                  </a:cubicBezTo>
                  <a:cubicBezTo>
                    <a:pt x="321" y="103"/>
                    <a:pt x="317" y="95"/>
                    <a:pt x="316" y="88"/>
                  </a:cubicBezTo>
                  <a:cubicBezTo>
                    <a:pt x="315" y="82"/>
                    <a:pt x="313" y="84"/>
                    <a:pt x="309" y="84"/>
                  </a:cubicBezTo>
                  <a:cubicBezTo>
                    <a:pt x="305" y="84"/>
                    <a:pt x="299" y="83"/>
                    <a:pt x="290" y="73"/>
                  </a:cubicBezTo>
                  <a:cubicBezTo>
                    <a:pt x="281" y="64"/>
                    <a:pt x="272" y="65"/>
                    <a:pt x="266" y="66"/>
                  </a:cubicBezTo>
                  <a:cubicBezTo>
                    <a:pt x="260" y="68"/>
                    <a:pt x="254" y="63"/>
                    <a:pt x="250" y="62"/>
                  </a:cubicBezTo>
                  <a:cubicBezTo>
                    <a:pt x="246" y="62"/>
                    <a:pt x="243" y="67"/>
                    <a:pt x="240" y="68"/>
                  </a:cubicBezTo>
                  <a:cubicBezTo>
                    <a:pt x="237" y="69"/>
                    <a:pt x="241" y="63"/>
                    <a:pt x="241" y="60"/>
                  </a:cubicBezTo>
                  <a:cubicBezTo>
                    <a:pt x="242" y="57"/>
                    <a:pt x="231" y="52"/>
                    <a:pt x="222" y="48"/>
                  </a:cubicBezTo>
                  <a:cubicBezTo>
                    <a:pt x="214" y="45"/>
                    <a:pt x="211" y="47"/>
                    <a:pt x="211" y="52"/>
                  </a:cubicBezTo>
                  <a:cubicBezTo>
                    <a:pt x="211" y="57"/>
                    <a:pt x="208" y="50"/>
                    <a:pt x="205" y="56"/>
                  </a:cubicBezTo>
                  <a:cubicBezTo>
                    <a:pt x="203" y="62"/>
                    <a:pt x="198" y="58"/>
                    <a:pt x="201" y="56"/>
                  </a:cubicBezTo>
                  <a:cubicBezTo>
                    <a:pt x="204" y="54"/>
                    <a:pt x="207" y="50"/>
                    <a:pt x="208" y="47"/>
                  </a:cubicBezTo>
                  <a:cubicBezTo>
                    <a:pt x="209" y="43"/>
                    <a:pt x="196" y="41"/>
                    <a:pt x="192" y="43"/>
                  </a:cubicBezTo>
                  <a:cubicBezTo>
                    <a:pt x="187" y="44"/>
                    <a:pt x="190" y="51"/>
                    <a:pt x="186" y="49"/>
                  </a:cubicBezTo>
                  <a:cubicBezTo>
                    <a:pt x="183" y="47"/>
                    <a:pt x="186" y="42"/>
                    <a:pt x="189" y="42"/>
                  </a:cubicBezTo>
                  <a:cubicBezTo>
                    <a:pt x="191" y="42"/>
                    <a:pt x="195" y="37"/>
                    <a:pt x="197" y="32"/>
                  </a:cubicBezTo>
                  <a:cubicBezTo>
                    <a:pt x="199" y="28"/>
                    <a:pt x="193" y="27"/>
                    <a:pt x="190" y="24"/>
                  </a:cubicBezTo>
                  <a:cubicBezTo>
                    <a:pt x="187" y="20"/>
                    <a:pt x="188" y="10"/>
                    <a:pt x="184" y="8"/>
                  </a:cubicBezTo>
                  <a:cubicBezTo>
                    <a:pt x="181" y="12"/>
                    <a:pt x="176" y="17"/>
                    <a:pt x="175" y="21"/>
                  </a:cubicBezTo>
                  <a:cubicBezTo>
                    <a:pt x="173" y="26"/>
                    <a:pt x="171" y="23"/>
                    <a:pt x="166" y="25"/>
                  </a:cubicBezTo>
                  <a:cubicBezTo>
                    <a:pt x="162" y="26"/>
                    <a:pt x="160" y="24"/>
                    <a:pt x="158" y="22"/>
                  </a:cubicBezTo>
                  <a:cubicBezTo>
                    <a:pt x="157" y="20"/>
                    <a:pt x="153" y="22"/>
                    <a:pt x="149" y="22"/>
                  </a:cubicBezTo>
                  <a:cubicBezTo>
                    <a:pt x="146" y="22"/>
                    <a:pt x="148" y="26"/>
                    <a:pt x="146" y="27"/>
                  </a:cubicBezTo>
                  <a:cubicBezTo>
                    <a:pt x="144" y="28"/>
                    <a:pt x="138" y="25"/>
                    <a:pt x="136" y="27"/>
                  </a:cubicBezTo>
                  <a:cubicBezTo>
                    <a:pt x="134" y="29"/>
                    <a:pt x="133" y="27"/>
                    <a:pt x="132" y="29"/>
                  </a:cubicBezTo>
                  <a:cubicBezTo>
                    <a:pt x="131" y="31"/>
                    <a:pt x="128" y="30"/>
                    <a:pt x="127" y="31"/>
                  </a:cubicBezTo>
                  <a:cubicBezTo>
                    <a:pt x="126" y="32"/>
                    <a:pt x="123" y="33"/>
                    <a:pt x="118" y="28"/>
                  </a:cubicBezTo>
                  <a:cubicBezTo>
                    <a:pt x="114" y="23"/>
                    <a:pt x="115" y="15"/>
                    <a:pt x="117" y="14"/>
                  </a:cubicBezTo>
                  <a:cubicBezTo>
                    <a:pt x="119" y="12"/>
                    <a:pt x="119" y="8"/>
                    <a:pt x="116" y="7"/>
                  </a:cubicBezTo>
                  <a:cubicBezTo>
                    <a:pt x="113" y="6"/>
                    <a:pt x="116" y="1"/>
                    <a:pt x="112" y="0"/>
                  </a:cubicBezTo>
                  <a:cubicBezTo>
                    <a:pt x="109" y="0"/>
                    <a:pt x="110" y="4"/>
                    <a:pt x="107" y="5"/>
                  </a:cubicBezTo>
                  <a:cubicBezTo>
                    <a:pt x="105" y="5"/>
                    <a:pt x="100" y="9"/>
                    <a:pt x="97" y="9"/>
                  </a:cubicBezTo>
                  <a:cubicBezTo>
                    <a:pt x="95" y="8"/>
                    <a:pt x="92" y="9"/>
                    <a:pt x="92" y="12"/>
                  </a:cubicBezTo>
                  <a:cubicBezTo>
                    <a:pt x="92" y="14"/>
                    <a:pt x="89" y="14"/>
                    <a:pt x="89" y="11"/>
                  </a:cubicBezTo>
                  <a:cubicBezTo>
                    <a:pt x="88" y="9"/>
                    <a:pt x="83" y="10"/>
                    <a:pt x="82" y="9"/>
                  </a:cubicBezTo>
                  <a:cubicBezTo>
                    <a:pt x="80" y="8"/>
                    <a:pt x="74" y="8"/>
                    <a:pt x="76" y="10"/>
                  </a:cubicBezTo>
                  <a:cubicBezTo>
                    <a:pt x="79" y="12"/>
                    <a:pt x="80" y="13"/>
                    <a:pt x="80" y="16"/>
                  </a:cubicBezTo>
                  <a:cubicBezTo>
                    <a:pt x="80" y="19"/>
                    <a:pt x="82" y="18"/>
                    <a:pt x="82" y="21"/>
                  </a:cubicBezTo>
                  <a:cubicBezTo>
                    <a:pt x="82" y="24"/>
                    <a:pt x="84" y="22"/>
                    <a:pt x="86" y="22"/>
                  </a:cubicBezTo>
                  <a:cubicBezTo>
                    <a:pt x="88" y="22"/>
                    <a:pt x="88" y="25"/>
                    <a:pt x="85" y="25"/>
                  </a:cubicBezTo>
                  <a:cubicBezTo>
                    <a:pt x="82" y="26"/>
                    <a:pt x="81" y="27"/>
                    <a:pt x="80" y="30"/>
                  </a:cubicBezTo>
                  <a:cubicBezTo>
                    <a:pt x="80" y="32"/>
                    <a:pt x="77" y="30"/>
                    <a:pt x="75" y="32"/>
                  </a:cubicBezTo>
                  <a:cubicBezTo>
                    <a:pt x="73" y="34"/>
                    <a:pt x="71" y="36"/>
                    <a:pt x="69" y="35"/>
                  </a:cubicBezTo>
                  <a:cubicBezTo>
                    <a:pt x="68" y="34"/>
                    <a:pt x="67" y="35"/>
                    <a:pt x="65" y="36"/>
                  </a:cubicBezTo>
                  <a:cubicBezTo>
                    <a:pt x="63" y="37"/>
                    <a:pt x="63" y="36"/>
                    <a:pt x="60" y="34"/>
                  </a:cubicBezTo>
                  <a:cubicBezTo>
                    <a:pt x="59" y="33"/>
                    <a:pt x="57" y="29"/>
                    <a:pt x="54" y="26"/>
                  </a:cubicBezTo>
                  <a:cubicBezTo>
                    <a:pt x="52" y="27"/>
                    <a:pt x="48" y="28"/>
                    <a:pt x="46" y="28"/>
                  </a:cubicBezTo>
                  <a:cubicBezTo>
                    <a:pt x="43" y="28"/>
                    <a:pt x="35" y="28"/>
                    <a:pt x="34" y="29"/>
                  </a:cubicBezTo>
                  <a:cubicBezTo>
                    <a:pt x="34" y="31"/>
                    <a:pt x="35" y="33"/>
                    <a:pt x="36" y="34"/>
                  </a:cubicBezTo>
                  <a:cubicBezTo>
                    <a:pt x="38" y="34"/>
                    <a:pt x="41" y="35"/>
                    <a:pt x="38" y="37"/>
                  </a:cubicBezTo>
                  <a:cubicBezTo>
                    <a:pt x="35" y="39"/>
                    <a:pt x="32" y="36"/>
                    <a:pt x="32" y="41"/>
                  </a:cubicBezTo>
                  <a:cubicBezTo>
                    <a:pt x="32" y="46"/>
                    <a:pt x="39" y="50"/>
                    <a:pt x="38" y="54"/>
                  </a:cubicBezTo>
                  <a:cubicBezTo>
                    <a:pt x="37" y="57"/>
                    <a:pt x="36" y="63"/>
                    <a:pt x="36" y="65"/>
                  </a:cubicBezTo>
                  <a:cubicBezTo>
                    <a:pt x="36" y="68"/>
                    <a:pt x="35" y="76"/>
                    <a:pt x="33" y="76"/>
                  </a:cubicBezTo>
                  <a:cubicBezTo>
                    <a:pt x="31" y="77"/>
                    <a:pt x="29" y="74"/>
                    <a:pt x="26" y="77"/>
                  </a:cubicBezTo>
                  <a:cubicBezTo>
                    <a:pt x="23" y="79"/>
                    <a:pt x="19" y="78"/>
                    <a:pt x="16" y="80"/>
                  </a:cubicBezTo>
                  <a:cubicBezTo>
                    <a:pt x="13" y="83"/>
                    <a:pt x="9" y="82"/>
                    <a:pt x="9" y="85"/>
                  </a:cubicBezTo>
                  <a:cubicBezTo>
                    <a:pt x="9" y="88"/>
                    <a:pt x="6" y="90"/>
                    <a:pt x="6" y="93"/>
                  </a:cubicBezTo>
                  <a:cubicBezTo>
                    <a:pt x="7" y="95"/>
                    <a:pt x="5" y="95"/>
                    <a:pt x="3" y="97"/>
                  </a:cubicBezTo>
                  <a:cubicBezTo>
                    <a:pt x="1" y="99"/>
                    <a:pt x="3" y="100"/>
                    <a:pt x="2" y="102"/>
                  </a:cubicBezTo>
                  <a:cubicBezTo>
                    <a:pt x="0" y="104"/>
                    <a:pt x="2" y="106"/>
                    <a:pt x="4" y="109"/>
                  </a:cubicBezTo>
                  <a:cubicBezTo>
                    <a:pt x="5" y="112"/>
                    <a:pt x="7" y="114"/>
                    <a:pt x="7" y="116"/>
                  </a:cubicBezTo>
                  <a:cubicBezTo>
                    <a:pt x="7" y="118"/>
                    <a:pt x="9" y="119"/>
                    <a:pt x="11" y="119"/>
                  </a:cubicBezTo>
                  <a:cubicBezTo>
                    <a:pt x="14" y="119"/>
                    <a:pt x="12" y="124"/>
                    <a:pt x="15" y="124"/>
                  </a:cubicBezTo>
                  <a:cubicBezTo>
                    <a:pt x="19" y="124"/>
                    <a:pt x="23" y="124"/>
                    <a:pt x="24" y="122"/>
                  </a:cubicBezTo>
                  <a:cubicBezTo>
                    <a:pt x="25" y="120"/>
                    <a:pt x="28" y="119"/>
                    <a:pt x="28" y="122"/>
                  </a:cubicBezTo>
                  <a:cubicBezTo>
                    <a:pt x="28" y="125"/>
                    <a:pt x="27" y="133"/>
                    <a:pt x="29" y="132"/>
                  </a:cubicBezTo>
                  <a:cubicBezTo>
                    <a:pt x="32" y="131"/>
                    <a:pt x="37" y="131"/>
                    <a:pt x="40" y="132"/>
                  </a:cubicBezTo>
                  <a:cubicBezTo>
                    <a:pt x="43" y="133"/>
                    <a:pt x="45" y="132"/>
                    <a:pt x="47" y="131"/>
                  </a:cubicBezTo>
                  <a:cubicBezTo>
                    <a:pt x="48" y="129"/>
                    <a:pt x="50" y="129"/>
                    <a:pt x="54" y="127"/>
                  </a:cubicBezTo>
                  <a:cubicBezTo>
                    <a:pt x="57" y="125"/>
                    <a:pt x="60" y="123"/>
                    <a:pt x="63" y="123"/>
                  </a:cubicBezTo>
                  <a:cubicBezTo>
                    <a:pt x="66" y="123"/>
                    <a:pt x="72" y="121"/>
                    <a:pt x="71" y="123"/>
                  </a:cubicBezTo>
                  <a:cubicBezTo>
                    <a:pt x="70" y="126"/>
                    <a:pt x="70" y="134"/>
                    <a:pt x="73" y="139"/>
                  </a:cubicBezTo>
                  <a:cubicBezTo>
                    <a:pt x="77" y="143"/>
                    <a:pt x="79" y="145"/>
                    <a:pt x="83" y="145"/>
                  </a:cubicBezTo>
                  <a:cubicBezTo>
                    <a:pt x="87" y="144"/>
                    <a:pt x="86" y="146"/>
                    <a:pt x="89" y="146"/>
                  </a:cubicBezTo>
                  <a:cubicBezTo>
                    <a:pt x="91" y="146"/>
                    <a:pt x="90" y="149"/>
                    <a:pt x="92" y="149"/>
                  </a:cubicBezTo>
                  <a:cubicBezTo>
                    <a:pt x="94" y="149"/>
                    <a:pt x="99" y="149"/>
                    <a:pt x="99" y="152"/>
                  </a:cubicBezTo>
                  <a:cubicBezTo>
                    <a:pt x="99" y="154"/>
                    <a:pt x="106" y="152"/>
                    <a:pt x="107" y="154"/>
                  </a:cubicBezTo>
                  <a:cubicBezTo>
                    <a:pt x="109" y="155"/>
                    <a:pt x="111" y="156"/>
                    <a:pt x="111" y="159"/>
                  </a:cubicBezTo>
                  <a:cubicBezTo>
                    <a:pt x="110" y="162"/>
                    <a:pt x="114" y="164"/>
                    <a:pt x="112" y="165"/>
                  </a:cubicBezTo>
                  <a:cubicBezTo>
                    <a:pt x="109" y="167"/>
                    <a:pt x="112" y="169"/>
                    <a:pt x="113" y="172"/>
                  </a:cubicBezTo>
                  <a:cubicBezTo>
                    <a:pt x="113" y="175"/>
                    <a:pt x="116" y="176"/>
                    <a:pt x="121" y="176"/>
                  </a:cubicBezTo>
                  <a:cubicBezTo>
                    <a:pt x="127" y="176"/>
                    <a:pt x="128" y="176"/>
                    <a:pt x="128" y="180"/>
                  </a:cubicBezTo>
                  <a:cubicBezTo>
                    <a:pt x="128" y="184"/>
                    <a:pt x="132" y="184"/>
                    <a:pt x="133" y="188"/>
                  </a:cubicBezTo>
                  <a:cubicBezTo>
                    <a:pt x="134" y="192"/>
                    <a:pt x="131" y="196"/>
                    <a:pt x="132" y="198"/>
                  </a:cubicBezTo>
                  <a:cubicBezTo>
                    <a:pt x="132" y="201"/>
                    <a:pt x="131" y="203"/>
                    <a:pt x="130" y="204"/>
                  </a:cubicBezTo>
                  <a:cubicBezTo>
                    <a:pt x="131" y="206"/>
                    <a:pt x="131" y="207"/>
                    <a:pt x="130" y="208"/>
                  </a:cubicBezTo>
                  <a:cubicBezTo>
                    <a:pt x="128" y="209"/>
                    <a:pt x="133" y="213"/>
                    <a:pt x="131" y="218"/>
                  </a:cubicBezTo>
                  <a:cubicBezTo>
                    <a:pt x="130" y="223"/>
                    <a:pt x="130" y="224"/>
                    <a:pt x="135" y="225"/>
                  </a:cubicBezTo>
                  <a:cubicBezTo>
                    <a:pt x="141" y="225"/>
                    <a:pt x="140" y="227"/>
                    <a:pt x="142" y="225"/>
                  </a:cubicBezTo>
                  <a:cubicBezTo>
                    <a:pt x="144" y="224"/>
                    <a:pt x="147" y="229"/>
                    <a:pt x="148" y="232"/>
                  </a:cubicBezTo>
                  <a:cubicBezTo>
                    <a:pt x="149" y="235"/>
                    <a:pt x="151" y="241"/>
                    <a:pt x="152" y="241"/>
                  </a:cubicBezTo>
                  <a:cubicBezTo>
                    <a:pt x="153" y="241"/>
                    <a:pt x="156" y="238"/>
                    <a:pt x="159" y="240"/>
                  </a:cubicBezTo>
                  <a:cubicBezTo>
                    <a:pt x="161" y="241"/>
                    <a:pt x="158" y="250"/>
                    <a:pt x="158" y="254"/>
                  </a:cubicBezTo>
                  <a:cubicBezTo>
                    <a:pt x="160" y="254"/>
                    <a:pt x="162" y="254"/>
                    <a:pt x="163" y="254"/>
                  </a:cubicBezTo>
                  <a:cubicBezTo>
                    <a:pt x="165" y="255"/>
                    <a:pt x="165" y="265"/>
                    <a:pt x="165" y="267"/>
                  </a:cubicBezTo>
                  <a:cubicBezTo>
                    <a:pt x="164" y="268"/>
                    <a:pt x="158" y="270"/>
                    <a:pt x="155" y="272"/>
                  </a:cubicBezTo>
                  <a:cubicBezTo>
                    <a:pt x="152" y="274"/>
                    <a:pt x="144" y="281"/>
                    <a:pt x="141" y="287"/>
                  </a:cubicBezTo>
                  <a:cubicBezTo>
                    <a:pt x="139" y="290"/>
                    <a:pt x="136" y="293"/>
                    <a:pt x="134" y="295"/>
                  </a:cubicBezTo>
                  <a:cubicBezTo>
                    <a:pt x="135" y="295"/>
                    <a:pt x="136" y="295"/>
                    <a:pt x="136" y="295"/>
                  </a:cubicBezTo>
                  <a:cubicBezTo>
                    <a:pt x="138" y="294"/>
                    <a:pt x="140" y="294"/>
                    <a:pt x="143" y="297"/>
                  </a:cubicBezTo>
                  <a:cubicBezTo>
                    <a:pt x="146" y="301"/>
                    <a:pt x="146" y="303"/>
                    <a:pt x="147" y="303"/>
                  </a:cubicBezTo>
                  <a:cubicBezTo>
                    <a:pt x="148" y="303"/>
                    <a:pt x="149" y="299"/>
                    <a:pt x="151" y="302"/>
                  </a:cubicBezTo>
                  <a:cubicBezTo>
                    <a:pt x="153" y="305"/>
                    <a:pt x="159" y="307"/>
                    <a:pt x="160" y="309"/>
                  </a:cubicBezTo>
                  <a:cubicBezTo>
                    <a:pt x="161" y="310"/>
                    <a:pt x="166" y="311"/>
                    <a:pt x="166" y="315"/>
                  </a:cubicBezTo>
                  <a:cubicBezTo>
                    <a:pt x="166" y="318"/>
                    <a:pt x="164" y="323"/>
                    <a:pt x="166" y="327"/>
                  </a:cubicBezTo>
                  <a:cubicBezTo>
                    <a:pt x="168" y="326"/>
                    <a:pt x="169" y="325"/>
                    <a:pt x="170" y="324"/>
                  </a:cubicBezTo>
                  <a:close/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126">
              <a:extLst>
                <a:ext uri="{FF2B5EF4-FFF2-40B4-BE49-F238E27FC236}">
                  <a16:creationId xmlns:a16="http://schemas.microsoft.com/office/drawing/2014/main" id="{848972A3-EB5C-4BEF-B7CA-8E392D2607A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6495" y="1693331"/>
              <a:ext cx="2040510" cy="1572602"/>
            </a:xfrm>
            <a:custGeom>
              <a:avLst/>
              <a:gdLst>
                <a:gd name="T0" fmla="*/ 147 w 717"/>
                <a:gd name="T1" fmla="*/ 487 h 552"/>
                <a:gd name="T2" fmla="*/ 135 w 717"/>
                <a:gd name="T3" fmla="*/ 162 h 552"/>
                <a:gd name="T4" fmla="*/ 276 w 717"/>
                <a:gd name="T5" fmla="*/ 179 h 552"/>
                <a:gd name="T6" fmla="*/ 183 w 717"/>
                <a:gd name="T7" fmla="*/ 192 h 552"/>
                <a:gd name="T8" fmla="*/ 276 w 717"/>
                <a:gd name="T9" fmla="*/ 239 h 552"/>
                <a:gd name="T10" fmla="*/ 169 w 717"/>
                <a:gd name="T11" fmla="*/ 138 h 552"/>
                <a:gd name="T12" fmla="*/ 149 w 717"/>
                <a:gd name="T13" fmla="*/ 132 h 552"/>
                <a:gd name="T14" fmla="*/ 264 w 717"/>
                <a:gd name="T15" fmla="*/ 152 h 552"/>
                <a:gd name="T16" fmla="*/ 212 w 717"/>
                <a:gd name="T17" fmla="*/ 103 h 552"/>
                <a:gd name="T18" fmla="*/ 295 w 717"/>
                <a:gd name="T19" fmla="*/ 85 h 552"/>
                <a:gd name="T20" fmla="*/ 297 w 717"/>
                <a:gd name="T21" fmla="*/ 115 h 552"/>
                <a:gd name="T22" fmla="*/ 300 w 717"/>
                <a:gd name="T23" fmla="*/ 132 h 552"/>
                <a:gd name="T24" fmla="*/ 387 w 717"/>
                <a:gd name="T25" fmla="*/ 105 h 552"/>
                <a:gd name="T26" fmla="*/ 351 w 717"/>
                <a:gd name="T27" fmla="*/ 166 h 552"/>
                <a:gd name="T28" fmla="*/ 490 w 717"/>
                <a:gd name="T29" fmla="*/ 157 h 552"/>
                <a:gd name="T30" fmla="*/ 414 w 717"/>
                <a:gd name="T31" fmla="*/ 108 h 552"/>
                <a:gd name="T32" fmla="*/ 427 w 717"/>
                <a:gd name="T33" fmla="*/ 60 h 552"/>
                <a:gd name="T34" fmla="*/ 419 w 717"/>
                <a:gd name="T35" fmla="*/ 47 h 552"/>
                <a:gd name="T36" fmla="*/ 453 w 717"/>
                <a:gd name="T37" fmla="*/ 86 h 552"/>
                <a:gd name="T38" fmla="*/ 498 w 717"/>
                <a:gd name="T39" fmla="*/ 129 h 552"/>
                <a:gd name="T40" fmla="*/ 567 w 717"/>
                <a:gd name="T41" fmla="*/ 62 h 552"/>
                <a:gd name="T42" fmla="*/ 542 w 717"/>
                <a:gd name="T43" fmla="*/ 7 h 552"/>
                <a:gd name="T44" fmla="*/ 406 w 717"/>
                <a:gd name="T45" fmla="*/ 33 h 552"/>
                <a:gd name="T46" fmla="*/ 445 w 717"/>
                <a:gd name="T47" fmla="*/ 314 h 552"/>
                <a:gd name="T48" fmla="*/ 590 w 717"/>
                <a:gd name="T49" fmla="*/ 243 h 552"/>
                <a:gd name="T50" fmla="*/ 532 w 717"/>
                <a:gd name="T51" fmla="*/ 194 h 552"/>
                <a:gd name="T52" fmla="*/ 445 w 717"/>
                <a:gd name="T53" fmla="*/ 179 h 552"/>
                <a:gd name="T54" fmla="*/ 503 w 717"/>
                <a:gd name="T55" fmla="*/ 220 h 552"/>
                <a:gd name="T56" fmla="*/ 525 w 717"/>
                <a:gd name="T57" fmla="*/ 292 h 552"/>
                <a:gd name="T58" fmla="*/ 606 w 717"/>
                <a:gd name="T59" fmla="*/ 299 h 552"/>
                <a:gd name="T60" fmla="*/ 487 w 717"/>
                <a:gd name="T61" fmla="*/ 172 h 552"/>
                <a:gd name="T62" fmla="*/ 687 w 717"/>
                <a:gd name="T63" fmla="*/ 458 h 552"/>
                <a:gd name="T64" fmla="*/ 79 w 717"/>
                <a:gd name="T65" fmla="*/ 449 h 552"/>
                <a:gd name="T66" fmla="*/ 586 w 717"/>
                <a:gd name="T67" fmla="*/ 490 h 552"/>
                <a:gd name="T68" fmla="*/ 687 w 717"/>
                <a:gd name="T69" fmla="*/ 434 h 552"/>
                <a:gd name="T70" fmla="*/ 639 w 717"/>
                <a:gd name="T71" fmla="*/ 400 h 552"/>
                <a:gd name="T72" fmla="*/ 602 w 717"/>
                <a:gd name="T73" fmla="*/ 377 h 552"/>
                <a:gd name="T74" fmla="*/ 544 w 717"/>
                <a:gd name="T75" fmla="*/ 330 h 552"/>
                <a:gd name="T76" fmla="*/ 519 w 717"/>
                <a:gd name="T77" fmla="*/ 387 h 552"/>
                <a:gd name="T78" fmla="*/ 475 w 717"/>
                <a:gd name="T79" fmla="*/ 441 h 552"/>
                <a:gd name="T80" fmla="*/ 384 w 717"/>
                <a:gd name="T81" fmla="*/ 375 h 552"/>
                <a:gd name="T82" fmla="*/ 413 w 717"/>
                <a:gd name="T83" fmla="*/ 307 h 552"/>
                <a:gd name="T84" fmla="*/ 463 w 717"/>
                <a:gd name="T85" fmla="*/ 276 h 552"/>
                <a:gd name="T86" fmla="*/ 454 w 717"/>
                <a:gd name="T87" fmla="*/ 242 h 552"/>
                <a:gd name="T88" fmla="*/ 414 w 717"/>
                <a:gd name="T89" fmla="*/ 245 h 552"/>
                <a:gd name="T90" fmla="*/ 383 w 717"/>
                <a:gd name="T91" fmla="*/ 194 h 552"/>
                <a:gd name="T92" fmla="*/ 369 w 717"/>
                <a:gd name="T93" fmla="*/ 208 h 552"/>
                <a:gd name="T94" fmla="*/ 362 w 717"/>
                <a:gd name="T95" fmla="*/ 260 h 552"/>
                <a:gd name="T96" fmla="*/ 351 w 717"/>
                <a:gd name="T97" fmla="*/ 249 h 552"/>
                <a:gd name="T98" fmla="*/ 285 w 717"/>
                <a:gd name="T99" fmla="*/ 249 h 552"/>
                <a:gd name="T100" fmla="*/ 191 w 717"/>
                <a:gd name="T101" fmla="*/ 242 h 552"/>
                <a:gd name="T102" fmla="*/ 69 w 717"/>
                <a:gd name="T103" fmla="*/ 243 h 552"/>
                <a:gd name="T104" fmla="*/ 34 w 717"/>
                <a:gd name="T105" fmla="*/ 243 h 552"/>
                <a:gd name="T106" fmla="*/ 91 w 717"/>
                <a:gd name="T107" fmla="*/ 420 h 552"/>
                <a:gd name="T108" fmla="*/ 130 w 717"/>
                <a:gd name="T109" fmla="*/ 470 h 552"/>
                <a:gd name="T110" fmla="*/ 444 w 717"/>
                <a:gd name="T111" fmla="*/ 492 h 552"/>
                <a:gd name="T112" fmla="*/ 500 w 717"/>
                <a:gd name="T113" fmla="*/ 546 h 552"/>
                <a:gd name="T114" fmla="*/ 618 w 717"/>
                <a:gd name="T115" fmla="*/ 515 h 552"/>
                <a:gd name="T116" fmla="*/ 173 w 717"/>
                <a:gd name="T117" fmla="*/ 290 h 552"/>
                <a:gd name="T118" fmla="*/ 172 w 717"/>
                <a:gd name="T119" fmla="*/ 280 h 552"/>
                <a:gd name="T120" fmla="*/ 359 w 717"/>
                <a:gd name="T121" fmla="*/ 468 h 5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17" h="552">
                  <a:moveTo>
                    <a:pt x="142" y="484"/>
                  </a:moveTo>
                  <a:cubicBezTo>
                    <a:pt x="139" y="482"/>
                    <a:pt x="133" y="482"/>
                    <a:pt x="132" y="480"/>
                  </a:cubicBezTo>
                  <a:cubicBezTo>
                    <a:pt x="131" y="478"/>
                    <a:pt x="126" y="469"/>
                    <a:pt x="123" y="469"/>
                  </a:cubicBezTo>
                  <a:cubicBezTo>
                    <a:pt x="120" y="470"/>
                    <a:pt x="116" y="470"/>
                    <a:pt x="112" y="467"/>
                  </a:cubicBezTo>
                  <a:cubicBezTo>
                    <a:pt x="109" y="464"/>
                    <a:pt x="106" y="464"/>
                    <a:pt x="104" y="466"/>
                  </a:cubicBezTo>
                  <a:cubicBezTo>
                    <a:pt x="101" y="467"/>
                    <a:pt x="107" y="468"/>
                    <a:pt x="106" y="470"/>
                  </a:cubicBezTo>
                  <a:cubicBezTo>
                    <a:pt x="106" y="471"/>
                    <a:pt x="108" y="472"/>
                    <a:pt x="110" y="472"/>
                  </a:cubicBezTo>
                  <a:cubicBezTo>
                    <a:pt x="112" y="472"/>
                    <a:pt x="114" y="476"/>
                    <a:pt x="116" y="476"/>
                  </a:cubicBezTo>
                  <a:cubicBezTo>
                    <a:pt x="118" y="477"/>
                    <a:pt x="119" y="480"/>
                    <a:pt x="121" y="480"/>
                  </a:cubicBezTo>
                  <a:cubicBezTo>
                    <a:pt x="124" y="480"/>
                    <a:pt x="124" y="483"/>
                    <a:pt x="125" y="484"/>
                  </a:cubicBezTo>
                  <a:cubicBezTo>
                    <a:pt x="127" y="486"/>
                    <a:pt x="129" y="485"/>
                    <a:pt x="129" y="486"/>
                  </a:cubicBezTo>
                  <a:cubicBezTo>
                    <a:pt x="129" y="488"/>
                    <a:pt x="132" y="489"/>
                    <a:pt x="133" y="491"/>
                  </a:cubicBezTo>
                  <a:cubicBezTo>
                    <a:pt x="138" y="491"/>
                    <a:pt x="142" y="492"/>
                    <a:pt x="146" y="491"/>
                  </a:cubicBezTo>
                  <a:cubicBezTo>
                    <a:pt x="146" y="490"/>
                    <a:pt x="146" y="488"/>
                    <a:pt x="147" y="487"/>
                  </a:cubicBezTo>
                  <a:cubicBezTo>
                    <a:pt x="148" y="485"/>
                    <a:pt x="144" y="487"/>
                    <a:pt x="142" y="484"/>
                  </a:cubicBezTo>
                  <a:close/>
                  <a:moveTo>
                    <a:pt x="135" y="201"/>
                  </a:moveTo>
                  <a:cubicBezTo>
                    <a:pt x="142" y="202"/>
                    <a:pt x="143" y="214"/>
                    <a:pt x="147" y="214"/>
                  </a:cubicBezTo>
                  <a:cubicBezTo>
                    <a:pt x="150" y="214"/>
                    <a:pt x="148" y="210"/>
                    <a:pt x="152" y="210"/>
                  </a:cubicBezTo>
                  <a:cubicBezTo>
                    <a:pt x="157" y="210"/>
                    <a:pt x="156" y="208"/>
                    <a:pt x="160" y="208"/>
                  </a:cubicBezTo>
                  <a:cubicBezTo>
                    <a:pt x="164" y="208"/>
                    <a:pt x="168" y="207"/>
                    <a:pt x="168" y="202"/>
                  </a:cubicBezTo>
                  <a:cubicBezTo>
                    <a:pt x="168" y="197"/>
                    <a:pt x="171" y="195"/>
                    <a:pt x="175" y="194"/>
                  </a:cubicBezTo>
                  <a:cubicBezTo>
                    <a:pt x="180" y="193"/>
                    <a:pt x="176" y="188"/>
                    <a:pt x="182" y="186"/>
                  </a:cubicBezTo>
                  <a:cubicBezTo>
                    <a:pt x="188" y="185"/>
                    <a:pt x="205" y="178"/>
                    <a:pt x="208" y="176"/>
                  </a:cubicBezTo>
                  <a:cubicBezTo>
                    <a:pt x="210" y="173"/>
                    <a:pt x="204" y="171"/>
                    <a:pt x="198" y="167"/>
                  </a:cubicBezTo>
                  <a:cubicBezTo>
                    <a:pt x="191" y="163"/>
                    <a:pt x="186" y="162"/>
                    <a:pt x="181" y="165"/>
                  </a:cubicBezTo>
                  <a:cubicBezTo>
                    <a:pt x="176" y="168"/>
                    <a:pt x="180" y="161"/>
                    <a:pt x="176" y="163"/>
                  </a:cubicBezTo>
                  <a:cubicBezTo>
                    <a:pt x="172" y="165"/>
                    <a:pt x="162" y="160"/>
                    <a:pt x="160" y="158"/>
                  </a:cubicBezTo>
                  <a:cubicBezTo>
                    <a:pt x="159" y="157"/>
                    <a:pt x="139" y="162"/>
                    <a:pt x="135" y="162"/>
                  </a:cubicBezTo>
                  <a:cubicBezTo>
                    <a:pt x="130" y="162"/>
                    <a:pt x="135" y="167"/>
                    <a:pt x="138" y="170"/>
                  </a:cubicBezTo>
                  <a:cubicBezTo>
                    <a:pt x="142" y="172"/>
                    <a:pt x="130" y="180"/>
                    <a:pt x="133" y="182"/>
                  </a:cubicBezTo>
                  <a:cubicBezTo>
                    <a:pt x="135" y="184"/>
                    <a:pt x="130" y="188"/>
                    <a:pt x="125" y="194"/>
                  </a:cubicBezTo>
                  <a:cubicBezTo>
                    <a:pt x="120" y="200"/>
                    <a:pt x="129" y="199"/>
                    <a:pt x="135" y="201"/>
                  </a:cubicBezTo>
                  <a:close/>
                  <a:moveTo>
                    <a:pt x="314" y="230"/>
                  </a:moveTo>
                  <a:cubicBezTo>
                    <a:pt x="316" y="228"/>
                    <a:pt x="325" y="235"/>
                    <a:pt x="325" y="230"/>
                  </a:cubicBezTo>
                  <a:cubicBezTo>
                    <a:pt x="326" y="224"/>
                    <a:pt x="315" y="222"/>
                    <a:pt x="311" y="219"/>
                  </a:cubicBezTo>
                  <a:cubicBezTo>
                    <a:pt x="307" y="216"/>
                    <a:pt x="305" y="218"/>
                    <a:pt x="298" y="213"/>
                  </a:cubicBezTo>
                  <a:cubicBezTo>
                    <a:pt x="291" y="208"/>
                    <a:pt x="300" y="205"/>
                    <a:pt x="295" y="201"/>
                  </a:cubicBezTo>
                  <a:cubicBezTo>
                    <a:pt x="290" y="197"/>
                    <a:pt x="288" y="187"/>
                    <a:pt x="292" y="183"/>
                  </a:cubicBezTo>
                  <a:cubicBezTo>
                    <a:pt x="295" y="179"/>
                    <a:pt x="299" y="174"/>
                    <a:pt x="293" y="172"/>
                  </a:cubicBezTo>
                  <a:cubicBezTo>
                    <a:pt x="286" y="169"/>
                    <a:pt x="276" y="174"/>
                    <a:pt x="277" y="175"/>
                  </a:cubicBezTo>
                  <a:cubicBezTo>
                    <a:pt x="278" y="177"/>
                    <a:pt x="287" y="182"/>
                    <a:pt x="287" y="184"/>
                  </a:cubicBezTo>
                  <a:cubicBezTo>
                    <a:pt x="287" y="186"/>
                    <a:pt x="279" y="178"/>
                    <a:pt x="276" y="179"/>
                  </a:cubicBezTo>
                  <a:cubicBezTo>
                    <a:pt x="273" y="181"/>
                    <a:pt x="270" y="176"/>
                    <a:pt x="267" y="179"/>
                  </a:cubicBezTo>
                  <a:cubicBezTo>
                    <a:pt x="265" y="183"/>
                    <a:pt x="271" y="195"/>
                    <a:pt x="273" y="199"/>
                  </a:cubicBezTo>
                  <a:cubicBezTo>
                    <a:pt x="275" y="203"/>
                    <a:pt x="271" y="203"/>
                    <a:pt x="268" y="203"/>
                  </a:cubicBezTo>
                  <a:cubicBezTo>
                    <a:pt x="265" y="204"/>
                    <a:pt x="265" y="193"/>
                    <a:pt x="262" y="189"/>
                  </a:cubicBezTo>
                  <a:cubicBezTo>
                    <a:pt x="259" y="185"/>
                    <a:pt x="247" y="181"/>
                    <a:pt x="247" y="184"/>
                  </a:cubicBezTo>
                  <a:cubicBezTo>
                    <a:pt x="246" y="187"/>
                    <a:pt x="254" y="187"/>
                    <a:pt x="253" y="190"/>
                  </a:cubicBezTo>
                  <a:cubicBezTo>
                    <a:pt x="252" y="194"/>
                    <a:pt x="247" y="188"/>
                    <a:pt x="244" y="191"/>
                  </a:cubicBezTo>
                  <a:cubicBezTo>
                    <a:pt x="240" y="194"/>
                    <a:pt x="240" y="192"/>
                    <a:pt x="241" y="189"/>
                  </a:cubicBezTo>
                  <a:cubicBezTo>
                    <a:pt x="242" y="186"/>
                    <a:pt x="235" y="182"/>
                    <a:pt x="228" y="183"/>
                  </a:cubicBezTo>
                  <a:cubicBezTo>
                    <a:pt x="221" y="184"/>
                    <a:pt x="225" y="189"/>
                    <a:pt x="223" y="190"/>
                  </a:cubicBezTo>
                  <a:cubicBezTo>
                    <a:pt x="221" y="192"/>
                    <a:pt x="210" y="189"/>
                    <a:pt x="217" y="188"/>
                  </a:cubicBezTo>
                  <a:cubicBezTo>
                    <a:pt x="224" y="187"/>
                    <a:pt x="221" y="183"/>
                    <a:pt x="218" y="179"/>
                  </a:cubicBezTo>
                  <a:cubicBezTo>
                    <a:pt x="216" y="175"/>
                    <a:pt x="209" y="179"/>
                    <a:pt x="198" y="183"/>
                  </a:cubicBezTo>
                  <a:cubicBezTo>
                    <a:pt x="187" y="187"/>
                    <a:pt x="182" y="192"/>
                    <a:pt x="183" y="192"/>
                  </a:cubicBezTo>
                  <a:cubicBezTo>
                    <a:pt x="185" y="192"/>
                    <a:pt x="185" y="194"/>
                    <a:pt x="181" y="198"/>
                  </a:cubicBezTo>
                  <a:cubicBezTo>
                    <a:pt x="176" y="201"/>
                    <a:pt x="181" y="204"/>
                    <a:pt x="185" y="204"/>
                  </a:cubicBezTo>
                  <a:cubicBezTo>
                    <a:pt x="189" y="204"/>
                    <a:pt x="185" y="208"/>
                    <a:pt x="188" y="208"/>
                  </a:cubicBezTo>
                  <a:cubicBezTo>
                    <a:pt x="190" y="209"/>
                    <a:pt x="203" y="203"/>
                    <a:pt x="207" y="206"/>
                  </a:cubicBezTo>
                  <a:cubicBezTo>
                    <a:pt x="210" y="208"/>
                    <a:pt x="186" y="210"/>
                    <a:pt x="186" y="214"/>
                  </a:cubicBezTo>
                  <a:cubicBezTo>
                    <a:pt x="186" y="218"/>
                    <a:pt x="199" y="221"/>
                    <a:pt x="209" y="219"/>
                  </a:cubicBezTo>
                  <a:cubicBezTo>
                    <a:pt x="219" y="217"/>
                    <a:pt x="237" y="220"/>
                    <a:pt x="237" y="223"/>
                  </a:cubicBezTo>
                  <a:cubicBezTo>
                    <a:pt x="237" y="225"/>
                    <a:pt x="225" y="225"/>
                    <a:pt x="216" y="224"/>
                  </a:cubicBezTo>
                  <a:cubicBezTo>
                    <a:pt x="207" y="224"/>
                    <a:pt x="192" y="227"/>
                    <a:pt x="193" y="230"/>
                  </a:cubicBezTo>
                  <a:cubicBezTo>
                    <a:pt x="193" y="233"/>
                    <a:pt x="194" y="233"/>
                    <a:pt x="204" y="237"/>
                  </a:cubicBezTo>
                  <a:cubicBezTo>
                    <a:pt x="213" y="241"/>
                    <a:pt x="222" y="235"/>
                    <a:pt x="222" y="241"/>
                  </a:cubicBezTo>
                  <a:cubicBezTo>
                    <a:pt x="222" y="247"/>
                    <a:pt x="227" y="249"/>
                    <a:pt x="240" y="249"/>
                  </a:cubicBezTo>
                  <a:cubicBezTo>
                    <a:pt x="252" y="249"/>
                    <a:pt x="258" y="243"/>
                    <a:pt x="264" y="244"/>
                  </a:cubicBezTo>
                  <a:cubicBezTo>
                    <a:pt x="270" y="244"/>
                    <a:pt x="273" y="243"/>
                    <a:pt x="276" y="239"/>
                  </a:cubicBezTo>
                  <a:cubicBezTo>
                    <a:pt x="278" y="234"/>
                    <a:pt x="281" y="237"/>
                    <a:pt x="282" y="239"/>
                  </a:cubicBezTo>
                  <a:cubicBezTo>
                    <a:pt x="282" y="241"/>
                    <a:pt x="290" y="241"/>
                    <a:pt x="292" y="243"/>
                  </a:cubicBezTo>
                  <a:cubicBezTo>
                    <a:pt x="297" y="247"/>
                    <a:pt x="312" y="246"/>
                    <a:pt x="317" y="243"/>
                  </a:cubicBezTo>
                  <a:cubicBezTo>
                    <a:pt x="323" y="240"/>
                    <a:pt x="315" y="232"/>
                    <a:pt x="312" y="236"/>
                  </a:cubicBezTo>
                  <a:cubicBezTo>
                    <a:pt x="309" y="239"/>
                    <a:pt x="307" y="237"/>
                    <a:pt x="306" y="235"/>
                  </a:cubicBezTo>
                  <a:cubicBezTo>
                    <a:pt x="305" y="234"/>
                    <a:pt x="312" y="233"/>
                    <a:pt x="314" y="230"/>
                  </a:cubicBezTo>
                  <a:close/>
                  <a:moveTo>
                    <a:pt x="178" y="142"/>
                  </a:moveTo>
                  <a:cubicBezTo>
                    <a:pt x="185" y="143"/>
                    <a:pt x="191" y="137"/>
                    <a:pt x="191" y="134"/>
                  </a:cubicBezTo>
                  <a:cubicBezTo>
                    <a:pt x="190" y="131"/>
                    <a:pt x="175" y="142"/>
                    <a:pt x="178" y="142"/>
                  </a:cubicBezTo>
                  <a:close/>
                  <a:moveTo>
                    <a:pt x="149" y="132"/>
                  </a:moveTo>
                  <a:cubicBezTo>
                    <a:pt x="151" y="133"/>
                    <a:pt x="149" y="138"/>
                    <a:pt x="152" y="137"/>
                  </a:cubicBezTo>
                  <a:cubicBezTo>
                    <a:pt x="154" y="136"/>
                    <a:pt x="155" y="135"/>
                    <a:pt x="157" y="136"/>
                  </a:cubicBezTo>
                  <a:cubicBezTo>
                    <a:pt x="161" y="137"/>
                    <a:pt x="162" y="134"/>
                    <a:pt x="164" y="132"/>
                  </a:cubicBezTo>
                  <a:cubicBezTo>
                    <a:pt x="165" y="130"/>
                    <a:pt x="165" y="138"/>
                    <a:pt x="169" y="138"/>
                  </a:cubicBezTo>
                  <a:cubicBezTo>
                    <a:pt x="173" y="138"/>
                    <a:pt x="173" y="130"/>
                    <a:pt x="176" y="132"/>
                  </a:cubicBezTo>
                  <a:cubicBezTo>
                    <a:pt x="180" y="135"/>
                    <a:pt x="181" y="131"/>
                    <a:pt x="181" y="129"/>
                  </a:cubicBezTo>
                  <a:cubicBezTo>
                    <a:pt x="182" y="126"/>
                    <a:pt x="182" y="122"/>
                    <a:pt x="186" y="121"/>
                  </a:cubicBezTo>
                  <a:cubicBezTo>
                    <a:pt x="190" y="121"/>
                    <a:pt x="187" y="125"/>
                    <a:pt x="189" y="128"/>
                  </a:cubicBezTo>
                  <a:cubicBezTo>
                    <a:pt x="191" y="133"/>
                    <a:pt x="196" y="129"/>
                    <a:pt x="196" y="127"/>
                  </a:cubicBezTo>
                  <a:cubicBezTo>
                    <a:pt x="196" y="124"/>
                    <a:pt x="203" y="126"/>
                    <a:pt x="203" y="123"/>
                  </a:cubicBezTo>
                  <a:cubicBezTo>
                    <a:pt x="202" y="121"/>
                    <a:pt x="204" y="120"/>
                    <a:pt x="203" y="117"/>
                  </a:cubicBezTo>
                  <a:cubicBezTo>
                    <a:pt x="201" y="115"/>
                    <a:pt x="205" y="115"/>
                    <a:pt x="208" y="113"/>
                  </a:cubicBezTo>
                  <a:cubicBezTo>
                    <a:pt x="210" y="111"/>
                    <a:pt x="205" y="113"/>
                    <a:pt x="201" y="110"/>
                  </a:cubicBezTo>
                  <a:cubicBezTo>
                    <a:pt x="198" y="106"/>
                    <a:pt x="196" y="111"/>
                    <a:pt x="196" y="113"/>
                  </a:cubicBezTo>
                  <a:cubicBezTo>
                    <a:pt x="196" y="115"/>
                    <a:pt x="189" y="113"/>
                    <a:pt x="185" y="112"/>
                  </a:cubicBezTo>
                  <a:cubicBezTo>
                    <a:pt x="181" y="110"/>
                    <a:pt x="176" y="116"/>
                    <a:pt x="171" y="119"/>
                  </a:cubicBezTo>
                  <a:cubicBezTo>
                    <a:pt x="165" y="122"/>
                    <a:pt x="165" y="127"/>
                    <a:pt x="159" y="127"/>
                  </a:cubicBezTo>
                  <a:cubicBezTo>
                    <a:pt x="154" y="126"/>
                    <a:pt x="146" y="131"/>
                    <a:pt x="149" y="132"/>
                  </a:cubicBezTo>
                  <a:close/>
                  <a:moveTo>
                    <a:pt x="204" y="131"/>
                  </a:moveTo>
                  <a:cubicBezTo>
                    <a:pt x="199" y="131"/>
                    <a:pt x="200" y="136"/>
                    <a:pt x="205" y="136"/>
                  </a:cubicBezTo>
                  <a:cubicBezTo>
                    <a:pt x="211" y="136"/>
                    <a:pt x="213" y="138"/>
                    <a:pt x="205" y="137"/>
                  </a:cubicBezTo>
                  <a:cubicBezTo>
                    <a:pt x="196" y="137"/>
                    <a:pt x="193" y="144"/>
                    <a:pt x="199" y="143"/>
                  </a:cubicBezTo>
                  <a:cubicBezTo>
                    <a:pt x="204" y="141"/>
                    <a:pt x="211" y="141"/>
                    <a:pt x="207" y="143"/>
                  </a:cubicBezTo>
                  <a:cubicBezTo>
                    <a:pt x="203" y="144"/>
                    <a:pt x="191" y="145"/>
                    <a:pt x="193" y="147"/>
                  </a:cubicBezTo>
                  <a:cubicBezTo>
                    <a:pt x="194" y="149"/>
                    <a:pt x="198" y="148"/>
                    <a:pt x="203" y="150"/>
                  </a:cubicBezTo>
                  <a:cubicBezTo>
                    <a:pt x="208" y="152"/>
                    <a:pt x="210" y="153"/>
                    <a:pt x="214" y="149"/>
                  </a:cubicBezTo>
                  <a:cubicBezTo>
                    <a:pt x="218" y="145"/>
                    <a:pt x="222" y="141"/>
                    <a:pt x="220" y="147"/>
                  </a:cubicBezTo>
                  <a:cubicBezTo>
                    <a:pt x="219" y="152"/>
                    <a:pt x="226" y="148"/>
                    <a:pt x="236" y="148"/>
                  </a:cubicBezTo>
                  <a:cubicBezTo>
                    <a:pt x="245" y="147"/>
                    <a:pt x="234" y="153"/>
                    <a:pt x="224" y="154"/>
                  </a:cubicBezTo>
                  <a:cubicBezTo>
                    <a:pt x="214" y="155"/>
                    <a:pt x="216" y="160"/>
                    <a:pt x="224" y="162"/>
                  </a:cubicBezTo>
                  <a:cubicBezTo>
                    <a:pt x="231" y="163"/>
                    <a:pt x="248" y="157"/>
                    <a:pt x="252" y="153"/>
                  </a:cubicBezTo>
                  <a:cubicBezTo>
                    <a:pt x="256" y="149"/>
                    <a:pt x="260" y="155"/>
                    <a:pt x="264" y="152"/>
                  </a:cubicBezTo>
                  <a:cubicBezTo>
                    <a:pt x="267" y="149"/>
                    <a:pt x="275" y="152"/>
                    <a:pt x="282" y="151"/>
                  </a:cubicBezTo>
                  <a:cubicBezTo>
                    <a:pt x="288" y="149"/>
                    <a:pt x="290" y="137"/>
                    <a:pt x="285" y="134"/>
                  </a:cubicBezTo>
                  <a:cubicBezTo>
                    <a:pt x="280" y="132"/>
                    <a:pt x="280" y="137"/>
                    <a:pt x="276" y="138"/>
                  </a:cubicBezTo>
                  <a:cubicBezTo>
                    <a:pt x="272" y="138"/>
                    <a:pt x="270" y="133"/>
                    <a:pt x="266" y="130"/>
                  </a:cubicBezTo>
                  <a:cubicBezTo>
                    <a:pt x="263" y="127"/>
                    <a:pt x="265" y="121"/>
                    <a:pt x="261" y="122"/>
                  </a:cubicBezTo>
                  <a:cubicBezTo>
                    <a:pt x="256" y="122"/>
                    <a:pt x="246" y="130"/>
                    <a:pt x="252" y="131"/>
                  </a:cubicBezTo>
                  <a:cubicBezTo>
                    <a:pt x="258" y="131"/>
                    <a:pt x="256" y="134"/>
                    <a:pt x="253" y="136"/>
                  </a:cubicBezTo>
                  <a:cubicBezTo>
                    <a:pt x="250" y="137"/>
                    <a:pt x="260" y="140"/>
                    <a:pt x="259" y="142"/>
                  </a:cubicBezTo>
                  <a:cubicBezTo>
                    <a:pt x="257" y="144"/>
                    <a:pt x="241" y="142"/>
                    <a:pt x="240" y="139"/>
                  </a:cubicBezTo>
                  <a:cubicBezTo>
                    <a:pt x="240" y="135"/>
                    <a:pt x="227" y="129"/>
                    <a:pt x="221" y="130"/>
                  </a:cubicBezTo>
                  <a:cubicBezTo>
                    <a:pt x="216" y="132"/>
                    <a:pt x="218" y="126"/>
                    <a:pt x="213" y="126"/>
                  </a:cubicBezTo>
                  <a:cubicBezTo>
                    <a:pt x="208" y="125"/>
                    <a:pt x="209" y="130"/>
                    <a:pt x="204" y="131"/>
                  </a:cubicBezTo>
                  <a:close/>
                  <a:moveTo>
                    <a:pt x="223" y="105"/>
                  </a:moveTo>
                  <a:cubicBezTo>
                    <a:pt x="225" y="101"/>
                    <a:pt x="211" y="101"/>
                    <a:pt x="212" y="103"/>
                  </a:cubicBezTo>
                  <a:cubicBezTo>
                    <a:pt x="215" y="106"/>
                    <a:pt x="221" y="109"/>
                    <a:pt x="223" y="105"/>
                  </a:cubicBezTo>
                  <a:close/>
                  <a:moveTo>
                    <a:pt x="252" y="103"/>
                  </a:moveTo>
                  <a:cubicBezTo>
                    <a:pt x="257" y="102"/>
                    <a:pt x="255" y="99"/>
                    <a:pt x="247" y="100"/>
                  </a:cubicBezTo>
                  <a:cubicBezTo>
                    <a:pt x="240" y="101"/>
                    <a:pt x="227" y="101"/>
                    <a:pt x="227" y="106"/>
                  </a:cubicBezTo>
                  <a:cubicBezTo>
                    <a:pt x="227" y="111"/>
                    <a:pt x="230" y="113"/>
                    <a:pt x="238" y="113"/>
                  </a:cubicBezTo>
                  <a:cubicBezTo>
                    <a:pt x="246" y="114"/>
                    <a:pt x="253" y="106"/>
                    <a:pt x="249" y="106"/>
                  </a:cubicBezTo>
                  <a:cubicBezTo>
                    <a:pt x="245" y="106"/>
                    <a:pt x="248" y="104"/>
                    <a:pt x="252" y="103"/>
                  </a:cubicBezTo>
                  <a:close/>
                  <a:moveTo>
                    <a:pt x="235" y="96"/>
                  </a:moveTo>
                  <a:cubicBezTo>
                    <a:pt x="239" y="98"/>
                    <a:pt x="242" y="93"/>
                    <a:pt x="245" y="95"/>
                  </a:cubicBezTo>
                  <a:cubicBezTo>
                    <a:pt x="247" y="97"/>
                    <a:pt x="258" y="99"/>
                    <a:pt x="258" y="93"/>
                  </a:cubicBezTo>
                  <a:cubicBezTo>
                    <a:pt x="258" y="88"/>
                    <a:pt x="244" y="87"/>
                    <a:pt x="241" y="89"/>
                  </a:cubicBezTo>
                  <a:cubicBezTo>
                    <a:pt x="237" y="91"/>
                    <a:pt x="221" y="92"/>
                    <a:pt x="225" y="96"/>
                  </a:cubicBezTo>
                  <a:cubicBezTo>
                    <a:pt x="228" y="98"/>
                    <a:pt x="231" y="95"/>
                    <a:pt x="235" y="96"/>
                  </a:cubicBezTo>
                  <a:close/>
                  <a:moveTo>
                    <a:pt x="295" y="85"/>
                  </a:moveTo>
                  <a:cubicBezTo>
                    <a:pt x="299" y="82"/>
                    <a:pt x="307" y="87"/>
                    <a:pt x="305" y="90"/>
                  </a:cubicBezTo>
                  <a:cubicBezTo>
                    <a:pt x="304" y="93"/>
                    <a:pt x="291" y="90"/>
                    <a:pt x="292" y="92"/>
                  </a:cubicBezTo>
                  <a:cubicBezTo>
                    <a:pt x="293" y="93"/>
                    <a:pt x="294" y="98"/>
                    <a:pt x="303" y="95"/>
                  </a:cubicBezTo>
                  <a:cubicBezTo>
                    <a:pt x="311" y="93"/>
                    <a:pt x="318" y="95"/>
                    <a:pt x="324" y="99"/>
                  </a:cubicBezTo>
                  <a:cubicBezTo>
                    <a:pt x="330" y="104"/>
                    <a:pt x="335" y="106"/>
                    <a:pt x="339" y="101"/>
                  </a:cubicBezTo>
                  <a:cubicBezTo>
                    <a:pt x="343" y="96"/>
                    <a:pt x="334" y="96"/>
                    <a:pt x="336" y="92"/>
                  </a:cubicBezTo>
                  <a:cubicBezTo>
                    <a:pt x="338" y="88"/>
                    <a:pt x="330" y="86"/>
                    <a:pt x="326" y="86"/>
                  </a:cubicBezTo>
                  <a:cubicBezTo>
                    <a:pt x="322" y="86"/>
                    <a:pt x="321" y="79"/>
                    <a:pt x="318" y="81"/>
                  </a:cubicBezTo>
                  <a:cubicBezTo>
                    <a:pt x="315" y="82"/>
                    <a:pt x="312" y="85"/>
                    <a:pt x="312" y="80"/>
                  </a:cubicBezTo>
                  <a:cubicBezTo>
                    <a:pt x="312" y="75"/>
                    <a:pt x="294" y="75"/>
                    <a:pt x="289" y="77"/>
                  </a:cubicBezTo>
                  <a:cubicBezTo>
                    <a:pt x="285" y="78"/>
                    <a:pt x="290" y="88"/>
                    <a:pt x="295" y="85"/>
                  </a:cubicBezTo>
                  <a:close/>
                  <a:moveTo>
                    <a:pt x="297" y="115"/>
                  </a:moveTo>
                  <a:cubicBezTo>
                    <a:pt x="300" y="112"/>
                    <a:pt x="286" y="100"/>
                    <a:pt x="285" y="106"/>
                  </a:cubicBezTo>
                  <a:cubicBezTo>
                    <a:pt x="284" y="111"/>
                    <a:pt x="294" y="119"/>
                    <a:pt x="297" y="115"/>
                  </a:cubicBezTo>
                  <a:close/>
                  <a:moveTo>
                    <a:pt x="343" y="68"/>
                  </a:moveTo>
                  <a:cubicBezTo>
                    <a:pt x="346" y="64"/>
                    <a:pt x="328" y="61"/>
                    <a:pt x="333" y="65"/>
                  </a:cubicBezTo>
                  <a:cubicBezTo>
                    <a:pt x="335" y="67"/>
                    <a:pt x="341" y="73"/>
                    <a:pt x="343" y="68"/>
                  </a:cubicBezTo>
                  <a:close/>
                  <a:moveTo>
                    <a:pt x="303" y="149"/>
                  </a:moveTo>
                  <a:cubicBezTo>
                    <a:pt x="306" y="147"/>
                    <a:pt x="298" y="141"/>
                    <a:pt x="296" y="146"/>
                  </a:cubicBezTo>
                  <a:cubicBezTo>
                    <a:pt x="293" y="151"/>
                    <a:pt x="301" y="152"/>
                    <a:pt x="303" y="149"/>
                  </a:cubicBezTo>
                  <a:close/>
                  <a:moveTo>
                    <a:pt x="343" y="124"/>
                  </a:moveTo>
                  <a:cubicBezTo>
                    <a:pt x="343" y="128"/>
                    <a:pt x="335" y="124"/>
                    <a:pt x="328" y="121"/>
                  </a:cubicBezTo>
                  <a:cubicBezTo>
                    <a:pt x="322" y="119"/>
                    <a:pt x="326" y="126"/>
                    <a:pt x="331" y="131"/>
                  </a:cubicBezTo>
                  <a:cubicBezTo>
                    <a:pt x="336" y="135"/>
                    <a:pt x="328" y="133"/>
                    <a:pt x="322" y="128"/>
                  </a:cubicBezTo>
                  <a:cubicBezTo>
                    <a:pt x="315" y="123"/>
                    <a:pt x="316" y="131"/>
                    <a:pt x="319" y="134"/>
                  </a:cubicBezTo>
                  <a:cubicBezTo>
                    <a:pt x="322" y="136"/>
                    <a:pt x="318" y="140"/>
                    <a:pt x="314" y="134"/>
                  </a:cubicBezTo>
                  <a:cubicBezTo>
                    <a:pt x="310" y="128"/>
                    <a:pt x="307" y="122"/>
                    <a:pt x="301" y="122"/>
                  </a:cubicBezTo>
                  <a:cubicBezTo>
                    <a:pt x="294" y="122"/>
                    <a:pt x="297" y="129"/>
                    <a:pt x="300" y="132"/>
                  </a:cubicBezTo>
                  <a:cubicBezTo>
                    <a:pt x="303" y="137"/>
                    <a:pt x="307" y="138"/>
                    <a:pt x="312" y="141"/>
                  </a:cubicBezTo>
                  <a:cubicBezTo>
                    <a:pt x="318" y="144"/>
                    <a:pt x="327" y="139"/>
                    <a:pt x="332" y="141"/>
                  </a:cubicBezTo>
                  <a:cubicBezTo>
                    <a:pt x="336" y="142"/>
                    <a:pt x="327" y="147"/>
                    <a:pt x="330" y="151"/>
                  </a:cubicBezTo>
                  <a:cubicBezTo>
                    <a:pt x="333" y="154"/>
                    <a:pt x="341" y="152"/>
                    <a:pt x="347" y="151"/>
                  </a:cubicBezTo>
                  <a:cubicBezTo>
                    <a:pt x="353" y="151"/>
                    <a:pt x="350" y="147"/>
                    <a:pt x="353" y="145"/>
                  </a:cubicBezTo>
                  <a:cubicBezTo>
                    <a:pt x="357" y="142"/>
                    <a:pt x="350" y="143"/>
                    <a:pt x="353" y="137"/>
                  </a:cubicBezTo>
                  <a:cubicBezTo>
                    <a:pt x="356" y="131"/>
                    <a:pt x="344" y="121"/>
                    <a:pt x="343" y="124"/>
                  </a:cubicBezTo>
                  <a:close/>
                  <a:moveTo>
                    <a:pt x="358" y="103"/>
                  </a:moveTo>
                  <a:cubicBezTo>
                    <a:pt x="364" y="103"/>
                    <a:pt x="368" y="103"/>
                    <a:pt x="373" y="101"/>
                  </a:cubicBezTo>
                  <a:cubicBezTo>
                    <a:pt x="377" y="99"/>
                    <a:pt x="370" y="99"/>
                    <a:pt x="373" y="95"/>
                  </a:cubicBezTo>
                  <a:cubicBezTo>
                    <a:pt x="377" y="91"/>
                    <a:pt x="366" y="90"/>
                    <a:pt x="365" y="92"/>
                  </a:cubicBezTo>
                  <a:cubicBezTo>
                    <a:pt x="364" y="93"/>
                    <a:pt x="350" y="83"/>
                    <a:pt x="348" y="86"/>
                  </a:cubicBezTo>
                  <a:cubicBezTo>
                    <a:pt x="346" y="90"/>
                    <a:pt x="353" y="103"/>
                    <a:pt x="358" y="103"/>
                  </a:cubicBezTo>
                  <a:close/>
                  <a:moveTo>
                    <a:pt x="387" y="105"/>
                  </a:moveTo>
                  <a:cubicBezTo>
                    <a:pt x="387" y="103"/>
                    <a:pt x="360" y="106"/>
                    <a:pt x="364" y="110"/>
                  </a:cubicBezTo>
                  <a:cubicBezTo>
                    <a:pt x="371" y="115"/>
                    <a:pt x="388" y="107"/>
                    <a:pt x="387" y="105"/>
                  </a:cubicBezTo>
                  <a:close/>
                  <a:moveTo>
                    <a:pt x="383" y="157"/>
                  </a:moveTo>
                  <a:cubicBezTo>
                    <a:pt x="390" y="157"/>
                    <a:pt x="387" y="149"/>
                    <a:pt x="379" y="144"/>
                  </a:cubicBezTo>
                  <a:cubicBezTo>
                    <a:pt x="372" y="138"/>
                    <a:pt x="356" y="149"/>
                    <a:pt x="359" y="152"/>
                  </a:cubicBezTo>
                  <a:cubicBezTo>
                    <a:pt x="362" y="154"/>
                    <a:pt x="377" y="158"/>
                    <a:pt x="383" y="157"/>
                  </a:cubicBezTo>
                  <a:close/>
                  <a:moveTo>
                    <a:pt x="338" y="207"/>
                  </a:moveTo>
                  <a:cubicBezTo>
                    <a:pt x="346" y="213"/>
                    <a:pt x="343" y="203"/>
                    <a:pt x="352" y="203"/>
                  </a:cubicBezTo>
                  <a:cubicBezTo>
                    <a:pt x="361" y="204"/>
                    <a:pt x="361" y="189"/>
                    <a:pt x="363" y="184"/>
                  </a:cubicBezTo>
                  <a:cubicBezTo>
                    <a:pt x="364" y="178"/>
                    <a:pt x="356" y="179"/>
                    <a:pt x="358" y="183"/>
                  </a:cubicBezTo>
                  <a:cubicBezTo>
                    <a:pt x="360" y="187"/>
                    <a:pt x="357" y="190"/>
                    <a:pt x="357" y="186"/>
                  </a:cubicBezTo>
                  <a:cubicBezTo>
                    <a:pt x="356" y="181"/>
                    <a:pt x="349" y="185"/>
                    <a:pt x="347" y="182"/>
                  </a:cubicBezTo>
                  <a:cubicBezTo>
                    <a:pt x="344" y="178"/>
                    <a:pt x="354" y="178"/>
                    <a:pt x="357" y="173"/>
                  </a:cubicBezTo>
                  <a:cubicBezTo>
                    <a:pt x="359" y="169"/>
                    <a:pt x="349" y="169"/>
                    <a:pt x="351" y="166"/>
                  </a:cubicBezTo>
                  <a:cubicBezTo>
                    <a:pt x="354" y="162"/>
                    <a:pt x="336" y="166"/>
                    <a:pt x="341" y="168"/>
                  </a:cubicBezTo>
                  <a:cubicBezTo>
                    <a:pt x="346" y="171"/>
                    <a:pt x="341" y="173"/>
                    <a:pt x="336" y="170"/>
                  </a:cubicBezTo>
                  <a:cubicBezTo>
                    <a:pt x="331" y="166"/>
                    <a:pt x="317" y="172"/>
                    <a:pt x="322" y="176"/>
                  </a:cubicBezTo>
                  <a:cubicBezTo>
                    <a:pt x="326" y="179"/>
                    <a:pt x="338" y="174"/>
                    <a:pt x="331" y="183"/>
                  </a:cubicBezTo>
                  <a:cubicBezTo>
                    <a:pt x="325" y="193"/>
                    <a:pt x="322" y="181"/>
                    <a:pt x="315" y="182"/>
                  </a:cubicBezTo>
                  <a:cubicBezTo>
                    <a:pt x="309" y="183"/>
                    <a:pt x="312" y="191"/>
                    <a:pt x="321" y="194"/>
                  </a:cubicBezTo>
                  <a:cubicBezTo>
                    <a:pt x="331" y="197"/>
                    <a:pt x="330" y="202"/>
                    <a:pt x="338" y="207"/>
                  </a:cubicBezTo>
                  <a:close/>
                  <a:moveTo>
                    <a:pt x="396" y="150"/>
                  </a:moveTo>
                  <a:cubicBezTo>
                    <a:pt x="398" y="157"/>
                    <a:pt x="401" y="152"/>
                    <a:pt x="405" y="155"/>
                  </a:cubicBezTo>
                  <a:cubicBezTo>
                    <a:pt x="409" y="158"/>
                    <a:pt x="415" y="160"/>
                    <a:pt x="418" y="157"/>
                  </a:cubicBezTo>
                  <a:cubicBezTo>
                    <a:pt x="422" y="154"/>
                    <a:pt x="423" y="152"/>
                    <a:pt x="424" y="154"/>
                  </a:cubicBezTo>
                  <a:cubicBezTo>
                    <a:pt x="426" y="159"/>
                    <a:pt x="434" y="159"/>
                    <a:pt x="451" y="159"/>
                  </a:cubicBezTo>
                  <a:cubicBezTo>
                    <a:pt x="468" y="160"/>
                    <a:pt x="464" y="152"/>
                    <a:pt x="469" y="155"/>
                  </a:cubicBezTo>
                  <a:cubicBezTo>
                    <a:pt x="474" y="158"/>
                    <a:pt x="485" y="158"/>
                    <a:pt x="490" y="157"/>
                  </a:cubicBezTo>
                  <a:cubicBezTo>
                    <a:pt x="495" y="156"/>
                    <a:pt x="498" y="148"/>
                    <a:pt x="497" y="144"/>
                  </a:cubicBezTo>
                  <a:cubicBezTo>
                    <a:pt x="497" y="140"/>
                    <a:pt x="459" y="137"/>
                    <a:pt x="452" y="141"/>
                  </a:cubicBezTo>
                  <a:cubicBezTo>
                    <a:pt x="445" y="145"/>
                    <a:pt x="434" y="139"/>
                    <a:pt x="429" y="142"/>
                  </a:cubicBezTo>
                  <a:cubicBezTo>
                    <a:pt x="424" y="145"/>
                    <a:pt x="425" y="138"/>
                    <a:pt x="416" y="138"/>
                  </a:cubicBezTo>
                  <a:cubicBezTo>
                    <a:pt x="406" y="138"/>
                    <a:pt x="417" y="133"/>
                    <a:pt x="418" y="131"/>
                  </a:cubicBezTo>
                  <a:cubicBezTo>
                    <a:pt x="420" y="128"/>
                    <a:pt x="404" y="123"/>
                    <a:pt x="397" y="124"/>
                  </a:cubicBezTo>
                  <a:cubicBezTo>
                    <a:pt x="390" y="126"/>
                    <a:pt x="386" y="122"/>
                    <a:pt x="380" y="119"/>
                  </a:cubicBezTo>
                  <a:cubicBezTo>
                    <a:pt x="373" y="116"/>
                    <a:pt x="356" y="117"/>
                    <a:pt x="359" y="122"/>
                  </a:cubicBezTo>
                  <a:cubicBezTo>
                    <a:pt x="362" y="126"/>
                    <a:pt x="383" y="133"/>
                    <a:pt x="385" y="129"/>
                  </a:cubicBezTo>
                  <a:cubicBezTo>
                    <a:pt x="387" y="126"/>
                    <a:pt x="392" y="134"/>
                    <a:pt x="395" y="138"/>
                  </a:cubicBezTo>
                  <a:cubicBezTo>
                    <a:pt x="399" y="142"/>
                    <a:pt x="393" y="143"/>
                    <a:pt x="396" y="150"/>
                  </a:cubicBezTo>
                  <a:close/>
                  <a:moveTo>
                    <a:pt x="414" y="108"/>
                  </a:moveTo>
                  <a:cubicBezTo>
                    <a:pt x="408" y="105"/>
                    <a:pt x="400" y="112"/>
                    <a:pt x="406" y="114"/>
                  </a:cubicBezTo>
                  <a:cubicBezTo>
                    <a:pt x="412" y="116"/>
                    <a:pt x="420" y="111"/>
                    <a:pt x="414" y="108"/>
                  </a:cubicBezTo>
                  <a:close/>
                  <a:moveTo>
                    <a:pt x="363" y="68"/>
                  </a:moveTo>
                  <a:cubicBezTo>
                    <a:pt x="368" y="71"/>
                    <a:pt x="365" y="74"/>
                    <a:pt x="371" y="77"/>
                  </a:cubicBezTo>
                  <a:cubicBezTo>
                    <a:pt x="376" y="79"/>
                    <a:pt x="393" y="73"/>
                    <a:pt x="394" y="77"/>
                  </a:cubicBezTo>
                  <a:cubicBezTo>
                    <a:pt x="395" y="81"/>
                    <a:pt x="377" y="82"/>
                    <a:pt x="380" y="84"/>
                  </a:cubicBezTo>
                  <a:cubicBezTo>
                    <a:pt x="382" y="87"/>
                    <a:pt x="393" y="91"/>
                    <a:pt x="391" y="93"/>
                  </a:cubicBezTo>
                  <a:cubicBezTo>
                    <a:pt x="390" y="95"/>
                    <a:pt x="408" y="101"/>
                    <a:pt x="410" y="98"/>
                  </a:cubicBezTo>
                  <a:cubicBezTo>
                    <a:pt x="412" y="95"/>
                    <a:pt x="417" y="96"/>
                    <a:pt x="422" y="98"/>
                  </a:cubicBezTo>
                  <a:cubicBezTo>
                    <a:pt x="426" y="100"/>
                    <a:pt x="427" y="87"/>
                    <a:pt x="430" y="89"/>
                  </a:cubicBezTo>
                  <a:cubicBezTo>
                    <a:pt x="433" y="91"/>
                    <a:pt x="433" y="84"/>
                    <a:pt x="438" y="82"/>
                  </a:cubicBezTo>
                  <a:cubicBezTo>
                    <a:pt x="443" y="80"/>
                    <a:pt x="451" y="80"/>
                    <a:pt x="451" y="77"/>
                  </a:cubicBezTo>
                  <a:cubicBezTo>
                    <a:pt x="452" y="76"/>
                    <a:pt x="450" y="73"/>
                    <a:pt x="444" y="74"/>
                  </a:cubicBezTo>
                  <a:cubicBezTo>
                    <a:pt x="437" y="75"/>
                    <a:pt x="433" y="72"/>
                    <a:pt x="436" y="68"/>
                  </a:cubicBezTo>
                  <a:cubicBezTo>
                    <a:pt x="439" y="65"/>
                    <a:pt x="429" y="64"/>
                    <a:pt x="432" y="61"/>
                  </a:cubicBezTo>
                  <a:cubicBezTo>
                    <a:pt x="436" y="58"/>
                    <a:pt x="425" y="55"/>
                    <a:pt x="427" y="60"/>
                  </a:cubicBezTo>
                  <a:cubicBezTo>
                    <a:pt x="428" y="64"/>
                    <a:pt x="420" y="60"/>
                    <a:pt x="419" y="56"/>
                  </a:cubicBezTo>
                  <a:cubicBezTo>
                    <a:pt x="418" y="52"/>
                    <a:pt x="403" y="51"/>
                    <a:pt x="394" y="42"/>
                  </a:cubicBezTo>
                  <a:cubicBezTo>
                    <a:pt x="384" y="34"/>
                    <a:pt x="374" y="39"/>
                    <a:pt x="380" y="40"/>
                  </a:cubicBezTo>
                  <a:cubicBezTo>
                    <a:pt x="386" y="41"/>
                    <a:pt x="385" y="44"/>
                    <a:pt x="381" y="44"/>
                  </a:cubicBezTo>
                  <a:cubicBezTo>
                    <a:pt x="376" y="44"/>
                    <a:pt x="368" y="44"/>
                    <a:pt x="375" y="47"/>
                  </a:cubicBezTo>
                  <a:cubicBezTo>
                    <a:pt x="383" y="50"/>
                    <a:pt x="374" y="51"/>
                    <a:pt x="368" y="51"/>
                  </a:cubicBezTo>
                  <a:cubicBezTo>
                    <a:pt x="362" y="51"/>
                    <a:pt x="362" y="59"/>
                    <a:pt x="370" y="60"/>
                  </a:cubicBezTo>
                  <a:cubicBezTo>
                    <a:pt x="378" y="61"/>
                    <a:pt x="372" y="66"/>
                    <a:pt x="366" y="64"/>
                  </a:cubicBezTo>
                  <a:cubicBezTo>
                    <a:pt x="359" y="62"/>
                    <a:pt x="357" y="65"/>
                    <a:pt x="363" y="68"/>
                  </a:cubicBezTo>
                  <a:close/>
                  <a:moveTo>
                    <a:pt x="406" y="33"/>
                  </a:moveTo>
                  <a:cubicBezTo>
                    <a:pt x="411" y="30"/>
                    <a:pt x="415" y="32"/>
                    <a:pt x="410" y="34"/>
                  </a:cubicBezTo>
                  <a:cubicBezTo>
                    <a:pt x="406" y="36"/>
                    <a:pt x="408" y="37"/>
                    <a:pt x="414" y="37"/>
                  </a:cubicBezTo>
                  <a:cubicBezTo>
                    <a:pt x="420" y="37"/>
                    <a:pt x="411" y="39"/>
                    <a:pt x="411" y="42"/>
                  </a:cubicBezTo>
                  <a:cubicBezTo>
                    <a:pt x="411" y="46"/>
                    <a:pt x="418" y="44"/>
                    <a:pt x="419" y="47"/>
                  </a:cubicBezTo>
                  <a:cubicBezTo>
                    <a:pt x="419" y="51"/>
                    <a:pt x="434" y="52"/>
                    <a:pt x="439" y="48"/>
                  </a:cubicBezTo>
                  <a:cubicBezTo>
                    <a:pt x="444" y="44"/>
                    <a:pt x="442" y="49"/>
                    <a:pt x="442" y="52"/>
                  </a:cubicBezTo>
                  <a:cubicBezTo>
                    <a:pt x="441" y="55"/>
                    <a:pt x="463" y="57"/>
                    <a:pt x="464" y="54"/>
                  </a:cubicBezTo>
                  <a:cubicBezTo>
                    <a:pt x="465" y="50"/>
                    <a:pt x="469" y="52"/>
                    <a:pt x="473" y="53"/>
                  </a:cubicBezTo>
                  <a:cubicBezTo>
                    <a:pt x="477" y="54"/>
                    <a:pt x="498" y="49"/>
                    <a:pt x="499" y="45"/>
                  </a:cubicBezTo>
                  <a:cubicBezTo>
                    <a:pt x="499" y="40"/>
                    <a:pt x="505" y="47"/>
                    <a:pt x="499" y="51"/>
                  </a:cubicBezTo>
                  <a:cubicBezTo>
                    <a:pt x="492" y="56"/>
                    <a:pt x="478" y="55"/>
                    <a:pt x="472" y="57"/>
                  </a:cubicBezTo>
                  <a:cubicBezTo>
                    <a:pt x="466" y="59"/>
                    <a:pt x="476" y="63"/>
                    <a:pt x="482" y="68"/>
                  </a:cubicBezTo>
                  <a:cubicBezTo>
                    <a:pt x="488" y="72"/>
                    <a:pt x="474" y="70"/>
                    <a:pt x="469" y="64"/>
                  </a:cubicBezTo>
                  <a:cubicBezTo>
                    <a:pt x="463" y="58"/>
                    <a:pt x="450" y="58"/>
                    <a:pt x="443" y="58"/>
                  </a:cubicBezTo>
                  <a:cubicBezTo>
                    <a:pt x="437" y="59"/>
                    <a:pt x="439" y="71"/>
                    <a:pt x="444" y="71"/>
                  </a:cubicBezTo>
                  <a:cubicBezTo>
                    <a:pt x="449" y="71"/>
                    <a:pt x="454" y="73"/>
                    <a:pt x="459" y="81"/>
                  </a:cubicBezTo>
                  <a:cubicBezTo>
                    <a:pt x="464" y="88"/>
                    <a:pt x="474" y="87"/>
                    <a:pt x="474" y="90"/>
                  </a:cubicBezTo>
                  <a:cubicBezTo>
                    <a:pt x="474" y="94"/>
                    <a:pt x="460" y="87"/>
                    <a:pt x="453" y="86"/>
                  </a:cubicBezTo>
                  <a:cubicBezTo>
                    <a:pt x="445" y="85"/>
                    <a:pt x="432" y="90"/>
                    <a:pt x="432" y="95"/>
                  </a:cubicBezTo>
                  <a:cubicBezTo>
                    <a:pt x="432" y="101"/>
                    <a:pt x="443" y="100"/>
                    <a:pt x="451" y="96"/>
                  </a:cubicBezTo>
                  <a:cubicBezTo>
                    <a:pt x="459" y="91"/>
                    <a:pt x="453" y="97"/>
                    <a:pt x="449" y="101"/>
                  </a:cubicBezTo>
                  <a:cubicBezTo>
                    <a:pt x="445" y="104"/>
                    <a:pt x="459" y="107"/>
                    <a:pt x="459" y="111"/>
                  </a:cubicBezTo>
                  <a:cubicBezTo>
                    <a:pt x="459" y="116"/>
                    <a:pt x="449" y="114"/>
                    <a:pt x="448" y="110"/>
                  </a:cubicBezTo>
                  <a:cubicBezTo>
                    <a:pt x="447" y="106"/>
                    <a:pt x="443" y="102"/>
                    <a:pt x="434" y="103"/>
                  </a:cubicBezTo>
                  <a:cubicBezTo>
                    <a:pt x="425" y="104"/>
                    <a:pt x="427" y="110"/>
                    <a:pt x="433" y="111"/>
                  </a:cubicBezTo>
                  <a:cubicBezTo>
                    <a:pt x="439" y="112"/>
                    <a:pt x="439" y="116"/>
                    <a:pt x="433" y="116"/>
                  </a:cubicBezTo>
                  <a:cubicBezTo>
                    <a:pt x="426" y="116"/>
                    <a:pt x="412" y="120"/>
                    <a:pt x="416" y="124"/>
                  </a:cubicBezTo>
                  <a:cubicBezTo>
                    <a:pt x="421" y="129"/>
                    <a:pt x="439" y="124"/>
                    <a:pt x="443" y="127"/>
                  </a:cubicBezTo>
                  <a:cubicBezTo>
                    <a:pt x="446" y="130"/>
                    <a:pt x="455" y="131"/>
                    <a:pt x="457" y="128"/>
                  </a:cubicBezTo>
                  <a:cubicBezTo>
                    <a:pt x="459" y="124"/>
                    <a:pt x="466" y="126"/>
                    <a:pt x="473" y="126"/>
                  </a:cubicBezTo>
                  <a:cubicBezTo>
                    <a:pt x="480" y="126"/>
                    <a:pt x="482" y="127"/>
                    <a:pt x="485" y="130"/>
                  </a:cubicBezTo>
                  <a:cubicBezTo>
                    <a:pt x="489" y="133"/>
                    <a:pt x="494" y="132"/>
                    <a:pt x="498" y="129"/>
                  </a:cubicBezTo>
                  <a:cubicBezTo>
                    <a:pt x="502" y="126"/>
                    <a:pt x="502" y="126"/>
                    <a:pt x="507" y="126"/>
                  </a:cubicBezTo>
                  <a:cubicBezTo>
                    <a:pt x="512" y="126"/>
                    <a:pt x="513" y="123"/>
                    <a:pt x="511" y="119"/>
                  </a:cubicBezTo>
                  <a:cubicBezTo>
                    <a:pt x="508" y="115"/>
                    <a:pt x="502" y="122"/>
                    <a:pt x="501" y="119"/>
                  </a:cubicBezTo>
                  <a:cubicBezTo>
                    <a:pt x="500" y="115"/>
                    <a:pt x="494" y="114"/>
                    <a:pt x="484" y="116"/>
                  </a:cubicBezTo>
                  <a:cubicBezTo>
                    <a:pt x="474" y="117"/>
                    <a:pt x="479" y="109"/>
                    <a:pt x="485" y="111"/>
                  </a:cubicBezTo>
                  <a:cubicBezTo>
                    <a:pt x="491" y="113"/>
                    <a:pt x="499" y="112"/>
                    <a:pt x="506" y="110"/>
                  </a:cubicBezTo>
                  <a:cubicBezTo>
                    <a:pt x="512" y="108"/>
                    <a:pt x="507" y="105"/>
                    <a:pt x="507" y="102"/>
                  </a:cubicBezTo>
                  <a:cubicBezTo>
                    <a:pt x="507" y="100"/>
                    <a:pt x="516" y="101"/>
                    <a:pt x="522" y="101"/>
                  </a:cubicBezTo>
                  <a:cubicBezTo>
                    <a:pt x="529" y="101"/>
                    <a:pt x="538" y="91"/>
                    <a:pt x="538" y="85"/>
                  </a:cubicBezTo>
                  <a:cubicBezTo>
                    <a:pt x="539" y="79"/>
                    <a:pt x="524" y="80"/>
                    <a:pt x="517" y="80"/>
                  </a:cubicBezTo>
                  <a:cubicBezTo>
                    <a:pt x="510" y="80"/>
                    <a:pt x="521" y="75"/>
                    <a:pt x="535" y="76"/>
                  </a:cubicBezTo>
                  <a:cubicBezTo>
                    <a:pt x="549" y="76"/>
                    <a:pt x="542" y="70"/>
                    <a:pt x="545" y="68"/>
                  </a:cubicBezTo>
                  <a:cubicBezTo>
                    <a:pt x="547" y="66"/>
                    <a:pt x="554" y="71"/>
                    <a:pt x="561" y="69"/>
                  </a:cubicBezTo>
                  <a:cubicBezTo>
                    <a:pt x="567" y="68"/>
                    <a:pt x="563" y="62"/>
                    <a:pt x="567" y="62"/>
                  </a:cubicBezTo>
                  <a:cubicBezTo>
                    <a:pt x="571" y="62"/>
                    <a:pt x="578" y="57"/>
                    <a:pt x="593" y="49"/>
                  </a:cubicBezTo>
                  <a:cubicBezTo>
                    <a:pt x="607" y="41"/>
                    <a:pt x="619" y="42"/>
                    <a:pt x="619" y="37"/>
                  </a:cubicBezTo>
                  <a:cubicBezTo>
                    <a:pt x="620" y="33"/>
                    <a:pt x="599" y="37"/>
                    <a:pt x="596" y="36"/>
                  </a:cubicBezTo>
                  <a:cubicBezTo>
                    <a:pt x="592" y="35"/>
                    <a:pt x="610" y="31"/>
                    <a:pt x="615" y="32"/>
                  </a:cubicBezTo>
                  <a:cubicBezTo>
                    <a:pt x="619" y="33"/>
                    <a:pt x="624" y="32"/>
                    <a:pt x="639" y="25"/>
                  </a:cubicBezTo>
                  <a:cubicBezTo>
                    <a:pt x="654" y="17"/>
                    <a:pt x="647" y="16"/>
                    <a:pt x="641" y="17"/>
                  </a:cubicBezTo>
                  <a:cubicBezTo>
                    <a:pt x="635" y="18"/>
                    <a:pt x="628" y="16"/>
                    <a:pt x="629" y="12"/>
                  </a:cubicBezTo>
                  <a:cubicBezTo>
                    <a:pt x="629" y="8"/>
                    <a:pt x="620" y="11"/>
                    <a:pt x="619" y="9"/>
                  </a:cubicBezTo>
                  <a:cubicBezTo>
                    <a:pt x="619" y="7"/>
                    <a:pt x="611" y="8"/>
                    <a:pt x="601" y="12"/>
                  </a:cubicBezTo>
                  <a:cubicBezTo>
                    <a:pt x="592" y="15"/>
                    <a:pt x="601" y="8"/>
                    <a:pt x="605" y="7"/>
                  </a:cubicBezTo>
                  <a:cubicBezTo>
                    <a:pt x="608" y="5"/>
                    <a:pt x="581" y="7"/>
                    <a:pt x="576" y="4"/>
                  </a:cubicBezTo>
                  <a:cubicBezTo>
                    <a:pt x="572" y="0"/>
                    <a:pt x="566" y="9"/>
                    <a:pt x="562" y="5"/>
                  </a:cubicBezTo>
                  <a:cubicBezTo>
                    <a:pt x="558" y="0"/>
                    <a:pt x="547" y="4"/>
                    <a:pt x="548" y="7"/>
                  </a:cubicBezTo>
                  <a:cubicBezTo>
                    <a:pt x="550" y="10"/>
                    <a:pt x="546" y="10"/>
                    <a:pt x="542" y="7"/>
                  </a:cubicBezTo>
                  <a:cubicBezTo>
                    <a:pt x="538" y="3"/>
                    <a:pt x="530" y="7"/>
                    <a:pt x="522" y="6"/>
                  </a:cubicBezTo>
                  <a:cubicBezTo>
                    <a:pt x="515" y="5"/>
                    <a:pt x="518" y="12"/>
                    <a:pt x="510" y="9"/>
                  </a:cubicBezTo>
                  <a:cubicBezTo>
                    <a:pt x="501" y="5"/>
                    <a:pt x="493" y="7"/>
                    <a:pt x="495" y="8"/>
                  </a:cubicBezTo>
                  <a:cubicBezTo>
                    <a:pt x="498" y="9"/>
                    <a:pt x="494" y="11"/>
                    <a:pt x="491" y="10"/>
                  </a:cubicBezTo>
                  <a:cubicBezTo>
                    <a:pt x="487" y="9"/>
                    <a:pt x="484" y="10"/>
                    <a:pt x="486" y="14"/>
                  </a:cubicBezTo>
                  <a:cubicBezTo>
                    <a:pt x="488" y="17"/>
                    <a:pt x="473" y="13"/>
                    <a:pt x="473" y="17"/>
                  </a:cubicBezTo>
                  <a:cubicBezTo>
                    <a:pt x="473" y="21"/>
                    <a:pt x="467" y="23"/>
                    <a:pt x="463" y="19"/>
                  </a:cubicBezTo>
                  <a:cubicBezTo>
                    <a:pt x="459" y="16"/>
                    <a:pt x="445" y="15"/>
                    <a:pt x="449" y="18"/>
                  </a:cubicBezTo>
                  <a:cubicBezTo>
                    <a:pt x="453" y="21"/>
                    <a:pt x="437" y="19"/>
                    <a:pt x="441" y="22"/>
                  </a:cubicBezTo>
                  <a:cubicBezTo>
                    <a:pt x="445" y="26"/>
                    <a:pt x="436" y="28"/>
                    <a:pt x="436" y="26"/>
                  </a:cubicBezTo>
                  <a:cubicBezTo>
                    <a:pt x="436" y="25"/>
                    <a:pt x="427" y="21"/>
                    <a:pt x="423" y="25"/>
                  </a:cubicBezTo>
                  <a:cubicBezTo>
                    <a:pt x="420" y="28"/>
                    <a:pt x="419" y="32"/>
                    <a:pt x="417" y="30"/>
                  </a:cubicBezTo>
                  <a:cubicBezTo>
                    <a:pt x="415" y="27"/>
                    <a:pt x="407" y="28"/>
                    <a:pt x="400" y="31"/>
                  </a:cubicBezTo>
                  <a:cubicBezTo>
                    <a:pt x="392" y="34"/>
                    <a:pt x="401" y="36"/>
                    <a:pt x="406" y="33"/>
                  </a:cubicBezTo>
                  <a:close/>
                  <a:moveTo>
                    <a:pt x="496" y="341"/>
                  </a:moveTo>
                  <a:cubicBezTo>
                    <a:pt x="498" y="340"/>
                    <a:pt x="503" y="331"/>
                    <a:pt x="497" y="332"/>
                  </a:cubicBezTo>
                  <a:cubicBezTo>
                    <a:pt x="490" y="332"/>
                    <a:pt x="492" y="341"/>
                    <a:pt x="496" y="341"/>
                  </a:cubicBezTo>
                  <a:close/>
                  <a:moveTo>
                    <a:pt x="464" y="333"/>
                  </a:moveTo>
                  <a:cubicBezTo>
                    <a:pt x="470" y="336"/>
                    <a:pt x="479" y="327"/>
                    <a:pt x="478" y="324"/>
                  </a:cubicBezTo>
                  <a:cubicBezTo>
                    <a:pt x="477" y="321"/>
                    <a:pt x="457" y="329"/>
                    <a:pt x="464" y="333"/>
                  </a:cubicBezTo>
                  <a:close/>
                  <a:moveTo>
                    <a:pt x="490" y="313"/>
                  </a:moveTo>
                  <a:cubicBezTo>
                    <a:pt x="491" y="310"/>
                    <a:pt x="478" y="308"/>
                    <a:pt x="479" y="304"/>
                  </a:cubicBezTo>
                  <a:cubicBezTo>
                    <a:pt x="480" y="300"/>
                    <a:pt x="467" y="297"/>
                    <a:pt x="463" y="295"/>
                  </a:cubicBezTo>
                  <a:cubicBezTo>
                    <a:pt x="459" y="293"/>
                    <a:pt x="453" y="292"/>
                    <a:pt x="453" y="288"/>
                  </a:cubicBezTo>
                  <a:cubicBezTo>
                    <a:pt x="453" y="283"/>
                    <a:pt x="445" y="286"/>
                    <a:pt x="444" y="293"/>
                  </a:cubicBezTo>
                  <a:cubicBezTo>
                    <a:pt x="444" y="299"/>
                    <a:pt x="440" y="298"/>
                    <a:pt x="442" y="304"/>
                  </a:cubicBezTo>
                  <a:cubicBezTo>
                    <a:pt x="444" y="310"/>
                    <a:pt x="434" y="311"/>
                    <a:pt x="435" y="315"/>
                  </a:cubicBezTo>
                  <a:cubicBezTo>
                    <a:pt x="437" y="318"/>
                    <a:pt x="441" y="314"/>
                    <a:pt x="445" y="314"/>
                  </a:cubicBezTo>
                  <a:cubicBezTo>
                    <a:pt x="450" y="314"/>
                    <a:pt x="444" y="320"/>
                    <a:pt x="450" y="321"/>
                  </a:cubicBezTo>
                  <a:cubicBezTo>
                    <a:pt x="454" y="321"/>
                    <a:pt x="461" y="316"/>
                    <a:pt x="463" y="313"/>
                  </a:cubicBezTo>
                  <a:cubicBezTo>
                    <a:pt x="465" y="310"/>
                    <a:pt x="469" y="309"/>
                    <a:pt x="474" y="313"/>
                  </a:cubicBezTo>
                  <a:cubicBezTo>
                    <a:pt x="479" y="316"/>
                    <a:pt x="489" y="317"/>
                    <a:pt x="490" y="313"/>
                  </a:cubicBezTo>
                  <a:close/>
                  <a:moveTo>
                    <a:pt x="607" y="282"/>
                  </a:moveTo>
                  <a:cubicBezTo>
                    <a:pt x="611" y="282"/>
                    <a:pt x="612" y="288"/>
                    <a:pt x="618" y="293"/>
                  </a:cubicBezTo>
                  <a:cubicBezTo>
                    <a:pt x="625" y="299"/>
                    <a:pt x="626" y="295"/>
                    <a:pt x="627" y="291"/>
                  </a:cubicBezTo>
                  <a:cubicBezTo>
                    <a:pt x="628" y="287"/>
                    <a:pt x="636" y="290"/>
                    <a:pt x="635" y="286"/>
                  </a:cubicBezTo>
                  <a:cubicBezTo>
                    <a:pt x="635" y="283"/>
                    <a:pt x="641" y="278"/>
                    <a:pt x="646" y="276"/>
                  </a:cubicBezTo>
                  <a:cubicBezTo>
                    <a:pt x="650" y="274"/>
                    <a:pt x="642" y="270"/>
                    <a:pt x="636" y="270"/>
                  </a:cubicBezTo>
                  <a:cubicBezTo>
                    <a:pt x="631" y="271"/>
                    <a:pt x="629" y="267"/>
                    <a:pt x="629" y="264"/>
                  </a:cubicBezTo>
                  <a:cubicBezTo>
                    <a:pt x="629" y="262"/>
                    <a:pt x="619" y="256"/>
                    <a:pt x="615" y="257"/>
                  </a:cubicBezTo>
                  <a:cubicBezTo>
                    <a:pt x="612" y="258"/>
                    <a:pt x="606" y="252"/>
                    <a:pt x="601" y="252"/>
                  </a:cubicBezTo>
                  <a:cubicBezTo>
                    <a:pt x="596" y="251"/>
                    <a:pt x="590" y="248"/>
                    <a:pt x="590" y="243"/>
                  </a:cubicBezTo>
                  <a:cubicBezTo>
                    <a:pt x="591" y="238"/>
                    <a:pt x="600" y="244"/>
                    <a:pt x="601" y="240"/>
                  </a:cubicBezTo>
                  <a:cubicBezTo>
                    <a:pt x="603" y="237"/>
                    <a:pt x="592" y="239"/>
                    <a:pt x="592" y="236"/>
                  </a:cubicBezTo>
                  <a:cubicBezTo>
                    <a:pt x="592" y="233"/>
                    <a:pt x="595" y="234"/>
                    <a:pt x="597" y="232"/>
                  </a:cubicBezTo>
                  <a:cubicBezTo>
                    <a:pt x="599" y="230"/>
                    <a:pt x="595" y="227"/>
                    <a:pt x="592" y="225"/>
                  </a:cubicBezTo>
                  <a:cubicBezTo>
                    <a:pt x="590" y="224"/>
                    <a:pt x="589" y="228"/>
                    <a:pt x="587" y="228"/>
                  </a:cubicBezTo>
                  <a:cubicBezTo>
                    <a:pt x="584" y="228"/>
                    <a:pt x="586" y="224"/>
                    <a:pt x="588" y="222"/>
                  </a:cubicBezTo>
                  <a:cubicBezTo>
                    <a:pt x="590" y="219"/>
                    <a:pt x="580" y="217"/>
                    <a:pt x="576" y="218"/>
                  </a:cubicBezTo>
                  <a:cubicBezTo>
                    <a:pt x="571" y="219"/>
                    <a:pt x="570" y="217"/>
                    <a:pt x="570" y="214"/>
                  </a:cubicBezTo>
                  <a:cubicBezTo>
                    <a:pt x="570" y="211"/>
                    <a:pt x="562" y="214"/>
                    <a:pt x="560" y="216"/>
                  </a:cubicBezTo>
                  <a:cubicBezTo>
                    <a:pt x="557" y="218"/>
                    <a:pt x="553" y="214"/>
                    <a:pt x="557" y="214"/>
                  </a:cubicBezTo>
                  <a:cubicBezTo>
                    <a:pt x="560" y="213"/>
                    <a:pt x="565" y="210"/>
                    <a:pt x="563" y="207"/>
                  </a:cubicBezTo>
                  <a:cubicBezTo>
                    <a:pt x="562" y="204"/>
                    <a:pt x="553" y="204"/>
                    <a:pt x="551" y="208"/>
                  </a:cubicBezTo>
                  <a:cubicBezTo>
                    <a:pt x="550" y="212"/>
                    <a:pt x="542" y="203"/>
                    <a:pt x="542" y="200"/>
                  </a:cubicBezTo>
                  <a:cubicBezTo>
                    <a:pt x="542" y="197"/>
                    <a:pt x="531" y="200"/>
                    <a:pt x="532" y="194"/>
                  </a:cubicBezTo>
                  <a:cubicBezTo>
                    <a:pt x="534" y="189"/>
                    <a:pt x="519" y="188"/>
                    <a:pt x="515" y="188"/>
                  </a:cubicBezTo>
                  <a:cubicBezTo>
                    <a:pt x="511" y="188"/>
                    <a:pt x="505" y="191"/>
                    <a:pt x="506" y="194"/>
                  </a:cubicBezTo>
                  <a:cubicBezTo>
                    <a:pt x="507" y="198"/>
                    <a:pt x="502" y="197"/>
                    <a:pt x="501" y="193"/>
                  </a:cubicBezTo>
                  <a:cubicBezTo>
                    <a:pt x="500" y="189"/>
                    <a:pt x="491" y="197"/>
                    <a:pt x="488" y="197"/>
                  </a:cubicBezTo>
                  <a:cubicBezTo>
                    <a:pt x="485" y="197"/>
                    <a:pt x="490" y="187"/>
                    <a:pt x="488" y="183"/>
                  </a:cubicBezTo>
                  <a:cubicBezTo>
                    <a:pt x="487" y="180"/>
                    <a:pt x="485" y="179"/>
                    <a:pt x="483" y="174"/>
                  </a:cubicBezTo>
                  <a:cubicBezTo>
                    <a:pt x="480" y="168"/>
                    <a:pt x="470" y="171"/>
                    <a:pt x="467" y="174"/>
                  </a:cubicBezTo>
                  <a:cubicBezTo>
                    <a:pt x="464" y="177"/>
                    <a:pt x="455" y="176"/>
                    <a:pt x="450" y="180"/>
                  </a:cubicBezTo>
                  <a:cubicBezTo>
                    <a:pt x="445" y="185"/>
                    <a:pt x="450" y="190"/>
                    <a:pt x="452" y="192"/>
                  </a:cubicBezTo>
                  <a:cubicBezTo>
                    <a:pt x="454" y="194"/>
                    <a:pt x="445" y="197"/>
                    <a:pt x="448" y="200"/>
                  </a:cubicBezTo>
                  <a:cubicBezTo>
                    <a:pt x="451" y="203"/>
                    <a:pt x="456" y="201"/>
                    <a:pt x="456" y="206"/>
                  </a:cubicBezTo>
                  <a:cubicBezTo>
                    <a:pt x="457" y="210"/>
                    <a:pt x="445" y="204"/>
                    <a:pt x="443" y="200"/>
                  </a:cubicBezTo>
                  <a:cubicBezTo>
                    <a:pt x="441" y="197"/>
                    <a:pt x="444" y="193"/>
                    <a:pt x="441" y="190"/>
                  </a:cubicBezTo>
                  <a:cubicBezTo>
                    <a:pt x="439" y="187"/>
                    <a:pt x="441" y="184"/>
                    <a:pt x="445" y="179"/>
                  </a:cubicBezTo>
                  <a:cubicBezTo>
                    <a:pt x="450" y="174"/>
                    <a:pt x="454" y="174"/>
                    <a:pt x="454" y="172"/>
                  </a:cubicBezTo>
                  <a:cubicBezTo>
                    <a:pt x="454" y="169"/>
                    <a:pt x="434" y="169"/>
                    <a:pt x="422" y="179"/>
                  </a:cubicBezTo>
                  <a:cubicBezTo>
                    <a:pt x="410" y="190"/>
                    <a:pt x="414" y="204"/>
                    <a:pt x="414" y="207"/>
                  </a:cubicBezTo>
                  <a:cubicBezTo>
                    <a:pt x="415" y="210"/>
                    <a:pt x="425" y="209"/>
                    <a:pt x="432" y="210"/>
                  </a:cubicBezTo>
                  <a:cubicBezTo>
                    <a:pt x="438" y="212"/>
                    <a:pt x="434" y="215"/>
                    <a:pt x="430" y="214"/>
                  </a:cubicBezTo>
                  <a:cubicBezTo>
                    <a:pt x="425" y="213"/>
                    <a:pt x="417" y="212"/>
                    <a:pt x="418" y="215"/>
                  </a:cubicBezTo>
                  <a:cubicBezTo>
                    <a:pt x="418" y="218"/>
                    <a:pt x="428" y="224"/>
                    <a:pt x="433" y="223"/>
                  </a:cubicBezTo>
                  <a:cubicBezTo>
                    <a:pt x="439" y="222"/>
                    <a:pt x="439" y="222"/>
                    <a:pt x="442" y="225"/>
                  </a:cubicBezTo>
                  <a:cubicBezTo>
                    <a:pt x="444" y="228"/>
                    <a:pt x="451" y="227"/>
                    <a:pt x="458" y="227"/>
                  </a:cubicBezTo>
                  <a:cubicBezTo>
                    <a:pt x="464" y="228"/>
                    <a:pt x="472" y="230"/>
                    <a:pt x="475" y="230"/>
                  </a:cubicBezTo>
                  <a:cubicBezTo>
                    <a:pt x="479" y="231"/>
                    <a:pt x="483" y="229"/>
                    <a:pt x="484" y="227"/>
                  </a:cubicBezTo>
                  <a:cubicBezTo>
                    <a:pt x="485" y="225"/>
                    <a:pt x="498" y="230"/>
                    <a:pt x="502" y="229"/>
                  </a:cubicBezTo>
                  <a:cubicBezTo>
                    <a:pt x="506" y="229"/>
                    <a:pt x="503" y="225"/>
                    <a:pt x="501" y="224"/>
                  </a:cubicBezTo>
                  <a:cubicBezTo>
                    <a:pt x="498" y="223"/>
                    <a:pt x="499" y="219"/>
                    <a:pt x="503" y="220"/>
                  </a:cubicBezTo>
                  <a:cubicBezTo>
                    <a:pt x="506" y="222"/>
                    <a:pt x="511" y="223"/>
                    <a:pt x="512" y="227"/>
                  </a:cubicBezTo>
                  <a:cubicBezTo>
                    <a:pt x="513" y="229"/>
                    <a:pt x="516" y="228"/>
                    <a:pt x="516" y="230"/>
                  </a:cubicBezTo>
                  <a:cubicBezTo>
                    <a:pt x="517" y="233"/>
                    <a:pt x="528" y="236"/>
                    <a:pt x="529" y="239"/>
                  </a:cubicBezTo>
                  <a:cubicBezTo>
                    <a:pt x="529" y="241"/>
                    <a:pt x="517" y="243"/>
                    <a:pt x="521" y="245"/>
                  </a:cubicBezTo>
                  <a:cubicBezTo>
                    <a:pt x="524" y="248"/>
                    <a:pt x="529" y="242"/>
                    <a:pt x="533" y="242"/>
                  </a:cubicBezTo>
                  <a:cubicBezTo>
                    <a:pt x="537" y="241"/>
                    <a:pt x="537" y="251"/>
                    <a:pt x="541" y="250"/>
                  </a:cubicBezTo>
                  <a:cubicBezTo>
                    <a:pt x="545" y="248"/>
                    <a:pt x="549" y="251"/>
                    <a:pt x="553" y="258"/>
                  </a:cubicBezTo>
                  <a:cubicBezTo>
                    <a:pt x="557" y="264"/>
                    <a:pt x="552" y="269"/>
                    <a:pt x="553" y="271"/>
                  </a:cubicBezTo>
                  <a:cubicBezTo>
                    <a:pt x="553" y="274"/>
                    <a:pt x="561" y="273"/>
                    <a:pt x="566" y="270"/>
                  </a:cubicBezTo>
                  <a:cubicBezTo>
                    <a:pt x="571" y="268"/>
                    <a:pt x="575" y="273"/>
                    <a:pt x="578" y="276"/>
                  </a:cubicBezTo>
                  <a:cubicBezTo>
                    <a:pt x="582" y="280"/>
                    <a:pt x="565" y="285"/>
                    <a:pt x="567" y="282"/>
                  </a:cubicBezTo>
                  <a:cubicBezTo>
                    <a:pt x="568" y="279"/>
                    <a:pt x="557" y="271"/>
                    <a:pt x="546" y="275"/>
                  </a:cubicBezTo>
                  <a:cubicBezTo>
                    <a:pt x="536" y="279"/>
                    <a:pt x="543" y="285"/>
                    <a:pt x="544" y="288"/>
                  </a:cubicBezTo>
                  <a:cubicBezTo>
                    <a:pt x="545" y="292"/>
                    <a:pt x="535" y="295"/>
                    <a:pt x="525" y="292"/>
                  </a:cubicBezTo>
                  <a:cubicBezTo>
                    <a:pt x="516" y="289"/>
                    <a:pt x="519" y="294"/>
                    <a:pt x="515" y="294"/>
                  </a:cubicBezTo>
                  <a:cubicBezTo>
                    <a:pt x="511" y="294"/>
                    <a:pt x="506" y="300"/>
                    <a:pt x="510" y="304"/>
                  </a:cubicBezTo>
                  <a:cubicBezTo>
                    <a:pt x="514" y="308"/>
                    <a:pt x="521" y="305"/>
                    <a:pt x="528" y="305"/>
                  </a:cubicBezTo>
                  <a:cubicBezTo>
                    <a:pt x="534" y="305"/>
                    <a:pt x="535" y="307"/>
                    <a:pt x="536" y="304"/>
                  </a:cubicBezTo>
                  <a:cubicBezTo>
                    <a:pt x="536" y="300"/>
                    <a:pt x="543" y="302"/>
                    <a:pt x="548" y="303"/>
                  </a:cubicBezTo>
                  <a:cubicBezTo>
                    <a:pt x="552" y="304"/>
                    <a:pt x="551" y="310"/>
                    <a:pt x="557" y="311"/>
                  </a:cubicBezTo>
                  <a:cubicBezTo>
                    <a:pt x="563" y="312"/>
                    <a:pt x="558" y="317"/>
                    <a:pt x="562" y="321"/>
                  </a:cubicBezTo>
                  <a:cubicBezTo>
                    <a:pt x="565" y="325"/>
                    <a:pt x="577" y="323"/>
                    <a:pt x="581" y="327"/>
                  </a:cubicBezTo>
                  <a:cubicBezTo>
                    <a:pt x="585" y="332"/>
                    <a:pt x="603" y="340"/>
                    <a:pt x="606" y="337"/>
                  </a:cubicBezTo>
                  <a:cubicBezTo>
                    <a:pt x="609" y="334"/>
                    <a:pt x="590" y="317"/>
                    <a:pt x="585" y="316"/>
                  </a:cubicBezTo>
                  <a:cubicBezTo>
                    <a:pt x="580" y="314"/>
                    <a:pt x="590" y="312"/>
                    <a:pt x="597" y="318"/>
                  </a:cubicBezTo>
                  <a:cubicBezTo>
                    <a:pt x="604" y="323"/>
                    <a:pt x="614" y="326"/>
                    <a:pt x="619" y="319"/>
                  </a:cubicBezTo>
                  <a:cubicBezTo>
                    <a:pt x="624" y="313"/>
                    <a:pt x="615" y="315"/>
                    <a:pt x="615" y="310"/>
                  </a:cubicBezTo>
                  <a:cubicBezTo>
                    <a:pt x="615" y="305"/>
                    <a:pt x="611" y="299"/>
                    <a:pt x="606" y="299"/>
                  </a:cubicBezTo>
                  <a:cubicBezTo>
                    <a:pt x="601" y="299"/>
                    <a:pt x="588" y="289"/>
                    <a:pt x="593" y="287"/>
                  </a:cubicBezTo>
                  <a:cubicBezTo>
                    <a:pt x="598" y="285"/>
                    <a:pt x="592" y="282"/>
                    <a:pt x="595" y="278"/>
                  </a:cubicBezTo>
                  <a:cubicBezTo>
                    <a:pt x="599" y="274"/>
                    <a:pt x="602" y="281"/>
                    <a:pt x="607" y="282"/>
                  </a:cubicBezTo>
                  <a:close/>
                  <a:moveTo>
                    <a:pt x="531" y="265"/>
                  </a:moveTo>
                  <a:cubicBezTo>
                    <a:pt x="536" y="264"/>
                    <a:pt x="535" y="257"/>
                    <a:pt x="532" y="254"/>
                  </a:cubicBezTo>
                  <a:cubicBezTo>
                    <a:pt x="531" y="251"/>
                    <a:pt x="526" y="251"/>
                    <a:pt x="522" y="251"/>
                  </a:cubicBezTo>
                  <a:cubicBezTo>
                    <a:pt x="518" y="252"/>
                    <a:pt x="511" y="258"/>
                    <a:pt x="515" y="264"/>
                  </a:cubicBezTo>
                  <a:cubicBezTo>
                    <a:pt x="519" y="270"/>
                    <a:pt x="527" y="265"/>
                    <a:pt x="531" y="265"/>
                  </a:cubicBezTo>
                  <a:close/>
                  <a:moveTo>
                    <a:pt x="487" y="172"/>
                  </a:moveTo>
                  <a:cubicBezTo>
                    <a:pt x="485" y="177"/>
                    <a:pt x="491" y="177"/>
                    <a:pt x="492" y="182"/>
                  </a:cubicBezTo>
                  <a:cubicBezTo>
                    <a:pt x="492" y="187"/>
                    <a:pt x="499" y="189"/>
                    <a:pt x="504" y="186"/>
                  </a:cubicBezTo>
                  <a:cubicBezTo>
                    <a:pt x="509" y="183"/>
                    <a:pt x="523" y="187"/>
                    <a:pt x="523" y="183"/>
                  </a:cubicBezTo>
                  <a:cubicBezTo>
                    <a:pt x="523" y="179"/>
                    <a:pt x="508" y="172"/>
                    <a:pt x="503" y="173"/>
                  </a:cubicBezTo>
                  <a:cubicBezTo>
                    <a:pt x="498" y="174"/>
                    <a:pt x="489" y="167"/>
                    <a:pt x="487" y="172"/>
                  </a:cubicBezTo>
                  <a:close/>
                  <a:moveTo>
                    <a:pt x="621" y="475"/>
                  </a:moveTo>
                  <a:cubicBezTo>
                    <a:pt x="621" y="478"/>
                    <a:pt x="642" y="487"/>
                    <a:pt x="643" y="483"/>
                  </a:cubicBezTo>
                  <a:cubicBezTo>
                    <a:pt x="643" y="479"/>
                    <a:pt x="620" y="473"/>
                    <a:pt x="621" y="475"/>
                  </a:cubicBezTo>
                  <a:close/>
                  <a:moveTo>
                    <a:pt x="711" y="497"/>
                  </a:moveTo>
                  <a:cubicBezTo>
                    <a:pt x="710" y="499"/>
                    <a:pt x="707" y="495"/>
                    <a:pt x="711" y="492"/>
                  </a:cubicBezTo>
                  <a:cubicBezTo>
                    <a:pt x="714" y="490"/>
                    <a:pt x="710" y="489"/>
                    <a:pt x="707" y="491"/>
                  </a:cubicBezTo>
                  <a:cubicBezTo>
                    <a:pt x="704" y="492"/>
                    <a:pt x="705" y="484"/>
                    <a:pt x="708" y="483"/>
                  </a:cubicBezTo>
                  <a:cubicBezTo>
                    <a:pt x="710" y="481"/>
                    <a:pt x="701" y="478"/>
                    <a:pt x="701" y="481"/>
                  </a:cubicBezTo>
                  <a:cubicBezTo>
                    <a:pt x="701" y="484"/>
                    <a:pt x="695" y="482"/>
                    <a:pt x="694" y="480"/>
                  </a:cubicBezTo>
                  <a:cubicBezTo>
                    <a:pt x="693" y="477"/>
                    <a:pt x="689" y="477"/>
                    <a:pt x="691" y="475"/>
                  </a:cubicBezTo>
                  <a:cubicBezTo>
                    <a:pt x="692" y="473"/>
                    <a:pt x="685" y="472"/>
                    <a:pt x="684" y="475"/>
                  </a:cubicBezTo>
                  <a:cubicBezTo>
                    <a:pt x="684" y="478"/>
                    <a:pt x="682" y="473"/>
                    <a:pt x="685" y="469"/>
                  </a:cubicBezTo>
                  <a:cubicBezTo>
                    <a:pt x="689" y="466"/>
                    <a:pt x="688" y="462"/>
                    <a:pt x="691" y="460"/>
                  </a:cubicBezTo>
                  <a:cubicBezTo>
                    <a:pt x="694" y="458"/>
                    <a:pt x="691" y="456"/>
                    <a:pt x="687" y="458"/>
                  </a:cubicBezTo>
                  <a:cubicBezTo>
                    <a:pt x="683" y="459"/>
                    <a:pt x="674" y="472"/>
                    <a:pt x="674" y="476"/>
                  </a:cubicBezTo>
                  <a:cubicBezTo>
                    <a:pt x="674" y="479"/>
                    <a:pt x="674" y="484"/>
                    <a:pt x="670" y="483"/>
                  </a:cubicBezTo>
                  <a:cubicBezTo>
                    <a:pt x="667" y="483"/>
                    <a:pt x="663" y="486"/>
                    <a:pt x="666" y="488"/>
                  </a:cubicBezTo>
                  <a:cubicBezTo>
                    <a:pt x="668" y="490"/>
                    <a:pt x="659" y="496"/>
                    <a:pt x="663" y="498"/>
                  </a:cubicBezTo>
                  <a:cubicBezTo>
                    <a:pt x="667" y="500"/>
                    <a:pt x="672" y="497"/>
                    <a:pt x="676" y="498"/>
                  </a:cubicBezTo>
                  <a:cubicBezTo>
                    <a:pt x="680" y="498"/>
                    <a:pt x="684" y="498"/>
                    <a:pt x="687" y="496"/>
                  </a:cubicBezTo>
                  <a:cubicBezTo>
                    <a:pt x="691" y="493"/>
                    <a:pt x="691" y="498"/>
                    <a:pt x="695" y="498"/>
                  </a:cubicBezTo>
                  <a:cubicBezTo>
                    <a:pt x="698" y="497"/>
                    <a:pt x="693" y="501"/>
                    <a:pt x="693" y="503"/>
                  </a:cubicBezTo>
                  <a:cubicBezTo>
                    <a:pt x="693" y="506"/>
                    <a:pt x="697" y="502"/>
                    <a:pt x="700" y="501"/>
                  </a:cubicBezTo>
                  <a:cubicBezTo>
                    <a:pt x="702" y="499"/>
                    <a:pt x="706" y="501"/>
                    <a:pt x="705" y="503"/>
                  </a:cubicBezTo>
                  <a:cubicBezTo>
                    <a:pt x="703" y="505"/>
                    <a:pt x="712" y="508"/>
                    <a:pt x="715" y="504"/>
                  </a:cubicBezTo>
                  <a:cubicBezTo>
                    <a:pt x="717" y="500"/>
                    <a:pt x="712" y="494"/>
                    <a:pt x="711" y="497"/>
                  </a:cubicBezTo>
                  <a:close/>
                  <a:moveTo>
                    <a:pt x="66" y="431"/>
                  </a:moveTo>
                  <a:cubicBezTo>
                    <a:pt x="60" y="435"/>
                    <a:pt x="75" y="451"/>
                    <a:pt x="79" y="449"/>
                  </a:cubicBezTo>
                  <a:cubicBezTo>
                    <a:pt x="81" y="447"/>
                    <a:pt x="75" y="441"/>
                    <a:pt x="75" y="436"/>
                  </a:cubicBezTo>
                  <a:cubicBezTo>
                    <a:pt x="75" y="432"/>
                    <a:pt x="73" y="428"/>
                    <a:pt x="66" y="431"/>
                  </a:cubicBezTo>
                  <a:close/>
                  <a:moveTo>
                    <a:pt x="654" y="513"/>
                  </a:moveTo>
                  <a:cubicBezTo>
                    <a:pt x="652" y="513"/>
                    <a:pt x="654" y="509"/>
                    <a:pt x="654" y="507"/>
                  </a:cubicBezTo>
                  <a:cubicBezTo>
                    <a:pt x="654" y="505"/>
                    <a:pt x="649" y="508"/>
                    <a:pt x="648" y="510"/>
                  </a:cubicBezTo>
                  <a:cubicBezTo>
                    <a:pt x="648" y="513"/>
                    <a:pt x="644" y="513"/>
                    <a:pt x="644" y="515"/>
                  </a:cubicBezTo>
                  <a:cubicBezTo>
                    <a:pt x="644" y="519"/>
                    <a:pt x="644" y="517"/>
                    <a:pt x="641" y="518"/>
                  </a:cubicBezTo>
                  <a:cubicBezTo>
                    <a:pt x="638" y="520"/>
                    <a:pt x="627" y="518"/>
                    <a:pt x="627" y="516"/>
                  </a:cubicBezTo>
                  <a:cubicBezTo>
                    <a:pt x="626" y="513"/>
                    <a:pt x="618" y="512"/>
                    <a:pt x="618" y="509"/>
                  </a:cubicBezTo>
                  <a:cubicBezTo>
                    <a:pt x="618" y="505"/>
                    <a:pt x="614" y="504"/>
                    <a:pt x="617" y="500"/>
                  </a:cubicBezTo>
                  <a:cubicBezTo>
                    <a:pt x="620" y="497"/>
                    <a:pt x="616" y="495"/>
                    <a:pt x="613" y="498"/>
                  </a:cubicBezTo>
                  <a:cubicBezTo>
                    <a:pt x="610" y="501"/>
                    <a:pt x="608" y="496"/>
                    <a:pt x="613" y="495"/>
                  </a:cubicBezTo>
                  <a:cubicBezTo>
                    <a:pt x="617" y="493"/>
                    <a:pt x="624" y="491"/>
                    <a:pt x="620" y="484"/>
                  </a:cubicBezTo>
                  <a:cubicBezTo>
                    <a:pt x="616" y="477"/>
                    <a:pt x="592" y="486"/>
                    <a:pt x="586" y="490"/>
                  </a:cubicBezTo>
                  <a:cubicBezTo>
                    <a:pt x="579" y="494"/>
                    <a:pt x="572" y="505"/>
                    <a:pt x="568" y="505"/>
                  </a:cubicBezTo>
                  <a:cubicBezTo>
                    <a:pt x="565" y="505"/>
                    <a:pt x="574" y="499"/>
                    <a:pt x="575" y="497"/>
                  </a:cubicBezTo>
                  <a:cubicBezTo>
                    <a:pt x="577" y="494"/>
                    <a:pt x="575" y="492"/>
                    <a:pt x="577" y="493"/>
                  </a:cubicBezTo>
                  <a:cubicBezTo>
                    <a:pt x="579" y="494"/>
                    <a:pt x="585" y="485"/>
                    <a:pt x="588" y="482"/>
                  </a:cubicBezTo>
                  <a:cubicBezTo>
                    <a:pt x="592" y="479"/>
                    <a:pt x="596" y="482"/>
                    <a:pt x="597" y="480"/>
                  </a:cubicBezTo>
                  <a:cubicBezTo>
                    <a:pt x="597" y="477"/>
                    <a:pt x="599" y="476"/>
                    <a:pt x="603" y="473"/>
                  </a:cubicBezTo>
                  <a:cubicBezTo>
                    <a:pt x="606" y="469"/>
                    <a:pt x="649" y="470"/>
                    <a:pt x="653" y="470"/>
                  </a:cubicBezTo>
                  <a:cubicBezTo>
                    <a:pt x="657" y="470"/>
                    <a:pt x="665" y="465"/>
                    <a:pt x="667" y="461"/>
                  </a:cubicBezTo>
                  <a:cubicBezTo>
                    <a:pt x="670" y="458"/>
                    <a:pt x="673" y="458"/>
                    <a:pt x="678" y="458"/>
                  </a:cubicBezTo>
                  <a:cubicBezTo>
                    <a:pt x="684" y="458"/>
                    <a:pt x="687" y="453"/>
                    <a:pt x="690" y="451"/>
                  </a:cubicBezTo>
                  <a:cubicBezTo>
                    <a:pt x="692" y="449"/>
                    <a:pt x="691" y="448"/>
                    <a:pt x="689" y="448"/>
                  </a:cubicBezTo>
                  <a:cubicBezTo>
                    <a:pt x="686" y="447"/>
                    <a:pt x="684" y="446"/>
                    <a:pt x="687" y="446"/>
                  </a:cubicBezTo>
                  <a:cubicBezTo>
                    <a:pt x="689" y="445"/>
                    <a:pt x="690" y="444"/>
                    <a:pt x="691" y="441"/>
                  </a:cubicBezTo>
                  <a:cubicBezTo>
                    <a:pt x="692" y="437"/>
                    <a:pt x="690" y="439"/>
                    <a:pt x="687" y="434"/>
                  </a:cubicBezTo>
                  <a:cubicBezTo>
                    <a:pt x="684" y="430"/>
                    <a:pt x="682" y="436"/>
                    <a:pt x="679" y="436"/>
                  </a:cubicBezTo>
                  <a:cubicBezTo>
                    <a:pt x="675" y="435"/>
                    <a:pt x="681" y="431"/>
                    <a:pt x="678" y="429"/>
                  </a:cubicBezTo>
                  <a:cubicBezTo>
                    <a:pt x="675" y="427"/>
                    <a:pt x="670" y="429"/>
                    <a:pt x="666" y="432"/>
                  </a:cubicBezTo>
                  <a:cubicBezTo>
                    <a:pt x="661" y="436"/>
                    <a:pt x="662" y="432"/>
                    <a:pt x="658" y="436"/>
                  </a:cubicBezTo>
                  <a:cubicBezTo>
                    <a:pt x="654" y="439"/>
                    <a:pt x="654" y="434"/>
                    <a:pt x="656" y="432"/>
                  </a:cubicBezTo>
                  <a:cubicBezTo>
                    <a:pt x="658" y="431"/>
                    <a:pt x="659" y="433"/>
                    <a:pt x="661" y="430"/>
                  </a:cubicBezTo>
                  <a:cubicBezTo>
                    <a:pt x="662" y="428"/>
                    <a:pt x="664" y="430"/>
                    <a:pt x="668" y="428"/>
                  </a:cubicBezTo>
                  <a:cubicBezTo>
                    <a:pt x="672" y="425"/>
                    <a:pt x="675" y="426"/>
                    <a:pt x="677" y="424"/>
                  </a:cubicBezTo>
                  <a:cubicBezTo>
                    <a:pt x="678" y="422"/>
                    <a:pt x="675" y="420"/>
                    <a:pt x="671" y="421"/>
                  </a:cubicBezTo>
                  <a:cubicBezTo>
                    <a:pt x="667" y="421"/>
                    <a:pt x="664" y="415"/>
                    <a:pt x="662" y="417"/>
                  </a:cubicBezTo>
                  <a:cubicBezTo>
                    <a:pt x="659" y="419"/>
                    <a:pt x="660" y="414"/>
                    <a:pt x="657" y="416"/>
                  </a:cubicBezTo>
                  <a:cubicBezTo>
                    <a:pt x="654" y="418"/>
                    <a:pt x="652" y="416"/>
                    <a:pt x="651" y="412"/>
                  </a:cubicBezTo>
                  <a:cubicBezTo>
                    <a:pt x="650" y="409"/>
                    <a:pt x="642" y="403"/>
                    <a:pt x="638" y="402"/>
                  </a:cubicBezTo>
                  <a:cubicBezTo>
                    <a:pt x="633" y="400"/>
                    <a:pt x="636" y="398"/>
                    <a:pt x="639" y="400"/>
                  </a:cubicBezTo>
                  <a:cubicBezTo>
                    <a:pt x="641" y="401"/>
                    <a:pt x="644" y="398"/>
                    <a:pt x="645" y="396"/>
                  </a:cubicBezTo>
                  <a:cubicBezTo>
                    <a:pt x="646" y="394"/>
                    <a:pt x="643" y="393"/>
                    <a:pt x="642" y="393"/>
                  </a:cubicBezTo>
                  <a:cubicBezTo>
                    <a:pt x="640" y="392"/>
                    <a:pt x="640" y="390"/>
                    <a:pt x="641" y="388"/>
                  </a:cubicBezTo>
                  <a:cubicBezTo>
                    <a:pt x="641" y="386"/>
                    <a:pt x="636" y="384"/>
                    <a:pt x="636" y="382"/>
                  </a:cubicBezTo>
                  <a:cubicBezTo>
                    <a:pt x="635" y="381"/>
                    <a:pt x="632" y="379"/>
                    <a:pt x="633" y="378"/>
                  </a:cubicBezTo>
                  <a:cubicBezTo>
                    <a:pt x="633" y="376"/>
                    <a:pt x="629" y="374"/>
                    <a:pt x="629" y="372"/>
                  </a:cubicBezTo>
                  <a:cubicBezTo>
                    <a:pt x="629" y="370"/>
                    <a:pt x="624" y="365"/>
                    <a:pt x="624" y="363"/>
                  </a:cubicBezTo>
                  <a:cubicBezTo>
                    <a:pt x="624" y="360"/>
                    <a:pt x="621" y="358"/>
                    <a:pt x="620" y="355"/>
                  </a:cubicBezTo>
                  <a:cubicBezTo>
                    <a:pt x="619" y="352"/>
                    <a:pt x="617" y="354"/>
                    <a:pt x="616" y="358"/>
                  </a:cubicBezTo>
                  <a:cubicBezTo>
                    <a:pt x="615" y="362"/>
                    <a:pt x="611" y="362"/>
                    <a:pt x="613" y="364"/>
                  </a:cubicBezTo>
                  <a:cubicBezTo>
                    <a:pt x="615" y="367"/>
                    <a:pt x="613" y="367"/>
                    <a:pt x="611" y="368"/>
                  </a:cubicBezTo>
                  <a:cubicBezTo>
                    <a:pt x="610" y="370"/>
                    <a:pt x="613" y="373"/>
                    <a:pt x="610" y="373"/>
                  </a:cubicBezTo>
                  <a:cubicBezTo>
                    <a:pt x="607" y="373"/>
                    <a:pt x="608" y="378"/>
                    <a:pt x="607" y="376"/>
                  </a:cubicBezTo>
                  <a:cubicBezTo>
                    <a:pt x="606" y="373"/>
                    <a:pt x="602" y="374"/>
                    <a:pt x="602" y="377"/>
                  </a:cubicBezTo>
                  <a:cubicBezTo>
                    <a:pt x="602" y="379"/>
                    <a:pt x="596" y="381"/>
                    <a:pt x="594" y="381"/>
                  </a:cubicBezTo>
                  <a:cubicBezTo>
                    <a:pt x="592" y="381"/>
                    <a:pt x="592" y="376"/>
                    <a:pt x="590" y="378"/>
                  </a:cubicBezTo>
                  <a:cubicBezTo>
                    <a:pt x="588" y="379"/>
                    <a:pt x="588" y="374"/>
                    <a:pt x="585" y="374"/>
                  </a:cubicBezTo>
                  <a:cubicBezTo>
                    <a:pt x="582" y="374"/>
                    <a:pt x="580" y="374"/>
                    <a:pt x="581" y="371"/>
                  </a:cubicBezTo>
                  <a:cubicBezTo>
                    <a:pt x="582" y="368"/>
                    <a:pt x="576" y="367"/>
                    <a:pt x="578" y="365"/>
                  </a:cubicBezTo>
                  <a:cubicBezTo>
                    <a:pt x="580" y="364"/>
                    <a:pt x="577" y="361"/>
                    <a:pt x="577" y="356"/>
                  </a:cubicBezTo>
                  <a:cubicBezTo>
                    <a:pt x="577" y="352"/>
                    <a:pt x="580" y="351"/>
                    <a:pt x="580" y="350"/>
                  </a:cubicBezTo>
                  <a:cubicBezTo>
                    <a:pt x="580" y="348"/>
                    <a:pt x="577" y="348"/>
                    <a:pt x="575" y="349"/>
                  </a:cubicBezTo>
                  <a:cubicBezTo>
                    <a:pt x="573" y="351"/>
                    <a:pt x="573" y="347"/>
                    <a:pt x="571" y="347"/>
                  </a:cubicBezTo>
                  <a:cubicBezTo>
                    <a:pt x="568" y="348"/>
                    <a:pt x="562" y="347"/>
                    <a:pt x="561" y="344"/>
                  </a:cubicBezTo>
                  <a:cubicBezTo>
                    <a:pt x="561" y="341"/>
                    <a:pt x="559" y="342"/>
                    <a:pt x="557" y="339"/>
                  </a:cubicBezTo>
                  <a:cubicBezTo>
                    <a:pt x="556" y="336"/>
                    <a:pt x="554" y="339"/>
                    <a:pt x="554" y="337"/>
                  </a:cubicBezTo>
                  <a:cubicBezTo>
                    <a:pt x="554" y="334"/>
                    <a:pt x="552" y="334"/>
                    <a:pt x="550" y="333"/>
                  </a:cubicBezTo>
                  <a:cubicBezTo>
                    <a:pt x="548" y="333"/>
                    <a:pt x="547" y="331"/>
                    <a:pt x="544" y="330"/>
                  </a:cubicBezTo>
                  <a:cubicBezTo>
                    <a:pt x="542" y="330"/>
                    <a:pt x="538" y="332"/>
                    <a:pt x="536" y="333"/>
                  </a:cubicBezTo>
                  <a:cubicBezTo>
                    <a:pt x="535" y="334"/>
                    <a:pt x="531" y="331"/>
                    <a:pt x="529" y="332"/>
                  </a:cubicBezTo>
                  <a:cubicBezTo>
                    <a:pt x="527" y="333"/>
                    <a:pt x="527" y="331"/>
                    <a:pt x="523" y="330"/>
                  </a:cubicBezTo>
                  <a:cubicBezTo>
                    <a:pt x="518" y="329"/>
                    <a:pt x="512" y="328"/>
                    <a:pt x="512" y="330"/>
                  </a:cubicBezTo>
                  <a:cubicBezTo>
                    <a:pt x="512" y="331"/>
                    <a:pt x="508" y="332"/>
                    <a:pt x="509" y="336"/>
                  </a:cubicBezTo>
                  <a:cubicBezTo>
                    <a:pt x="509" y="339"/>
                    <a:pt x="513" y="339"/>
                    <a:pt x="514" y="341"/>
                  </a:cubicBezTo>
                  <a:cubicBezTo>
                    <a:pt x="515" y="344"/>
                    <a:pt x="512" y="343"/>
                    <a:pt x="512" y="345"/>
                  </a:cubicBezTo>
                  <a:cubicBezTo>
                    <a:pt x="512" y="347"/>
                    <a:pt x="509" y="347"/>
                    <a:pt x="509" y="349"/>
                  </a:cubicBezTo>
                  <a:cubicBezTo>
                    <a:pt x="509" y="350"/>
                    <a:pt x="511" y="350"/>
                    <a:pt x="512" y="353"/>
                  </a:cubicBezTo>
                  <a:cubicBezTo>
                    <a:pt x="513" y="357"/>
                    <a:pt x="514" y="356"/>
                    <a:pt x="515" y="361"/>
                  </a:cubicBezTo>
                  <a:cubicBezTo>
                    <a:pt x="516" y="365"/>
                    <a:pt x="514" y="364"/>
                    <a:pt x="512" y="365"/>
                  </a:cubicBezTo>
                  <a:cubicBezTo>
                    <a:pt x="510" y="365"/>
                    <a:pt x="512" y="367"/>
                    <a:pt x="509" y="370"/>
                  </a:cubicBezTo>
                  <a:cubicBezTo>
                    <a:pt x="507" y="373"/>
                    <a:pt x="505" y="376"/>
                    <a:pt x="507" y="378"/>
                  </a:cubicBezTo>
                  <a:cubicBezTo>
                    <a:pt x="509" y="380"/>
                    <a:pt x="516" y="383"/>
                    <a:pt x="519" y="387"/>
                  </a:cubicBezTo>
                  <a:cubicBezTo>
                    <a:pt x="522" y="392"/>
                    <a:pt x="522" y="400"/>
                    <a:pt x="521" y="405"/>
                  </a:cubicBezTo>
                  <a:cubicBezTo>
                    <a:pt x="520" y="410"/>
                    <a:pt x="514" y="412"/>
                    <a:pt x="509" y="416"/>
                  </a:cubicBezTo>
                  <a:cubicBezTo>
                    <a:pt x="505" y="421"/>
                    <a:pt x="500" y="420"/>
                    <a:pt x="498" y="420"/>
                  </a:cubicBezTo>
                  <a:cubicBezTo>
                    <a:pt x="496" y="421"/>
                    <a:pt x="497" y="425"/>
                    <a:pt x="500" y="428"/>
                  </a:cubicBezTo>
                  <a:cubicBezTo>
                    <a:pt x="503" y="432"/>
                    <a:pt x="501" y="433"/>
                    <a:pt x="502" y="436"/>
                  </a:cubicBezTo>
                  <a:cubicBezTo>
                    <a:pt x="504" y="440"/>
                    <a:pt x="502" y="443"/>
                    <a:pt x="505" y="446"/>
                  </a:cubicBezTo>
                  <a:cubicBezTo>
                    <a:pt x="507" y="449"/>
                    <a:pt x="506" y="450"/>
                    <a:pt x="503" y="453"/>
                  </a:cubicBezTo>
                  <a:cubicBezTo>
                    <a:pt x="500" y="455"/>
                    <a:pt x="504" y="454"/>
                    <a:pt x="504" y="457"/>
                  </a:cubicBezTo>
                  <a:cubicBezTo>
                    <a:pt x="504" y="460"/>
                    <a:pt x="503" y="458"/>
                    <a:pt x="501" y="456"/>
                  </a:cubicBezTo>
                  <a:cubicBezTo>
                    <a:pt x="498" y="455"/>
                    <a:pt x="496" y="459"/>
                    <a:pt x="496" y="461"/>
                  </a:cubicBezTo>
                  <a:cubicBezTo>
                    <a:pt x="496" y="463"/>
                    <a:pt x="491" y="459"/>
                    <a:pt x="489" y="459"/>
                  </a:cubicBezTo>
                  <a:cubicBezTo>
                    <a:pt x="488" y="459"/>
                    <a:pt x="490" y="456"/>
                    <a:pt x="486" y="453"/>
                  </a:cubicBezTo>
                  <a:cubicBezTo>
                    <a:pt x="483" y="451"/>
                    <a:pt x="481" y="450"/>
                    <a:pt x="481" y="448"/>
                  </a:cubicBezTo>
                  <a:cubicBezTo>
                    <a:pt x="481" y="445"/>
                    <a:pt x="475" y="444"/>
                    <a:pt x="475" y="441"/>
                  </a:cubicBezTo>
                  <a:cubicBezTo>
                    <a:pt x="475" y="438"/>
                    <a:pt x="476" y="431"/>
                    <a:pt x="475" y="428"/>
                  </a:cubicBezTo>
                  <a:cubicBezTo>
                    <a:pt x="473" y="426"/>
                    <a:pt x="475" y="424"/>
                    <a:pt x="476" y="422"/>
                  </a:cubicBezTo>
                  <a:cubicBezTo>
                    <a:pt x="477" y="420"/>
                    <a:pt x="474" y="417"/>
                    <a:pt x="471" y="417"/>
                  </a:cubicBezTo>
                  <a:cubicBezTo>
                    <a:pt x="468" y="417"/>
                    <a:pt x="463" y="416"/>
                    <a:pt x="459" y="416"/>
                  </a:cubicBezTo>
                  <a:cubicBezTo>
                    <a:pt x="455" y="417"/>
                    <a:pt x="452" y="416"/>
                    <a:pt x="451" y="415"/>
                  </a:cubicBezTo>
                  <a:cubicBezTo>
                    <a:pt x="449" y="413"/>
                    <a:pt x="445" y="411"/>
                    <a:pt x="440" y="409"/>
                  </a:cubicBezTo>
                  <a:cubicBezTo>
                    <a:pt x="434" y="408"/>
                    <a:pt x="432" y="405"/>
                    <a:pt x="431" y="403"/>
                  </a:cubicBezTo>
                  <a:cubicBezTo>
                    <a:pt x="430" y="402"/>
                    <a:pt x="425" y="401"/>
                    <a:pt x="424" y="399"/>
                  </a:cubicBezTo>
                  <a:cubicBezTo>
                    <a:pt x="422" y="397"/>
                    <a:pt x="417" y="396"/>
                    <a:pt x="415" y="397"/>
                  </a:cubicBezTo>
                  <a:cubicBezTo>
                    <a:pt x="413" y="397"/>
                    <a:pt x="407" y="392"/>
                    <a:pt x="404" y="393"/>
                  </a:cubicBezTo>
                  <a:cubicBezTo>
                    <a:pt x="401" y="393"/>
                    <a:pt x="394" y="396"/>
                    <a:pt x="392" y="396"/>
                  </a:cubicBezTo>
                  <a:cubicBezTo>
                    <a:pt x="391" y="396"/>
                    <a:pt x="392" y="393"/>
                    <a:pt x="393" y="392"/>
                  </a:cubicBezTo>
                  <a:cubicBezTo>
                    <a:pt x="394" y="391"/>
                    <a:pt x="391" y="386"/>
                    <a:pt x="390" y="382"/>
                  </a:cubicBezTo>
                  <a:cubicBezTo>
                    <a:pt x="389" y="378"/>
                    <a:pt x="388" y="375"/>
                    <a:pt x="384" y="375"/>
                  </a:cubicBezTo>
                  <a:cubicBezTo>
                    <a:pt x="380" y="376"/>
                    <a:pt x="376" y="374"/>
                    <a:pt x="375" y="373"/>
                  </a:cubicBezTo>
                  <a:cubicBezTo>
                    <a:pt x="374" y="372"/>
                    <a:pt x="374" y="362"/>
                    <a:pt x="375" y="358"/>
                  </a:cubicBezTo>
                  <a:cubicBezTo>
                    <a:pt x="376" y="353"/>
                    <a:pt x="380" y="347"/>
                    <a:pt x="380" y="344"/>
                  </a:cubicBezTo>
                  <a:cubicBezTo>
                    <a:pt x="380" y="342"/>
                    <a:pt x="383" y="340"/>
                    <a:pt x="386" y="340"/>
                  </a:cubicBezTo>
                  <a:cubicBezTo>
                    <a:pt x="389" y="339"/>
                    <a:pt x="386" y="334"/>
                    <a:pt x="389" y="334"/>
                  </a:cubicBezTo>
                  <a:cubicBezTo>
                    <a:pt x="392" y="333"/>
                    <a:pt x="392" y="332"/>
                    <a:pt x="392" y="330"/>
                  </a:cubicBezTo>
                  <a:cubicBezTo>
                    <a:pt x="393" y="328"/>
                    <a:pt x="396" y="329"/>
                    <a:pt x="394" y="327"/>
                  </a:cubicBezTo>
                  <a:cubicBezTo>
                    <a:pt x="393" y="326"/>
                    <a:pt x="394" y="325"/>
                    <a:pt x="398" y="325"/>
                  </a:cubicBezTo>
                  <a:cubicBezTo>
                    <a:pt x="402" y="325"/>
                    <a:pt x="408" y="324"/>
                    <a:pt x="407" y="320"/>
                  </a:cubicBezTo>
                  <a:cubicBezTo>
                    <a:pt x="407" y="316"/>
                    <a:pt x="396" y="319"/>
                    <a:pt x="396" y="315"/>
                  </a:cubicBezTo>
                  <a:cubicBezTo>
                    <a:pt x="396" y="312"/>
                    <a:pt x="382" y="312"/>
                    <a:pt x="383" y="310"/>
                  </a:cubicBezTo>
                  <a:cubicBezTo>
                    <a:pt x="384" y="308"/>
                    <a:pt x="397" y="311"/>
                    <a:pt x="401" y="313"/>
                  </a:cubicBezTo>
                  <a:cubicBezTo>
                    <a:pt x="406" y="315"/>
                    <a:pt x="407" y="314"/>
                    <a:pt x="411" y="314"/>
                  </a:cubicBezTo>
                  <a:cubicBezTo>
                    <a:pt x="415" y="314"/>
                    <a:pt x="412" y="309"/>
                    <a:pt x="413" y="307"/>
                  </a:cubicBezTo>
                  <a:cubicBezTo>
                    <a:pt x="414" y="305"/>
                    <a:pt x="421" y="310"/>
                    <a:pt x="425" y="309"/>
                  </a:cubicBezTo>
                  <a:cubicBezTo>
                    <a:pt x="429" y="308"/>
                    <a:pt x="433" y="300"/>
                    <a:pt x="436" y="297"/>
                  </a:cubicBezTo>
                  <a:cubicBezTo>
                    <a:pt x="440" y="295"/>
                    <a:pt x="437" y="293"/>
                    <a:pt x="430" y="294"/>
                  </a:cubicBezTo>
                  <a:cubicBezTo>
                    <a:pt x="423" y="294"/>
                    <a:pt x="420" y="292"/>
                    <a:pt x="416" y="289"/>
                  </a:cubicBezTo>
                  <a:cubicBezTo>
                    <a:pt x="413" y="286"/>
                    <a:pt x="413" y="284"/>
                    <a:pt x="417" y="284"/>
                  </a:cubicBezTo>
                  <a:cubicBezTo>
                    <a:pt x="420" y="285"/>
                    <a:pt x="429" y="292"/>
                    <a:pt x="433" y="292"/>
                  </a:cubicBezTo>
                  <a:cubicBezTo>
                    <a:pt x="436" y="293"/>
                    <a:pt x="442" y="286"/>
                    <a:pt x="445" y="284"/>
                  </a:cubicBezTo>
                  <a:cubicBezTo>
                    <a:pt x="448" y="281"/>
                    <a:pt x="442" y="281"/>
                    <a:pt x="440" y="279"/>
                  </a:cubicBezTo>
                  <a:cubicBezTo>
                    <a:pt x="438" y="277"/>
                    <a:pt x="444" y="276"/>
                    <a:pt x="447" y="276"/>
                  </a:cubicBezTo>
                  <a:cubicBezTo>
                    <a:pt x="449" y="276"/>
                    <a:pt x="451" y="279"/>
                    <a:pt x="452" y="280"/>
                  </a:cubicBezTo>
                  <a:cubicBezTo>
                    <a:pt x="453" y="281"/>
                    <a:pt x="458" y="279"/>
                    <a:pt x="460" y="279"/>
                  </a:cubicBezTo>
                  <a:cubicBezTo>
                    <a:pt x="463" y="279"/>
                    <a:pt x="460" y="275"/>
                    <a:pt x="456" y="273"/>
                  </a:cubicBezTo>
                  <a:cubicBezTo>
                    <a:pt x="452" y="272"/>
                    <a:pt x="456" y="269"/>
                    <a:pt x="457" y="271"/>
                  </a:cubicBezTo>
                  <a:cubicBezTo>
                    <a:pt x="458" y="274"/>
                    <a:pt x="461" y="273"/>
                    <a:pt x="463" y="276"/>
                  </a:cubicBezTo>
                  <a:cubicBezTo>
                    <a:pt x="465" y="280"/>
                    <a:pt x="466" y="278"/>
                    <a:pt x="470" y="276"/>
                  </a:cubicBezTo>
                  <a:cubicBezTo>
                    <a:pt x="473" y="275"/>
                    <a:pt x="475" y="273"/>
                    <a:pt x="477" y="271"/>
                  </a:cubicBezTo>
                  <a:cubicBezTo>
                    <a:pt x="479" y="269"/>
                    <a:pt x="479" y="271"/>
                    <a:pt x="482" y="268"/>
                  </a:cubicBezTo>
                  <a:cubicBezTo>
                    <a:pt x="484" y="264"/>
                    <a:pt x="481" y="261"/>
                    <a:pt x="478" y="259"/>
                  </a:cubicBezTo>
                  <a:cubicBezTo>
                    <a:pt x="475" y="257"/>
                    <a:pt x="478" y="255"/>
                    <a:pt x="475" y="253"/>
                  </a:cubicBezTo>
                  <a:cubicBezTo>
                    <a:pt x="472" y="252"/>
                    <a:pt x="472" y="249"/>
                    <a:pt x="475" y="250"/>
                  </a:cubicBezTo>
                  <a:cubicBezTo>
                    <a:pt x="479" y="251"/>
                    <a:pt x="482" y="250"/>
                    <a:pt x="483" y="247"/>
                  </a:cubicBezTo>
                  <a:cubicBezTo>
                    <a:pt x="485" y="245"/>
                    <a:pt x="478" y="244"/>
                    <a:pt x="481" y="242"/>
                  </a:cubicBezTo>
                  <a:cubicBezTo>
                    <a:pt x="484" y="240"/>
                    <a:pt x="482" y="239"/>
                    <a:pt x="478" y="239"/>
                  </a:cubicBezTo>
                  <a:cubicBezTo>
                    <a:pt x="475" y="239"/>
                    <a:pt x="473" y="237"/>
                    <a:pt x="472" y="234"/>
                  </a:cubicBezTo>
                  <a:cubicBezTo>
                    <a:pt x="472" y="232"/>
                    <a:pt x="467" y="233"/>
                    <a:pt x="463" y="232"/>
                  </a:cubicBezTo>
                  <a:cubicBezTo>
                    <a:pt x="460" y="230"/>
                    <a:pt x="452" y="231"/>
                    <a:pt x="451" y="231"/>
                  </a:cubicBezTo>
                  <a:cubicBezTo>
                    <a:pt x="449" y="231"/>
                    <a:pt x="449" y="238"/>
                    <a:pt x="451" y="238"/>
                  </a:cubicBezTo>
                  <a:cubicBezTo>
                    <a:pt x="454" y="239"/>
                    <a:pt x="456" y="241"/>
                    <a:pt x="454" y="242"/>
                  </a:cubicBezTo>
                  <a:cubicBezTo>
                    <a:pt x="451" y="243"/>
                    <a:pt x="454" y="246"/>
                    <a:pt x="452" y="246"/>
                  </a:cubicBezTo>
                  <a:cubicBezTo>
                    <a:pt x="451" y="246"/>
                    <a:pt x="448" y="245"/>
                    <a:pt x="447" y="250"/>
                  </a:cubicBezTo>
                  <a:cubicBezTo>
                    <a:pt x="447" y="254"/>
                    <a:pt x="446" y="256"/>
                    <a:pt x="443" y="258"/>
                  </a:cubicBezTo>
                  <a:cubicBezTo>
                    <a:pt x="440" y="259"/>
                    <a:pt x="443" y="252"/>
                    <a:pt x="440" y="253"/>
                  </a:cubicBezTo>
                  <a:cubicBezTo>
                    <a:pt x="437" y="253"/>
                    <a:pt x="437" y="258"/>
                    <a:pt x="439" y="259"/>
                  </a:cubicBezTo>
                  <a:cubicBezTo>
                    <a:pt x="441" y="259"/>
                    <a:pt x="441" y="261"/>
                    <a:pt x="442" y="264"/>
                  </a:cubicBezTo>
                  <a:cubicBezTo>
                    <a:pt x="442" y="266"/>
                    <a:pt x="438" y="264"/>
                    <a:pt x="436" y="268"/>
                  </a:cubicBezTo>
                  <a:cubicBezTo>
                    <a:pt x="434" y="271"/>
                    <a:pt x="434" y="266"/>
                    <a:pt x="432" y="264"/>
                  </a:cubicBezTo>
                  <a:cubicBezTo>
                    <a:pt x="429" y="262"/>
                    <a:pt x="426" y="258"/>
                    <a:pt x="426" y="256"/>
                  </a:cubicBezTo>
                  <a:cubicBezTo>
                    <a:pt x="426" y="253"/>
                    <a:pt x="428" y="253"/>
                    <a:pt x="430" y="252"/>
                  </a:cubicBezTo>
                  <a:cubicBezTo>
                    <a:pt x="432" y="252"/>
                    <a:pt x="430" y="250"/>
                    <a:pt x="429" y="247"/>
                  </a:cubicBezTo>
                  <a:cubicBezTo>
                    <a:pt x="429" y="244"/>
                    <a:pt x="427" y="245"/>
                    <a:pt x="424" y="241"/>
                  </a:cubicBezTo>
                  <a:cubicBezTo>
                    <a:pt x="421" y="238"/>
                    <a:pt x="418" y="238"/>
                    <a:pt x="417" y="240"/>
                  </a:cubicBezTo>
                  <a:cubicBezTo>
                    <a:pt x="415" y="241"/>
                    <a:pt x="416" y="244"/>
                    <a:pt x="414" y="245"/>
                  </a:cubicBezTo>
                  <a:cubicBezTo>
                    <a:pt x="411" y="246"/>
                    <a:pt x="412" y="251"/>
                    <a:pt x="410" y="252"/>
                  </a:cubicBezTo>
                  <a:cubicBezTo>
                    <a:pt x="408" y="252"/>
                    <a:pt x="409" y="243"/>
                    <a:pt x="407" y="242"/>
                  </a:cubicBezTo>
                  <a:cubicBezTo>
                    <a:pt x="405" y="241"/>
                    <a:pt x="406" y="239"/>
                    <a:pt x="408" y="239"/>
                  </a:cubicBezTo>
                  <a:cubicBezTo>
                    <a:pt x="411" y="238"/>
                    <a:pt x="413" y="235"/>
                    <a:pt x="410" y="235"/>
                  </a:cubicBezTo>
                  <a:cubicBezTo>
                    <a:pt x="408" y="235"/>
                    <a:pt x="404" y="233"/>
                    <a:pt x="402" y="232"/>
                  </a:cubicBezTo>
                  <a:cubicBezTo>
                    <a:pt x="401" y="232"/>
                    <a:pt x="398" y="235"/>
                    <a:pt x="396" y="234"/>
                  </a:cubicBezTo>
                  <a:cubicBezTo>
                    <a:pt x="394" y="232"/>
                    <a:pt x="396" y="229"/>
                    <a:pt x="397" y="227"/>
                  </a:cubicBezTo>
                  <a:cubicBezTo>
                    <a:pt x="397" y="225"/>
                    <a:pt x="399" y="228"/>
                    <a:pt x="401" y="225"/>
                  </a:cubicBezTo>
                  <a:cubicBezTo>
                    <a:pt x="403" y="223"/>
                    <a:pt x="396" y="223"/>
                    <a:pt x="396" y="220"/>
                  </a:cubicBezTo>
                  <a:cubicBezTo>
                    <a:pt x="396" y="217"/>
                    <a:pt x="391" y="217"/>
                    <a:pt x="389" y="216"/>
                  </a:cubicBezTo>
                  <a:cubicBezTo>
                    <a:pt x="387" y="215"/>
                    <a:pt x="390" y="210"/>
                    <a:pt x="389" y="209"/>
                  </a:cubicBezTo>
                  <a:cubicBezTo>
                    <a:pt x="389" y="207"/>
                    <a:pt x="382" y="201"/>
                    <a:pt x="379" y="202"/>
                  </a:cubicBezTo>
                  <a:cubicBezTo>
                    <a:pt x="376" y="202"/>
                    <a:pt x="376" y="198"/>
                    <a:pt x="377" y="198"/>
                  </a:cubicBezTo>
                  <a:cubicBezTo>
                    <a:pt x="379" y="198"/>
                    <a:pt x="380" y="197"/>
                    <a:pt x="383" y="194"/>
                  </a:cubicBezTo>
                  <a:cubicBezTo>
                    <a:pt x="386" y="190"/>
                    <a:pt x="386" y="189"/>
                    <a:pt x="384" y="189"/>
                  </a:cubicBezTo>
                  <a:cubicBezTo>
                    <a:pt x="382" y="188"/>
                    <a:pt x="381" y="186"/>
                    <a:pt x="385" y="186"/>
                  </a:cubicBezTo>
                  <a:cubicBezTo>
                    <a:pt x="389" y="186"/>
                    <a:pt x="395" y="189"/>
                    <a:pt x="397" y="187"/>
                  </a:cubicBezTo>
                  <a:cubicBezTo>
                    <a:pt x="399" y="185"/>
                    <a:pt x="406" y="175"/>
                    <a:pt x="409" y="171"/>
                  </a:cubicBezTo>
                  <a:cubicBezTo>
                    <a:pt x="412" y="167"/>
                    <a:pt x="407" y="167"/>
                    <a:pt x="400" y="167"/>
                  </a:cubicBezTo>
                  <a:cubicBezTo>
                    <a:pt x="394" y="168"/>
                    <a:pt x="393" y="165"/>
                    <a:pt x="387" y="165"/>
                  </a:cubicBezTo>
                  <a:cubicBezTo>
                    <a:pt x="382" y="164"/>
                    <a:pt x="372" y="166"/>
                    <a:pt x="371" y="167"/>
                  </a:cubicBezTo>
                  <a:cubicBezTo>
                    <a:pt x="369" y="169"/>
                    <a:pt x="373" y="170"/>
                    <a:pt x="373" y="172"/>
                  </a:cubicBezTo>
                  <a:cubicBezTo>
                    <a:pt x="372" y="174"/>
                    <a:pt x="369" y="171"/>
                    <a:pt x="367" y="172"/>
                  </a:cubicBezTo>
                  <a:cubicBezTo>
                    <a:pt x="366" y="172"/>
                    <a:pt x="368" y="175"/>
                    <a:pt x="367" y="181"/>
                  </a:cubicBezTo>
                  <a:cubicBezTo>
                    <a:pt x="367" y="187"/>
                    <a:pt x="369" y="187"/>
                    <a:pt x="371" y="190"/>
                  </a:cubicBezTo>
                  <a:cubicBezTo>
                    <a:pt x="372" y="192"/>
                    <a:pt x="372" y="195"/>
                    <a:pt x="372" y="199"/>
                  </a:cubicBezTo>
                  <a:cubicBezTo>
                    <a:pt x="372" y="203"/>
                    <a:pt x="368" y="203"/>
                    <a:pt x="367" y="204"/>
                  </a:cubicBezTo>
                  <a:cubicBezTo>
                    <a:pt x="366" y="205"/>
                    <a:pt x="370" y="206"/>
                    <a:pt x="369" y="208"/>
                  </a:cubicBezTo>
                  <a:cubicBezTo>
                    <a:pt x="369" y="211"/>
                    <a:pt x="365" y="207"/>
                    <a:pt x="363" y="208"/>
                  </a:cubicBezTo>
                  <a:cubicBezTo>
                    <a:pt x="361" y="208"/>
                    <a:pt x="359" y="215"/>
                    <a:pt x="361" y="217"/>
                  </a:cubicBezTo>
                  <a:cubicBezTo>
                    <a:pt x="364" y="218"/>
                    <a:pt x="364" y="218"/>
                    <a:pt x="363" y="220"/>
                  </a:cubicBezTo>
                  <a:cubicBezTo>
                    <a:pt x="361" y="223"/>
                    <a:pt x="359" y="226"/>
                    <a:pt x="363" y="230"/>
                  </a:cubicBezTo>
                  <a:cubicBezTo>
                    <a:pt x="367" y="233"/>
                    <a:pt x="375" y="233"/>
                    <a:pt x="379" y="235"/>
                  </a:cubicBezTo>
                  <a:cubicBezTo>
                    <a:pt x="384" y="238"/>
                    <a:pt x="378" y="236"/>
                    <a:pt x="379" y="239"/>
                  </a:cubicBezTo>
                  <a:cubicBezTo>
                    <a:pt x="381" y="242"/>
                    <a:pt x="377" y="243"/>
                    <a:pt x="377" y="246"/>
                  </a:cubicBezTo>
                  <a:cubicBezTo>
                    <a:pt x="377" y="248"/>
                    <a:pt x="379" y="247"/>
                    <a:pt x="381" y="243"/>
                  </a:cubicBezTo>
                  <a:cubicBezTo>
                    <a:pt x="383" y="239"/>
                    <a:pt x="384" y="244"/>
                    <a:pt x="384" y="247"/>
                  </a:cubicBezTo>
                  <a:cubicBezTo>
                    <a:pt x="384" y="251"/>
                    <a:pt x="381" y="249"/>
                    <a:pt x="379" y="252"/>
                  </a:cubicBezTo>
                  <a:cubicBezTo>
                    <a:pt x="376" y="256"/>
                    <a:pt x="374" y="256"/>
                    <a:pt x="371" y="255"/>
                  </a:cubicBezTo>
                  <a:cubicBezTo>
                    <a:pt x="367" y="255"/>
                    <a:pt x="369" y="260"/>
                    <a:pt x="371" y="263"/>
                  </a:cubicBezTo>
                  <a:cubicBezTo>
                    <a:pt x="372" y="266"/>
                    <a:pt x="371" y="267"/>
                    <a:pt x="367" y="266"/>
                  </a:cubicBezTo>
                  <a:cubicBezTo>
                    <a:pt x="363" y="265"/>
                    <a:pt x="360" y="263"/>
                    <a:pt x="362" y="260"/>
                  </a:cubicBezTo>
                  <a:cubicBezTo>
                    <a:pt x="364" y="257"/>
                    <a:pt x="366" y="253"/>
                    <a:pt x="363" y="253"/>
                  </a:cubicBezTo>
                  <a:cubicBezTo>
                    <a:pt x="361" y="254"/>
                    <a:pt x="356" y="253"/>
                    <a:pt x="354" y="251"/>
                  </a:cubicBezTo>
                  <a:cubicBezTo>
                    <a:pt x="353" y="248"/>
                    <a:pt x="355" y="249"/>
                    <a:pt x="360" y="250"/>
                  </a:cubicBezTo>
                  <a:cubicBezTo>
                    <a:pt x="365" y="250"/>
                    <a:pt x="361" y="247"/>
                    <a:pt x="364" y="247"/>
                  </a:cubicBezTo>
                  <a:cubicBezTo>
                    <a:pt x="368" y="247"/>
                    <a:pt x="371" y="249"/>
                    <a:pt x="374" y="246"/>
                  </a:cubicBezTo>
                  <a:cubicBezTo>
                    <a:pt x="377" y="243"/>
                    <a:pt x="372" y="238"/>
                    <a:pt x="369" y="239"/>
                  </a:cubicBezTo>
                  <a:cubicBezTo>
                    <a:pt x="367" y="240"/>
                    <a:pt x="363" y="241"/>
                    <a:pt x="363" y="238"/>
                  </a:cubicBezTo>
                  <a:cubicBezTo>
                    <a:pt x="363" y="236"/>
                    <a:pt x="367" y="238"/>
                    <a:pt x="369" y="237"/>
                  </a:cubicBezTo>
                  <a:cubicBezTo>
                    <a:pt x="372" y="237"/>
                    <a:pt x="368" y="233"/>
                    <a:pt x="364" y="234"/>
                  </a:cubicBezTo>
                  <a:cubicBezTo>
                    <a:pt x="361" y="235"/>
                    <a:pt x="358" y="235"/>
                    <a:pt x="356" y="232"/>
                  </a:cubicBezTo>
                  <a:cubicBezTo>
                    <a:pt x="353" y="229"/>
                    <a:pt x="348" y="228"/>
                    <a:pt x="346" y="235"/>
                  </a:cubicBezTo>
                  <a:cubicBezTo>
                    <a:pt x="345" y="241"/>
                    <a:pt x="340" y="238"/>
                    <a:pt x="338" y="240"/>
                  </a:cubicBezTo>
                  <a:cubicBezTo>
                    <a:pt x="336" y="242"/>
                    <a:pt x="340" y="244"/>
                    <a:pt x="345" y="244"/>
                  </a:cubicBezTo>
                  <a:cubicBezTo>
                    <a:pt x="350" y="244"/>
                    <a:pt x="354" y="249"/>
                    <a:pt x="351" y="249"/>
                  </a:cubicBezTo>
                  <a:cubicBezTo>
                    <a:pt x="349" y="249"/>
                    <a:pt x="350" y="252"/>
                    <a:pt x="348" y="251"/>
                  </a:cubicBezTo>
                  <a:cubicBezTo>
                    <a:pt x="345" y="250"/>
                    <a:pt x="343" y="251"/>
                    <a:pt x="344" y="253"/>
                  </a:cubicBezTo>
                  <a:cubicBezTo>
                    <a:pt x="346" y="255"/>
                    <a:pt x="344" y="256"/>
                    <a:pt x="344" y="258"/>
                  </a:cubicBezTo>
                  <a:cubicBezTo>
                    <a:pt x="344" y="260"/>
                    <a:pt x="340" y="258"/>
                    <a:pt x="336" y="258"/>
                  </a:cubicBezTo>
                  <a:cubicBezTo>
                    <a:pt x="333" y="258"/>
                    <a:pt x="326" y="259"/>
                    <a:pt x="321" y="260"/>
                  </a:cubicBezTo>
                  <a:cubicBezTo>
                    <a:pt x="316" y="261"/>
                    <a:pt x="310" y="259"/>
                    <a:pt x="308" y="257"/>
                  </a:cubicBezTo>
                  <a:cubicBezTo>
                    <a:pt x="306" y="255"/>
                    <a:pt x="303" y="255"/>
                    <a:pt x="299" y="255"/>
                  </a:cubicBezTo>
                  <a:cubicBezTo>
                    <a:pt x="296" y="255"/>
                    <a:pt x="297" y="252"/>
                    <a:pt x="292" y="251"/>
                  </a:cubicBezTo>
                  <a:cubicBezTo>
                    <a:pt x="288" y="251"/>
                    <a:pt x="289" y="247"/>
                    <a:pt x="288" y="245"/>
                  </a:cubicBezTo>
                  <a:cubicBezTo>
                    <a:pt x="288" y="243"/>
                    <a:pt x="278" y="243"/>
                    <a:pt x="275" y="246"/>
                  </a:cubicBezTo>
                  <a:cubicBezTo>
                    <a:pt x="272" y="248"/>
                    <a:pt x="265" y="247"/>
                    <a:pt x="263" y="251"/>
                  </a:cubicBezTo>
                  <a:cubicBezTo>
                    <a:pt x="261" y="255"/>
                    <a:pt x="265" y="254"/>
                    <a:pt x="267" y="254"/>
                  </a:cubicBezTo>
                  <a:cubicBezTo>
                    <a:pt x="269" y="254"/>
                    <a:pt x="269" y="251"/>
                    <a:pt x="274" y="252"/>
                  </a:cubicBezTo>
                  <a:cubicBezTo>
                    <a:pt x="279" y="252"/>
                    <a:pt x="283" y="246"/>
                    <a:pt x="285" y="249"/>
                  </a:cubicBezTo>
                  <a:cubicBezTo>
                    <a:pt x="287" y="251"/>
                    <a:pt x="276" y="255"/>
                    <a:pt x="272" y="256"/>
                  </a:cubicBezTo>
                  <a:cubicBezTo>
                    <a:pt x="267" y="256"/>
                    <a:pt x="268" y="260"/>
                    <a:pt x="273" y="267"/>
                  </a:cubicBezTo>
                  <a:cubicBezTo>
                    <a:pt x="277" y="273"/>
                    <a:pt x="271" y="269"/>
                    <a:pt x="271" y="273"/>
                  </a:cubicBezTo>
                  <a:cubicBezTo>
                    <a:pt x="271" y="276"/>
                    <a:pt x="262" y="272"/>
                    <a:pt x="266" y="271"/>
                  </a:cubicBezTo>
                  <a:cubicBezTo>
                    <a:pt x="269" y="269"/>
                    <a:pt x="267" y="266"/>
                    <a:pt x="265" y="264"/>
                  </a:cubicBezTo>
                  <a:cubicBezTo>
                    <a:pt x="262" y="262"/>
                    <a:pt x="260" y="264"/>
                    <a:pt x="261" y="262"/>
                  </a:cubicBezTo>
                  <a:cubicBezTo>
                    <a:pt x="261" y="259"/>
                    <a:pt x="258" y="262"/>
                    <a:pt x="255" y="260"/>
                  </a:cubicBezTo>
                  <a:cubicBezTo>
                    <a:pt x="253" y="258"/>
                    <a:pt x="252" y="256"/>
                    <a:pt x="248" y="258"/>
                  </a:cubicBezTo>
                  <a:cubicBezTo>
                    <a:pt x="245" y="260"/>
                    <a:pt x="241" y="259"/>
                    <a:pt x="233" y="261"/>
                  </a:cubicBezTo>
                  <a:cubicBezTo>
                    <a:pt x="226" y="262"/>
                    <a:pt x="212" y="261"/>
                    <a:pt x="210" y="259"/>
                  </a:cubicBezTo>
                  <a:cubicBezTo>
                    <a:pt x="207" y="256"/>
                    <a:pt x="216" y="252"/>
                    <a:pt x="219" y="253"/>
                  </a:cubicBezTo>
                  <a:cubicBezTo>
                    <a:pt x="221" y="253"/>
                    <a:pt x="220" y="250"/>
                    <a:pt x="216" y="247"/>
                  </a:cubicBezTo>
                  <a:cubicBezTo>
                    <a:pt x="212" y="243"/>
                    <a:pt x="203" y="241"/>
                    <a:pt x="203" y="243"/>
                  </a:cubicBezTo>
                  <a:cubicBezTo>
                    <a:pt x="203" y="245"/>
                    <a:pt x="198" y="244"/>
                    <a:pt x="191" y="242"/>
                  </a:cubicBezTo>
                  <a:cubicBezTo>
                    <a:pt x="184" y="241"/>
                    <a:pt x="183" y="239"/>
                    <a:pt x="179" y="239"/>
                  </a:cubicBezTo>
                  <a:cubicBezTo>
                    <a:pt x="175" y="238"/>
                    <a:pt x="168" y="237"/>
                    <a:pt x="163" y="233"/>
                  </a:cubicBezTo>
                  <a:cubicBezTo>
                    <a:pt x="158" y="229"/>
                    <a:pt x="147" y="230"/>
                    <a:pt x="145" y="234"/>
                  </a:cubicBezTo>
                  <a:cubicBezTo>
                    <a:pt x="144" y="238"/>
                    <a:pt x="140" y="237"/>
                    <a:pt x="136" y="237"/>
                  </a:cubicBezTo>
                  <a:cubicBezTo>
                    <a:pt x="132" y="237"/>
                    <a:pt x="138" y="233"/>
                    <a:pt x="136" y="232"/>
                  </a:cubicBezTo>
                  <a:cubicBezTo>
                    <a:pt x="134" y="231"/>
                    <a:pt x="137" y="226"/>
                    <a:pt x="134" y="226"/>
                  </a:cubicBezTo>
                  <a:cubicBezTo>
                    <a:pt x="131" y="226"/>
                    <a:pt x="128" y="238"/>
                    <a:pt x="123" y="237"/>
                  </a:cubicBezTo>
                  <a:cubicBezTo>
                    <a:pt x="117" y="237"/>
                    <a:pt x="115" y="225"/>
                    <a:pt x="111" y="221"/>
                  </a:cubicBezTo>
                  <a:cubicBezTo>
                    <a:pt x="106" y="218"/>
                    <a:pt x="102" y="218"/>
                    <a:pt x="106" y="223"/>
                  </a:cubicBezTo>
                  <a:cubicBezTo>
                    <a:pt x="110" y="228"/>
                    <a:pt x="103" y="224"/>
                    <a:pt x="103" y="227"/>
                  </a:cubicBezTo>
                  <a:cubicBezTo>
                    <a:pt x="103" y="231"/>
                    <a:pt x="97" y="234"/>
                    <a:pt x="97" y="233"/>
                  </a:cubicBezTo>
                  <a:cubicBezTo>
                    <a:pt x="97" y="231"/>
                    <a:pt x="94" y="229"/>
                    <a:pt x="89" y="234"/>
                  </a:cubicBezTo>
                  <a:cubicBezTo>
                    <a:pt x="85" y="239"/>
                    <a:pt x="82" y="238"/>
                    <a:pt x="82" y="236"/>
                  </a:cubicBezTo>
                  <a:cubicBezTo>
                    <a:pt x="81" y="235"/>
                    <a:pt x="69" y="241"/>
                    <a:pt x="69" y="243"/>
                  </a:cubicBezTo>
                  <a:cubicBezTo>
                    <a:pt x="70" y="245"/>
                    <a:pt x="67" y="247"/>
                    <a:pt x="64" y="247"/>
                  </a:cubicBezTo>
                  <a:cubicBezTo>
                    <a:pt x="60" y="246"/>
                    <a:pt x="63" y="244"/>
                    <a:pt x="66" y="242"/>
                  </a:cubicBezTo>
                  <a:cubicBezTo>
                    <a:pt x="69" y="241"/>
                    <a:pt x="77" y="234"/>
                    <a:pt x="81" y="233"/>
                  </a:cubicBezTo>
                  <a:cubicBezTo>
                    <a:pt x="86" y="233"/>
                    <a:pt x="94" y="229"/>
                    <a:pt x="94" y="227"/>
                  </a:cubicBezTo>
                  <a:cubicBezTo>
                    <a:pt x="94" y="225"/>
                    <a:pt x="90" y="227"/>
                    <a:pt x="87" y="226"/>
                  </a:cubicBezTo>
                  <a:cubicBezTo>
                    <a:pt x="84" y="226"/>
                    <a:pt x="79" y="229"/>
                    <a:pt x="74" y="231"/>
                  </a:cubicBezTo>
                  <a:cubicBezTo>
                    <a:pt x="69" y="233"/>
                    <a:pt x="64" y="233"/>
                    <a:pt x="65" y="235"/>
                  </a:cubicBezTo>
                  <a:cubicBezTo>
                    <a:pt x="67" y="238"/>
                    <a:pt x="61" y="235"/>
                    <a:pt x="60" y="237"/>
                  </a:cubicBezTo>
                  <a:cubicBezTo>
                    <a:pt x="58" y="239"/>
                    <a:pt x="56" y="237"/>
                    <a:pt x="58" y="236"/>
                  </a:cubicBezTo>
                  <a:cubicBezTo>
                    <a:pt x="60" y="235"/>
                    <a:pt x="54" y="233"/>
                    <a:pt x="54" y="234"/>
                  </a:cubicBezTo>
                  <a:cubicBezTo>
                    <a:pt x="54" y="235"/>
                    <a:pt x="53" y="237"/>
                    <a:pt x="48" y="237"/>
                  </a:cubicBezTo>
                  <a:cubicBezTo>
                    <a:pt x="44" y="237"/>
                    <a:pt x="40" y="240"/>
                    <a:pt x="43" y="242"/>
                  </a:cubicBezTo>
                  <a:cubicBezTo>
                    <a:pt x="45" y="244"/>
                    <a:pt x="47" y="245"/>
                    <a:pt x="46" y="247"/>
                  </a:cubicBezTo>
                  <a:cubicBezTo>
                    <a:pt x="44" y="248"/>
                    <a:pt x="40" y="243"/>
                    <a:pt x="34" y="243"/>
                  </a:cubicBezTo>
                  <a:cubicBezTo>
                    <a:pt x="27" y="244"/>
                    <a:pt x="15" y="237"/>
                    <a:pt x="15" y="235"/>
                  </a:cubicBezTo>
                  <a:cubicBezTo>
                    <a:pt x="15" y="233"/>
                    <a:pt x="6" y="234"/>
                    <a:pt x="0" y="234"/>
                  </a:cubicBezTo>
                  <a:cubicBezTo>
                    <a:pt x="0" y="357"/>
                    <a:pt x="0" y="357"/>
                    <a:pt x="0" y="357"/>
                  </a:cubicBezTo>
                  <a:cubicBezTo>
                    <a:pt x="0" y="357"/>
                    <a:pt x="3" y="359"/>
                    <a:pt x="4" y="358"/>
                  </a:cubicBezTo>
                  <a:cubicBezTo>
                    <a:pt x="6" y="356"/>
                    <a:pt x="8" y="358"/>
                    <a:pt x="12" y="356"/>
                  </a:cubicBezTo>
                  <a:cubicBezTo>
                    <a:pt x="16" y="354"/>
                    <a:pt x="17" y="358"/>
                    <a:pt x="17" y="360"/>
                  </a:cubicBezTo>
                  <a:cubicBezTo>
                    <a:pt x="17" y="362"/>
                    <a:pt x="23" y="365"/>
                    <a:pt x="25" y="368"/>
                  </a:cubicBezTo>
                  <a:cubicBezTo>
                    <a:pt x="28" y="371"/>
                    <a:pt x="29" y="374"/>
                    <a:pt x="31" y="372"/>
                  </a:cubicBezTo>
                  <a:cubicBezTo>
                    <a:pt x="34" y="371"/>
                    <a:pt x="39" y="370"/>
                    <a:pt x="39" y="367"/>
                  </a:cubicBezTo>
                  <a:cubicBezTo>
                    <a:pt x="39" y="364"/>
                    <a:pt x="50" y="363"/>
                    <a:pt x="50" y="367"/>
                  </a:cubicBezTo>
                  <a:cubicBezTo>
                    <a:pt x="50" y="371"/>
                    <a:pt x="61" y="376"/>
                    <a:pt x="67" y="387"/>
                  </a:cubicBezTo>
                  <a:cubicBezTo>
                    <a:pt x="73" y="398"/>
                    <a:pt x="72" y="400"/>
                    <a:pt x="81" y="404"/>
                  </a:cubicBezTo>
                  <a:cubicBezTo>
                    <a:pt x="90" y="407"/>
                    <a:pt x="90" y="409"/>
                    <a:pt x="89" y="412"/>
                  </a:cubicBezTo>
                  <a:cubicBezTo>
                    <a:pt x="88" y="415"/>
                    <a:pt x="94" y="417"/>
                    <a:pt x="91" y="420"/>
                  </a:cubicBezTo>
                  <a:cubicBezTo>
                    <a:pt x="89" y="421"/>
                    <a:pt x="87" y="422"/>
                    <a:pt x="85" y="424"/>
                  </a:cubicBezTo>
                  <a:cubicBezTo>
                    <a:pt x="85" y="425"/>
                    <a:pt x="87" y="426"/>
                    <a:pt x="89" y="428"/>
                  </a:cubicBezTo>
                  <a:cubicBezTo>
                    <a:pt x="91" y="429"/>
                    <a:pt x="85" y="429"/>
                    <a:pt x="86" y="431"/>
                  </a:cubicBezTo>
                  <a:cubicBezTo>
                    <a:pt x="88" y="433"/>
                    <a:pt x="86" y="435"/>
                    <a:pt x="88" y="437"/>
                  </a:cubicBezTo>
                  <a:cubicBezTo>
                    <a:pt x="90" y="439"/>
                    <a:pt x="93" y="438"/>
                    <a:pt x="95" y="437"/>
                  </a:cubicBezTo>
                  <a:cubicBezTo>
                    <a:pt x="97" y="435"/>
                    <a:pt x="98" y="439"/>
                    <a:pt x="97" y="441"/>
                  </a:cubicBezTo>
                  <a:cubicBezTo>
                    <a:pt x="95" y="444"/>
                    <a:pt x="98" y="446"/>
                    <a:pt x="100" y="444"/>
                  </a:cubicBezTo>
                  <a:cubicBezTo>
                    <a:pt x="102" y="442"/>
                    <a:pt x="105" y="447"/>
                    <a:pt x="107" y="448"/>
                  </a:cubicBezTo>
                  <a:cubicBezTo>
                    <a:pt x="108" y="449"/>
                    <a:pt x="110" y="452"/>
                    <a:pt x="107" y="452"/>
                  </a:cubicBezTo>
                  <a:cubicBezTo>
                    <a:pt x="104" y="452"/>
                    <a:pt x="105" y="456"/>
                    <a:pt x="107" y="457"/>
                  </a:cubicBezTo>
                  <a:cubicBezTo>
                    <a:pt x="109" y="457"/>
                    <a:pt x="109" y="459"/>
                    <a:pt x="109" y="461"/>
                  </a:cubicBezTo>
                  <a:cubicBezTo>
                    <a:pt x="109" y="462"/>
                    <a:pt x="115" y="465"/>
                    <a:pt x="117" y="464"/>
                  </a:cubicBezTo>
                  <a:cubicBezTo>
                    <a:pt x="119" y="463"/>
                    <a:pt x="122" y="465"/>
                    <a:pt x="123" y="467"/>
                  </a:cubicBezTo>
                  <a:cubicBezTo>
                    <a:pt x="124" y="469"/>
                    <a:pt x="128" y="471"/>
                    <a:pt x="130" y="470"/>
                  </a:cubicBezTo>
                  <a:cubicBezTo>
                    <a:pt x="131" y="468"/>
                    <a:pt x="132" y="472"/>
                    <a:pt x="133" y="474"/>
                  </a:cubicBezTo>
                  <a:cubicBezTo>
                    <a:pt x="133" y="477"/>
                    <a:pt x="137" y="475"/>
                    <a:pt x="139" y="475"/>
                  </a:cubicBezTo>
                  <a:cubicBezTo>
                    <a:pt x="141" y="475"/>
                    <a:pt x="142" y="478"/>
                    <a:pt x="143" y="478"/>
                  </a:cubicBezTo>
                  <a:cubicBezTo>
                    <a:pt x="147" y="476"/>
                    <a:pt x="148" y="482"/>
                    <a:pt x="150" y="485"/>
                  </a:cubicBezTo>
                  <a:cubicBezTo>
                    <a:pt x="371" y="484"/>
                    <a:pt x="371" y="484"/>
                    <a:pt x="371" y="484"/>
                  </a:cubicBezTo>
                  <a:cubicBezTo>
                    <a:pt x="371" y="484"/>
                    <a:pt x="371" y="478"/>
                    <a:pt x="374" y="480"/>
                  </a:cubicBezTo>
                  <a:cubicBezTo>
                    <a:pt x="377" y="482"/>
                    <a:pt x="374" y="485"/>
                    <a:pt x="377" y="487"/>
                  </a:cubicBezTo>
                  <a:cubicBezTo>
                    <a:pt x="381" y="488"/>
                    <a:pt x="383" y="490"/>
                    <a:pt x="384" y="489"/>
                  </a:cubicBezTo>
                  <a:cubicBezTo>
                    <a:pt x="386" y="488"/>
                    <a:pt x="389" y="486"/>
                    <a:pt x="392" y="489"/>
                  </a:cubicBezTo>
                  <a:cubicBezTo>
                    <a:pt x="395" y="492"/>
                    <a:pt x="397" y="490"/>
                    <a:pt x="398" y="492"/>
                  </a:cubicBezTo>
                  <a:cubicBezTo>
                    <a:pt x="400" y="494"/>
                    <a:pt x="403" y="496"/>
                    <a:pt x="405" y="493"/>
                  </a:cubicBezTo>
                  <a:cubicBezTo>
                    <a:pt x="407" y="491"/>
                    <a:pt x="414" y="493"/>
                    <a:pt x="417" y="495"/>
                  </a:cubicBezTo>
                  <a:cubicBezTo>
                    <a:pt x="421" y="491"/>
                    <a:pt x="424" y="485"/>
                    <a:pt x="427" y="485"/>
                  </a:cubicBezTo>
                  <a:cubicBezTo>
                    <a:pt x="432" y="485"/>
                    <a:pt x="444" y="486"/>
                    <a:pt x="444" y="492"/>
                  </a:cubicBezTo>
                  <a:cubicBezTo>
                    <a:pt x="445" y="498"/>
                    <a:pt x="452" y="492"/>
                    <a:pt x="453" y="498"/>
                  </a:cubicBezTo>
                  <a:cubicBezTo>
                    <a:pt x="454" y="503"/>
                    <a:pt x="458" y="507"/>
                    <a:pt x="457" y="509"/>
                  </a:cubicBezTo>
                  <a:cubicBezTo>
                    <a:pt x="459" y="510"/>
                    <a:pt x="461" y="511"/>
                    <a:pt x="462" y="512"/>
                  </a:cubicBezTo>
                  <a:cubicBezTo>
                    <a:pt x="464" y="512"/>
                    <a:pt x="470" y="513"/>
                    <a:pt x="474" y="514"/>
                  </a:cubicBezTo>
                  <a:cubicBezTo>
                    <a:pt x="479" y="516"/>
                    <a:pt x="487" y="512"/>
                    <a:pt x="489" y="518"/>
                  </a:cubicBezTo>
                  <a:cubicBezTo>
                    <a:pt x="492" y="524"/>
                    <a:pt x="498" y="529"/>
                    <a:pt x="492" y="529"/>
                  </a:cubicBezTo>
                  <a:cubicBezTo>
                    <a:pt x="488" y="529"/>
                    <a:pt x="481" y="523"/>
                    <a:pt x="482" y="526"/>
                  </a:cubicBezTo>
                  <a:cubicBezTo>
                    <a:pt x="482" y="530"/>
                    <a:pt x="479" y="528"/>
                    <a:pt x="479" y="534"/>
                  </a:cubicBezTo>
                  <a:cubicBezTo>
                    <a:pt x="479" y="539"/>
                    <a:pt x="476" y="546"/>
                    <a:pt x="474" y="546"/>
                  </a:cubicBezTo>
                  <a:cubicBezTo>
                    <a:pt x="474" y="546"/>
                    <a:pt x="473" y="546"/>
                    <a:pt x="473" y="546"/>
                  </a:cubicBezTo>
                  <a:cubicBezTo>
                    <a:pt x="473" y="548"/>
                    <a:pt x="473" y="551"/>
                    <a:pt x="475" y="552"/>
                  </a:cubicBezTo>
                  <a:cubicBezTo>
                    <a:pt x="477" y="550"/>
                    <a:pt x="481" y="547"/>
                    <a:pt x="485" y="547"/>
                  </a:cubicBezTo>
                  <a:cubicBezTo>
                    <a:pt x="490" y="548"/>
                    <a:pt x="491" y="551"/>
                    <a:pt x="495" y="548"/>
                  </a:cubicBezTo>
                  <a:cubicBezTo>
                    <a:pt x="499" y="546"/>
                    <a:pt x="499" y="545"/>
                    <a:pt x="500" y="546"/>
                  </a:cubicBezTo>
                  <a:cubicBezTo>
                    <a:pt x="500" y="547"/>
                    <a:pt x="500" y="547"/>
                    <a:pt x="500" y="547"/>
                  </a:cubicBezTo>
                  <a:cubicBezTo>
                    <a:pt x="501" y="547"/>
                    <a:pt x="502" y="546"/>
                    <a:pt x="502" y="545"/>
                  </a:cubicBezTo>
                  <a:cubicBezTo>
                    <a:pt x="502" y="544"/>
                    <a:pt x="502" y="543"/>
                    <a:pt x="502" y="542"/>
                  </a:cubicBezTo>
                  <a:cubicBezTo>
                    <a:pt x="498" y="543"/>
                    <a:pt x="497" y="543"/>
                    <a:pt x="496" y="540"/>
                  </a:cubicBezTo>
                  <a:cubicBezTo>
                    <a:pt x="495" y="537"/>
                    <a:pt x="507" y="533"/>
                    <a:pt x="512" y="534"/>
                  </a:cubicBezTo>
                  <a:cubicBezTo>
                    <a:pt x="518" y="535"/>
                    <a:pt x="522" y="531"/>
                    <a:pt x="524" y="533"/>
                  </a:cubicBezTo>
                  <a:cubicBezTo>
                    <a:pt x="527" y="530"/>
                    <a:pt x="533" y="525"/>
                    <a:pt x="534" y="525"/>
                  </a:cubicBezTo>
                  <a:cubicBezTo>
                    <a:pt x="537" y="525"/>
                    <a:pt x="562" y="525"/>
                    <a:pt x="562" y="525"/>
                  </a:cubicBezTo>
                  <a:cubicBezTo>
                    <a:pt x="562" y="525"/>
                    <a:pt x="571" y="519"/>
                    <a:pt x="572" y="514"/>
                  </a:cubicBezTo>
                  <a:cubicBezTo>
                    <a:pt x="573" y="509"/>
                    <a:pt x="579" y="497"/>
                    <a:pt x="582" y="500"/>
                  </a:cubicBezTo>
                  <a:cubicBezTo>
                    <a:pt x="585" y="503"/>
                    <a:pt x="593" y="501"/>
                    <a:pt x="593" y="503"/>
                  </a:cubicBezTo>
                  <a:cubicBezTo>
                    <a:pt x="593" y="505"/>
                    <a:pt x="590" y="513"/>
                    <a:pt x="600" y="526"/>
                  </a:cubicBezTo>
                  <a:cubicBezTo>
                    <a:pt x="603" y="524"/>
                    <a:pt x="606" y="522"/>
                    <a:pt x="608" y="522"/>
                  </a:cubicBezTo>
                  <a:cubicBezTo>
                    <a:pt x="611" y="522"/>
                    <a:pt x="616" y="518"/>
                    <a:pt x="618" y="515"/>
                  </a:cubicBezTo>
                  <a:cubicBezTo>
                    <a:pt x="619" y="513"/>
                    <a:pt x="621" y="518"/>
                    <a:pt x="618" y="519"/>
                  </a:cubicBezTo>
                  <a:cubicBezTo>
                    <a:pt x="615" y="520"/>
                    <a:pt x="620" y="522"/>
                    <a:pt x="625" y="522"/>
                  </a:cubicBezTo>
                  <a:cubicBezTo>
                    <a:pt x="630" y="521"/>
                    <a:pt x="623" y="523"/>
                    <a:pt x="619" y="523"/>
                  </a:cubicBezTo>
                  <a:cubicBezTo>
                    <a:pt x="616" y="523"/>
                    <a:pt x="614" y="523"/>
                    <a:pt x="609" y="528"/>
                  </a:cubicBezTo>
                  <a:cubicBezTo>
                    <a:pt x="604" y="533"/>
                    <a:pt x="605" y="535"/>
                    <a:pt x="608" y="537"/>
                  </a:cubicBezTo>
                  <a:cubicBezTo>
                    <a:pt x="611" y="540"/>
                    <a:pt x="615" y="539"/>
                    <a:pt x="619" y="535"/>
                  </a:cubicBezTo>
                  <a:cubicBezTo>
                    <a:pt x="623" y="532"/>
                    <a:pt x="622" y="529"/>
                    <a:pt x="626" y="529"/>
                  </a:cubicBezTo>
                  <a:cubicBezTo>
                    <a:pt x="630" y="529"/>
                    <a:pt x="640" y="525"/>
                    <a:pt x="645" y="524"/>
                  </a:cubicBezTo>
                  <a:cubicBezTo>
                    <a:pt x="649" y="522"/>
                    <a:pt x="646" y="522"/>
                    <a:pt x="646" y="520"/>
                  </a:cubicBezTo>
                  <a:cubicBezTo>
                    <a:pt x="646" y="518"/>
                    <a:pt x="654" y="518"/>
                    <a:pt x="657" y="516"/>
                  </a:cubicBezTo>
                  <a:cubicBezTo>
                    <a:pt x="660" y="514"/>
                    <a:pt x="657" y="512"/>
                    <a:pt x="654" y="513"/>
                  </a:cubicBezTo>
                  <a:close/>
                  <a:moveTo>
                    <a:pt x="190" y="281"/>
                  </a:moveTo>
                  <a:cubicBezTo>
                    <a:pt x="185" y="287"/>
                    <a:pt x="184" y="288"/>
                    <a:pt x="179" y="287"/>
                  </a:cubicBezTo>
                  <a:cubicBezTo>
                    <a:pt x="174" y="286"/>
                    <a:pt x="171" y="289"/>
                    <a:pt x="173" y="290"/>
                  </a:cubicBezTo>
                  <a:cubicBezTo>
                    <a:pt x="176" y="292"/>
                    <a:pt x="176" y="294"/>
                    <a:pt x="171" y="295"/>
                  </a:cubicBezTo>
                  <a:cubicBezTo>
                    <a:pt x="166" y="296"/>
                    <a:pt x="163" y="300"/>
                    <a:pt x="161" y="299"/>
                  </a:cubicBezTo>
                  <a:cubicBezTo>
                    <a:pt x="159" y="299"/>
                    <a:pt x="169" y="291"/>
                    <a:pt x="167" y="289"/>
                  </a:cubicBezTo>
                  <a:cubicBezTo>
                    <a:pt x="164" y="287"/>
                    <a:pt x="157" y="293"/>
                    <a:pt x="157" y="295"/>
                  </a:cubicBezTo>
                  <a:cubicBezTo>
                    <a:pt x="157" y="298"/>
                    <a:pt x="153" y="298"/>
                    <a:pt x="150" y="298"/>
                  </a:cubicBezTo>
                  <a:cubicBezTo>
                    <a:pt x="147" y="297"/>
                    <a:pt x="144" y="295"/>
                    <a:pt x="146" y="295"/>
                  </a:cubicBezTo>
                  <a:cubicBezTo>
                    <a:pt x="149" y="294"/>
                    <a:pt x="147" y="291"/>
                    <a:pt x="151" y="290"/>
                  </a:cubicBezTo>
                  <a:cubicBezTo>
                    <a:pt x="155" y="289"/>
                    <a:pt x="150" y="286"/>
                    <a:pt x="151" y="285"/>
                  </a:cubicBezTo>
                  <a:cubicBezTo>
                    <a:pt x="152" y="283"/>
                    <a:pt x="160" y="286"/>
                    <a:pt x="160" y="284"/>
                  </a:cubicBezTo>
                  <a:cubicBezTo>
                    <a:pt x="160" y="281"/>
                    <a:pt x="153" y="278"/>
                    <a:pt x="150" y="280"/>
                  </a:cubicBezTo>
                  <a:cubicBezTo>
                    <a:pt x="148" y="282"/>
                    <a:pt x="142" y="286"/>
                    <a:pt x="134" y="283"/>
                  </a:cubicBezTo>
                  <a:cubicBezTo>
                    <a:pt x="132" y="282"/>
                    <a:pt x="152" y="279"/>
                    <a:pt x="156" y="276"/>
                  </a:cubicBezTo>
                  <a:cubicBezTo>
                    <a:pt x="159" y="273"/>
                    <a:pt x="174" y="270"/>
                    <a:pt x="176" y="272"/>
                  </a:cubicBezTo>
                  <a:cubicBezTo>
                    <a:pt x="177" y="275"/>
                    <a:pt x="167" y="277"/>
                    <a:pt x="172" y="280"/>
                  </a:cubicBezTo>
                  <a:cubicBezTo>
                    <a:pt x="176" y="282"/>
                    <a:pt x="184" y="281"/>
                    <a:pt x="186" y="278"/>
                  </a:cubicBezTo>
                  <a:cubicBezTo>
                    <a:pt x="187" y="275"/>
                    <a:pt x="195" y="276"/>
                    <a:pt x="190" y="281"/>
                  </a:cubicBezTo>
                  <a:close/>
                  <a:moveTo>
                    <a:pt x="235" y="339"/>
                  </a:moveTo>
                  <a:cubicBezTo>
                    <a:pt x="229" y="344"/>
                    <a:pt x="230" y="342"/>
                    <a:pt x="225" y="343"/>
                  </a:cubicBezTo>
                  <a:cubicBezTo>
                    <a:pt x="220" y="344"/>
                    <a:pt x="224" y="349"/>
                    <a:pt x="218" y="349"/>
                  </a:cubicBezTo>
                  <a:cubicBezTo>
                    <a:pt x="212" y="350"/>
                    <a:pt x="198" y="350"/>
                    <a:pt x="196" y="347"/>
                  </a:cubicBezTo>
                  <a:cubicBezTo>
                    <a:pt x="196" y="346"/>
                    <a:pt x="204" y="347"/>
                    <a:pt x="205" y="344"/>
                  </a:cubicBezTo>
                  <a:cubicBezTo>
                    <a:pt x="205" y="342"/>
                    <a:pt x="207" y="338"/>
                    <a:pt x="211" y="338"/>
                  </a:cubicBezTo>
                  <a:cubicBezTo>
                    <a:pt x="215" y="338"/>
                    <a:pt x="214" y="333"/>
                    <a:pt x="208" y="330"/>
                  </a:cubicBezTo>
                  <a:cubicBezTo>
                    <a:pt x="203" y="328"/>
                    <a:pt x="217" y="326"/>
                    <a:pt x="220" y="330"/>
                  </a:cubicBezTo>
                  <a:cubicBezTo>
                    <a:pt x="223" y="335"/>
                    <a:pt x="229" y="338"/>
                    <a:pt x="232" y="335"/>
                  </a:cubicBezTo>
                  <a:cubicBezTo>
                    <a:pt x="236" y="332"/>
                    <a:pt x="254" y="323"/>
                    <a:pt x="254" y="327"/>
                  </a:cubicBezTo>
                  <a:cubicBezTo>
                    <a:pt x="254" y="331"/>
                    <a:pt x="241" y="334"/>
                    <a:pt x="235" y="339"/>
                  </a:cubicBezTo>
                  <a:close/>
                  <a:moveTo>
                    <a:pt x="359" y="468"/>
                  </a:moveTo>
                  <a:cubicBezTo>
                    <a:pt x="355" y="469"/>
                    <a:pt x="359" y="458"/>
                    <a:pt x="352" y="454"/>
                  </a:cubicBezTo>
                  <a:cubicBezTo>
                    <a:pt x="344" y="449"/>
                    <a:pt x="340" y="441"/>
                    <a:pt x="340" y="436"/>
                  </a:cubicBezTo>
                  <a:cubicBezTo>
                    <a:pt x="340" y="432"/>
                    <a:pt x="347" y="429"/>
                    <a:pt x="350" y="433"/>
                  </a:cubicBezTo>
                  <a:cubicBezTo>
                    <a:pt x="353" y="437"/>
                    <a:pt x="357" y="451"/>
                    <a:pt x="360" y="456"/>
                  </a:cubicBezTo>
                  <a:cubicBezTo>
                    <a:pt x="362" y="461"/>
                    <a:pt x="362" y="468"/>
                    <a:pt x="359" y="468"/>
                  </a:cubicBezTo>
                  <a:close/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Freeform 158">
              <a:extLst>
                <a:ext uri="{FF2B5EF4-FFF2-40B4-BE49-F238E27FC236}">
                  <a16:creationId xmlns:a16="http://schemas.microsoft.com/office/drawing/2014/main" id="{338C85C8-08F6-4EDE-83F5-54D1493FC4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65054" y="4555002"/>
              <a:ext cx="942010" cy="833557"/>
            </a:xfrm>
            <a:custGeom>
              <a:avLst/>
              <a:gdLst>
                <a:gd name="T0" fmla="*/ 326 w 331"/>
                <a:gd name="T1" fmla="*/ 128 h 293"/>
                <a:gd name="T2" fmla="*/ 312 w 331"/>
                <a:gd name="T3" fmla="*/ 114 h 293"/>
                <a:gd name="T4" fmla="*/ 302 w 331"/>
                <a:gd name="T5" fmla="*/ 99 h 293"/>
                <a:gd name="T6" fmla="*/ 293 w 331"/>
                <a:gd name="T7" fmla="*/ 88 h 293"/>
                <a:gd name="T8" fmla="*/ 270 w 331"/>
                <a:gd name="T9" fmla="*/ 66 h 293"/>
                <a:gd name="T10" fmla="*/ 262 w 331"/>
                <a:gd name="T11" fmla="*/ 38 h 293"/>
                <a:gd name="T12" fmla="*/ 248 w 331"/>
                <a:gd name="T13" fmla="*/ 24 h 293"/>
                <a:gd name="T14" fmla="*/ 235 w 331"/>
                <a:gd name="T15" fmla="*/ 7 h 293"/>
                <a:gd name="T16" fmla="*/ 231 w 331"/>
                <a:gd name="T17" fmla="*/ 36 h 293"/>
                <a:gd name="T18" fmla="*/ 212 w 331"/>
                <a:gd name="T19" fmla="*/ 54 h 293"/>
                <a:gd name="T20" fmla="*/ 189 w 331"/>
                <a:gd name="T21" fmla="*/ 42 h 293"/>
                <a:gd name="T22" fmla="*/ 185 w 331"/>
                <a:gd name="T23" fmla="*/ 25 h 293"/>
                <a:gd name="T24" fmla="*/ 191 w 331"/>
                <a:gd name="T25" fmla="*/ 12 h 293"/>
                <a:gd name="T26" fmla="*/ 179 w 331"/>
                <a:gd name="T27" fmla="*/ 13 h 293"/>
                <a:gd name="T28" fmla="*/ 159 w 331"/>
                <a:gd name="T29" fmla="*/ 9 h 293"/>
                <a:gd name="T30" fmla="*/ 138 w 331"/>
                <a:gd name="T31" fmla="*/ 22 h 293"/>
                <a:gd name="T32" fmla="*/ 131 w 331"/>
                <a:gd name="T33" fmla="*/ 36 h 293"/>
                <a:gd name="T34" fmla="*/ 119 w 331"/>
                <a:gd name="T35" fmla="*/ 31 h 293"/>
                <a:gd name="T36" fmla="*/ 105 w 331"/>
                <a:gd name="T37" fmla="*/ 32 h 293"/>
                <a:gd name="T38" fmla="*/ 94 w 331"/>
                <a:gd name="T39" fmla="*/ 39 h 293"/>
                <a:gd name="T40" fmla="*/ 87 w 331"/>
                <a:gd name="T41" fmla="*/ 52 h 293"/>
                <a:gd name="T42" fmla="*/ 76 w 331"/>
                <a:gd name="T43" fmla="*/ 53 h 293"/>
                <a:gd name="T44" fmla="*/ 49 w 331"/>
                <a:gd name="T45" fmla="*/ 78 h 293"/>
                <a:gd name="T46" fmla="*/ 24 w 331"/>
                <a:gd name="T47" fmla="*/ 86 h 293"/>
                <a:gd name="T48" fmla="*/ 9 w 331"/>
                <a:gd name="T49" fmla="*/ 93 h 293"/>
                <a:gd name="T50" fmla="*/ 4 w 331"/>
                <a:gd name="T51" fmla="*/ 121 h 293"/>
                <a:gd name="T52" fmla="*/ 6 w 331"/>
                <a:gd name="T53" fmla="*/ 133 h 293"/>
                <a:gd name="T54" fmla="*/ 15 w 331"/>
                <a:gd name="T55" fmla="*/ 162 h 293"/>
                <a:gd name="T56" fmla="*/ 16 w 331"/>
                <a:gd name="T57" fmla="*/ 198 h 293"/>
                <a:gd name="T58" fmla="*/ 40 w 331"/>
                <a:gd name="T59" fmla="*/ 210 h 293"/>
                <a:gd name="T60" fmla="*/ 74 w 331"/>
                <a:gd name="T61" fmla="*/ 200 h 293"/>
                <a:gd name="T62" fmla="*/ 112 w 331"/>
                <a:gd name="T63" fmla="*/ 185 h 293"/>
                <a:gd name="T64" fmla="*/ 156 w 331"/>
                <a:gd name="T65" fmla="*/ 183 h 293"/>
                <a:gd name="T66" fmla="*/ 171 w 331"/>
                <a:gd name="T67" fmla="*/ 191 h 293"/>
                <a:gd name="T68" fmla="*/ 187 w 331"/>
                <a:gd name="T69" fmla="*/ 205 h 293"/>
                <a:gd name="T70" fmla="*/ 198 w 331"/>
                <a:gd name="T71" fmla="*/ 203 h 293"/>
                <a:gd name="T72" fmla="*/ 205 w 331"/>
                <a:gd name="T73" fmla="*/ 206 h 293"/>
                <a:gd name="T74" fmla="*/ 217 w 331"/>
                <a:gd name="T75" fmla="*/ 226 h 293"/>
                <a:gd name="T76" fmla="*/ 245 w 331"/>
                <a:gd name="T77" fmla="*/ 245 h 293"/>
                <a:gd name="T78" fmla="*/ 260 w 331"/>
                <a:gd name="T79" fmla="*/ 243 h 293"/>
                <a:gd name="T80" fmla="*/ 271 w 331"/>
                <a:gd name="T81" fmla="*/ 248 h 293"/>
                <a:gd name="T82" fmla="*/ 299 w 331"/>
                <a:gd name="T83" fmla="*/ 235 h 293"/>
                <a:gd name="T84" fmla="*/ 316 w 331"/>
                <a:gd name="T85" fmla="*/ 189 h 293"/>
                <a:gd name="T86" fmla="*/ 327 w 331"/>
                <a:gd name="T87" fmla="*/ 162 h 293"/>
                <a:gd name="T88" fmla="*/ 150 w 331"/>
                <a:gd name="T89" fmla="*/ 7 h 293"/>
                <a:gd name="T90" fmla="*/ 190 w 331"/>
                <a:gd name="T91" fmla="*/ 219 h 293"/>
                <a:gd name="T92" fmla="*/ 270 w 331"/>
                <a:gd name="T93" fmla="*/ 268 h 293"/>
                <a:gd name="T94" fmla="*/ 271 w 331"/>
                <a:gd name="T95" fmla="*/ 293 h 293"/>
                <a:gd name="T96" fmla="*/ 282 w 331"/>
                <a:gd name="T97" fmla="*/ 286 h 293"/>
                <a:gd name="T98" fmla="*/ 270 w 331"/>
                <a:gd name="T99" fmla="*/ 268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31" h="293">
                  <a:moveTo>
                    <a:pt x="328" y="147"/>
                  </a:moveTo>
                  <a:cubicBezTo>
                    <a:pt x="330" y="146"/>
                    <a:pt x="328" y="140"/>
                    <a:pt x="326" y="141"/>
                  </a:cubicBezTo>
                  <a:cubicBezTo>
                    <a:pt x="325" y="142"/>
                    <a:pt x="325" y="132"/>
                    <a:pt x="326" y="128"/>
                  </a:cubicBezTo>
                  <a:cubicBezTo>
                    <a:pt x="327" y="123"/>
                    <a:pt x="326" y="124"/>
                    <a:pt x="324" y="126"/>
                  </a:cubicBezTo>
                  <a:cubicBezTo>
                    <a:pt x="322" y="129"/>
                    <a:pt x="319" y="122"/>
                    <a:pt x="319" y="120"/>
                  </a:cubicBezTo>
                  <a:cubicBezTo>
                    <a:pt x="318" y="118"/>
                    <a:pt x="315" y="113"/>
                    <a:pt x="312" y="114"/>
                  </a:cubicBezTo>
                  <a:cubicBezTo>
                    <a:pt x="309" y="115"/>
                    <a:pt x="311" y="110"/>
                    <a:pt x="308" y="110"/>
                  </a:cubicBezTo>
                  <a:cubicBezTo>
                    <a:pt x="306" y="111"/>
                    <a:pt x="305" y="106"/>
                    <a:pt x="306" y="102"/>
                  </a:cubicBezTo>
                  <a:cubicBezTo>
                    <a:pt x="306" y="98"/>
                    <a:pt x="304" y="101"/>
                    <a:pt x="302" y="99"/>
                  </a:cubicBezTo>
                  <a:cubicBezTo>
                    <a:pt x="301" y="97"/>
                    <a:pt x="300" y="99"/>
                    <a:pt x="298" y="100"/>
                  </a:cubicBezTo>
                  <a:cubicBezTo>
                    <a:pt x="296" y="100"/>
                    <a:pt x="295" y="96"/>
                    <a:pt x="296" y="94"/>
                  </a:cubicBezTo>
                  <a:cubicBezTo>
                    <a:pt x="296" y="92"/>
                    <a:pt x="295" y="90"/>
                    <a:pt x="293" y="88"/>
                  </a:cubicBezTo>
                  <a:cubicBezTo>
                    <a:pt x="290" y="86"/>
                    <a:pt x="290" y="85"/>
                    <a:pt x="290" y="82"/>
                  </a:cubicBezTo>
                  <a:cubicBezTo>
                    <a:pt x="290" y="80"/>
                    <a:pt x="275" y="72"/>
                    <a:pt x="272" y="71"/>
                  </a:cubicBezTo>
                  <a:cubicBezTo>
                    <a:pt x="268" y="71"/>
                    <a:pt x="271" y="67"/>
                    <a:pt x="270" y="66"/>
                  </a:cubicBezTo>
                  <a:cubicBezTo>
                    <a:pt x="268" y="65"/>
                    <a:pt x="268" y="60"/>
                    <a:pt x="268" y="56"/>
                  </a:cubicBezTo>
                  <a:cubicBezTo>
                    <a:pt x="268" y="52"/>
                    <a:pt x="263" y="51"/>
                    <a:pt x="263" y="48"/>
                  </a:cubicBezTo>
                  <a:cubicBezTo>
                    <a:pt x="263" y="44"/>
                    <a:pt x="261" y="41"/>
                    <a:pt x="262" y="38"/>
                  </a:cubicBezTo>
                  <a:cubicBezTo>
                    <a:pt x="262" y="34"/>
                    <a:pt x="257" y="33"/>
                    <a:pt x="256" y="31"/>
                  </a:cubicBezTo>
                  <a:cubicBezTo>
                    <a:pt x="256" y="29"/>
                    <a:pt x="253" y="31"/>
                    <a:pt x="250" y="32"/>
                  </a:cubicBezTo>
                  <a:cubicBezTo>
                    <a:pt x="247" y="32"/>
                    <a:pt x="247" y="28"/>
                    <a:pt x="248" y="24"/>
                  </a:cubicBezTo>
                  <a:cubicBezTo>
                    <a:pt x="248" y="19"/>
                    <a:pt x="246" y="13"/>
                    <a:pt x="244" y="11"/>
                  </a:cubicBezTo>
                  <a:cubicBezTo>
                    <a:pt x="241" y="9"/>
                    <a:pt x="241" y="2"/>
                    <a:pt x="240" y="1"/>
                  </a:cubicBezTo>
                  <a:cubicBezTo>
                    <a:pt x="239" y="0"/>
                    <a:pt x="235" y="4"/>
                    <a:pt x="235" y="7"/>
                  </a:cubicBezTo>
                  <a:cubicBezTo>
                    <a:pt x="235" y="9"/>
                    <a:pt x="234" y="12"/>
                    <a:pt x="233" y="13"/>
                  </a:cubicBezTo>
                  <a:cubicBezTo>
                    <a:pt x="231" y="15"/>
                    <a:pt x="234" y="20"/>
                    <a:pt x="232" y="22"/>
                  </a:cubicBezTo>
                  <a:cubicBezTo>
                    <a:pt x="230" y="24"/>
                    <a:pt x="232" y="32"/>
                    <a:pt x="231" y="36"/>
                  </a:cubicBezTo>
                  <a:cubicBezTo>
                    <a:pt x="231" y="41"/>
                    <a:pt x="231" y="46"/>
                    <a:pt x="229" y="49"/>
                  </a:cubicBezTo>
                  <a:cubicBezTo>
                    <a:pt x="226" y="52"/>
                    <a:pt x="226" y="57"/>
                    <a:pt x="222" y="58"/>
                  </a:cubicBezTo>
                  <a:cubicBezTo>
                    <a:pt x="217" y="60"/>
                    <a:pt x="212" y="56"/>
                    <a:pt x="212" y="54"/>
                  </a:cubicBezTo>
                  <a:cubicBezTo>
                    <a:pt x="212" y="52"/>
                    <a:pt x="207" y="50"/>
                    <a:pt x="205" y="51"/>
                  </a:cubicBezTo>
                  <a:cubicBezTo>
                    <a:pt x="202" y="51"/>
                    <a:pt x="201" y="47"/>
                    <a:pt x="197" y="44"/>
                  </a:cubicBezTo>
                  <a:cubicBezTo>
                    <a:pt x="193" y="41"/>
                    <a:pt x="190" y="45"/>
                    <a:pt x="189" y="42"/>
                  </a:cubicBezTo>
                  <a:cubicBezTo>
                    <a:pt x="188" y="38"/>
                    <a:pt x="186" y="37"/>
                    <a:pt x="183" y="35"/>
                  </a:cubicBezTo>
                  <a:cubicBezTo>
                    <a:pt x="181" y="34"/>
                    <a:pt x="181" y="34"/>
                    <a:pt x="184" y="32"/>
                  </a:cubicBezTo>
                  <a:cubicBezTo>
                    <a:pt x="187" y="30"/>
                    <a:pt x="186" y="27"/>
                    <a:pt x="185" y="25"/>
                  </a:cubicBezTo>
                  <a:cubicBezTo>
                    <a:pt x="183" y="22"/>
                    <a:pt x="186" y="23"/>
                    <a:pt x="190" y="21"/>
                  </a:cubicBezTo>
                  <a:cubicBezTo>
                    <a:pt x="194" y="19"/>
                    <a:pt x="190" y="17"/>
                    <a:pt x="193" y="16"/>
                  </a:cubicBezTo>
                  <a:cubicBezTo>
                    <a:pt x="195" y="15"/>
                    <a:pt x="194" y="12"/>
                    <a:pt x="191" y="12"/>
                  </a:cubicBezTo>
                  <a:cubicBezTo>
                    <a:pt x="188" y="11"/>
                    <a:pt x="189" y="15"/>
                    <a:pt x="188" y="15"/>
                  </a:cubicBezTo>
                  <a:cubicBezTo>
                    <a:pt x="187" y="15"/>
                    <a:pt x="186" y="11"/>
                    <a:pt x="185" y="11"/>
                  </a:cubicBezTo>
                  <a:cubicBezTo>
                    <a:pt x="184" y="11"/>
                    <a:pt x="181" y="16"/>
                    <a:pt x="179" y="13"/>
                  </a:cubicBezTo>
                  <a:cubicBezTo>
                    <a:pt x="177" y="11"/>
                    <a:pt x="167" y="9"/>
                    <a:pt x="163" y="8"/>
                  </a:cubicBezTo>
                  <a:cubicBezTo>
                    <a:pt x="159" y="8"/>
                    <a:pt x="158" y="3"/>
                    <a:pt x="156" y="4"/>
                  </a:cubicBezTo>
                  <a:cubicBezTo>
                    <a:pt x="153" y="5"/>
                    <a:pt x="156" y="6"/>
                    <a:pt x="159" y="9"/>
                  </a:cubicBezTo>
                  <a:cubicBezTo>
                    <a:pt x="161" y="12"/>
                    <a:pt x="150" y="14"/>
                    <a:pt x="146" y="13"/>
                  </a:cubicBezTo>
                  <a:cubicBezTo>
                    <a:pt x="143" y="12"/>
                    <a:pt x="147" y="15"/>
                    <a:pt x="144" y="15"/>
                  </a:cubicBezTo>
                  <a:cubicBezTo>
                    <a:pt x="141" y="15"/>
                    <a:pt x="141" y="20"/>
                    <a:pt x="138" y="22"/>
                  </a:cubicBezTo>
                  <a:cubicBezTo>
                    <a:pt x="136" y="25"/>
                    <a:pt x="138" y="27"/>
                    <a:pt x="135" y="28"/>
                  </a:cubicBezTo>
                  <a:cubicBezTo>
                    <a:pt x="133" y="30"/>
                    <a:pt x="132" y="32"/>
                    <a:pt x="135" y="35"/>
                  </a:cubicBezTo>
                  <a:cubicBezTo>
                    <a:pt x="138" y="39"/>
                    <a:pt x="134" y="39"/>
                    <a:pt x="131" y="36"/>
                  </a:cubicBezTo>
                  <a:cubicBezTo>
                    <a:pt x="129" y="33"/>
                    <a:pt x="126" y="33"/>
                    <a:pt x="126" y="36"/>
                  </a:cubicBezTo>
                  <a:cubicBezTo>
                    <a:pt x="126" y="39"/>
                    <a:pt x="123" y="38"/>
                    <a:pt x="124" y="35"/>
                  </a:cubicBezTo>
                  <a:cubicBezTo>
                    <a:pt x="124" y="31"/>
                    <a:pt x="120" y="33"/>
                    <a:pt x="119" y="31"/>
                  </a:cubicBezTo>
                  <a:cubicBezTo>
                    <a:pt x="118" y="29"/>
                    <a:pt x="115" y="26"/>
                    <a:pt x="112" y="26"/>
                  </a:cubicBezTo>
                  <a:cubicBezTo>
                    <a:pt x="110" y="26"/>
                    <a:pt x="110" y="29"/>
                    <a:pt x="108" y="29"/>
                  </a:cubicBezTo>
                  <a:cubicBezTo>
                    <a:pt x="105" y="29"/>
                    <a:pt x="105" y="30"/>
                    <a:pt x="105" y="32"/>
                  </a:cubicBezTo>
                  <a:cubicBezTo>
                    <a:pt x="105" y="35"/>
                    <a:pt x="102" y="32"/>
                    <a:pt x="99" y="32"/>
                  </a:cubicBezTo>
                  <a:cubicBezTo>
                    <a:pt x="96" y="33"/>
                    <a:pt x="99" y="36"/>
                    <a:pt x="97" y="36"/>
                  </a:cubicBezTo>
                  <a:cubicBezTo>
                    <a:pt x="96" y="36"/>
                    <a:pt x="96" y="39"/>
                    <a:pt x="94" y="39"/>
                  </a:cubicBezTo>
                  <a:cubicBezTo>
                    <a:pt x="91" y="39"/>
                    <a:pt x="92" y="44"/>
                    <a:pt x="92" y="47"/>
                  </a:cubicBezTo>
                  <a:cubicBezTo>
                    <a:pt x="92" y="49"/>
                    <a:pt x="89" y="45"/>
                    <a:pt x="86" y="46"/>
                  </a:cubicBezTo>
                  <a:cubicBezTo>
                    <a:pt x="84" y="47"/>
                    <a:pt x="87" y="49"/>
                    <a:pt x="87" y="52"/>
                  </a:cubicBezTo>
                  <a:cubicBezTo>
                    <a:pt x="88" y="55"/>
                    <a:pt x="86" y="55"/>
                    <a:pt x="85" y="56"/>
                  </a:cubicBezTo>
                  <a:cubicBezTo>
                    <a:pt x="84" y="57"/>
                    <a:pt x="82" y="53"/>
                    <a:pt x="82" y="50"/>
                  </a:cubicBezTo>
                  <a:cubicBezTo>
                    <a:pt x="82" y="47"/>
                    <a:pt x="79" y="50"/>
                    <a:pt x="76" y="53"/>
                  </a:cubicBezTo>
                  <a:cubicBezTo>
                    <a:pt x="72" y="57"/>
                    <a:pt x="77" y="62"/>
                    <a:pt x="75" y="63"/>
                  </a:cubicBezTo>
                  <a:cubicBezTo>
                    <a:pt x="74" y="64"/>
                    <a:pt x="67" y="70"/>
                    <a:pt x="64" y="74"/>
                  </a:cubicBezTo>
                  <a:cubicBezTo>
                    <a:pt x="60" y="79"/>
                    <a:pt x="52" y="76"/>
                    <a:pt x="49" y="78"/>
                  </a:cubicBezTo>
                  <a:cubicBezTo>
                    <a:pt x="47" y="80"/>
                    <a:pt x="44" y="79"/>
                    <a:pt x="42" y="81"/>
                  </a:cubicBezTo>
                  <a:cubicBezTo>
                    <a:pt x="39" y="83"/>
                    <a:pt x="35" y="86"/>
                    <a:pt x="34" y="84"/>
                  </a:cubicBezTo>
                  <a:cubicBezTo>
                    <a:pt x="33" y="82"/>
                    <a:pt x="27" y="83"/>
                    <a:pt x="24" y="86"/>
                  </a:cubicBezTo>
                  <a:cubicBezTo>
                    <a:pt x="22" y="89"/>
                    <a:pt x="17" y="92"/>
                    <a:pt x="14" y="92"/>
                  </a:cubicBezTo>
                  <a:cubicBezTo>
                    <a:pt x="11" y="92"/>
                    <a:pt x="11" y="97"/>
                    <a:pt x="10" y="98"/>
                  </a:cubicBezTo>
                  <a:cubicBezTo>
                    <a:pt x="9" y="99"/>
                    <a:pt x="9" y="94"/>
                    <a:pt x="9" y="93"/>
                  </a:cubicBezTo>
                  <a:cubicBezTo>
                    <a:pt x="9" y="91"/>
                    <a:pt x="6" y="95"/>
                    <a:pt x="5" y="99"/>
                  </a:cubicBezTo>
                  <a:cubicBezTo>
                    <a:pt x="4" y="102"/>
                    <a:pt x="8" y="104"/>
                    <a:pt x="5" y="108"/>
                  </a:cubicBezTo>
                  <a:cubicBezTo>
                    <a:pt x="3" y="112"/>
                    <a:pt x="0" y="116"/>
                    <a:pt x="4" y="121"/>
                  </a:cubicBezTo>
                  <a:cubicBezTo>
                    <a:pt x="8" y="126"/>
                    <a:pt x="10" y="129"/>
                    <a:pt x="9" y="131"/>
                  </a:cubicBezTo>
                  <a:cubicBezTo>
                    <a:pt x="7" y="134"/>
                    <a:pt x="5" y="126"/>
                    <a:pt x="4" y="127"/>
                  </a:cubicBezTo>
                  <a:cubicBezTo>
                    <a:pt x="3" y="128"/>
                    <a:pt x="7" y="131"/>
                    <a:pt x="6" y="133"/>
                  </a:cubicBezTo>
                  <a:cubicBezTo>
                    <a:pt x="5" y="134"/>
                    <a:pt x="1" y="127"/>
                    <a:pt x="0" y="129"/>
                  </a:cubicBezTo>
                  <a:cubicBezTo>
                    <a:pt x="0" y="130"/>
                    <a:pt x="8" y="142"/>
                    <a:pt x="9" y="147"/>
                  </a:cubicBezTo>
                  <a:cubicBezTo>
                    <a:pt x="9" y="151"/>
                    <a:pt x="16" y="156"/>
                    <a:pt x="15" y="162"/>
                  </a:cubicBezTo>
                  <a:cubicBezTo>
                    <a:pt x="15" y="168"/>
                    <a:pt x="21" y="179"/>
                    <a:pt x="23" y="180"/>
                  </a:cubicBezTo>
                  <a:cubicBezTo>
                    <a:pt x="24" y="182"/>
                    <a:pt x="20" y="186"/>
                    <a:pt x="21" y="191"/>
                  </a:cubicBezTo>
                  <a:cubicBezTo>
                    <a:pt x="21" y="196"/>
                    <a:pt x="19" y="198"/>
                    <a:pt x="16" y="198"/>
                  </a:cubicBezTo>
                  <a:cubicBezTo>
                    <a:pt x="13" y="198"/>
                    <a:pt x="15" y="203"/>
                    <a:pt x="18" y="203"/>
                  </a:cubicBezTo>
                  <a:cubicBezTo>
                    <a:pt x="22" y="203"/>
                    <a:pt x="20" y="206"/>
                    <a:pt x="24" y="208"/>
                  </a:cubicBezTo>
                  <a:cubicBezTo>
                    <a:pt x="28" y="211"/>
                    <a:pt x="37" y="210"/>
                    <a:pt x="40" y="210"/>
                  </a:cubicBezTo>
                  <a:cubicBezTo>
                    <a:pt x="43" y="210"/>
                    <a:pt x="44" y="205"/>
                    <a:pt x="48" y="205"/>
                  </a:cubicBezTo>
                  <a:cubicBezTo>
                    <a:pt x="52" y="205"/>
                    <a:pt x="52" y="203"/>
                    <a:pt x="54" y="201"/>
                  </a:cubicBezTo>
                  <a:cubicBezTo>
                    <a:pt x="56" y="198"/>
                    <a:pt x="65" y="199"/>
                    <a:pt x="74" y="200"/>
                  </a:cubicBezTo>
                  <a:cubicBezTo>
                    <a:pt x="84" y="200"/>
                    <a:pt x="88" y="197"/>
                    <a:pt x="89" y="193"/>
                  </a:cubicBezTo>
                  <a:cubicBezTo>
                    <a:pt x="90" y="190"/>
                    <a:pt x="97" y="190"/>
                    <a:pt x="100" y="187"/>
                  </a:cubicBezTo>
                  <a:cubicBezTo>
                    <a:pt x="103" y="185"/>
                    <a:pt x="105" y="185"/>
                    <a:pt x="112" y="185"/>
                  </a:cubicBezTo>
                  <a:cubicBezTo>
                    <a:pt x="119" y="185"/>
                    <a:pt x="125" y="182"/>
                    <a:pt x="130" y="180"/>
                  </a:cubicBezTo>
                  <a:cubicBezTo>
                    <a:pt x="134" y="178"/>
                    <a:pt x="142" y="179"/>
                    <a:pt x="147" y="178"/>
                  </a:cubicBezTo>
                  <a:cubicBezTo>
                    <a:pt x="151" y="177"/>
                    <a:pt x="152" y="183"/>
                    <a:pt x="156" y="183"/>
                  </a:cubicBezTo>
                  <a:cubicBezTo>
                    <a:pt x="161" y="182"/>
                    <a:pt x="163" y="184"/>
                    <a:pt x="166" y="184"/>
                  </a:cubicBezTo>
                  <a:cubicBezTo>
                    <a:pt x="168" y="184"/>
                    <a:pt x="168" y="186"/>
                    <a:pt x="171" y="186"/>
                  </a:cubicBezTo>
                  <a:cubicBezTo>
                    <a:pt x="173" y="187"/>
                    <a:pt x="173" y="189"/>
                    <a:pt x="171" y="191"/>
                  </a:cubicBezTo>
                  <a:cubicBezTo>
                    <a:pt x="170" y="193"/>
                    <a:pt x="175" y="193"/>
                    <a:pt x="178" y="198"/>
                  </a:cubicBezTo>
                  <a:cubicBezTo>
                    <a:pt x="182" y="203"/>
                    <a:pt x="178" y="203"/>
                    <a:pt x="180" y="207"/>
                  </a:cubicBezTo>
                  <a:cubicBezTo>
                    <a:pt x="182" y="210"/>
                    <a:pt x="183" y="210"/>
                    <a:pt x="187" y="205"/>
                  </a:cubicBezTo>
                  <a:cubicBezTo>
                    <a:pt x="190" y="200"/>
                    <a:pt x="194" y="203"/>
                    <a:pt x="195" y="198"/>
                  </a:cubicBezTo>
                  <a:cubicBezTo>
                    <a:pt x="195" y="194"/>
                    <a:pt x="199" y="189"/>
                    <a:pt x="202" y="191"/>
                  </a:cubicBezTo>
                  <a:cubicBezTo>
                    <a:pt x="204" y="193"/>
                    <a:pt x="200" y="195"/>
                    <a:pt x="198" y="203"/>
                  </a:cubicBezTo>
                  <a:cubicBezTo>
                    <a:pt x="197" y="211"/>
                    <a:pt x="194" y="207"/>
                    <a:pt x="193" y="209"/>
                  </a:cubicBezTo>
                  <a:cubicBezTo>
                    <a:pt x="193" y="211"/>
                    <a:pt x="201" y="213"/>
                    <a:pt x="201" y="208"/>
                  </a:cubicBezTo>
                  <a:cubicBezTo>
                    <a:pt x="201" y="204"/>
                    <a:pt x="202" y="202"/>
                    <a:pt x="205" y="206"/>
                  </a:cubicBezTo>
                  <a:cubicBezTo>
                    <a:pt x="208" y="210"/>
                    <a:pt x="203" y="213"/>
                    <a:pt x="204" y="215"/>
                  </a:cubicBezTo>
                  <a:cubicBezTo>
                    <a:pt x="205" y="217"/>
                    <a:pt x="208" y="214"/>
                    <a:pt x="210" y="215"/>
                  </a:cubicBezTo>
                  <a:cubicBezTo>
                    <a:pt x="213" y="215"/>
                    <a:pt x="217" y="222"/>
                    <a:pt x="217" y="226"/>
                  </a:cubicBezTo>
                  <a:cubicBezTo>
                    <a:pt x="216" y="229"/>
                    <a:pt x="215" y="233"/>
                    <a:pt x="221" y="236"/>
                  </a:cubicBezTo>
                  <a:cubicBezTo>
                    <a:pt x="227" y="239"/>
                    <a:pt x="225" y="240"/>
                    <a:pt x="229" y="240"/>
                  </a:cubicBezTo>
                  <a:cubicBezTo>
                    <a:pt x="234" y="240"/>
                    <a:pt x="243" y="243"/>
                    <a:pt x="245" y="245"/>
                  </a:cubicBezTo>
                  <a:cubicBezTo>
                    <a:pt x="248" y="247"/>
                    <a:pt x="254" y="244"/>
                    <a:pt x="256" y="239"/>
                  </a:cubicBezTo>
                  <a:cubicBezTo>
                    <a:pt x="257" y="235"/>
                    <a:pt x="262" y="239"/>
                    <a:pt x="259" y="241"/>
                  </a:cubicBezTo>
                  <a:cubicBezTo>
                    <a:pt x="257" y="242"/>
                    <a:pt x="260" y="245"/>
                    <a:pt x="260" y="243"/>
                  </a:cubicBezTo>
                  <a:cubicBezTo>
                    <a:pt x="261" y="241"/>
                    <a:pt x="262" y="239"/>
                    <a:pt x="263" y="241"/>
                  </a:cubicBezTo>
                  <a:cubicBezTo>
                    <a:pt x="264" y="244"/>
                    <a:pt x="267" y="244"/>
                    <a:pt x="268" y="246"/>
                  </a:cubicBezTo>
                  <a:cubicBezTo>
                    <a:pt x="269" y="248"/>
                    <a:pt x="271" y="250"/>
                    <a:pt x="271" y="248"/>
                  </a:cubicBezTo>
                  <a:cubicBezTo>
                    <a:pt x="271" y="246"/>
                    <a:pt x="271" y="245"/>
                    <a:pt x="274" y="244"/>
                  </a:cubicBezTo>
                  <a:cubicBezTo>
                    <a:pt x="277" y="243"/>
                    <a:pt x="279" y="241"/>
                    <a:pt x="282" y="238"/>
                  </a:cubicBezTo>
                  <a:cubicBezTo>
                    <a:pt x="285" y="236"/>
                    <a:pt x="297" y="235"/>
                    <a:pt x="299" y="235"/>
                  </a:cubicBezTo>
                  <a:cubicBezTo>
                    <a:pt x="300" y="235"/>
                    <a:pt x="301" y="225"/>
                    <a:pt x="301" y="219"/>
                  </a:cubicBezTo>
                  <a:cubicBezTo>
                    <a:pt x="302" y="213"/>
                    <a:pt x="307" y="213"/>
                    <a:pt x="307" y="207"/>
                  </a:cubicBezTo>
                  <a:cubicBezTo>
                    <a:pt x="308" y="201"/>
                    <a:pt x="314" y="190"/>
                    <a:pt x="316" y="189"/>
                  </a:cubicBezTo>
                  <a:cubicBezTo>
                    <a:pt x="318" y="189"/>
                    <a:pt x="321" y="187"/>
                    <a:pt x="321" y="184"/>
                  </a:cubicBezTo>
                  <a:cubicBezTo>
                    <a:pt x="321" y="180"/>
                    <a:pt x="325" y="177"/>
                    <a:pt x="325" y="173"/>
                  </a:cubicBezTo>
                  <a:cubicBezTo>
                    <a:pt x="325" y="169"/>
                    <a:pt x="327" y="164"/>
                    <a:pt x="327" y="162"/>
                  </a:cubicBezTo>
                  <a:cubicBezTo>
                    <a:pt x="327" y="161"/>
                    <a:pt x="325" y="157"/>
                    <a:pt x="328" y="154"/>
                  </a:cubicBezTo>
                  <a:cubicBezTo>
                    <a:pt x="331" y="152"/>
                    <a:pt x="327" y="148"/>
                    <a:pt x="328" y="147"/>
                  </a:cubicBezTo>
                  <a:close/>
                  <a:moveTo>
                    <a:pt x="150" y="7"/>
                  </a:moveTo>
                  <a:cubicBezTo>
                    <a:pt x="149" y="5"/>
                    <a:pt x="136" y="8"/>
                    <a:pt x="139" y="10"/>
                  </a:cubicBezTo>
                  <a:cubicBezTo>
                    <a:pt x="141" y="11"/>
                    <a:pt x="150" y="10"/>
                    <a:pt x="150" y="7"/>
                  </a:cubicBezTo>
                  <a:close/>
                  <a:moveTo>
                    <a:pt x="190" y="219"/>
                  </a:moveTo>
                  <a:cubicBezTo>
                    <a:pt x="192" y="220"/>
                    <a:pt x="198" y="220"/>
                    <a:pt x="199" y="217"/>
                  </a:cubicBezTo>
                  <a:cubicBezTo>
                    <a:pt x="200" y="215"/>
                    <a:pt x="188" y="217"/>
                    <a:pt x="190" y="219"/>
                  </a:cubicBezTo>
                  <a:close/>
                  <a:moveTo>
                    <a:pt x="270" y="268"/>
                  </a:moveTo>
                  <a:cubicBezTo>
                    <a:pt x="265" y="269"/>
                    <a:pt x="258" y="264"/>
                    <a:pt x="257" y="264"/>
                  </a:cubicBezTo>
                  <a:cubicBezTo>
                    <a:pt x="255" y="265"/>
                    <a:pt x="263" y="277"/>
                    <a:pt x="260" y="280"/>
                  </a:cubicBezTo>
                  <a:cubicBezTo>
                    <a:pt x="258" y="284"/>
                    <a:pt x="268" y="292"/>
                    <a:pt x="271" y="293"/>
                  </a:cubicBezTo>
                  <a:cubicBezTo>
                    <a:pt x="274" y="293"/>
                    <a:pt x="273" y="289"/>
                    <a:pt x="275" y="290"/>
                  </a:cubicBezTo>
                  <a:cubicBezTo>
                    <a:pt x="278" y="290"/>
                    <a:pt x="277" y="287"/>
                    <a:pt x="277" y="286"/>
                  </a:cubicBezTo>
                  <a:cubicBezTo>
                    <a:pt x="278" y="284"/>
                    <a:pt x="280" y="287"/>
                    <a:pt x="282" y="286"/>
                  </a:cubicBezTo>
                  <a:cubicBezTo>
                    <a:pt x="284" y="285"/>
                    <a:pt x="281" y="278"/>
                    <a:pt x="284" y="278"/>
                  </a:cubicBezTo>
                  <a:cubicBezTo>
                    <a:pt x="287" y="278"/>
                    <a:pt x="285" y="268"/>
                    <a:pt x="284" y="265"/>
                  </a:cubicBezTo>
                  <a:cubicBezTo>
                    <a:pt x="283" y="262"/>
                    <a:pt x="275" y="268"/>
                    <a:pt x="270" y="268"/>
                  </a:cubicBezTo>
                  <a:close/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Freeform 164">
              <a:extLst>
                <a:ext uri="{FF2B5EF4-FFF2-40B4-BE49-F238E27FC236}">
                  <a16:creationId xmlns:a16="http://schemas.microsoft.com/office/drawing/2014/main" id="{58CA43E4-FD01-43B2-8F01-50B4EFB243F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53272" y="1795588"/>
              <a:ext cx="3907491" cy="1501332"/>
            </a:xfrm>
            <a:custGeom>
              <a:avLst/>
              <a:gdLst>
                <a:gd name="T0" fmla="*/ 361 w 1373"/>
                <a:gd name="T1" fmla="*/ 11 h 527"/>
                <a:gd name="T2" fmla="*/ 610 w 1373"/>
                <a:gd name="T3" fmla="*/ 5 h 527"/>
                <a:gd name="T4" fmla="*/ 480 w 1373"/>
                <a:gd name="T5" fmla="*/ 151 h 527"/>
                <a:gd name="T6" fmla="*/ 662 w 1373"/>
                <a:gd name="T7" fmla="*/ 50 h 527"/>
                <a:gd name="T8" fmla="*/ 1002 w 1373"/>
                <a:gd name="T9" fmla="*/ 111 h 527"/>
                <a:gd name="T10" fmla="*/ 1053 w 1373"/>
                <a:gd name="T11" fmla="*/ 117 h 527"/>
                <a:gd name="T12" fmla="*/ 981 w 1373"/>
                <a:gd name="T13" fmla="*/ 426 h 527"/>
                <a:gd name="T14" fmla="*/ 243 w 1373"/>
                <a:gd name="T15" fmla="*/ 23 h 527"/>
                <a:gd name="T16" fmla="*/ 1331 w 1373"/>
                <a:gd name="T17" fmla="*/ 242 h 527"/>
                <a:gd name="T18" fmla="*/ 1193 w 1373"/>
                <a:gd name="T19" fmla="*/ 203 h 527"/>
                <a:gd name="T20" fmla="*/ 1062 w 1373"/>
                <a:gd name="T21" fmla="*/ 177 h 527"/>
                <a:gd name="T22" fmla="*/ 973 w 1373"/>
                <a:gd name="T23" fmla="*/ 150 h 527"/>
                <a:gd name="T24" fmla="*/ 902 w 1373"/>
                <a:gd name="T25" fmla="*/ 168 h 527"/>
                <a:gd name="T26" fmla="*/ 844 w 1373"/>
                <a:gd name="T27" fmla="*/ 139 h 527"/>
                <a:gd name="T28" fmla="*/ 747 w 1373"/>
                <a:gd name="T29" fmla="*/ 136 h 527"/>
                <a:gd name="T30" fmla="*/ 737 w 1373"/>
                <a:gd name="T31" fmla="*/ 118 h 527"/>
                <a:gd name="T32" fmla="*/ 698 w 1373"/>
                <a:gd name="T33" fmla="*/ 84 h 527"/>
                <a:gd name="T34" fmla="*/ 630 w 1373"/>
                <a:gd name="T35" fmla="*/ 96 h 527"/>
                <a:gd name="T36" fmla="*/ 546 w 1373"/>
                <a:gd name="T37" fmla="*/ 114 h 527"/>
                <a:gd name="T38" fmla="*/ 519 w 1373"/>
                <a:gd name="T39" fmla="*/ 137 h 527"/>
                <a:gd name="T40" fmla="*/ 478 w 1373"/>
                <a:gd name="T41" fmla="*/ 178 h 527"/>
                <a:gd name="T42" fmla="*/ 455 w 1373"/>
                <a:gd name="T43" fmla="*/ 204 h 527"/>
                <a:gd name="T44" fmla="*/ 421 w 1373"/>
                <a:gd name="T45" fmla="*/ 244 h 527"/>
                <a:gd name="T46" fmla="*/ 437 w 1373"/>
                <a:gd name="T47" fmla="*/ 213 h 527"/>
                <a:gd name="T48" fmla="*/ 386 w 1373"/>
                <a:gd name="T49" fmla="*/ 188 h 527"/>
                <a:gd name="T50" fmla="*/ 326 w 1373"/>
                <a:gd name="T51" fmla="*/ 196 h 527"/>
                <a:gd name="T52" fmla="*/ 268 w 1373"/>
                <a:gd name="T53" fmla="*/ 211 h 527"/>
                <a:gd name="T54" fmla="*/ 195 w 1373"/>
                <a:gd name="T55" fmla="*/ 214 h 527"/>
                <a:gd name="T56" fmla="*/ 149 w 1373"/>
                <a:gd name="T57" fmla="*/ 263 h 527"/>
                <a:gd name="T58" fmla="*/ 102 w 1373"/>
                <a:gd name="T59" fmla="*/ 234 h 527"/>
                <a:gd name="T60" fmla="*/ 107 w 1373"/>
                <a:gd name="T61" fmla="*/ 200 h 527"/>
                <a:gd name="T62" fmla="*/ 78 w 1373"/>
                <a:gd name="T63" fmla="*/ 231 h 527"/>
                <a:gd name="T64" fmla="*/ 70 w 1373"/>
                <a:gd name="T65" fmla="*/ 316 h 527"/>
                <a:gd name="T66" fmla="*/ 73 w 1373"/>
                <a:gd name="T67" fmla="*/ 370 h 527"/>
                <a:gd name="T68" fmla="*/ 114 w 1373"/>
                <a:gd name="T69" fmla="*/ 412 h 527"/>
                <a:gd name="T70" fmla="*/ 160 w 1373"/>
                <a:gd name="T71" fmla="*/ 451 h 527"/>
                <a:gd name="T72" fmla="*/ 164 w 1373"/>
                <a:gd name="T73" fmla="*/ 503 h 527"/>
                <a:gd name="T74" fmla="*/ 238 w 1373"/>
                <a:gd name="T75" fmla="*/ 476 h 527"/>
                <a:gd name="T76" fmla="*/ 236 w 1373"/>
                <a:gd name="T77" fmla="*/ 430 h 527"/>
                <a:gd name="T78" fmla="*/ 325 w 1373"/>
                <a:gd name="T79" fmla="*/ 433 h 527"/>
                <a:gd name="T80" fmla="*/ 373 w 1373"/>
                <a:gd name="T81" fmla="*/ 388 h 527"/>
                <a:gd name="T82" fmla="*/ 450 w 1373"/>
                <a:gd name="T83" fmla="*/ 396 h 527"/>
                <a:gd name="T84" fmla="*/ 541 w 1373"/>
                <a:gd name="T85" fmla="*/ 442 h 527"/>
                <a:gd name="T86" fmla="*/ 624 w 1373"/>
                <a:gd name="T87" fmla="*/ 433 h 527"/>
                <a:gd name="T88" fmla="*/ 696 w 1373"/>
                <a:gd name="T89" fmla="*/ 437 h 527"/>
                <a:gd name="T90" fmla="*/ 803 w 1373"/>
                <a:gd name="T91" fmla="*/ 420 h 527"/>
                <a:gd name="T92" fmla="*/ 887 w 1373"/>
                <a:gd name="T93" fmla="*/ 453 h 527"/>
                <a:gd name="T94" fmla="*/ 898 w 1373"/>
                <a:gd name="T95" fmla="*/ 508 h 527"/>
                <a:gd name="T96" fmla="*/ 960 w 1373"/>
                <a:gd name="T97" fmla="*/ 393 h 527"/>
                <a:gd name="T98" fmla="*/ 969 w 1373"/>
                <a:gd name="T99" fmla="*/ 349 h 527"/>
                <a:gd name="T100" fmla="*/ 1078 w 1373"/>
                <a:gd name="T101" fmla="*/ 337 h 527"/>
                <a:gd name="T102" fmla="*/ 1152 w 1373"/>
                <a:gd name="T103" fmla="*/ 299 h 527"/>
                <a:gd name="T104" fmla="*/ 1097 w 1373"/>
                <a:gd name="T105" fmla="*/ 424 h 527"/>
                <a:gd name="T106" fmla="*/ 1150 w 1373"/>
                <a:gd name="T107" fmla="*/ 352 h 527"/>
                <a:gd name="T108" fmla="*/ 1234 w 1373"/>
                <a:gd name="T109" fmla="*/ 309 h 527"/>
                <a:gd name="T110" fmla="*/ 1292 w 1373"/>
                <a:gd name="T111" fmla="*/ 262 h 527"/>
                <a:gd name="T112" fmla="*/ 1347 w 1373"/>
                <a:gd name="T113" fmla="*/ 268 h 527"/>
                <a:gd name="T114" fmla="*/ 707 w 1373"/>
                <a:gd name="T115" fmla="*/ 392 h 527"/>
                <a:gd name="T116" fmla="*/ 276 w 1373"/>
                <a:gd name="T117" fmla="*/ 24 h 527"/>
                <a:gd name="T118" fmla="*/ 281 w 1373"/>
                <a:gd name="T119" fmla="*/ 15 h 527"/>
                <a:gd name="T120" fmla="*/ 299 w 1373"/>
                <a:gd name="T121" fmla="*/ 146 h 527"/>
                <a:gd name="T122" fmla="*/ 300 w 1373"/>
                <a:gd name="T123" fmla="*/ 111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373" h="527">
                  <a:moveTo>
                    <a:pt x="20" y="381"/>
                  </a:moveTo>
                  <a:cubicBezTo>
                    <a:pt x="19" y="382"/>
                    <a:pt x="16" y="381"/>
                    <a:pt x="16" y="379"/>
                  </a:cubicBezTo>
                  <a:cubicBezTo>
                    <a:pt x="15" y="378"/>
                    <a:pt x="13" y="379"/>
                    <a:pt x="11" y="379"/>
                  </a:cubicBezTo>
                  <a:cubicBezTo>
                    <a:pt x="11" y="379"/>
                    <a:pt x="12" y="380"/>
                    <a:pt x="12" y="380"/>
                  </a:cubicBezTo>
                  <a:cubicBezTo>
                    <a:pt x="13" y="382"/>
                    <a:pt x="8" y="382"/>
                    <a:pt x="9" y="385"/>
                  </a:cubicBezTo>
                  <a:cubicBezTo>
                    <a:pt x="11" y="387"/>
                    <a:pt x="5" y="387"/>
                    <a:pt x="5" y="385"/>
                  </a:cubicBezTo>
                  <a:cubicBezTo>
                    <a:pt x="5" y="382"/>
                    <a:pt x="0" y="383"/>
                    <a:pt x="0" y="385"/>
                  </a:cubicBezTo>
                  <a:cubicBezTo>
                    <a:pt x="0" y="385"/>
                    <a:pt x="0" y="386"/>
                    <a:pt x="0" y="387"/>
                  </a:cubicBezTo>
                  <a:cubicBezTo>
                    <a:pt x="1" y="387"/>
                    <a:pt x="3" y="388"/>
                    <a:pt x="4" y="388"/>
                  </a:cubicBezTo>
                  <a:cubicBezTo>
                    <a:pt x="5" y="389"/>
                    <a:pt x="19" y="390"/>
                    <a:pt x="24" y="389"/>
                  </a:cubicBezTo>
                  <a:cubicBezTo>
                    <a:pt x="24" y="388"/>
                    <a:pt x="25" y="385"/>
                    <a:pt x="25" y="384"/>
                  </a:cubicBezTo>
                  <a:cubicBezTo>
                    <a:pt x="25" y="382"/>
                    <a:pt x="21" y="381"/>
                    <a:pt x="20" y="381"/>
                  </a:cubicBezTo>
                  <a:close/>
                  <a:moveTo>
                    <a:pt x="364" y="15"/>
                  </a:moveTo>
                  <a:cubicBezTo>
                    <a:pt x="373" y="14"/>
                    <a:pt x="373" y="9"/>
                    <a:pt x="368" y="8"/>
                  </a:cubicBezTo>
                  <a:cubicBezTo>
                    <a:pt x="364" y="7"/>
                    <a:pt x="363" y="11"/>
                    <a:pt x="361" y="11"/>
                  </a:cubicBezTo>
                  <a:cubicBezTo>
                    <a:pt x="358" y="10"/>
                    <a:pt x="349" y="12"/>
                    <a:pt x="351" y="14"/>
                  </a:cubicBezTo>
                  <a:cubicBezTo>
                    <a:pt x="353" y="17"/>
                    <a:pt x="360" y="15"/>
                    <a:pt x="364" y="15"/>
                  </a:cubicBezTo>
                  <a:close/>
                  <a:moveTo>
                    <a:pt x="410" y="147"/>
                  </a:moveTo>
                  <a:cubicBezTo>
                    <a:pt x="413" y="148"/>
                    <a:pt x="422" y="146"/>
                    <a:pt x="423" y="144"/>
                  </a:cubicBezTo>
                  <a:cubicBezTo>
                    <a:pt x="424" y="143"/>
                    <a:pt x="419" y="141"/>
                    <a:pt x="414" y="141"/>
                  </a:cubicBezTo>
                  <a:cubicBezTo>
                    <a:pt x="408" y="141"/>
                    <a:pt x="408" y="147"/>
                    <a:pt x="410" y="147"/>
                  </a:cubicBezTo>
                  <a:close/>
                  <a:moveTo>
                    <a:pt x="586" y="26"/>
                  </a:moveTo>
                  <a:cubicBezTo>
                    <a:pt x="591" y="28"/>
                    <a:pt x="589" y="29"/>
                    <a:pt x="584" y="29"/>
                  </a:cubicBezTo>
                  <a:cubicBezTo>
                    <a:pt x="579" y="29"/>
                    <a:pt x="575" y="30"/>
                    <a:pt x="578" y="32"/>
                  </a:cubicBezTo>
                  <a:cubicBezTo>
                    <a:pt x="581" y="33"/>
                    <a:pt x="581" y="35"/>
                    <a:pt x="586" y="36"/>
                  </a:cubicBezTo>
                  <a:cubicBezTo>
                    <a:pt x="591" y="37"/>
                    <a:pt x="596" y="33"/>
                    <a:pt x="595" y="31"/>
                  </a:cubicBezTo>
                  <a:cubicBezTo>
                    <a:pt x="595" y="28"/>
                    <a:pt x="612" y="25"/>
                    <a:pt x="617" y="24"/>
                  </a:cubicBezTo>
                  <a:cubicBezTo>
                    <a:pt x="622" y="23"/>
                    <a:pt x="614" y="18"/>
                    <a:pt x="619" y="17"/>
                  </a:cubicBezTo>
                  <a:cubicBezTo>
                    <a:pt x="625" y="17"/>
                    <a:pt x="622" y="14"/>
                    <a:pt x="616" y="13"/>
                  </a:cubicBezTo>
                  <a:cubicBezTo>
                    <a:pt x="610" y="13"/>
                    <a:pt x="612" y="7"/>
                    <a:pt x="610" y="5"/>
                  </a:cubicBezTo>
                  <a:cubicBezTo>
                    <a:pt x="608" y="3"/>
                    <a:pt x="607" y="8"/>
                    <a:pt x="598" y="9"/>
                  </a:cubicBezTo>
                  <a:cubicBezTo>
                    <a:pt x="590" y="11"/>
                    <a:pt x="586" y="13"/>
                    <a:pt x="589" y="15"/>
                  </a:cubicBezTo>
                  <a:cubicBezTo>
                    <a:pt x="593" y="16"/>
                    <a:pt x="589" y="20"/>
                    <a:pt x="586" y="20"/>
                  </a:cubicBezTo>
                  <a:cubicBezTo>
                    <a:pt x="582" y="20"/>
                    <a:pt x="582" y="24"/>
                    <a:pt x="586" y="26"/>
                  </a:cubicBezTo>
                  <a:close/>
                  <a:moveTo>
                    <a:pt x="599" y="32"/>
                  </a:moveTo>
                  <a:cubicBezTo>
                    <a:pt x="599" y="35"/>
                    <a:pt x="591" y="37"/>
                    <a:pt x="593" y="39"/>
                  </a:cubicBezTo>
                  <a:cubicBezTo>
                    <a:pt x="595" y="41"/>
                    <a:pt x="597" y="41"/>
                    <a:pt x="599" y="41"/>
                  </a:cubicBezTo>
                  <a:cubicBezTo>
                    <a:pt x="601" y="42"/>
                    <a:pt x="603" y="47"/>
                    <a:pt x="607" y="47"/>
                  </a:cubicBezTo>
                  <a:cubicBezTo>
                    <a:pt x="611" y="46"/>
                    <a:pt x="623" y="51"/>
                    <a:pt x="630" y="51"/>
                  </a:cubicBezTo>
                  <a:cubicBezTo>
                    <a:pt x="637" y="51"/>
                    <a:pt x="637" y="46"/>
                    <a:pt x="635" y="45"/>
                  </a:cubicBezTo>
                  <a:cubicBezTo>
                    <a:pt x="633" y="45"/>
                    <a:pt x="635" y="42"/>
                    <a:pt x="639" y="36"/>
                  </a:cubicBezTo>
                  <a:cubicBezTo>
                    <a:pt x="643" y="31"/>
                    <a:pt x="627" y="27"/>
                    <a:pt x="627" y="31"/>
                  </a:cubicBezTo>
                  <a:cubicBezTo>
                    <a:pt x="627" y="35"/>
                    <a:pt x="622" y="30"/>
                    <a:pt x="621" y="28"/>
                  </a:cubicBezTo>
                  <a:cubicBezTo>
                    <a:pt x="620" y="25"/>
                    <a:pt x="599" y="30"/>
                    <a:pt x="599" y="32"/>
                  </a:cubicBezTo>
                  <a:close/>
                  <a:moveTo>
                    <a:pt x="480" y="151"/>
                  </a:moveTo>
                  <a:cubicBezTo>
                    <a:pt x="484" y="153"/>
                    <a:pt x="486" y="152"/>
                    <a:pt x="486" y="148"/>
                  </a:cubicBezTo>
                  <a:cubicBezTo>
                    <a:pt x="485" y="144"/>
                    <a:pt x="477" y="149"/>
                    <a:pt x="480" y="151"/>
                  </a:cubicBezTo>
                  <a:close/>
                  <a:moveTo>
                    <a:pt x="580" y="9"/>
                  </a:moveTo>
                  <a:cubicBezTo>
                    <a:pt x="581" y="5"/>
                    <a:pt x="565" y="7"/>
                    <a:pt x="569" y="10"/>
                  </a:cubicBezTo>
                  <a:cubicBezTo>
                    <a:pt x="571" y="11"/>
                    <a:pt x="579" y="12"/>
                    <a:pt x="580" y="9"/>
                  </a:cubicBezTo>
                  <a:close/>
                  <a:moveTo>
                    <a:pt x="1280" y="181"/>
                  </a:moveTo>
                  <a:cubicBezTo>
                    <a:pt x="1284" y="184"/>
                    <a:pt x="1287" y="178"/>
                    <a:pt x="1291" y="181"/>
                  </a:cubicBezTo>
                  <a:cubicBezTo>
                    <a:pt x="1295" y="184"/>
                    <a:pt x="1304" y="180"/>
                    <a:pt x="1308" y="179"/>
                  </a:cubicBezTo>
                  <a:cubicBezTo>
                    <a:pt x="1312" y="178"/>
                    <a:pt x="1310" y="174"/>
                    <a:pt x="1299" y="172"/>
                  </a:cubicBezTo>
                  <a:cubicBezTo>
                    <a:pt x="1288" y="171"/>
                    <a:pt x="1275" y="179"/>
                    <a:pt x="1280" y="181"/>
                  </a:cubicBezTo>
                  <a:close/>
                  <a:moveTo>
                    <a:pt x="636" y="66"/>
                  </a:moveTo>
                  <a:cubicBezTo>
                    <a:pt x="639" y="68"/>
                    <a:pt x="650" y="63"/>
                    <a:pt x="657" y="64"/>
                  </a:cubicBezTo>
                  <a:cubicBezTo>
                    <a:pt x="664" y="64"/>
                    <a:pt x="684" y="58"/>
                    <a:pt x="684" y="54"/>
                  </a:cubicBezTo>
                  <a:cubicBezTo>
                    <a:pt x="685" y="51"/>
                    <a:pt x="677" y="51"/>
                    <a:pt x="674" y="47"/>
                  </a:cubicBezTo>
                  <a:cubicBezTo>
                    <a:pt x="671" y="44"/>
                    <a:pt x="664" y="47"/>
                    <a:pt x="662" y="50"/>
                  </a:cubicBezTo>
                  <a:cubicBezTo>
                    <a:pt x="661" y="53"/>
                    <a:pt x="659" y="50"/>
                    <a:pt x="663" y="46"/>
                  </a:cubicBezTo>
                  <a:cubicBezTo>
                    <a:pt x="668" y="41"/>
                    <a:pt x="659" y="37"/>
                    <a:pt x="659" y="40"/>
                  </a:cubicBezTo>
                  <a:cubicBezTo>
                    <a:pt x="658" y="43"/>
                    <a:pt x="650" y="41"/>
                    <a:pt x="650" y="43"/>
                  </a:cubicBezTo>
                  <a:cubicBezTo>
                    <a:pt x="650" y="46"/>
                    <a:pt x="647" y="47"/>
                    <a:pt x="647" y="50"/>
                  </a:cubicBezTo>
                  <a:cubicBezTo>
                    <a:pt x="647" y="52"/>
                    <a:pt x="641" y="48"/>
                    <a:pt x="641" y="54"/>
                  </a:cubicBezTo>
                  <a:cubicBezTo>
                    <a:pt x="641" y="60"/>
                    <a:pt x="632" y="64"/>
                    <a:pt x="636" y="66"/>
                  </a:cubicBezTo>
                  <a:close/>
                  <a:moveTo>
                    <a:pt x="942" y="115"/>
                  </a:moveTo>
                  <a:cubicBezTo>
                    <a:pt x="946" y="116"/>
                    <a:pt x="947" y="118"/>
                    <a:pt x="949" y="120"/>
                  </a:cubicBezTo>
                  <a:cubicBezTo>
                    <a:pt x="951" y="122"/>
                    <a:pt x="958" y="119"/>
                    <a:pt x="961" y="118"/>
                  </a:cubicBezTo>
                  <a:cubicBezTo>
                    <a:pt x="963" y="117"/>
                    <a:pt x="964" y="122"/>
                    <a:pt x="968" y="120"/>
                  </a:cubicBezTo>
                  <a:cubicBezTo>
                    <a:pt x="973" y="117"/>
                    <a:pt x="977" y="118"/>
                    <a:pt x="982" y="118"/>
                  </a:cubicBezTo>
                  <a:cubicBezTo>
                    <a:pt x="988" y="118"/>
                    <a:pt x="981" y="112"/>
                    <a:pt x="982" y="109"/>
                  </a:cubicBezTo>
                  <a:cubicBezTo>
                    <a:pt x="982" y="106"/>
                    <a:pt x="988" y="108"/>
                    <a:pt x="986" y="110"/>
                  </a:cubicBezTo>
                  <a:cubicBezTo>
                    <a:pt x="984" y="113"/>
                    <a:pt x="989" y="118"/>
                    <a:pt x="996" y="118"/>
                  </a:cubicBezTo>
                  <a:cubicBezTo>
                    <a:pt x="1004" y="117"/>
                    <a:pt x="998" y="112"/>
                    <a:pt x="1002" y="111"/>
                  </a:cubicBezTo>
                  <a:cubicBezTo>
                    <a:pt x="1006" y="109"/>
                    <a:pt x="1006" y="107"/>
                    <a:pt x="1000" y="104"/>
                  </a:cubicBezTo>
                  <a:cubicBezTo>
                    <a:pt x="995" y="101"/>
                    <a:pt x="987" y="103"/>
                    <a:pt x="983" y="101"/>
                  </a:cubicBezTo>
                  <a:cubicBezTo>
                    <a:pt x="978" y="98"/>
                    <a:pt x="972" y="98"/>
                    <a:pt x="971" y="103"/>
                  </a:cubicBezTo>
                  <a:cubicBezTo>
                    <a:pt x="971" y="109"/>
                    <a:pt x="961" y="98"/>
                    <a:pt x="956" y="96"/>
                  </a:cubicBezTo>
                  <a:cubicBezTo>
                    <a:pt x="951" y="94"/>
                    <a:pt x="934" y="111"/>
                    <a:pt x="942" y="115"/>
                  </a:cubicBezTo>
                  <a:close/>
                  <a:moveTo>
                    <a:pt x="992" y="145"/>
                  </a:moveTo>
                  <a:cubicBezTo>
                    <a:pt x="996" y="144"/>
                    <a:pt x="989" y="136"/>
                    <a:pt x="981" y="135"/>
                  </a:cubicBezTo>
                  <a:cubicBezTo>
                    <a:pt x="974" y="134"/>
                    <a:pt x="967" y="140"/>
                    <a:pt x="968" y="141"/>
                  </a:cubicBezTo>
                  <a:cubicBezTo>
                    <a:pt x="970" y="145"/>
                    <a:pt x="988" y="146"/>
                    <a:pt x="992" y="145"/>
                  </a:cubicBezTo>
                  <a:close/>
                  <a:moveTo>
                    <a:pt x="973" y="130"/>
                  </a:moveTo>
                  <a:cubicBezTo>
                    <a:pt x="973" y="126"/>
                    <a:pt x="960" y="131"/>
                    <a:pt x="965" y="133"/>
                  </a:cubicBezTo>
                  <a:cubicBezTo>
                    <a:pt x="968" y="134"/>
                    <a:pt x="973" y="133"/>
                    <a:pt x="973" y="130"/>
                  </a:cubicBezTo>
                  <a:close/>
                  <a:moveTo>
                    <a:pt x="1014" y="115"/>
                  </a:moveTo>
                  <a:cubicBezTo>
                    <a:pt x="1020" y="115"/>
                    <a:pt x="1023" y="120"/>
                    <a:pt x="1034" y="121"/>
                  </a:cubicBezTo>
                  <a:cubicBezTo>
                    <a:pt x="1045" y="122"/>
                    <a:pt x="1053" y="120"/>
                    <a:pt x="1053" y="117"/>
                  </a:cubicBezTo>
                  <a:cubicBezTo>
                    <a:pt x="1053" y="115"/>
                    <a:pt x="1043" y="111"/>
                    <a:pt x="1040" y="113"/>
                  </a:cubicBezTo>
                  <a:cubicBezTo>
                    <a:pt x="1037" y="115"/>
                    <a:pt x="1035" y="110"/>
                    <a:pt x="1031" y="111"/>
                  </a:cubicBezTo>
                  <a:cubicBezTo>
                    <a:pt x="1027" y="113"/>
                    <a:pt x="1022" y="112"/>
                    <a:pt x="1020" y="109"/>
                  </a:cubicBezTo>
                  <a:cubicBezTo>
                    <a:pt x="1018" y="106"/>
                    <a:pt x="1011" y="114"/>
                    <a:pt x="1014" y="115"/>
                  </a:cubicBezTo>
                  <a:close/>
                  <a:moveTo>
                    <a:pt x="220" y="18"/>
                  </a:moveTo>
                  <a:cubicBezTo>
                    <a:pt x="225" y="13"/>
                    <a:pt x="232" y="18"/>
                    <a:pt x="233" y="15"/>
                  </a:cubicBezTo>
                  <a:cubicBezTo>
                    <a:pt x="234" y="13"/>
                    <a:pt x="223" y="12"/>
                    <a:pt x="219" y="14"/>
                  </a:cubicBezTo>
                  <a:cubicBezTo>
                    <a:pt x="215" y="17"/>
                    <a:pt x="206" y="15"/>
                    <a:pt x="207" y="18"/>
                  </a:cubicBezTo>
                  <a:cubicBezTo>
                    <a:pt x="207" y="19"/>
                    <a:pt x="214" y="23"/>
                    <a:pt x="220" y="18"/>
                  </a:cubicBezTo>
                  <a:close/>
                  <a:moveTo>
                    <a:pt x="990" y="420"/>
                  </a:moveTo>
                  <a:cubicBezTo>
                    <a:pt x="987" y="413"/>
                    <a:pt x="994" y="406"/>
                    <a:pt x="989" y="403"/>
                  </a:cubicBezTo>
                  <a:cubicBezTo>
                    <a:pt x="984" y="399"/>
                    <a:pt x="986" y="392"/>
                    <a:pt x="984" y="393"/>
                  </a:cubicBezTo>
                  <a:cubicBezTo>
                    <a:pt x="981" y="395"/>
                    <a:pt x="984" y="401"/>
                    <a:pt x="980" y="402"/>
                  </a:cubicBezTo>
                  <a:cubicBezTo>
                    <a:pt x="976" y="402"/>
                    <a:pt x="980" y="406"/>
                    <a:pt x="978" y="410"/>
                  </a:cubicBezTo>
                  <a:cubicBezTo>
                    <a:pt x="977" y="415"/>
                    <a:pt x="979" y="422"/>
                    <a:pt x="981" y="426"/>
                  </a:cubicBezTo>
                  <a:cubicBezTo>
                    <a:pt x="983" y="431"/>
                    <a:pt x="978" y="453"/>
                    <a:pt x="980" y="457"/>
                  </a:cubicBezTo>
                  <a:cubicBezTo>
                    <a:pt x="982" y="461"/>
                    <a:pt x="977" y="478"/>
                    <a:pt x="979" y="480"/>
                  </a:cubicBezTo>
                  <a:cubicBezTo>
                    <a:pt x="982" y="483"/>
                    <a:pt x="980" y="475"/>
                    <a:pt x="984" y="475"/>
                  </a:cubicBezTo>
                  <a:cubicBezTo>
                    <a:pt x="988" y="474"/>
                    <a:pt x="988" y="479"/>
                    <a:pt x="991" y="481"/>
                  </a:cubicBezTo>
                  <a:cubicBezTo>
                    <a:pt x="994" y="482"/>
                    <a:pt x="992" y="473"/>
                    <a:pt x="990" y="473"/>
                  </a:cubicBezTo>
                  <a:cubicBezTo>
                    <a:pt x="987" y="474"/>
                    <a:pt x="985" y="468"/>
                    <a:pt x="984" y="464"/>
                  </a:cubicBezTo>
                  <a:cubicBezTo>
                    <a:pt x="983" y="460"/>
                    <a:pt x="986" y="456"/>
                    <a:pt x="986" y="451"/>
                  </a:cubicBezTo>
                  <a:cubicBezTo>
                    <a:pt x="986" y="446"/>
                    <a:pt x="992" y="446"/>
                    <a:pt x="996" y="450"/>
                  </a:cubicBezTo>
                  <a:cubicBezTo>
                    <a:pt x="1000" y="453"/>
                    <a:pt x="1000" y="451"/>
                    <a:pt x="999" y="448"/>
                  </a:cubicBezTo>
                  <a:cubicBezTo>
                    <a:pt x="997" y="446"/>
                    <a:pt x="993" y="427"/>
                    <a:pt x="990" y="420"/>
                  </a:cubicBezTo>
                  <a:close/>
                  <a:moveTo>
                    <a:pt x="242" y="16"/>
                  </a:moveTo>
                  <a:cubicBezTo>
                    <a:pt x="246" y="18"/>
                    <a:pt x="233" y="18"/>
                    <a:pt x="231" y="20"/>
                  </a:cubicBezTo>
                  <a:cubicBezTo>
                    <a:pt x="230" y="22"/>
                    <a:pt x="222" y="21"/>
                    <a:pt x="224" y="24"/>
                  </a:cubicBezTo>
                  <a:cubicBezTo>
                    <a:pt x="225" y="27"/>
                    <a:pt x="237" y="27"/>
                    <a:pt x="237" y="25"/>
                  </a:cubicBezTo>
                  <a:cubicBezTo>
                    <a:pt x="237" y="23"/>
                    <a:pt x="243" y="25"/>
                    <a:pt x="243" y="23"/>
                  </a:cubicBezTo>
                  <a:cubicBezTo>
                    <a:pt x="244" y="20"/>
                    <a:pt x="246" y="18"/>
                    <a:pt x="253" y="18"/>
                  </a:cubicBezTo>
                  <a:cubicBezTo>
                    <a:pt x="260" y="17"/>
                    <a:pt x="260" y="15"/>
                    <a:pt x="253" y="12"/>
                  </a:cubicBezTo>
                  <a:cubicBezTo>
                    <a:pt x="247" y="9"/>
                    <a:pt x="239" y="13"/>
                    <a:pt x="242" y="16"/>
                  </a:cubicBezTo>
                  <a:close/>
                  <a:moveTo>
                    <a:pt x="232" y="208"/>
                  </a:moveTo>
                  <a:cubicBezTo>
                    <a:pt x="238" y="214"/>
                    <a:pt x="244" y="205"/>
                    <a:pt x="247" y="205"/>
                  </a:cubicBezTo>
                  <a:cubicBezTo>
                    <a:pt x="250" y="204"/>
                    <a:pt x="245" y="201"/>
                    <a:pt x="240" y="200"/>
                  </a:cubicBezTo>
                  <a:cubicBezTo>
                    <a:pt x="235" y="198"/>
                    <a:pt x="227" y="204"/>
                    <a:pt x="232" y="208"/>
                  </a:cubicBezTo>
                  <a:close/>
                  <a:moveTo>
                    <a:pt x="1371" y="249"/>
                  </a:moveTo>
                  <a:cubicBezTo>
                    <a:pt x="1369" y="248"/>
                    <a:pt x="1361" y="243"/>
                    <a:pt x="1359" y="240"/>
                  </a:cubicBezTo>
                  <a:cubicBezTo>
                    <a:pt x="1357" y="237"/>
                    <a:pt x="1348" y="236"/>
                    <a:pt x="1348" y="237"/>
                  </a:cubicBezTo>
                  <a:cubicBezTo>
                    <a:pt x="1348" y="239"/>
                    <a:pt x="1345" y="237"/>
                    <a:pt x="1344" y="236"/>
                  </a:cubicBezTo>
                  <a:cubicBezTo>
                    <a:pt x="1344" y="234"/>
                    <a:pt x="1334" y="234"/>
                    <a:pt x="1334" y="235"/>
                  </a:cubicBezTo>
                  <a:cubicBezTo>
                    <a:pt x="1334" y="237"/>
                    <a:pt x="1336" y="237"/>
                    <a:pt x="1338" y="239"/>
                  </a:cubicBezTo>
                  <a:cubicBezTo>
                    <a:pt x="1339" y="241"/>
                    <a:pt x="1336" y="242"/>
                    <a:pt x="1337" y="244"/>
                  </a:cubicBezTo>
                  <a:cubicBezTo>
                    <a:pt x="1337" y="246"/>
                    <a:pt x="1333" y="243"/>
                    <a:pt x="1331" y="242"/>
                  </a:cubicBezTo>
                  <a:cubicBezTo>
                    <a:pt x="1330" y="241"/>
                    <a:pt x="1331" y="236"/>
                    <a:pt x="1331" y="234"/>
                  </a:cubicBezTo>
                  <a:cubicBezTo>
                    <a:pt x="1332" y="231"/>
                    <a:pt x="1328" y="232"/>
                    <a:pt x="1328" y="230"/>
                  </a:cubicBezTo>
                  <a:cubicBezTo>
                    <a:pt x="1328" y="227"/>
                    <a:pt x="1317" y="222"/>
                    <a:pt x="1312" y="220"/>
                  </a:cubicBezTo>
                  <a:cubicBezTo>
                    <a:pt x="1308" y="218"/>
                    <a:pt x="1302" y="217"/>
                    <a:pt x="1300" y="214"/>
                  </a:cubicBezTo>
                  <a:cubicBezTo>
                    <a:pt x="1299" y="212"/>
                    <a:pt x="1291" y="212"/>
                    <a:pt x="1288" y="209"/>
                  </a:cubicBezTo>
                  <a:cubicBezTo>
                    <a:pt x="1285" y="205"/>
                    <a:pt x="1271" y="200"/>
                    <a:pt x="1265" y="199"/>
                  </a:cubicBezTo>
                  <a:cubicBezTo>
                    <a:pt x="1259" y="199"/>
                    <a:pt x="1261" y="196"/>
                    <a:pt x="1258" y="196"/>
                  </a:cubicBezTo>
                  <a:cubicBezTo>
                    <a:pt x="1255" y="197"/>
                    <a:pt x="1243" y="196"/>
                    <a:pt x="1239" y="196"/>
                  </a:cubicBezTo>
                  <a:cubicBezTo>
                    <a:pt x="1235" y="195"/>
                    <a:pt x="1234" y="198"/>
                    <a:pt x="1232" y="197"/>
                  </a:cubicBezTo>
                  <a:cubicBezTo>
                    <a:pt x="1229" y="196"/>
                    <a:pt x="1215" y="191"/>
                    <a:pt x="1213" y="192"/>
                  </a:cubicBezTo>
                  <a:cubicBezTo>
                    <a:pt x="1211" y="194"/>
                    <a:pt x="1212" y="197"/>
                    <a:pt x="1210" y="198"/>
                  </a:cubicBezTo>
                  <a:cubicBezTo>
                    <a:pt x="1209" y="198"/>
                    <a:pt x="1210" y="200"/>
                    <a:pt x="1214" y="204"/>
                  </a:cubicBezTo>
                  <a:cubicBezTo>
                    <a:pt x="1218" y="208"/>
                    <a:pt x="1216" y="210"/>
                    <a:pt x="1212" y="212"/>
                  </a:cubicBezTo>
                  <a:cubicBezTo>
                    <a:pt x="1209" y="213"/>
                    <a:pt x="1203" y="210"/>
                    <a:pt x="1201" y="208"/>
                  </a:cubicBezTo>
                  <a:cubicBezTo>
                    <a:pt x="1200" y="205"/>
                    <a:pt x="1195" y="206"/>
                    <a:pt x="1193" y="203"/>
                  </a:cubicBezTo>
                  <a:cubicBezTo>
                    <a:pt x="1192" y="199"/>
                    <a:pt x="1195" y="198"/>
                    <a:pt x="1197" y="200"/>
                  </a:cubicBezTo>
                  <a:cubicBezTo>
                    <a:pt x="1200" y="202"/>
                    <a:pt x="1203" y="201"/>
                    <a:pt x="1203" y="198"/>
                  </a:cubicBezTo>
                  <a:cubicBezTo>
                    <a:pt x="1204" y="196"/>
                    <a:pt x="1197" y="194"/>
                    <a:pt x="1193" y="194"/>
                  </a:cubicBezTo>
                  <a:cubicBezTo>
                    <a:pt x="1189" y="194"/>
                    <a:pt x="1187" y="199"/>
                    <a:pt x="1184" y="201"/>
                  </a:cubicBezTo>
                  <a:cubicBezTo>
                    <a:pt x="1180" y="204"/>
                    <a:pt x="1165" y="201"/>
                    <a:pt x="1164" y="199"/>
                  </a:cubicBezTo>
                  <a:cubicBezTo>
                    <a:pt x="1162" y="198"/>
                    <a:pt x="1141" y="199"/>
                    <a:pt x="1139" y="201"/>
                  </a:cubicBezTo>
                  <a:cubicBezTo>
                    <a:pt x="1137" y="202"/>
                    <a:pt x="1139" y="208"/>
                    <a:pt x="1138" y="208"/>
                  </a:cubicBezTo>
                  <a:cubicBezTo>
                    <a:pt x="1137" y="209"/>
                    <a:pt x="1135" y="202"/>
                    <a:pt x="1135" y="200"/>
                  </a:cubicBezTo>
                  <a:cubicBezTo>
                    <a:pt x="1135" y="199"/>
                    <a:pt x="1133" y="198"/>
                    <a:pt x="1129" y="198"/>
                  </a:cubicBezTo>
                  <a:cubicBezTo>
                    <a:pt x="1126" y="198"/>
                    <a:pt x="1123" y="198"/>
                    <a:pt x="1125" y="196"/>
                  </a:cubicBezTo>
                  <a:cubicBezTo>
                    <a:pt x="1127" y="195"/>
                    <a:pt x="1124" y="193"/>
                    <a:pt x="1126" y="191"/>
                  </a:cubicBezTo>
                  <a:cubicBezTo>
                    <a:pt x="1129" y="189"/>
                    <a:pt x="1121" y="183"/>
                    <a:pt x="1113" y="180"/>
                  </a:cubicBezTo>
                  <a:cubicBezTo>
                    <a:pt x="1106" y="177"/>
                    <a:pt x="1088" y="179"/>
                    <a:pt x="1083" y="180"/>
                  </a:cubicBezTo>
                  <a:cubicBezTo>
                    <a:pt x="1078" y="181"/>
                    <a:pt x="1069" y="181"/>
                    <a:pt x="1064" y="181"/>
                  </a:cubicBezTo>
                  <a:cubicBezTo>
                    <a:pt x="1060" y="181"/>
                    <a:pt x="1063" y="179"/>
                    <a:pt x="1062" y="177"/>
                  </a:cubicBezTo>
                  <a:cubicBezTo>
                    <a:pt x="1061" y="175"/>
                    <a:pt x="1053" y="172"/>
                    <a:pt x="1052" y="174"/>
                  </a:cubicBezTo>
                  <a:cubicBezTo>
                    <a:pt x="1051" y="176"/>
                    <a:pt x="1049" y="174"/>
                    <a:pt x="1049" y="173"/>
                  </a:cubicBezTo>
                  <a:cubicBezTo>
                    <a:pt x="1049" y="172"/>
                    <a:pt x="1042" y="169"/>
                    <a:pt x="1039" y="170"/>
                  </a:cubicBezTo>
                  <a:cubicBezTo>
                    <a:pt x="1036" y="170"/>
                    <a:pt x="1035" y="167"/>
                    <a:pt x="1038" y="167"/>
                  </a:cubicBezTo>
                  <a:cubicBezTo>
                    <a:pt x="1041" y="167"/>
                    <a:pt x="1047" y="168"/>
                    <a:pt x="1044" y="164"/>
                  </a:cubicBezTo>
                  <a:cubicBezTo>
                    <a:pt x="1042" y="160"/>
                    <a:pt x="1020" y="159"/>
                    <a:pt x="1018" y="160"/>
                  </a:cubicBezTo>
                  <a:cubicBezTo>
                    <a:pt x="1016" y="160"/>
                    <a:pt x="1018" y="163"/>
                    <a:pt x="1014" y="167"/>
                  </a:cubicBezTo>
                  <a:cubicBezTo>
                    <a:pt x="1009" y="172"/>
                    <a:pt x="1005" y="169"/>
                    <a:pt x="1005" y="167"/>
                  </a:cubicBezTo>
                  <a:cubicBezTo>
                    <a:pt x="1006" y="165"/>
                    <a:pt x="1011" y="165"/>
                    <a:pt x="1011" y="163"/>
                  </a:cubicBezTo>
                  <a:cubicBezTo>
                    <a:pt x="1011" y="161"/>
                    <a:pt x="1004" y="162"/>
                    <a:pt x="1002" y="160"/>
                  </a:cubicBezTo>
                  <a:cubicBezTo>
                    <a:pt x="1001" y="158"/>
                    <a:pt x="1004" y="157"/>
                    <a:pt x="1007" y="158"/>
                  </a:cubicBezTo>
                  <a:cubicBezTo>
                    <a:pt x="1010" y="159"/>
                    <a:pt x="1015" y="159"/>
                    <a:pt x="1015" y="158"/>
                  </a:cubicBezTo>
                  <a:cubicBezTo>
                    <a:pt x="1015" y="157"/>
                    <a:pt x="1012" y="156"/>
                    <a:pt x="1007" y="156"/>
                  </a:cubicBezTo>
                  <a:cubicBezTo>
                    <a:pt x="1003" y="155"/>
                    <a:pt x="991" y="152"/>
                    <a:pt x="985" y="153"/>
                  </a:cubicBezTo>
                  <a:cubicBezTo>
                    <a:pt x="979" y="153"/>
                    <a:pt x="976" y="150"/>
                    <a:pt x="973" y="150"/>
                  </a:cubicBezTo>
                  <a:cubicBezTo>
                    <a:pt x="969" y="150"/>
                    <a:pt x="969" y="152"/>
                    <a:pt x="971" y="154"/>
                  </a:cubicBezTo>
                  <a:cubicBezTo>
                    <a:pt x="973" y="156"/>
                    <a:pt x="968" y="157"/>
                    <a:pt x="964" y="156"/>
                  </a:cubicBezTo>
                  <a:cubicBezTo>
                    <a:pt x="960" y="156"/>
                    <a:pt x="954" y="158"/>
                    <a:pt x="957" y="161"/>
                  </a:cubicBezTo>
                  <a:cubicBezTo>
                    <a:pt x="959" y="164"/>
                    <a:pt x="961" y="160"/>
                    <a:pt x="963" y="161"/>
                  </a:cubicBezTo>
                  <a:cubicBezTo>
                    <a:pt x="965" y="162"/>
                    <a:pt x="958" y="164"/>
                    <a:pt x="961" y="166"/>
                  </a:cubicBezTo>
                  <a:cubicBezTo>
                    <a:pt x="964" y="167"/>
                    <a:pt x="963" y="170"/>
                    <a:pt x="963" y="171"/>
                  </a:cubicBezTo>
                  <a:cubicBezTo>
                    <a:pt x="963" y="173"/>
                    <a:pt x="959" y="173"/>
                    <a:pt x="957" y="171"/>
                  </a:cubicBezTo>
                  <a:cubicBezTo>
                    <a:pt x="955" y="169"/>
                    <a:pt x="952" y="171"/>
                    <a:pt x="949" y="171"/>
                  </a:cubicBezTo>
                  <a:cubicBezTo>
                    <a:pt x="946" y="170"/>
                    <a:pt x="943" y="172"/>
                    <a:pt x="947" y="172"/>
                  </a:cubicBezTo>
                  <a:cubicBezTo>
                    <a:pt x="950" y="173"/>
                    <a:pt x="952" y="175"/>
                    <a:pt x="947" y="176"/>
                  </a:cubicBezTo>
                  <a:cubicBezTo>
                    <a:pt x="942" y="176"/>
                    <a:pt x="943" y="171"/>
                    <a:pt x="940" y="172"/>
                  </a:cubicBezTo>
                  <a:cubicBezTo>
                    <a:pt x="938" y="172"/>
                    <a:pt x="931" y="170"/>
                    <a:pt x="928" y="170"/>
                  </a:cubicBezTo>
                  <a:cubicBezTo>
                    <a:pt x="925" y="170"/>
                    <a:pt x="923" y="172"/>
                    <a:pt x="919" y="173"/>
                  </a:cubicBezTo>
                  <a:cubicBezTo>
                    <a:pt x="914" y="173"/>
                    <a:pt x="908" y="171"/>
                    <a:pt x="907" y="168"/>
                  </a:cubicBezTo>
                  <a:cubicBezTo>
                    <a:pt x="905" y="166"/>
                    <a:pt x="904" y="165"/>
                    <a:pt x="902" y="168"/>
                  </a:cubicBezTo>
                  <a:cubicBezTo>
                    <a:pt x="900" y="171"/>
                    <a:pt x="900" y="176"/>
                    <a:pt x="898" y="176"/>
                  </a:cubicBezTo>
                  <a:cubicBezTo>
                    <a:pt x="896" y="176"/>
                    <a:pt x="895" y="181"/>
                    <a:pt x="893" y="182"/>
                  </a:cubicBezTo>
                  <a:cubicBezTo>
                    <a:pt x="891" y="184"/>
                    <a:pt x="890" y="181"/>
                    <a:pt x="888" y="181"/>
                  </a:cubicBezTo>
                  <a:cubicBezTo>
                    <a:pt x="885" y="181"/>
                    <a:pt x="876" y="172"/>
                    <a:pt x="876" y="170"/>
                  </a:cubicBezTo>
                  <a:cubicBezTo>
                    <a:pt x="875" y="167"/>
                    <a:pt x="870" y="163"/>
                    <a:pt x="868" y="162"/>
                  </a:cubicBezTo>
                  <a:cubicBezTo>
                    <a:pt x="867" y="161"/>
                    <a:pt x="870" y="160"/>
                    <a:pt x="872" y="162"/>
                  </a:cubicBezTo>
                  <a:cubicBezTo>
                    <a:pt x="873" y="163"/>
                    <a:pt x="876" y="163"/>
                    <a:pt x="877" y="162"/>
                  </a:cubicBezTo>
                  <a:cubicBezTo>
                    <a:pt x="879" y="162"/>
                    <a:pt x="879" y="157"/>
                    <a:pt x="876" y="157"/>
                  </a:cubicBezTo>
                  <a:cubicBezTo>
                    <a:pt x="873" y="157"/>
                    <a:pt x="874" y="154"/>
                    <a:pt x="875" y="154"/>
                  </a:cubicBezTo>
                  <a:cubicBezTo>
                    <a:pt x="877" y="153"/>
                    <a:pt x="872" y="149"/>
                    <a:pt x="874" y="148"/>
                  </a:cubicBezTo>
                  <a:cubicBezTo>
                    <a:pt x="876" y="148"/>
                    <a:pt x="875" y="146"/>
                    <a:pt x="872" y="145"/>
                  </a:cubicBezTo>
                  <a:cubicBezTo>
                    <a:pt x="870" y="145"/>
                    <a:pt x="867" y="143"/>
                    <a:pt x="867" y="142"/>
                  </a:cubicBezTo>
                  <a:cubicBezTo>
                    <a:pt x="867" y="140"/>
                    <a:pt x="856" y="140"/>
                    <a:pt x="856" y="142"/>
                  </a:cubicBezTo>
                  <a:cubicBezTo>
                    <a:pt x="857" y="144"/>
                    <a:pt x="852" y="143"/>
                    <a:pt x="853" y="141"/>
                  </a:cubicBezTo>
                  <a:cubicBezTo>
                    <a:pt x="854" y="140"/>
                    <a:pt x="849" y="140"/>
                    <a:pt x="844" y="139"/>
                  </a:cubicBezTo>
                  <a:cubicBezTo>
                    <a:pt x="839" y="137"/>
                    <a:pt x="839" y="134"/>
                    <a:pt x="837" y="134"/>
                  </a:cubicBezTo>
                  <a:cubicBezTo>
                    <a:pt x="835" y="133"/>
                    <a:pt x="836" y="139"/>
                    <a:pt x="833" y="137"/>
                  </a:cubicBezTo>
                  <a:cubicBezTo>
                    <a:pt x="830" y="136"/>
                    <a:pt x="828" y="139"/>
                    <a:pt x="829" y="142"/>
                  </a:cubicBezTo>
                  <a:cubicBezTo>
                    <a:pt x="830" y="145"/>
                    <a:pt x="829" y="145"/>
                    <a:pt x="829" y="148"/>
                  </a:cubicBezTo>
                  <a:cubicBezTo>
                    <a:pt x="829" y="150"/>
                    <a:pt x="827" y="149"/>
                    <a:pt x="824" y="148"/>
                  </a:cubicBezTo>
                  <a:cubicBezTo>
                    <a:pt x="821" y="147"/>
                    <a:pt x="821" y="151"/>
                    <a:pt x="814" y="149"/>
                  </a:cubicBezTo>
                  <a:cubicBezTo>
                    <a:pt x="808" y="147"/>
                    <a:pt x="805" y="149"/>
                    <a:pt x="804" y="147"/>
                  </a:cubicBezTo>
                  <a:cubicBezTo>
                    <a:pt x="802" y="145"/>
                    <a:pt x="800" y="145"/>
                    <a:pt x="800" y="146"/>
                  </a:cubicBezTo>
                  <a:cubicBezTo>
                    <a:pt x="800" y="148"/>
                    <a:pt x="790" y="147"/>
                    <a:pt x="789" y="145"/>
                  </a:cubicBezTo>
                  <a:cubicBezTo>
                    <a:pt x="788" y="142"/>
                    <a:pt x="791" y="142"/>
                    <a:pt x="792" y="141"/>
                  </a:cubicBezTo>
                  <a:cubicBezTo>
                    <a:pt x="794" y="140"/>
                    <a:pt x="790" y="139"/>
                    <a:pt x="785" y="140"/>
                  </a:cubicBezTo>
                  <a:cubicBezTo>
                    <a:pt x="779" y="140"/>
                    <a:pt x="776" y="137"/>
                    <a:pt x="770" y="137"/>
                  </a:cubicBezTo>
                  <a:cubicBezTo>
                    <a:pt x="764" y="138"/>
                    <a:pt x="752" y="139"/>
                    <a:pt x="750" y="140"/>
                  </a:cubicBezTo>
                  <a:cubicBezTo>
                    <a:pt x="748" y="141"/>
                    <a:pt x="751" y="144"/>
                    <a:pt x="749" y="144"/>
                  </a:cubicBezTo>
                  <a:cubicBezTo>
                    <a:pt x="746" y="144"/>
                    <a:pt x="748" y="139"/>
                    <a:pt x="747" y="136"/>
                  </a:cubicBezTo>
                  <a:cubicBezTo>
                    <a:pt x="747" y="134"/>
                    <a:pt x="743" y="133"/>
                    <a:pt x="743" y="135"/>
                  </a:cubicBezTo>
                  <a:cubicBezTo>
                    <a:pt x="744" y="137"/>
                    <a:pt x="737" y="138"/>
                    <a:pt x="735" y="137"/>
                  </a:cubicBezTo>
                  <a:cubicBezTo>
                    <a:pt x="733" y="135"/>
                    <a:pt x="730" y="133"/>
                    <a:pt x="726" y="132"/>
                  </a:cubicBezTo>
                  <a:cubicBezTo>
                    <a:pt x="721" y="131"/>
                    <a:pt x="715" y="136"/>
                    <a:pt x="717" y="137"/>
                  </a:cubicBezTo>
                  <a:cubicBezTo>
                    <a:pt x="718" y="139"/>
                    <a:pt x="721" y="137"/>
                    <a:pt x="722" y="138"/>
                  </a:cubicBezTo>
                  <a:cubicBezTo>
                    <a:pt x="722" y="140"/>
                    <a:pt x="712" y="140"/>
                    <a:pt x="712" y="141"/>
                  </a:cubicBezTo>
                  <a:cubicBezTo>
                    <a:pt x="712" y="143"/>
                    <a:pt x="702" y="145"/>
                    <a:pt x="699" y="146"/>
                  </a:cubicBezTo>
                  <a:cubicBezTo>
                    <a:pt x="692" y="147"/>
                    <a:pt x="690" y="147"/>
                    <a:pt x="686" y="150"/>
                  </a:cubicBezTo>
                  <a:cubicBezTo>
                    <a:pt x="683" y="153"/>
                    <a:pt x="685" y="147"/>
                    <a:pt x="688" y="144"/>
                  </a:cubicBezTo>
                  <a:cubicBezTo>
                    <a:pt x="691" y="141"/>
                    <a:pt x="694" y="142"/>
                    <a:pt x="696" y="140"/>
                  </a:cubicBezTo>
                  <a:cubicBezTo>
                    <a:pt x="697" y="138"/>
                    <a:pt x="700" y="138"/>
                    <a:pt x="705" y="137"/>
                  </a:cubicBezTo>
                  <a:cubicBezTo>
                    <a:pt x="709" y="137"/>
                    <a:pt x="709" y="134"/>
                    <a:pt x="711" y="133"/>
                  </a:cubicBezTo>
                  <a:cubicBezTo>
                    <a:pt x="713" y="132"/>
                    <a:pt x="718" y="130"/>
                    <a:pt x="719" y="128"/>
                  </a:cubicBezTo>
                  <a:cubicBezTo>
                    <a:pt x="720" y="126"/>
                    <a:pt x="731" y="122"/>
                    <a:pt x="733" y="122"/>
                  </a:cubicBezTo>
                  <a:cubicBezTo>
                    <a:pt x="735" y="123"/>
                    <a:pt x="736" y="118"/>
                    <a:pt x="737" y="118"/>
                  </a:cubicBezTo>
                  <a:cubicBezTo>
                    <a:pt x="738" y="118"/>
                    <a:pt x="744" y="115"/>
                    <a:pt x="747" y="114"/>
                  </a:cubicBezTo>
                  <a:cubicBezTo>
                    <a:pt x="749" y="113"/>
                    <a:pt x="750" y="111"/>
                    <a:pt x="750" y="109"/>
                  </a:cubicBezTo>
                  <a:cubicBezTo>
                    <a:pt x="750" y="108"/>
                    <a:pt x="747" y="108"/>
                    <a:pt x="747" y="107"/>
                  </a:cubicBezTo>
                  <a:cubicBezTo>
                    <a:pt x="746" y="105"/>
                    <a:pt x="748" y="106"/>
                    <a:pt x="751" y="105"/>
                  </a:cubicBezTo>
                  <a:cubicBezTo>
                    <a:pt x="753" y="104"/>
                    <a:pt x="751" y="101"/>
                    <a:pt x="749" y="102"/>
                  </a:cubicBezTo>
                  <a:cubicBezTo>
                    <a:pt x="747" y="102"/>
                    <a:pt x="750" y="100"/>
                    <a:pt x="748" y="98"/>
                  </a:cubicBezTo>
                  <a:cubicBezTo>
                    <a:pt x="746" y="96"/>
                    <a:pt x="743" y="99"/>
                    <a:pt x="743" y="97"/>
                  </a:cubicBezTo>
                  <a:cubicBezTo>
                    <a:pt x="743" y="94"/>
                    <a:pt x="743" y="92"/>
                    <a:pt x="741" y="90"/>
                  </a:cubicBezTo>
                  <a:cubicBezTo>
                    <a:pt x="740" y="89"/>
                    <a:pt x="737" y="93"/>
                    <a:pt x="734" y="90"/>
                  </a:cubicBezTo>
                  <a:cubicBezTo>
                    <a:pt x="731" y="88"/>
                    <a:pt x="723" y="87"/>
                    <a:pt x="723" y="88"/>
                  </a:cubicBezTo>
                  <a:cubicBezTo>
                    <a:pt x="723" y="89"/>
                    <a:pt x="718" y="86"/>
                    <a:pt x="718" y="87"/>
                  </a:cubicBezTo>
                  <a:cubicBezTo>
                    <a:pt x="717" y="88"/>
                    <a:pt x="710" y="88"/>
                    <a:pt x="708" y="87"/>
                  </a:cubicBezTo>
                  <a:cubicBezTo>
                    <a:pt x="706" y="87"/>
                    <a:pt x="703" y="88"/>
                    <a:pt x="702" y="90"/>
                  </a:cubicBezTo>
                  <a:cubicBezTo>
                    <a:pt x="702" y="93"/>
                    <a:pt x="694" y="92"/>
                    <a:pt x="692" y="91"/>
                  </a:cubicBezTo>
                  <a:cubicBezTo>
                    <a:pt x="691" y="91"/>
                    <a:pt x="698" y="85"/>
                    <a:pt x="698" y="84"/>
                  </a:cubicBezTo>
                  <a:cubicBezTo>
                    <a:pt x="698" y="83"/>
                    <a:pt x="686" y="84"/>
                    <a:pt x="685" y="83"/>
                  </a:cubicBezTo>
                  <a:cubicBezTo>
                    <a:pt x="684" y="82"/>
                    <a:pt x="678" y="81"/>
                    <a:pt x="675" y="81"/>
                  </a:cubicBezTo>
                  <a:cubicBezTo>
                    <a:pt x="673" y="82"/>
                    <a:pt x="675" y="81"/>
                    <a:pt x="678" y="81"/>
                  </a:cubicBezTo>
                  <a:cubicBezTo>
                    <a:pt x="680" y="80"/>
                    <a:pt x="683" y="78"/>
                    <a:pt x="685" y="78"/>
                  </a:cubicBezTo>
                  <a:cubicBezTo>
                    <a:pt x="688" y="77"/>
                    <a:pt x="687" y="76"/>
                    <a:pt x="686" y="75"/>
                  </a:cubicBezTo>
                  <a:cubicBezTo>
                    <a:pt x="685" y="73"/>
                    <a:pt x="682" y="74"/>
                    <a:pt x="679" y="73"/>
                  </a:cubicBezTo>
                  <a:cubicBezTo>
                    <a:pt x="677" y="72"/>
                    <a:pt x="673" y="71"/>
                    <a:pt x="671" y="71"/>
                  </a:cubicBezTo>
                  <a:cubicBezTo>
                    <a:pt x="669" y="71"/>
                    <a:pt x="666" y="72"/>
                    <a:pt x="660" y="73"/>
                  </a:cubicBezTo>
                  <a:cubicBezTo>
                    <a:pt x="655" y="74"/>
                    <a:pt x="654" y="78"/>
                    <a:pt x="652" y="80"/>
                  </a:cubicBezTo>
                  <a:cubicBezTo>
                    <a:pt x="649" y="81"/>
                    <a:pt x="644" y="86"/>
                    <a:pt x="646" y="87"/>
                  </a:cubicBezTo>
                  <a:cubicBezTo>
                    <a:pt x="648" y="87"/>
                    <a:pt x="647" y="89"/>
                    <a:pt x="648" y="90"/>
                  </a:cubicBezTo>
                  <a:cubicBezTo>
                    <a:pt x="648" y="92"/>
                    <a:pt x="646" y="92"/>
                    <a:pt x="643" y="92"/>
                  </a:cubicBezTo>
                  <a:cubicBezTo>
                    <a:pt x="640" y="91"/>
                    <a:pt x="631" y="91"/>
                    <a:pt x="631" y="93"/>
                  </a:cubicBezTo>
                  <a:cubicBezTo>
                    <a:pt x="631" y="95"/>
                    <a:pt x="636" y="96"/>
                    <a:pt x="636" y="97"/>
                  </a:cubicBezTo>
                  <a:cubicBezTo>
                    <a:pt x="636" y="98"/>
                    <a:pt x="632" y="97"/>
                    <a:pt x="630" y="96"/>
                  </a:cubicBezTo>
                  <a:cubicBezTo>
                    <a:pt x="628" y="95"/>
                    <a:pt x="624" y="96"/>
                    <a:pt x="623" y="98"/>
                  </a:cubicBezTo>
                  <a:cubicBezTo>
                    <a:pt x="622" y="100"/>
                    <a:pt x="619" y="99"/>
                    <a:pt x="618" y="99"/>
                  </a:cubicBezTo>
                  <a:cubicBezTo>
                    <a:pt x="617" y="98"/>
                    <a:pt x="614" y="100"/>
                    <a:pt x="613" y="99"/>
                  </a:cubicBezTo>
                  <a:cubicBezTo>
                    <a:pt x="611" y="98"/>
                    <a:pt x="616" y="96"/>
                    <a:pt x="615" y="95"/>
                  </a:cubicBezTo>
                  <a:cubicBezTo>
                    <a:pt x="614" y="93"/>
                    <a:pt x="608" y="94"/>
                    <a:pt x="607" y="97"/>
                  </a:cubicBezTo>
                  <a:cubicBezTo>
                    <a:pt x="607" y="99"/>
                    <a:pt x="603" y="95"/>
                    <a:pt x="602" y="96"/>
                  </a:cubicBezTo>
                  <a:cubicBezTo>
                    <a:pt x="601" y="96"/>
                    <a:pt x="599" y="97"/>
                    <a:pt x="597" y="98"/>
                  </a:cubicBezTo>
                  <a:cubicBezTo>
                    <a:pt x="594" y="99"/>
                    <a:pt x="590" y="97"/>
                    <a:pt x="589" y="99"/>
                  </a:cubicBezTo>
                  <a:cubicBezTo>
                    <a:pt x="588" y="101"/>
                    <a:pt x="594" y="102"/>
                    <a:pt x="594" y="102"/>
                  </a:cubicBezTo>
                  <a:cubicBezTo>
                    <a:pt x="594" y="103"/>
                    <a:pt x="581" y="103"/>
                    <a:pt x="580" y="104"/>
                  </a:cubicBezTo>
                  <a:cubicBezTo>
                    <a:pt x="580" y="106"/>
                    <a:pt x="576" y="106"/>
                    <a:pt x="570" y="106"/>
                  </a:cubicBezTo>
                  <a:cubicBezTo>
                    <a:pt x="565" y="106"/>
                    <a:pt x="567" y="109"/>
                    <a:pt x="563" y="109"/>
                  </a:cubicBezTo>
                  <a:cubicBezTo>
                    <a:pt x="559" y="110"/>
                    <a:pt x="557" y="110"/>
                    <a:pt x="555" y="113"/>
                  </a:cubicBezTo>
                  <a:cubicBezTo>
                    <a:pt x="554" y="115"/>
                    <a:pt x="550" y="115"/>
                    <a:pt x="549" y="113"/>
                  </a:cubicBezTo>
                  <a:cubicBezTo>
                    <a:pt x="548" y="112"/>
                    <a:pt x="544" y="114"/>
                    <a:pt x="546" y="114"/>
                  </a:cubicBezTo>
                  <a:cubicBezTo>
                    <a:pt x="548" y="115"/>
                    <a:pt x="546" y="117"/>
                    <a:pt x="545" y="116"/>
                  </a:cubicBezTo>
                  <a:cubicBezTo>
                    <a:pt x="543" y="116"/>
                    <a:pt x="540" y="119"/>
                    <a:pt x="542" y="118"/>
                  </a:cubicBezTo>
                  <a:cubicBezTo>
                    <a:pt x="544" y="118"/>
                    <a:pt x="545" y="120"/>
                    <a:pt x="544" y="121"/>
                  </a:cubicBezTo>
                  <a:cubicBezTo>
                    <a:pt x="543" y="123"/>
                    <a:pt x="538" y="120"/>
                    <a:pt x="537" y="121"/>
                  </a:cubicBezTo>
                  <a:cubicBezTo>
                    <a:pt x="536" y="122"/>
                    <a:pt x="539" y="124"/>
                    <a:pt x="541" y="123"/>
                  </a:cubicBezTo>
                  <a:cubicBezTo>
                    <a:pt x="543" y="123"/>
                    <a:pt x="545" y="125"/>
                    <a:pt x="545" y="126"/>
                  </a:cubicBezTo>
                  <a:cubicBezTo>
                    <a:pt x="545" y="128"/>
                    <a:pt x="540" y="125"/>
                    <a:pt x="539" y="126"/>
                  </a:cubicBezTo>
                  <a:cubicBezTo>
                    <a:pt x="538" y="128"/>
                    <a:pt x="540" y="128"/>
                    <a:pt x="542" y="129"/>
                  </a:cubicBezTo>
                  <a:cubicBezTo>
                    <a:pt x="544" y="129"/>
                    <a:pt x="543" y="130"/>
                    <a:pt x="545" y="131"/>
                  </a:cubicBezTo>
                  <a:cubicBezTo>
                    <a:pt x="545" y="132"/>
                    <a:pt x="545" y="132"/>
                    <a:pt x="545" y="132"/>
                  </a:cubicBezTo>
                  <a:cubicBezTo>
                    <a:pt x="546" y="133"/>
                    <a:pt x="544" y="134"/>
                    <a:pt x="544" y="135"/>
                  </a:cubicBezTo>
                  <a:cubicBezTo>
                    <a:pt x="544" y="137"/>
                    <a:pt x="542" y="137"/>
                    <a:pt x="542" y="136"/>
                  </a:cubicBezTo>
                  <a:cubicBezTo>
                    <a:pt x="542" y="135"/>
                    <a:pt x="536" y="134"/>
                    <a:pt x="534" y="136"/>
                  </a:cubicBezTo>
                  <a:cubicBezTo>
                    <a:pt x="533" y="137"/>
                    <a:pt x="532" y="138"/>
                    <a:pt x="530" y="137"/>
                  </a:cubicBezTo>
                  <a:cubicBezTo>
                    <a:pt x="529" y="135"/>
                    <a:pt x="524" y="137"/>
                    <a:pt x="519" y="137"/>
                  </a:cubicBezTo>
                  <a:cubicBezTo>
                    <a:pt x="513" y="138"/>
                    <a:pt x="501" y="138"/>
                    <a:pt x="498" y="139"/>
                  </a:cubicBezTo>
                  <a:cubicBezTo>
                    <a:pt x="495" y="140"/>
                    <a:pt x="492" y="144"/>
                    <a:pt x="495" y="147"/>
                  </a:cubicBezTo>
                  <a:cubicBezTo>
                    <a:pt x="498" y="150"/>
                    <a:pt x="495" y="151"/>
                    <a:pt x="495" y="153"/>
                  </a:cubicBezTo>
                  <a:cubicBezTo>
                    <a:pt x="495" y="155"/>
                    <a:pt x="502" y="158"/>
                    <a:pt x="506" y="159"/>
                  </a:cubicBezTo>
                  <a:cubicBezTo>
                    <a:pt x="510" y="159"/>
                    <a:pt x="513" y="164"/>
                    <a:pt x="511" y="167"/>
                  </a:cubicBezTo>
                  <a:cubicBezTo>
                    <a:pt x="508" y="169"/>
                    <a:pt x="502" y="166"/>
                    <a:pt x="497" y="162"/>
                  </a:cubicBezTo>
                  <a:cubicBezTo>
                    <a:pt x="492" y="159"/>
                    <a:pt x="482" y="157"/>
                    <a:pt x="479" y="157"/>
                  </a:cubicBezTo>
                  <a:cubicBezTo>
                    <a:pt x="475" y="158"/>
                    <a:pt x="477" y="154"/>
                    <a:pt x="473" y="154"/>
                  </a:cubicBezTo>
                  <a:cubicBezTo>
                    <a:pt x="468" y="155"/>
                    <a:pt x="465" y="159"/>
                    <a:pt x="468" y="159"/>
                  </a:cubicBezTo>
                  <a:cubicBezTo>
                    <a:pt x="471" y="159"/>
                    <a:pt x="472" y="158"/>
                    <a:pt x="471" y="160"/>
                  </a:cubicBezTo>
                  <a:cubicBezTo>
                    <a:pt x="469" y="161"/>
                    <a:pt x="472" y="161"/>
                    <a:pt x="475" y="162"/>
                  </a:cubicBezTo>
                  <a:cubicBezTo>
                    <a:pt x="479" y="164"/>
                    <a:pt x="472" y="166"/>
                    <a:pt x="469" y="164"/>
                  </a:cubicBezTo>
                  <a:cubicBezTo>
                    <a:pt x="465" y="161"/>
                    <a:pt x="461" y="163"/>
                    <a:pt x="460" y="165"/>
                  </a:cubicBezTo>
                  <a:cubicBezTo>
                    <a:pt x="459" y="167"/>
                    <a:pt x="464" y="173"/>
                    <a:pt x="471" y="174"/>
                  </a:cubicBezTo>
                  <a:cubicBezTo>
                    <a:pt x="477" y="175"/>
                    <a:pt x="475" y="177"/>
                    <a:pt x="478" y="178"/>
                  </a:cubicBezTo>
                  <a:cubicBezTo>
                    <a:pt x="481" y="179"/>
                    <a:pt x="479" y="180"/>
                    <a:pt x="477" y="180"/>
                  </a:cubicBezTo>
                  <a:cubicBezTo>
                    <a:pt x="475" y="180"/>
                    <a:pt x="471" y="177"/>
                    <a:pt x="467" y="175"/>
                  </a:cubicBezTo>
                  <a:cubicBezTo>
                    <a:pt x="464" y="174"/>
                    <a:pt x="456" y="176"/>
                    <a:pt x="454" y="174"/>
                  </a:cubicBezTo>
                  <a:cubicBezTo>
                    <a:pt x="452" y="172"/>
                    <a:pt x="455" y="170"/>
                    <a:pt x="453" y="169"/>
                  </a:cubicBezTo>
                  <a:cubicBezTo>
                    <a:pt x="452" y="167"/>
                    <a:pt x="453" y="164"/>
                    <a:pt x="455" y="161"/>
                  </a:cubicBezTo>
                  <a:cubicBezTo>
                    <a:pt x="457" y="158"/>
                    <a:pt x="455" y="152"/>
                    <a:pt x="452" y="151"/>
                  </a:cubicBezTo>
                  <a:cubicBezTo>
                    <a:pt x="449" y="150"/>
                    <a:pt x="449" y="153"/>
                    <a:pt x="450" y="154"/>
                  </a:cubicBezTo>
                  <a:cubicBezTo>
                    <a:pt x="450" y="155"/>
                    <a:pt x="450" y="160"/>
                    <a:pt x="448" y="163"/>
                  </a:cubicBezTo>
                  <a:cubicBezTo>
                    <a:pt x="445" y="166"/>
                    <a:pt x="438" y="166"/>
                    <a:pt x="438" y="168"/>
                  </a:cubicBezTo>
                  <a:cubicBezTo>
                    <a:pt x="438" y="170"/>
                    <a:pt x="433" y="171"/>
                    <a:pt x="435" y="173"/>
                  </a:cubicBezTo>
                  <a:cubicBezTo>
                    <a:pt x="436" y="174"/>
                    <a:pt x="443" y="181"/>
                    <a:pt x="444" y="184"/>
                  </a:cubicBezTo>
                  <a:cubicBezTo>
                    <a:pt x="445" y="186"/>
                    <a:pt x="438" y="193"/>
                    <a:pt x="439" y="197"/>
                  </a:cubicBezTo>
                  <a:cubicBezTo>
                    <a:pt x="440" y="201"/>
                    <a:pt x="438" y="203"/>
                    <a:pt x="440" y="205"/>
                  </a:cubicBezTo>
                  <a:cubicBezTo>
                    <a:pt x="441" y="207"/>
                    <a:pt x="444" y="205"/>
                    <a:pt x="446" y="206"/>
                  </a:cubicBezTo>
                  <a:cubicBezTo>
                    <a:pt x="448" y="207"/>
                    <a:pt x="451" y="205"/>
                    <a:pt x="455" y="204"/>
                  </a:cubicBezTo>
                  <a:cubicBezTo>
                    <a:pt x="460" y="203"/>
                    <a:pt x="468" y="208"/>
                    <a:pt x="471" y="210"/>
                  </a:cubicBezTo>
                  <a:cubicBezTo>
                    <a:pt x="474" y="211"/>
                    <a:pt x="472" y="213"/>
                    <a:pt x="474" y="216"/>
                  </a:cubicBezTo>
                  <a:cubicBezTo>
                    <a:pt x="475" y="218"/>
                    <a:pt x="470" y="218"/>
                    <a:pt x="470" y="222"/>
                  </a:cubicBezTo>
                  <a:cubicBezTo>
                    <a:pt x="470" y="225"/>
                    <a:pt x="479" y="227"/>
                    <a:pt x="479" y="228"/>
                  </a:cubicBezTo>
                  <a:cubicBezTo>
                    <a:pt x="480" y="229"/>
                    <a:pt x="473" y="228"/>
                    <a:pt x="470" y="227"/>
                  </a:cubicBezTo>
                  <a:cubicBezTo>
                    <a:pt x="467" y="226"/>
                    <a:pt x="467" y="223"/>
                    <a:pt x="466" y="222"/>
                  </a:cubicBezTo>
                  <a:cubicBezTo>
                    <a:pt x="466" y="221"/>
                    <a:pt x="468" y="218"/>
                    <a:pt x="468" y="216"/>
                  </a:cubicBezTo>
                  <a:cubicBezTo>
                    <a:pt x="469" y="214"/>
                    <a:pt x="465" y="213"/>
                    <a:pt x="464" y="211"/>
                  </a:cubicBezTo>
                  <a:cubicBezTo>
                    <a:pt x="463" y="210"/>
                    <a:pt x="461" y="207"/>
                    <a:pt x="459" y="208"/>
                  </a:cubicBezTo>
                  <a:cubicBezTo>
                    <a:pt x="457" y="208"/>
                    <a:pt x="449" y="209"/>
                    <a:pt x="447" y="211"/>
                  </a:cubicBezTo>
                  <a:cubicBezTo>
                    <a:pt x="445" y="213"/>
                    <a:pt x="447" y="219"/>
                    <a:pt x="449" y="222"/>
                  </a:cubicBezTo>
                  <a:cubicBezTo>
                    <a:pt x="450" y="225"/>
                    <a:pt x="442" y="229"/>
                    <a:pt x="442" y="232"/>
                  </a:cubicBezTo>
                  <a:cubicBezTo>
                    <a:pt x="442" y="234"/>
                    <a:pt x="439" y="235"/>
                    <a:pt x="436" y="237"/>
                  </a:cubicBezTo>
                  <a:cubicBezTo>
                    <a:pt x="432" y="239"/>
                    <a:pt x="428" y="240"/>
                    <a:pt x="428" y="244"/>
                  </a:cubicBezTo>
                  <a:cubicBezTo>
                    <a:pt x="429" y="247"/>
                    <a:pt x="424" y="245"/>
                    <a:pt x="421" y="244"/>
                  </a:cubicBezTo>
                  <a:cubicBezTo>
                    <a:pt x="419" y="242"/>
                    <a:pt x="416" y="244"/>
                    <a:pt x="412" y="244"/>
                  </a:cubicBezTo>
                  <a:cubicBezTo>
                    <a:pt x="408" y="244"/>
                    <a:pt x="408" y="241"/>
                    <a:pt x="406" y="242"/>
                  </a:cubicBezTo>
                  <a:cubicBezTo>
                    <a:pt x="403" y="243"/>
                    <a:pt x="401" y="241"/>
                    <a:pt x="402" y="239"/>
                  </a:cubicBezTo>
                  <a:cubicBezTo>
                    <a:pt x="402" y="237"/>
                    <a:pt x="406" y="238"/>
                    <a:pt x="406" y="240"/>
                  </a:cubicBezTo>
                  <a:cubicBezTo>
                    <a:pt x="406" y="241"/>
                    <a:pt x="408" y="241"/>
                    <a:pt x="411" y="239"/>
                  </a:cubicBezTo>
                  <a:cubicBezTo>
                    <a:pt x="413" y="238"/>
                    <a:pt x="412" y="241"/>
                    <a:pt x="415" y="241"/>
                  </a:cubicBezTo>
                  <a:cubicBezTo>
                    <a:pt x="419" y="242"/>
                    <a:pt x="417" y="240"/>
                    <a:pt x="419" y="240"/>
                  </a:cubicBezTo>
                  <a:cubicBezTo>
                    <a:pt x="422" y="240"/>
                    <a:pt x="422" y="239"/>
                    <a:pt x="421" y="238"/>
                  </a:cubicBezTo>
                  <a:cubicBezTo>
                    <a:pt x="420" y="237"/>
                    <a:pt x="423" y="236"/>
                    <a:pt x="425" y="235"/>
                  </a:cubicBezTo>
                  <a:cubicBezTo>
                    <a:pt x="427" y="234"/>
                    <a:pt x="426" y="231"/>
                    <a:pt x="427" y="231"/>
                  </a:cubicBezTo>
                  <a:cubicBezTo>
                    <a:pt x="429" y="230"/>
                    <a:pt x="428" y="228"/>
                    <a:pt x="429" y="228"/>
                  </a:cubicBezTo>
                  <a:cubicBezTo>
                    <a:pt x="431" y="228"/>
                    <a:pt x="432" y="225"/>
                    <a:pt x="433" y="225"/>
                  </a:cubicBezTo>
                  <a:cubicBezTo>
                    <a:pt x="435" y="225"/>
                    <a:pt x="436" y="223"/>
                    <a:pt x="435" y="222"/>
                  </a:cubicBezTo>
                  <a:cubicBezTo>
                    <a:pt x="434" y="220"/>
                    <a:pt x="435" y="217"/>
                    <a:pt x="437" y="216"/>
                  </a:cubicBezTo>
                  <a:cubicBezTo>
                    <a:pt x="438" y="216"/>
                    <a:pt x="439" y="214"/>
                    <a:pt x="437" y="213"/>
                  </a:cubicBezTo>
                  <a:cubicBezTo>
                    <a:pt x="436" y="212"/>
                    <a:pt x="431" y="209"/>
                    <a:pt x="431" y="206"/>
                  </a:cubicBezTo>
                  <a:cubicBezTo>
                    <a:pt x="431" y="204"/>
                    <a:pt x="430" y="200"/>
                    <a:pt x="431" y="198"/>
                  </a:cubicBezTo>
                  <a:cubicBezTo>
                    <a:pt x="431" y="196"/>
                    <a:pt x="431" y="193"/>
                    <a:pt x="431" y="191"/>
                  </a:cubicBezTo>
                  <a:cubicBezTo>
                    <a:pt x="430" y="188"/>
                    <a:pt x="432" y="186"/>
                    <a:pt x="433" y="182"/>
                  </a:cubicBezTo>
                  <a:cubicBezTo>
                    <a:pt x="433" y="178"/>
                    <a:pt x="428" y="174"/>
                    <a:pt x="426" y="173"/>
                  </a:cubicBezTo>
                  <a:cubicBezTo>
                    <a:pt x="424" y="172"/>
                    <a:pt x="425" y="170"/>
                    <a:pt x="429" y="167"/>
                  </a:cubicBezTo>
                  <a:cubicBezTo>
                    <a:pt x="432" y="164"/>
                    <a:pt x="432" y="155"/>
                    <a:pt x="432" y="153"/>
                  </a:cubicBezTo>
                  <a:cubicBezTo>
                    <a:pt x="432" y="151"/>
                    <a:pt x="425" y="150"/>
                    <a:pt x="422" y="150"/>
                  </a:cubicBezTo>
                  <a:cubicBezTo>
                    <a:pt x="419" y="150"/>
                    <a:pt x="409" y="150"/>
                    <a:pt x="407" y="149"/>
                  </a:cubicBezTo>
                  <a:cubicBezTo>
                    <a:pt x="404" y="149"/>
                    <a:pt x="403" y="151"/>
                    <a:pt x="402" y="154"/>
                  </a:cubicBezTo>
                  <a:cubicBezTo>
                    <a:pt x="401" y="156"/>
                    <a:pt x="398" y="160"/>
                    <a:pt x="397" y="165"/>
                  </a:cubicBezTo>
                  <a:cubicBezTo>
                    <a:pt x="395" y="170"/>
                    <a:pt x="389" y="172"/>
                    <a:pt x="386" y="173"/>
                  </a:cubicBezTo>
                  <a:cubicBezTo>
                    <a:pt x="383" y="174"/>
                    <a:pt x="382" y="178"/>
                    <a:pt x="383" y="180"/>
                  </a:cubicBezTo>
                  <a:cubicBezTo>
                    <a:pt x="384" y="182"/>
                    <a:pt x="386" y="181"/>
                    <a:pt x="387" y="181"/>
                  </a:cubicBezTo>
                  <a:cubicBezTo>
                    <a:pt x="389" y="182"/>
                    <a:pt x="387" y="187"/>
                    <a:pt x="386" y="188"/>
                  </a:cubicBezTo>
                  <a:cubicBezTo>
                    <a:pt x="386" y="188"/>
                    <a:pt x="388" y="190"/>
                    <a:pt x="386" y="192"/>
                  </a:cubicBezTo>
                  <a:cubicBezTo>
                    <a:pt x="384" y="193"/>
                    <a:pt x="382" y="196"/>
                    <a:pt x="383" y="197"/>
                  </a:cubicBezTo>
                  <a:cubicBezTo>
                    <a:pt x="384" y="198"/>
                    <a:pt x="390" y="199"/>
                    <a:pt x="393" y="201"/>
                  </a:cubicBezTo>
                  <a:cubicBezTo>
                    <a:pt x="395" y="202"/>
                    <a:pt x="394" y="205"/>
                    <a:pt x="396" y="207"/>
                  </a:cubicBezTo>
                  <a:cubicBezTo>
                    <a:pt x="398" y="210"/>
                    <a:pt x="400" y="208"/>
                    <a:pt x="401" y="210"/>
                  </a:cubicBezTo>
                  <a:cubicBezTo>
                    <a:pt x="402" y="211"/>
                    <a:pt x="398" y="217"/>
                    <a:pt x="396" y="218"/>
                  </a:cubicBezTo>
                  <a:cubicBezTo>
                    <a:pt x="394" y="218"/>
                    <a:pt x="388" y="211"/>
                    <a:pt x="386" y="210"/>
                  </a:cubicBezTo>
                  <a:cubicBezTo>
                    <a:pt x="384" y="208"/>
                    <a:pt x="377" y="206"/>
                    <a:pt x="373" y="204"/>
                  </a:cubicBezTo>
                  <a:cubicBezTo>
                    <a:pt x="370" y="202"/>
                    <a:pt x="367" y="203"/>
                    <a:pt x="363" y="200"/>
                  </a:cubicBezTo>
                  <a:cubicBezTo>
                    <a:pt x="359" y="197"/>
                    <a:pt x="355" y="196"/>
                    <a:pt x="348" y="196"/>
                  </a:cubicBezTo>
                  <a:cubicBezTo>
                    <a:pt x="340" y="196"/>
                    <a:pt x="336" y="194"/>
                    <a:pt x="333" y="195"/>
                  </a:cubicBezTo>
                  <a:cubicBezTo>
                    <a:pt x="331" y="195"/>
                    <a:pt x="332" y="192"/>
                    <a:pt x="327" y="190"/>
                  </a:cubicBezTo>
                  <a:cubicBezTo>
                    <a:pt x="323" y="188"/>
                    <a:pt x="320" y="186"/>
                    <a:pt x="317" y="187"/>
                  </a:cubicBezTo>
                  <a:cubicBezTo>
                    <a:pt x="315" y="188"/>
                    <a:pt x="316" y="193"/>
                    <a:pt x="320" y="194"/>
                  </a:cubicBezTo>
                  <a:cubicBezTo>
                    <a:pt x="324" y="194"/>
                    <a:pt x="322" y="196"/>
                    <a:pt x="326" y="196"/>
                  </a:cubicBezTo>
                  <a:cubicBezTo>
                    <a:pt x="330" y="196"/>
                    <a:pt x="331" y="197"/>
                    <a:pt x="331" y="200"/>
                  </a:cubicBezTo>
                  <a:cubicBezTo>
                    <a:pt x="331" y="202"/>
                    <a:pt x="333" y="205"/>
                    <a:pt x="334" y="206"/>
                  </a:cubicBezTo>
                  <a:cubicBezTo>
                    <a:pt x="336" y="208"/>
                    <a:pt x="335" y="211"/>
                    <a:pt x="332" y="211"/>
                  </a:cubicBezTo>
                  <a:cubicBezTo>
                    <a:pt x="329" y="211"/>
                    <a:pt x="325" y="211"/>
                    <a:pt x="326" y="214"/>
                  </a:cubicBezTo>
                  <a:cubicBezTo>
                    <a:pt x="328" y="216"/>
                    <a:pt x="326" y="216"/>
                    <a:pt x="322" y="215"/>
                  </a:cubicBezTo>
                  <a:cubicBezTo>
                    <a:pt x="319" y="214"/>
                    <a:pt x="321" y="212"/>
                    <a:pt x="322" y="210"/>
                  </a:cubicBezTo>
                  <a:cubicBezTo>
                    <a:pt x="324" y="209"/>
                    <a:pt x="319" y="208"/>
                    <a:pt x="317" y="207"/>
                  </a:cubicBezTo>
                  <a:cubicBezTo>
                    <a:pt x="315" y="206"/>
                    <a:pt x="307" y="212"/>
                    <a:pt x="305" y="213"/>
                  </a:cubicBezTo>
                  <a:cubicBezTo>
                    <a:pt x="303" y="214"/>
                    <a:pt x="297" y="212"/>
                    <a:pt x="292" y="213"/>
                  </a:cubicBezTo>
                  <a:cubicBezTo>
                    <a:pt x="286" y="214"/>
                    <a:pt x="286" y="219"/>
                    <a:pt x="284" y="218"/>
                  </a:cubicBezTo>
                  <a:cubicBezTo>
                    <a:pt x="282" y="218"/>
                    <a:pt x="276" y="219"/>
                    <a:pt x="273" y="218"/>
                  </a:cubicBezTo>
                  <a:cubicBezTo>
                    <a:pt x="271" y="216"/>
                    <a:pt x="273" y="215"/>
                    <a:pt x="275" y="215"/>
                  </a:cubicBezTo>
                  <a:cubicBezTo>
                    <a:pt x="278" y="216"/>
                    <a:pt x="279" y="215"/>
                    <a:pt x="277" y="213"/>
                  </a:cubicBezTo>
                  <a:cubicBezTo>
                    <a:pt x="276" y="211"/>
                    <a:pt x="279" y="209"/>
                    <a:pt x="279" y="208"/>
                  </a:cubicBezTo>
                  <a:cubicBezTo>
                    <a:pt x="279" y="206"/>
                    <a:pt x="270" y="210"/>
                    <a:pt x="268" y="211"/>
                  </a:cubicBezTo>
                  <a:cubicBezTo>
                    <a:pt x="266" y="212"/>
                    <a:pt x="268" y="215"/>
                    <a:pt x="266" y="215"/>
                  </a:cubicBezTo>
                  <a:cubicBezTo>
                    <a:pt x="265" y="216"/>
                    <a:pt x="265" y="214"/>
                    <a:pt x="263" y="213"/>
                  </a:cubicBezTo>
                  <a:cubicBezTo>
                    <a:pt x="261" y="213"/>
                    <a:pt x="247" y="216"/>
                    <a:pt x="244" y="219"/>
                  </a:cubicBezTo>
                  <a:cubicBezTo>
                    <a:pt x="242" y="222"/>
                    <a:pt x="237" y="222"/>
                    <a:pt x="237" y="223"/>
                  </a:cubicBezTo>
                  <a:cubicBezTo>
                    <a:pt x="237" y="225"/>
                    <a:pt x="230" y="225"/>
                    <a:pt x="228" y="226"/>
                  </a:cubicBezTo>
                  <a:cubicBezTo>
                    <a:pt x="225" y="227"/>
                    <a:pt x="227" y="232"/>
                    <a:pt x="226" y="235"/>
                  </a:cubicBezTo>
                  <a:cubicBezTo>
                    <a:pt x="225" y="237"/>
                    <a:pt x="215" y="236"/>
                    <a:pt x="212" y="236"/>
                  </a:cubicBezTo>
                  <a:cubicBezTo>
                    <a:pt x="209" y="237"/>
                    <a:pt x="208" y="231"/>
                    <a:pt x="206" y="230"/>
                  </a:cubicBezTo>
                  <a:cubicBezTo>
                    <a:pt x="204" y="230"/>
                    <a:pt x="205" y="227"/>
                    <a:pt x="206" y="225"/>
                  </a:cubicBezTo>
                  <a:cubicBezTo>
                    <a:pt x="207" y="224"/>
                    <a:pt x="208" y="225"/>
                    <a:pt x="211" y="223"/>
                  </a:cubicBezTo>
                  <a:cubicBezTo>
                    <a:pt x="214" y="221"/>
                    <a:pt x="217" y="224"/>
                    <a:pt x="219" y="223"/>
                  </a:cubicBezTo>
                  <a:cubicBezTo>
                    <a:pt x="220" y="221"/>
                    <a:pt x="214" y="218"/>
                    <a:pt x="214" y="215"/>
                  </a:cubicBezTo>
                  <a:cubicBezTo>
                    <a:pt x="213" y="212"/>
                    <a:pt x="207" y="211"/>
                    <a:pt x="203" y="212"/>
                  </a:cubicBezTo>
                  <a:cubicBezTo>
                    <a:pt x="200" y="213"/>
                    <a:pt x="196" y="212"/>
                    <a:pt x="193" y="211"/>
                  </a:cubicBezTo>
                  <a:cubicBezTo>
                    <a:pt x="191" y="210"/>
                    <a:pt x="191" y="213"/>
                    <a:pt x="195" y="214"/>
                  </a:cubicBezTo>
                  <a:cubicBezTo>
                    <a:pt x="199" y="215"/>
                    <a:pt x="197" y="218"/>
                    <a:pt x="197" y="220"/>
                  </a:cubicBezTo>
                  <a:cubicBezTo>
                    <a:pt x="198" y="222"/>
                    <a:pt x="196" y="226"/>
                    <a:pt x="194" y="229"/>
                  </a:cubicBezTo>
                  <a:cubicBezTo>
                    <a:pt x="192" y="232"/>
                    <a:pt x="194" y="232"/>
                    <a:pt x="197" y="232"/>
                  </a:cubicBezTo>
                  <a:cubicBezTo>
                    <a:pt x="200" y="231"/>
                    <a:pt x="200" y="236"/>
                    <a:pt x="200" y="239"/>
                  </a:cubicBezTo>
                  <a:cubicBezTo>
                    <a:pt x="200" y="242"/>
                    <a:pt x="197" y="243"/>
                    <a:pt x="197" y="245"/>
                  </a:cubicBezTo>
                  <a:cubicBezTo>
                    <a:pt x="197" y="247"/>
                    <a:pt x="195" y="244"/>
                    <a:pt x="194" y="245"/>
                  </a:cubicBezTo>
                  <a:cubicBezTo>
                    <a:pt x="193" y="246"/>
                    <a:pt x="192" y="244"/>
                    <a:pt x="191" y="242"/>
                  </a:cubicBezTo>
                  <a:cubicBezTo>
                    <a:pt x="191" y="240"/>
                    <a:pt x="186" y="242"/>
                    <a:pt x="183" y="241"/>
                  </a:cubicBezTo>
                  <a:cubicBezTo>
                    <a:pt x="181" y="240"/>
                    <a:pt x="180" y="241"/>
                    <a:pt x="178" y="243"/>
                  </a:cubicBezTo>
                  <a:cubicBezTo>
                    <a:pt x="177" y="245"/>
                    <a:pt x="173" y="246"/>
                    <a:pt x="171" y="246"/>
                  </a:cubicBezTo>
                  <a:cubicBezTo>
                    <a:pt x="169" y="247"/>
                    <a:pt x="165" y="251"/>
                    <a:pt x="163" y="252"/>
                  </a:cubicBezTo>
                  <a:cubicBezTo>
                    <a:pt x="161" y="253"/>
                    <a:pt x="161" y="256"/>
                    <a:pt x="164" y="259"/>
                  </a:cubicBezTo>
                  <a:cubicBezTo>
                    <a:pt x="167" y="262"/>
                    <a:pt x="167" y="264"/>
                    <a:pt x="167" y="265"/>
                  </a:cubicBezTo>
                  <a:cubicBezTo>
                    <a:pt x="167" y="267"/>
                    <a:pt x="159" y="266"/>
                    <a:pt x="158" y="265"/>
                  </a:cubicBezTo>
                  <a:cubicBezTo>
                    <a:pt x="156" y="263"/>
                    <a:pt x="151" y="262"/>
                    <a:pt x="149" y="263"/>
                  </a:cubicBezTo>
                  <a:cubicBezTo>
                    <a:pt x="147" y="263"/>
                    <a:pt x="143" y="257"/>
                    <a:pt x="140" y="257"/>
                  </a:cubicBezTo>
                  <a:cubicBezTo>
                    <a:pt x="138" y="257"/>
                    <a:pt x="136" y="260"/>
                    <a:pt x="135" y="262"/>
                  </a:cubicBezTo>
                  <a:cubicBezTo>
                    <a:pt x="134" y="263"/>
                    <a:pt x="136" y="264"/>
                    <a:pt x="138" y="266"/>
                  </a:cubicBezTo>
                  <a:cubicBezTo>
                    <a:pt x="139" y="269"/>
                    <a:pt x="143" y="269"/>
                    <a:pt x="145" y="269"/>
                  </a:cubicBezTo>
                  <a:cubicBezTo>
                    <a:pt x="148" y="269"/>
                    <a:pt x="147" y="273"/>
                    <a:pt x="146" y="274"/>
                  </a:cubicBezTo>
                  <a:cubicBezTo>
                    <a:pt x="145" y="276"/>
                    <a:pt x="141" y="277"/>
                    <a:pt x="140" y="275"/>
                  </a:cubicBezTo>
                  <a:cubicBezTo>
                    <a:pt x="139" y="274"/>
                    <a:pt x="134" y="275"/>
                    <a:pt x="134" y="273"/>
                  </a:cubicBezTo>
                  <a:cubicBezTo>
                    <a:pt x="134" y="271"/>
                    <a:pt x="130" y="268"/>
                    <a:pt x="126" y="269"/>
                  </a:cubicBezTo>
                  <a:cubicBezTo>
                    <a:pt x="123" y="270"/>
                    <a:pt x="122" y="267"/>
                    <a:pt x="122" y="264"/>
                  </a:cubicBezTo>
                  <a:cubicBezTo>
                    <a:pt x="122" y="261"/>
                    <a:pt x="120" y="260"/>
                    <a:pt x="120" y="259"/>
                  </a:cubicBezTo>
                  <a:cubicBezTo>
                    <a:pt x="120" y="257"/>
                    <a:pt x="119" y="255"/>
                    <a:pt x="121" y="253"/>
                  </a:cubicBezTo>
                  <a:cubicBezTo>
                    <a:pt x="122" y="252"/>
                    <a:pt x="121" y="250"/>
                    <a:pt x="121" y="248"/>
                  </a:cubicBezTo>
                  <a:cubicBezTo>
                    <a:pt x="121" y="246"/>
                    <a:pt x="118" y="244"/>
                    <a:pt x="115" y="244"/>
                  </a:cubicBezTo>
                  <a:cubicBezTo>
                    <a:pt x="112" y="244"/>
                    <a:pt x="113" y="241"/>
                    <a:pt x="110" y="240"/>
                  </a:cubicBezTo>
                  <a:cubicBezTo>
                    <a:pt x="108" y="240"/>
                    <a:pt x="103" y="235"/>
                    <a:pt x="102" y="234"/>
                  </a:cubicBezTo>
                  <a:cubicBezTo>
                    <a:pt x="102" y="232"/>
                    <a:pt x="98" y="232"/>
                    <a:pt x="99" y="231"/>
                  </a:cubicBezTo>
                  <a:cubicBezTo>
                    <a:pt x="101" y="230"/>
                    <a:pt x="104" y="231"/>
                    <a:pt x="106" y="233"/>
                  </a:cubicBezTo>
                  <a:cubicBezTo>
                    <a:pt x="108" y="235"/>
                    <a:pt x="111" y="237"/>
                    <a:pt x="117" y="238"/>
                  </a:cubicBezTo>
                  <a:cubicBezTo>
                    <a:pt x="123" y="239"/>
                    <a:pt x="125" y="241"/>
                    <a:pt x="131" y="242"/>
                  </a:cubicBezTo>
                  <a:cubicBezTo>
                    <a:pt x="137" y="244"/>
                    <a:pt x="141" y="244"/>
                    <a:pt x="150" y="246"/>
                  </a:cubicBezTo>
                  <a:cubicBezTo>
                    <a:pt x="159" y="247"/>
                    <a:pt x="171" y="238"/>
                    <a:pt x="173" y="235"/>
                  </a:cubicBezTo>
                  <a:cubicBezTo>
                    <a:pt x="176" y="233"/>
                    <a:pt x="172" y="228"/>
                    <a:pt x="172" y="226"/>
                  </a:cubicBezTo>
                  <a:cubicBezTo>
                    <a:pt x="172" y="224"/>
                    <a:pt x="168" y="224"/>
                    <a:pt x="168" y="222"/>
                  </a:cubicBezTo>
                  <a:cubicBezTo>
                    <a:pt x="167" y="221"/>
                    <a:pt x="165" y="218"/>
                    <a:pt x="161" y="218"/>
                  </a:cubicBezTo>
                  <a:cubicBezTo>
                    <a:pt x="158" y="218"/>
                    <a:pt x="157" y="214"/>
                    <a:pt x="154" y="215"/>
                  </a:cubicBezTo>
                  <a:cubicBezTo>
                    <a:pt x="152" y="215"/>
                    <a:pt x="150" y="213"/>
                    <a:pt x="143" y="209"/>
                  </a:cubicBezTo>
                  <a:cubicBezTo>
                    <a:pt x="136" y="204"/>
                    <a:pt x="126" y="200"/>
                    <a:pt x="124" y="201"/>
                  </a:cubicBezTo>
                  <a:cubicBezTo>
                    <a:pt x="122" y="202"/>
                    <a:pt x="121" y="203"/>
                    <a:pt x="120" y="201"/>
                  </a:cubicBezTo>
                  <a:cubicBezTo>
                    <a:pt x="119" y="199"/>
                    <a:pt x="116" y="199"/>
                    <a:pt x="114" y="201"/>
                  </a:cubicBezTo>
                  <a:cubicBezTo>
                    <a:pt x="112" y="202"/>
                    <a:pt x="110" y="199"/>
                    <a:pt x="107" y="200"/>
                  </a:cubicBezTo>
                  <a:cubicBezTo>
                    <a:pt x="103" y="201"/>
                    <a:pt x="101" y="199"/>
                    <a:pt x="102" y="198"/>
                  </a:cubicBezTo>
                  <a:cubicBezTo>
                    <a:pt x="103" y="196"/>
                    <a:pt x="108" y="197"/>
                    <a:pt x="108" y="196"/>
                  </a:cubicBezTo>
                  <a:cubicBezTo>
                    <a:pt x="108" y="194"/>
                    <a:pt x="106" y="196"/>
                    <a:pt x="103" y="193"/>
                  </a:cubicBezTo>
                  <a:cubicBezTo>
                    <a:pt x="99" y="191"/>
                    <a:pt x="98" y="193"/>
                    <a:pt x="97" y="195"/>
                  </a:cubicBezTo>
                  <a:cubicBezTo>
                    <a:pt x="96" y="196"/>
                    <a:pt x="94" y="196"/>
                    <a:pt x="92" y="194"/>
                  </a:cubicBezTo>
                  <a:cubicBezTo>
                    <a:pt x="92" y="194"/>
                    <a:pt x="92" y="194"/>
                    <a:pt x="91" y="194"/>
                  </a:cubicBezTo>
                  <a:cubicBezTo>
                    <a:pt x="91" y="197"/>
                    <a:pt x="89" y="197"/>
                    <a:pt x="87" y="197"/>
                  </a:cubicBezTo>
                  <a:cubicBezTo>
                    <a:pt x="85" y="196"/>
                    <a:pt x="83" y="200"/>
                    <a:pt x="81" y="200"/>
                  </a:cubicBezTo>
                  <a:cubicBezTo>
                    <a:pt x="78" y="200"/>
                    <a:pt x="76" y="203"/>
                    <a:pt x="75" y="205"/>
                  </a:cubicBezTo>
                  <a:cubicBezTo>
                    <a:pt x="75" y="207"/>
                    <a:pt x="72" y="206"/>
                    <a:pt x="72" y="207"/>
                  </a:cubicBezTo>
                  <a:cubicBezTo>
                    <a:pt x="72" y="208"/>
                    <a:pt x="72" y="210"/>
                    <a:pt x="71" y="211"/>
                  </a:cubicBezTo>
                  <a:cubicBezTo>
                    <a:pt x="70" y="213"/>
                    <a:pt x="71" y="213"/>
                    <a:pt x="72" y="216"/>
                  </a:cubicBezTo>
                  <a:cubicBezTo>
                    <a:pt x="73" y="218"/>
                    <a:pt x="76" y="218"/>
                    <a:pt x="77" y="219"/>
                  </a:cubicBezTo>
                  <a:cubicBezTo>
                    <a:pt x="78" y="219"/>
                    <a:pt x="83" y="223"/>
                    <a:pt x="83" y="225"/>
                  </a:cubicBezTo>
                  <a:cubicBezTo>
                    <a:pt x="83" y="226"/>
                    <a:pt x="79" y="230"/>
                    <a:pt x="78" y="231"/>
                  </a:cubicBezTo>
                  <a:cubicBezTo>
                    <a:pt x="76" y="232"/>
                    <a:pt x="75" y="234"/>
                    <a:pt x="75" y="235"/>
                  </a:cubicBezTo>
                  <a:cubicBezTo>
                    <a:pt x="76" y="237"/>
                    <a:pt x="80" y="243"/>
                    <a:pt x="83" y="247"/>
                  </a:cubicBezTo>
                  <a:cubicBezTo>
                    <a:pt x="86" y="252"/>
                    <a:pt x="82" y="250"/>
                    <a:pt x="80" y="252"/>
                  </a:cubicBezTo>
                  <a:cubicBezTo>
                    <a:pt x="79" y="254"/>
                    <a:pt x="81" y="257"/>
                    <a:pt x="82" y="258"/>
                  </a:cubicBezTo>
                  <a:cubicBezTo>
                    <a:pt x="82" y="260"/>
                    <a:pt x="80" y="260"/>
                    <a:pt x="80" y="261"/>
                  </a:cubicBezTo>
                  <a:cubicBezTo>
                    <a:pt x="80" y="262"/>
                    <a:pt x="84" y="262"/>
                    <a:pt x="84" y="263"/>
                  </a:cubicBezTo>
                  <a:cubicBezTo>
                    <a:pt x="84" y="264"/>
                    <a:pt x="81" y="266"/>
                    <a:pt x="83" y="267"/>
                  </a:cubicBezTo>
                  <a:cubicBezTo>
                    <a:pt x="84" y="269"/>
                    <a:pt x="87" y="269"/>
                    <a:pt x="87" y="272"/>
                  </a:cubicBezTo>
                  <a:cubicBezTo>
                    <a:pt x="87" y="274"/>
                    <a:pt x="82" y="274"/>
                    <a:pt x="82" y="276"/>
                  </a:cubicBezTo>
                  <a:cubicBezTo>
                    <a:pt x="82" y="278"/>
                    <a:pt x="89" y="281"/>
                    <a:pt x="92" y="284"/>
                  </a:cubicBezTo>
                  <a:cubicBezTo>
                    <a:pt x="95" y="288"/>
                    <a:pt x="95" y="289"/>
                    <a:pt x="94" y="291"/>
                  </a:cubicBezTo>
                  <a:cubicBezTo>
                    <a:pt x="93" y="294"/>
                    <a:pt x="84" y="298"/>
                    <a:pt x="82" y="302"/>
                  </a:cubicBezTo>
                  <a:cubicBezTo>
                    <a:pt x="80" y="306"/>
                    <a:pt x="73" y="309"/>
                    <a:pt x="70" y="312"/>
                  </a:cubicBezTo>
                  <a:cubicBezTo>
                    <a:pt x="69" y="313"/>
                    <a:pt x="67" y="315"/>
                    <a:pt x="66" y="317"/>
                  </a:cubicBezTo>
                  <a:cubicBezTo>
                    <a:pt x="68" y="316"/>
                    <a:pt x="69" y="316"/>
                    <a:pt x="70" y="316"/>
                  </a:cubicBezTo>
                  <a:cubicBezTo>
                    <a:pt x="71" y="315"/>
                    <a:pt x="73" y="319"/>
                    <a:pt x="75" y="321"/>
                  </a:cubicBezTo>
                  <a:cubicBezTo>
                    <a:pt x="77" y="322"/>
                    <a:pt x="80" y="321"/>
                    <a:pt x="82" y="322"/>
                  </a:cubicBezTo>
                  <a:cubicBezTo>
                    <a:pt x="83" y="324"/>
                    <a:pt x="81" y="324"/>
                    <a:pt x="78" y="323"/>
                  </a:cubicBezTo>
                  <a:cubicBezTo>
                    <a:pt x="75" y="323"/>
                    <a:pt x="74" y="325"/>
                    <a:pt x="70" y="326"/>
                  </a:cubicBezTo>
                  <a:cubicBezTo>
                    <a:pt x="67" y="327"/>
                    <a:pt x="67" y="328"/>
                    <a:pt x="66" y="329"/>
                  </a:cubicBezTo>
                  <a:cubicBezTo>
                    <a:pt x="68" y="332"/>
                    <a:pt x="66" y="332"/>
                    <a:pt x="65" y="334"/>
                  </a:cubicBezTo>
                  <a:cubicBezTo>
                    <a:pt x="63" y="337"/>
                    <a:pt x="62" y="337"/>
                    <a:pt x="62" y="339"/>
                  </a:cubicBezTo>
                  <a:cubicBezTo>
                    <a:pt x="62" y="340"/>
                    <a:pt x="62" y="341"/>
                    <a:pt x="62" y="343"/>
                  </a:cubicBezTo>
                  <a:cubicBezTo>
                    <a:pt x="63" y="345"/>
                    <a:pt x="63" y="346"/>
                    <a:pt x="64" y="347"/>
                  </a:cubicBezTo>
                  <a:cubicBezTo>
                    <a:pt x="65" y="349"/>
                    <a:pt x="63" y="349"/>
                    <a:pt x="62" y="350"/>
                  </a:cubicBezTo>
                  <a:cubicBezTo>
                    <a:pt x="61" y="351"/>
                    <a:pt x="62" y="353"/>
                    <a:pt x="63" y="354"/>
                  </a:cubicBezTo>
                  <a:cubicBezTo>
                    <a:pt x="65" y="356"/>
                    <a:pt x="65" y="358"/>
                    <a:pt x="64" y="359"/>
                  </a:cubicBezTo>
                  <a:cubicBezTo>
                    <a:pt x="63" y="360"/>
                    <a:pt x="65" y="362"/>
                    <a:pt x="67" y="364"/>
                  </a:cubicBezTo>
                  <a:cubicBezTo>
                    <a:pt x="68" y="365"/>
                    <a:pt x="68" y="368"/>
                    <a:pt x="69" y="369"/>
                  </a:cubicBezTo>
                  <a:cubicBezTo>
                    <a:pt x="70" y="370"/>
                    <a:pt x="71" y="371"/>
                    <a:pt x="73" y="370"/>
                  </a:cubicBezTo>
                  <a:cubicBezTo>
                    <a:pt x="75" y="370"/>
                    <a:pt x="76" y="371"/>
                    <a:pt x="77" y="372"/>
                  </a:cubicBezTo>
                  <a:cubicBezTo>
                    <a:pt x="78" y="374"/>
                    <a:pt x="79" y="373"/>
                    <a:pt x="81" y="372"/>
                  </a:cubicBezTo>
                  <a:cubicBezTo>
                    <a:pt x="83" y="371"/>
                    <a:pt x="88" y="374"/>
                    <a:pt x="89" y="374"/>
                  </a:cubicBezTo>
                  <a:cubicBezTo>
                    <a:pt x="90" y="375"/>
                    <a:pt x="89" y="378"/>
                    <a:pt x="90" y="380"/>
                  </a:cubicBezTo>
                  <a:cubicBezTo>
                    <a:pt x="90" y="382"/>
                    <a:pt x="88" y="384"/>
                    <a:pt x="90" y="386"/>
                  </a:cubicBezTo>
                  <a:cubicBezTo>
                    <a:pt x="92" y="387"/>
                    <a:pt x="92" y="390"/>
                    <a:pt x="94" y="391"/>
                  </a:cubicBezTo>
                  <a:cubicBezTo>
                    <a:pt x="96" y="392"/>
                    <a:pt x="97" y="395"/>
                    <a:pt x="99" y="395"/>
                  </a:cubicBezTo>
                  <a:cubicBezTo>
                    <a:pt x="100" y="395"/>
                    <a:pt x="103" y="398"/>
                    <a:pt x="103" y="399"/>
                  </a:cubicBezTo>
                  <a:cubicBezTo>
                    <a:pt x="104" y="401"/>
                    <a:pt x="101" y="402"/>
                    <a:pt x="99" y="403"/>
                  </a:cubicBezTo>
                  <a:cubicBezTo>
                    <a:pt x="98" y="404"/>
                    <a:pt x="95" y="401"/>
                    <a:pt x="93" y="402"/>
                  </a:cubicBezTo>
                  <a:cubicBezTo>
                    <a:pt x="92" y="403"/>
                    <a:pt x="94" y="406"/>
                    <a:pt x="95" y="410"/>
                  </a:cubicBezTo>
                  <a:cubicBezTo>
                    <a:pt x="96" y="413"/>
                    <a:pt x="96" y="414"/>
                    <a:pt x="98" y="414"/>
                  </a:cubicBezTo>
                  <a:cubicBezTo>
                    <a:pt x="100" y="414"/>
                    <a:pt x="101" y="413"/>
                    <a:pt x="102" y="412"/>
                  </a:cubicBezTo>
                  <a:cubicBezTo>
                    <a:pt x="103" y="411"/>
                    <a:pt x="106" y="412"/>
                    <a:pt x="107" y="412"/>
                  </a:cubicBezTo>
                  <a:cubicBezTo>
                    <a:pt x="108" y="411"/>
                    <a:pt x="113" y="411"/>
                    <a:pt x="114" y="412"/>
                  </a:cubicBezTo>
                  <a:cubicBezTo>
                    <a:pt x="115" y="414"/>
                    <a:pt x="116" y="417"/>
                    <a:pt x="115" y="418"/>
                  </a:cubicBezTo>
                  <a:cubicBezTo>
                    <a:pt x="114" y="420"/>
                    <a:pt x="116" y="421"/>
                    <a:pt x="117" y="423"/>
                  </a:cubicBezTo>
                  <a:cubicBezTo>
                    <a:pt x="118" y="425"/>
                    <a:pt x="121" y="424"/>
                    <a:pt x="123" y="424"/>
                  </a:cubicBezTo>
                  <a:cubicBezTo>
                    <a:pt x="124" y="425"/>
                    <a:pt x="127" y="429"/>
                    <a:pt x="126" y="431"/>
                  </a:cubicBezTo>
                  <a:cubicBezTo>
                    <a:pt x="126" y="432"/>
                    <a:pt x="128" y="433"/>
                    <a:pt x="129" y="432"/>
                  </a:cubicBezTo>
                  <a:cubicBezTo>
                    <a:pt x="130" y="432"/>
                    <a:pt x="132" y="433"/>
                    <a:pt x="133" y="434"/>
                  </a:cubicBezTo>
                  <a:cubicBezTo>
                    <a:pt x="134" y="435"/>
                    <a:pt x="136" y="434"/>
                    <a:pt x="137" y="434"/>
                  </a:cubicBezTo>
                  <a:cubicBezTo>
                    <a:pt x="139" y="433"/>
                    <a:pt x="141" y="432"/>
                    <a:pt x="142" y="433"/>
                  </a:cubicBezTo>
                  <a:cubicBezTo>
                    <a:pt x="142" y="434"/>
                    <a:pt x="145" y="437"/>
                    <a:pt x="145" y="438"/>
                  </a:cubicBezTo>
                  <a:cubicBezTo>
                    <a:pt x="145" y="438"/>
                    <a:pt x="150" y="438"/>
                    <a:pt x="152" y="439"/>
                  </a:cubicBezTo>
                  <a:cubicBezTo>
                    <a:pt x="154" y="440"/>
                    <a:pt x="156" y="439"/>
                    <a:pt x="159" y="440"/>
                  </a:cubicBezTo>
                  <a:cubicBezTo>
                    <a:pt x="161" y="442"/>
                    <a:pt x="163" y="442"/>
                    <a:pt x="163" y="443"/>
                  </a:cubicBezTo>
                  <a:cubicBezTo>
                    <a:pt x="163" y="445"/>
                    <a:pt x="161" y="446"/>
                    <a:pt x="161" y="447"/>
                  </a:cubicBezTo>
                  <a:cubicBezTo>
                    <a:pt x="161" y="447"/>
                    <a:pt x="163" y="448"/>
                    <a:pt x="163" y="449"/>
                  </a:cubicBezTo>
                  <a:cubicBezTo>
                    <a:pt x="163" y="450"/>
                    <a:pt x="160" y="450"/>
                    <a:pt x="160" y="451"/>
                  </a:cubicBezTo>
                  <a:cubicBezTo>
                    <a:pt x="160" y="452"/>
                    <a:pt x="161" y="453"/>
                    <a:pt x="162" y="454"/>
                  </a:cubicBezTo>
                  <a:cubicBezTo>
                    <a:pt x="162" y="455"/>
                    <a:pt x="160" y="458"/>
                    <a:pt x="160" y="459"/>
                  </a:cubicBezTo>
                  <a:cubicBezTo>
                    <a:pt x="160" y="460"/>
                    <a:pt x="155" y="459"/>
                    <a:pt x="154" y="459"/>
                  </a:cubicBezTo>
                  <a:cubicBezTo>
                    <a:pt x="152" y="459"/>
                    <a:pt x="149" y="463"/>
                    <a:pt x="147" y="463"/>
                  </a:cubicBezTo>
                  <a:cubicBezTo>
                    <a:pt x="146" y="463"/>
                    <a:pt x="147" y="465"/>
                    <a:pt x="147" y="467"/>
                  </a:cubicBezTo>
                  <a:cubicBezTo>
                    <a:pt x="151" y="466"/>
                    <a:pt x="155" y="466"/>
                    <a:pt x="156" y="466"/>
                  </a:cubicBezTo>
                  <a:cubicBezTo>
                    <a:pt x="156" y="468"/>
                    <a:pt x="147" y="472"/>
                    <a:pt x="146" y="472"/>
                  </a:cubicBezTo>
                  <a:cubicBezTo>
                    <a:pt x="144" y="473"/>
                    <a:pt x="149" y="475"/>
                    <a:pt x="149" y="477"/>
                  </a:cubicBezTo>
                  <a:cubicBezTo>
                    <a:pt x="149" y="478"/>
                    <a:pt x="143" y="479"/>
                    <a:pt x="144" y="481"/>
                  </a:cubicBezTo>
                  <a:cubicBezTo>
                    <a:pt x="144" y="484"/>
                    <a:pt x="142" y="485"/>
                    <a:pt x="139" y="485"/>
                  </a:cubicBezTo>
                  <a:cubicBezTo>
                    <a:pt x="137" y="485"/>
                    <a:pt x="136" y="487"/>
                    <a:pt x="137" y="487"/>
                  </a:cubicBezTo>
                  <a:cubicBezTo>
                    <a:pt x="139" y="487"/>
                    <a:pt x="139" y="491"/>
                    <a:pt x="144" y="492"/>
                  </a:cubicBezTo>
                  <a:cubicBezTo>
                    <a:pt x="149" y="493"/>
                    <a:pt x="154" y="498"/>
                    <a:pt x="159" y="503"/>
                  </a:cubicBezTo>
                  <a:cubicBezTo>
                    <a:pt x="159" y="503"/>
                    <a:pt x="160" y="504"/>
                    <a:pt x="161" y="504"/>
                  </a:cubicBezTo>
                  <a:cubicBezTo>
                    <a:pt x="162" y="504"/>
                    <a:pt x="163" y="503"/>
                    <a:pt x="164" y="503"/>
                  </a:cubicBezTo>
                  <a:cubicBezTo>
                    <a:pt x="166" y="503"/>
                    <a:pt x="171" y="504"/>
                    <a:pt x="173" y="506"/>
                  </a:cubicBezTo>
                  <a:cubicBezTo>
                    <a:pt x="176" y="508"/>
                    <a:pt x="185" y="505"/>
                    <a:pt x="186" y="507"/>
                  </a:cubicBezTo>
                  <a:cubicBezTo>
                    <a:pt x="187" y="508"/>
                    <a:pt x="189" y="510"/>
                    <a:pt x="191" y="510"/>
                  </a:cubicBezTo>
                  <a:cubicBezTo>
                    <a:pt x="193" y="510"/>
                    <a:pt x="194" y="514"/>
                    <a:pt x="196" y="513"/>
                  </a:cubicBezTo>
                  <a:cubicBezTo>
                    <a:pt x="197" y="512"/>
                    <a:pt x="203" y="512"/>
                    <a:pt x="204" y="512"/>
                  </a:cubicBezTo>
                  <a:cubicBezTo>
                    <a:pt x="205" y="512"/>
                    <a:pt x="205" y="513"/>
                    <a:pt x="207" y="513"/>
                  </a:cubicBezTo>
                  <a:cubicBezTo>
                    <a:pt x="208" y="513"/>
                    <a:pt x="208" y="518"/>
                    <a:pt x="209" y="518"/>
                  </a:cubicBezTo>
                  <a:cubicBezTo>
                    <a:pt x="210" y="517"/>
                    <a:pt x="214" y="521"/>
                    <a:pt x="217" y="521"/>
                  </a:cubicBezTo>
                  <a:cubicBezTo>
                    <a:pt x="219" y="522"/>
                    <a:pt x="222" y="526"/>
                    <a:pt x="223" y="525"/>
                  </a:cubicBezTo>
                  <a:cubicBezTo>
                    <a:pt x="224" y="525"/>
                    <a:pt x="226" y="527"/>
                    <a:pt x="226" y="525"/>
                  </a:cubicBezTo>
                  <a:cubicBezTo>
                    <a:pt x="227" y="524"/>
                    <a:pt x="231" y="525"/>
                    <a:pt x="232" y="522"/>
                  </a:cubicBezTo>
                  <a:cubicBezTo>
                    <a:pt x="227" y="516"/>
                    <a:pt x="222" y="510"/>
                    <a:pt x="222" y="508"/>
                  </a:cubicBezTo>
                  <a:cubicBezTo>
                    <a:pt x="223" y="504"/>
                    <a:pt x="224" y="501"/>
                    <a:pt x="219" y="497"/>
                  </a:cubicBezTo>
                  <a:cubicBezTo>
                    <a:pt x="214" y="492"/>
                    <a:pt x="220" y="490"/>
                    <a:pt x="223" y="485"/>
                  </a:cubicBezTo>
                  <a:cubicBezTo>
                    <a:pt x="227" y="481"/>
                    <a:pt x="233" y="479"/>
                    <a:pt x="238" y="476"/>
                  </a:cubicBezTo>
                  <a:cubicBezTo>
                    <a:pt x="237" y="476"/>
                    <a:pt x="236" y="475"/>
                    <a:pt x="235" y="475"/>
                  </a:cubicBezTo>
                  <a:cubicBezTo>
                    <a:pt x="232" y="473"/>
                    <a:pt x="231" y="472"/>
                    <a:pt x="233" y="471"/>
                  </a:cubicBezTo>
                  <a:cubicBezTo>
                    <a:pt x="236" y="471"/>
                    <a:pt x="235" y="469"/>
                    <a:pt x="232" y="466"/>
                  </a:cubicBezTo>
                  <a:cubicBezTo>
                    <a:pt x="230" y="463"/>
                    <a:pt x="229" y="461"/>
                    <a:pt x="227" y="461"/>
                  </a:cubicBezTo>
                  <a:cubicBezTo>
                    <a:pt x="226" y="461"/>
                    <a:pt x="224" y="460"/>
                    <a:pt x="221" y="461"/>
                  </a:cubicBezTo>
                  <a:cubicBezTo>
                    <a:pt x="219" y="462"/>
                    <a:pt x="220" y="459"/>
                    <a:pt x="220" y="457"/>
                  </a:cubicBezTo>
                  <a:cubicBezTo>
                    <a:pt x="220" y="454"/>
                    <a:pt x="216" y="454"/>
                    <a:pt x="215" y="453"/>
                  </a:cubicBezTo>
                  <a:cubicBezTo>
                    <a:pt x="215" y="452"/>
                    <a:pt x="217" y="449"/>
                    <a:pt x="217" y="448"/>
                  </a:cubicBezTo>
                  <a:cubicBezTo>
                    <a:pt x="218" y="448"/>
                    <a:pt x="220" y="447"/>
                    <a:pt x="220" y="446"/>
                  </a:cubicBezTo>
                  <a:cubicBezTo>
                    <a:pt x="220" y="445"/>
                    <a:pt x="216" y="444"/>
                    <a:pt x="218" y="442"/>
                  </a:cubicBezTo>
                  <a:cubicBezTo>
                    <a:pt x="219" y="439"/>
                    <a:pt x="222" y="439"/>
                    <a:pt x="222" y="437"/>
                  </a:cubicBezTo>
                  <a:cubicBezTo>
                    <a:pt x="222" y="434"/>
                    <a:pt x="224" y="432"/>
                    <a:pt x="226" y="434"/>
                  </a:cubicBezTo>
                  <a:cubicBezTo>
                    <a:pt x="229" y="436"/>
                    <a:pt x="230" y="441"/>
                    <a:pt x="233" y="439"/>
                  </a:cubicBezTo>
                  <a:cubicBezTo>
                    <a:pt x="236" y="438"/>
                    <a:pt x="234" y="436"/>
                    <a:pt x="234" y="434"/>
                  </a:cubicBezTo>
                  <a:cubicBezTo>
                    <a:pt x="233" y="433"/>
                    <a:pt x="233" y="431"/>
                    <a:pt x="236" y="430"/>
                  </a:cubicBezTo>
                  <a:cubicBezTo>
                    <a:pt x="239" y="429"/>
                    <a:pt x="238" y="426"/>
                    <a:pt x="240" y="426"/>
                  </a:cubicBezTo>
                  <a:cubicBezTo>
                    <a:pt x="243" y="426"/>
                    <a:pt x="247" y="423"/>
                    <a:pt x="249" y="422"/>
                  </a:cubicBezTo>
                  <a:cubicBezTo>
                    <a:pt x="250" y="422"/>
                    <a:pt x="253" y="420"/>
                    <a:pt x="255" y="421"/>
                  </a:cubicBezTo>
                  <a:cubicBezTo>
                    <a:pt x="256" y="421"/>
                    <a:pt x="258" y="423"/>
                    <a:pt x="259" y="421"/>
                  </a:cubicBezTo>
                  <a:cubicBezTo>
                    <a:pt x="260" y="418"/>
                    <a:pt x="264" y="419"/>
                    <a:pt x="265" y="421"/>
                  </a:cubicBezTo>
                  <a:cubicBezTo>
                    <a:pt x="265" y="422"/>
                    <a:pt x="272" y="422"/>
                    <a:pt x="274" y="423"/>
                  </a:cubicBezTo>
                  <a:cubicBezTo>
                    <a:pt x="276" y="425"/>
                    <a:pt x="281" y="428"/>
                    <a:pt x="281" y="429"/>
                  </a:cubicBezTo>
                  <a:cubicBezTo>
                    <a:pt x="281" y="431"/>
                    <a:pt x="283" y="433"/>
                    <a:pt x="283" y="430"/>
                  </a:cubicBezTo>
                  <a:cubicBezTo>
                    <a:pt x="283" y="428"/>
                    <a:pt x="285" y="428"/>
                    <a:pt x="287" y="430"/>
                  </a:cubicBezTo>
                  <a:cubicBezTo>
                    <a:pt x="290" y="432"/>
                    <a:pt x="294" y="431"/>
                    <a:pt x="295" y="429"/>
                  </a:cubicBezTo>
                  <a:cubicBezTo>
                    <a:pt x="296" y="428"/>
                    <a:pt x="301" y="426"/>
                    <a:pt x="303" y="427"/>
                  </a:cubicBezTo>
                  <a:cubicBezTo>
                    <a:pt x="305" y="428"/>
                    <a:pt x="305" y="429"/>
                    <a:pt x="307" y="427"/>
                  </a:cubicBezTo>
                  <a:cubicBezTo>
                    <a:pt x="310" y="425"/>
                    <a:pt x="315" y="426"/>
                    <a:pt x="315" y="428"/>
                  </a:cubicBezTo>
                  <a:cubicBezTo>
                    <a:pt x="316" y="430"/>
                    <a:pt x="319" y="430"/>
                    <a:pt x="321" y="430"/>
                  </a:cubicBezTo>
                  <a:cubicBezTo>
                    <a:pt x="323" y="430"/>
                    <a:pt x="323" y="433"/>
                    <a:pt x="325" y="433"/>
                  </a:cubicBezTo>
                  <a:cubicBezTo>
                    <a:pt x="326" y="432"/>
                    <a:pt x="326" y="428"/>
                    <a:pt x="327" y="429"/>
                  </a:cubicBezTo>
                  <a:cubicBezTo>
                    <a:pt x="329" y="429"/>
                    <a:pt x="331" y="431"/>
                    <a:pt x="333" y="431"/>
                  </a:cubicBezTo>
                  <a:cubicBezTo>
                    <a:pt x="336" y="431"/>
                    <a:pt x="338" y="431"/>
                    <a:pt x="338" y="428"/>
                  </a:cubicBezTo>
                  <a:cubicBezTo>
                    <a:pt x="338" y="426"/>
                    <a:pt x="338" y="423"/>
                    <a:pt x="336" y="423"/>
                  </a:cubicBezTo>
                  <a:cubicBezTo>
                    <a:pt x="335" y="423"/>
                    <a:pt x="333" y="421"/>
                    <a:pt x="331" y="421"/>
                  </a:cubicBezTo>
                  <a:cubicBezTo>
                    <a:pt x="329" y="421"/>
                    <a:pt x="326" y="417"/>
                    <a:pt x="329" y="417"/>
                  </a:cubicBezTo>
                  <a:cubicBezTo>
                    <a:pt x="331" y="416"/>
                    <a:pt x="334" y="414"/>
                    <a:pt x="333" y="412"/>
                  </a:cubicBezTo>
                  <a:cubicBezTo>
                    <a:pt x="333" y="411"/>
                    <a:pt x="332" y="407"/>
                    <a:pt x="335" y="407"/>
                  </a:cubicBezTo>
                  <a:cubicBezTo>
                    <a:pt x="338" y="406"/>
                    <a:pt x="344" y="406"/>
                    <a:pt x="343" y="405"/>
                  </a:cubicBezTo>
                  <a:cubicBezTo>
                    <a:pt x="343" y="404"/>
                    <a:pt x="337" y="403"/>
                    <a:pt x="336" y="402"/>
                  </a:cubicBezTo>
                  <a:cubicBezTo>
                    <a:pt x="335" y="400"/>
                    <a:pt x="335" y="396"/>
                    <a:pt x="336" y="395"/>
                  </a:cubicBezTo>
                  <a:cubicBezTo>
                    <a:pt x="337" y="394"/>
                    <a:pt x="341" y="395"/>
                    <a:pt x="343" y="395"/>
                  </a:cubicBezTo>
                  <a:cubicBezTo>
                    <a:pt x="345" y="394"/>
                    <a:pt x="350" y="396"/>
                    <a:pt x="352" y="393"/>
                  </a:cubicBezTo>
                  <a:cubicBezTo>
                    <a:pt x="355" y="391"/>
                    <a:pt x="361" y="391"/>
                    <a:pt x="365" y="391"/>
                  </a:cubicBezTo>
                  <a:cubicBezTo>
                    <a:pt x="368" y="391"/>
                    <a:pt x="370" y="389"/>
                    <a:pt x="373" y="388"/>
                  </a:cubicBezTo>
                  <a:cubicBezTo>
                    <a:pt x="375" y="388"/>
                    <a:pt x="382" y="387"/>
                    <a:pt x="384" y="386"/>
                  </a:cubicBezTo>
                  <a:cubicBezTo>
                    <a:pt x="386" y="386"/>
                    <a:pt x="396" y="384"/>
                    <a:pt x="396" y="382"/>
                  </a:cubicBezTo>
                  <a:cubicBezTo>
                    <a:pt x="396" y="381"/>
                    <a:pt x="404" y="379"/>
                    <a:pt x="406" y="380"/>
                  </a:cubicBezTo>
                  <a:cubicBezTo>
                    <a:pt x="408" y="381"/>
                    <a:pt x="410" y="382"/>
                    <a:pt x="412" y="381"/>
                  </a:cubicBezTo>
                  <a:cubicBezTo>
                    <a:pt x="414" y="380"/>
                    <a:pt x="418" y="382"/>
                    <a:pt x="417" y="384"/>
                  </a:cubicBezTo>
                  <a:cubicBezTo>
                    <a:pt x="417" y="386"/>
                    <a:pt x="419" y="388"/>
                    <a:pt x="419" y="390"/>
                  </a:cubicBezTo>
                  <a:cubicBezTo>
                    <a:pt x="419" y="392"/>
                    <a:pt x="417" y="392"/>
                    <a:pt x="418" y="393"/>
                  </a:cubicBezTo>
                  <a:cubicBezTo>
                    <a:pt x="419" y="395"/>
                    <a:pt x="424" y="394"/>
                    <a:pt x="425" y="392"/>
                  </a:cubicBezTo>
                  <a:cubicBezTo>
                    <a:pt x="427" y="390"/>
                    <a:pt x="428" y="393"/>
                    <a:pt x="428" y="394"/>
                  </a:cubicBezTo>
                  <a:cubicBezTo>
                    <a:pt x="428" y="395"/>
                    <a:pt x="431" y="396"/>
                    <a:pt x="431" y="395"/>
                  </a:cubicBezTo>
                  <a:cubicBezTo>
                    <a:pt x="431" y="393"/>
                    <a:pt x="433" y="394"/>
                    <a:pt x="434" y="395"/>
                  </a:cubicBezTo>
                  <a:cubicBezTo>
                    <a:pt x="435" y="396"/>
                    <a:pt x="439" y="394"/>
                    <a:pt x="439" y="396"/>
                  </a:cubicBezTo>
                  <a:cubicBezTo>
                    <a:pt x="439" y="397"/>
                    <a:pt x="434" y="399"/>
                    <a:pt x="436" y="401"/>
                  </a:cubicBezTo>
                  <a:cubicBezTo>
                    <a:pt x="438" y="403"/>
                    <a:pt x="439" y="398"/>
                    <a:pt x="442" y="399"/>
                  </a:cubicBezTo>
                  <a:cubicBezTo>
                    <a:pt x="444" y="400"/>
                    <a:pt x="448" y="396"/>
                    <a:pt x="450" y="396"/>
                  </a:cubicBezTo>
                  <a:cubicBezTo>
                    <a:pt x="453" y="395"/>
                    <a:pt x="456" y="393"/>
                    <a:pt x="458" y="392"/>
                  </a:cubicBezTo>
                  <a:cubicBezTo>
                    <a:pt x="460" y="390"/>
                    <a:pt x="465" y="391"/>
                    <a:pt x="463" y="392"/>
                  </a:cubicBezTo>
                  <a:cubicBezTo>
                    <a:pt x="462" y="394"/>
                    <a:pt x="460" y="396"/>
                    <a:pt x="465" y="398"/>
                  </a:cubicBezTo>
                  <a:cubicBezTo>
                    <a:pt x="471" y="400"/>
                    <a:pt x="477" y="411"/>
                    <a:pt x="480" y="416"/>
                  </a:cubicBezTo>
                  <a:cubicBezTo>
                    <a:pt x="484" y="421"/>
                    <a:pt x="487" y="430"/>
                    <a:pt x="489" y="430"/>
                  </a:cubicBezTo>
                  <a:cubicBezTo>
                    <a:pt x="490" y="430"/>
                    <a:pt x="491" y="426"/>
                    <a:pt x="493" y="425"/>
                  </a:cubicBezTo>
                  <a:cubicBezTo>
                    <a:pt x="496" y="425"/>
                    <a:pt x="497" y="429"/>
                    <a:pt x="500" y="429"/>
                  </a:cubicBezTo>
                  <a:cubicBezTo>
                    <a:pt x="502" y="430"/>
                    <a:pt x="505" y="431"/>
                    <a:pt x="507" y="431"/>
                  </a:cubicBezTo>
                  <a:cubicBezTo>
                    <a:pt x="509" y="430"/>
                    <a:pt x="514" y="428"/>
                    <a:pt x="515" y="428"/>
                  </a:cubicBezTo>
                  <a:cubicBezTo>
                    <a:pt x="517" y="429"/>
                    <a:pt x="519" y="429"/>
                    <a:pt x="521" y="433"/>
                  </a:cubicBezTo>
                  <a:cubicBezTo>
                    <a:pt x="522" y="436"/>
                    <a:pt x="524" y="437"/>
                    <a:pt x="526" y="437"/>
                  </a:cubicBezTo>
                  <a:cubicBezTo>
                    <a:pt x="527" y="437"/>
                    <a:pt x="527" y="438"/>
                    <a:pt x="527" y="440"/>
                  </a:cubicBezTo>
                  <a:cubicBezTo>
                    <a:pt x="527" y="441"/>
                    <a:pt x="530" y="443"/>
                    <a:pt x="531" y="443"/>
                  </a:cubicBezTo>
                  <a:cubicBezTo>
                    <a:pt x="533" y="443"/>
                    <a:pt x="537" y="443"/>
                    <a:pt x="538" y="442"/>
                  </a:cubicBezTo>
                  <a:cubicBezTo>
                    <a:pt x="539" y="441"/>
                    <a:pt x="540" y="441"/>
                    <a:pt x="541" y="442"/>
                  </a:cubicBezTo>
                  <a:cubicBezTo>
                    <a:pt x="541" y="444"/>
                    <a:pt x="543" y="446"/>
                    <a:pt x="544" y="446"/>
                  </a:cubicBezTo>
                  <a:cubicBezTo>
                    <a:pt x="546" y="446"/>
                    <a:pt x="549" y="448"/>
                    <a:pt x="549" y="446"/>
                  </a:cubicBezTo>
                  <a:cubicBezTo>
                    <a:pt x="549" y="445"/>
                    <a:pt x="553" y="445"/>
                    <a:pt x="554" y="444"/>
                  </a:cubicBezTo>
                  <a:cubicBezTo>
                    <a:pt x="556" y="444"/>
                    <a:pt x="561" y="443"/>
                    <a:pt x="562" y="441"/>
                  </a:cubicBezTo>
                  <a:cubicBezTo>
                    <a:pt x="563" y="439"/>
                    <a:pt x="567" y="439"/>
                    <a:pt x="568" y="437"/>
                  </a:cubicBezTo>
                  <a:cubicBezTo>
                    <a:pt x="569" y="436"/>
                    <a:pt x="572" y="435"/>
                    <a:pt x="573" y="434"/>
                  </a:cubicBezTo>
                  <a:cubicBezTo>
                    <a:pt x="574" y="432"/>
                    <a:pt x="578" y="433"/>
                    <a:pt x="579" y="432"/>
                  </a:cubicBezTo>
                  <a:cubicBezTo>
                    <a:pt x="579" y="430"/>
                    <a:pt x="583" y="430"/>
                    <a:pt x="584" y="431"/>
                  </a:cubicBezTo>
                  <a:cubicBezTo>
                    <a:pt x="586" y="431"/>
                    <a:pt x="594" y="433"/>
                    <a:pt x="596" y="432"/>
                  </a:cubicBezTo>
                  <a:cubicBezTo>
                    <a:pt x="597" y="432"/>
                    <a:pt x="597" y="437"/>
                    <a:pt x="598" y="437"/>
                  </a:cubicBezTo>
                  <a:cubicBezTo>
                    <a:pt x="599" y="437"/>
                    <a:pt x="604" y="441"/>
                    <a:pt x="605" y="440"/>
                  </a:cubicBezTo>
                  <a:cubicBezTo>
                    <a:pt x="606" y="439"/>
                    <a:pt x="609" y="438"/>
                    <a:pt x="611" y="439"/>
                  </a:cubicBezTo>
                  <a:cubicBezTo>
                    <a:pt x="614" y="441"/>
                    <a:pt x="616" y="442"/>
                    <a:pt x="617" y="441"/>
                  </a:cubicBezTo>
                  <a:cubicBezTo>
                    <a:pt x="618" y="439"/>
                    <a:pt x="623" y="438"/>
                    <a:pt x="624" y="437"/>
                  </a:cubicBezTo>
                  <a:cubicBezTo>
                    <a:pt x="624" y="437"/>
                    <a:pt x="625" y="434"/>
                    <a:pt x="624" y="433"/>
                  </a:cubicBezTo>
                  <a:cubicBezTo>
                    <a:pt x="623" y="432"/>
                    <a:pt x="621" y="428"/>
                    <a:pt x="621" y="426"/>
                  </a:cubicBezTo>
                  <a:cubicBezTo>
                    <a:pt x="621" y="424"/>
                    <a:pt x="624" y="424"/>
                    <a:pt x="624" y="422"/>
                  </a:cubicBezTo>
                  <a:cubicBezTo>
                    <a:pt x="625" y="420"/>
                    <a:pt x="628" y="420"/>
                    <a:pt x="629" y="419"/>
                  </a:cubicBezTo>
                  <a:cubicBezTo>
                    <a:pt x="630" y="418"/>
                    <a:pt x="630" y="416"/>
                    <a:pt x="631" y="417"/>
                  </a:cubicBezTo>
                  <a:cubicBezTo>
                    <a:pt x="633" y="417"/>
                    <a:pt x="637" y="418"/>
                    <a:pt x="637" y="419"/>
                  </a:cubicBezTo>
                  <a:cubicBezTo>
                    <a:pt x="638" y="420"/>
                    <a:pt x="641" y="420"/>
                    <a:pt x="642" y="420"/>
                  </a:cubicBezTo>
                  <a:cubicBezTo>
                    <a:pt x="644" y="420"/>
                    <a:pt x="647" y="422"/>
                    <a:pt x="648" y="422"/>
                  </a:cubicBezTo>
                  <a:cubicBezTo>
                    <a:pt x="650" y="423"/>
                    <a:pt x="655" y="423"/>
                    <a:pt x="656" y="425"/>
                  </a:cubicBezTo>
                  <a:cubicBezTo>
                    <a:pt x="657" y="426"/>
                    <a:pt x="656" y="430"/>
                    <a:pt x="657" y="432"/>
                  </a:cubicBezTo>
                  <a:cubicBezTo>
                    <a:pt x="658" y="433"/>
                    <a:pt x="661" y="436"/>
                    <a:pt x="662" y="436"/>
                  </a:cubicBezTo>
                  <a:cubicBezTo>
                    <a:pt x="663" y="435"/>
                    <a:pt x="668" y="438"/>
                    <a:pt x="669" y="438"/>
                  </a:cubicBezTo>
                  <a:cubicBezTo>
                    <a:pt x="671" y="437"/>
                    <a:pt x="674" y="435"/>
                    <a:pt x="675" y="435"/>
                  </a:cubicBezTo>
                  <a:cubicBezTo>
                    <a:pt x="676" y="435"/>
                    <a:pt x="681" y="434"/>
                    <a:pt x="682" y="434"/>
                  </a:cubicBezTo>
                  <a:cubicBezTo>
                    <a:pt x="684" y="434"/>
                    <a:pt x="689" y="436"/>
                    <a:pt x="690" y="436"/>
                  </a:cubicBezTo>
                  <a:cubicBezTo>
                    <a:pt x="690" y="435"/>
                    <a:pt x="695" y="436"/>
                    <a:pt x="696" y="437"/>
                  </a:cubicBezTo>
                  <a:cubicBezTo>
                    <a:pt x="697" y="439"/>
                    <a:pt x="703" y="439"/>
                    <a:pt x="703" y="440"/>
                  </a:cubicBezTo>
                  <a:cubicBezTo>
                    <a:pt x="703" y="442"/>
                    <a:pt x="706" y="443"/>
                    <a:pt x="707" y="445"/>
                  </a:cubicBezTo>
                  <a:cubicBezTo>
                    <a:pt x="708" y="447"/>
                    <a:pt x="716" y="446"/>
                    <a:pt x="717" y="447"/>
                  </a:cubicBezTo>
                  <a:cubicBezTo>
                    <a:pt x="718" y="448"/>
                    <a:pt x="728" y="448"/>
                    <a:pt x="728" y="447"/>
                  </a:cubicBezTo>
                  <a:cubicBezTo>
                    <a:pt x="728" y="446"/>
                    <a:pt x="737" y="445"/>
                    <a:pt x="738" y="444"/>
                  </a:cubicBezTo>
                  <a:cubicBezTo>
                    <a:pt x="740" y="443"/>
                    <a:pt x="744" y="443"/>
                    <a:pt x="745" y="442"/>
                  </a:cubicBezTo>
                  <a:cubicBezTo>
                    <a:pt x="745" y="440"/>
                    <a:pt x="749" y="439"/>
                    <a:pt x="751" y="437"/>
                  </a:cubicBezTo>
                  <a:cubicBezTo>
                    <a:pt x="753" y="436"/>
                    <a:pt x="761" y="436"/>
                    <a:pt x="761" y="438"/>
                  </a:cubicBezTo>
                  <a:cubicBezTo>
                    <a:pt x="762" y="440"/>
                    <a:pt x="766" y="440"/>
                    <a:pt x="768" y="439"/>
                  </a:cubicBezTo>
                  <a:cubicBezTo>
                    <a:pt x="770" y="439"/>
                    <a:pt x="775" y="440"/>
                    <a:pt x="776" y="441"/>
                  </a:cubicBezTo>
                  <a:cubicBezTo>
                    <a:pt x="776" y="443"/>
                    <a:pt x="782" y="444"/>
                    <a:pt x="783" y="443"/>
                  </a:cubicBezTo>
                  <a:cubicBezTo>
                    <a:pt x="785" y="443"/>
                    <a:pt x="789" y="440"/>
                    <a:pt x="791" y="439"/>
                  </a:cubicBezTo>
                  <a:cubicBezTo>
                    <a:pt x="793" y="439"/>
                    <a:pt x="795" y="437"/>
                    <a:pt x="795" y="436"/>
                  </a:cubicBezTo>
                  <a:cubicBezTo>
                    <a:pt x="794" y="434"/>
                    <a:pt x="798" y="429"/>
                    <a:pt x="798" y="427"/>
                  </a:cubicBezTo>
                  <a:cubicBezTo>
                    <a:pt x="799" y="426"/>
                    <a:pt x="802" y="420"/>
                    <a:pt x="803" y="420"/>
                  </a:cubicBezTo>
                  <a:cubicBezTo>
                    <a:pt x="805" y="419"/>
                    <a:pt x="807" y="417"/>
                    <a:pt x="807" y="416"/>
                  </a:cubicBezTo>
                  <a:cubicBezTo>
                    <a:pt x="807" y="414"/>
                    <a:pt x="806" y="410"/>
                    <a:pt x="805" y="410"/>
                  </a:cubicBezTo>
                  <a:cubicBezTo>
                    <a:pt x="803" y="410"/>
                    <a:pt x="801" y="410"/>
                    <a:pt x="804" y="406"/>
                  </a:cubicBezTo>
                  <a:cubicBezTo>
                    <a:pt x="807" y="401"/>
                    <a:pt x="813" y="403"/>
                    <a:pt x="814" y="403"/>
                  </a:cubicBezTo>
                  <a:cubicBezTo>
                    <a:pt x="815" y="403"/>
                    <a:pt x="823" y="401"/>
                    <a:pt x="826" y="402"/>
                  </a:cubicBezTo>
                  <a:cubicBezTo>
                    <a:pt x="829" y="403"/>
                    <a:pt x="831" y="401"/>
                    <a:pt x="835" y="403"/>
                  </a:cubicBezTo>
                  <a:cubicBezTo>
                    <a:pt x="839" y="405"/>
                    <a:pt x="844" y="404"/>
                    <a:pt x="845" y="406"/>
                  </a:cubicBezTo>
                  <a:cubicBezTo>
                    <a:pt x="846" y="408"/>
                    <a:pt x="851" y="409"/>
                    <a:pt x="850" y="412"/>
                  </a:cubicBezTo>
                  <a:cubicBezTo>
                    <a:pt x="849" y="415"/>
                    <a:pt x="853" y="413"/>
                    <a:pt x="854" y="419"/>
                  </a:cubicBezTo>
                  <a:cubicBezTo>
                    <a:pt x="855" y="425"/>
                    <a:pt x="858" y="426"/>
                    <a:pt x="859" y="429"/>
                  </a:cubicBezTo>
                  <a:cubicBezTo>
                    <a:pt x="859" y="432"/>
                    <a:pt x="863" y="437"/>
                    <a:pt x="863" y="438"/>
                  </a:cubicBezTo>
                  <a:cubicBezTo>
                    <a:pt x="862" y="440"/>
                    <a:pt x="862" y="443"/>
                    <a:pt x="866" y="443"/>
                  </a:cubicBezTo>
                  <a:cubicBezTo>
                    <a:pt x="870" y="443"/>
                    <a:pt x="873" y="446"/>
                    <a:pt x="874" y="446"/>
                  </a:cubicBezTo>
                  <a:cubicBezTo>
                    <a:pt x="874" y="445"/>
                    <a:pt x="879" y="447"/>
                    <a:pt x="882" y="449"/>
                  </a:cubicBezTo>
                  <a:cubicBezTo>
                    <a:pt x="884" y="452"/>
                    <a:pt x="888" y="451"/>
                    <a:pt x="887" y="453"/>
                  </a:cubicBezTo>
                  <a:cubicBezTo>
                    <a:pt x="887" y="456"/>
                    <a:pt x="889" y="458"/>
                    <a:pt x="889" y="460"/>
                  </a:cubicBezTo>
                  <a:cubicBezTo>
                    <a:pt x="889" y="462"/>
                    <a:pt x="894" y="464"/>
                    <a:pt x="897" y="463"/>
                  </a:cubicBezTo>
                  <a:cubicBezTo>
                    <a:pt x="900" y="463"/>
                    <a:pt x="903" y="464"/>
                    <a:pt x="904" y="461"/>
                  </a:cubicBezTo>
                  <a:cubicBezTo>
                    <a:pt x="905" y="459"/>
                    <a:pt x="910" y="460"/>
                    <a:pt x="912" y="459"/>
                  </a:cubicBezTo>
                  <a:cubicBezTo>
                    <a:pt x="913" y="457"/>
                    <a:pt x="918" y="456"/>
                    <a:pt x="918" y="460"/>
                  </a:cubicBezTo>
                  <a:cubicBezTo>
                    <a:pt x="918" y="465"/>
                    <a:pt x="921" y="466"/>
                    <a:pt x="918" y="467"/>
                  </a:cubicBezTo>
                  <a:cubicBezTo>
                    <a:pt x="916" y="468"/>
                    <a:pt x="915" y="475"/>
                    <a:pt x="914" y="477"/>
                  </a:cubicBezTo>
                  <a:cubicBezTo>
                    <a:pt x="913" y="480"/>
                    <a:pt x="910" y="481"/>
                    <a:pt x="909" y="483"/>
                  </a:cubicBezTo>
                  <a:cubicBezTo>
                    <a:pt x="909" y="486"/>
                    <a:pt x="906" y="486"/>
                    <a:pt x="906" y="489"/>
                  </a:cubicBezTo>
                  <a:cubicBezTo>
                    <a:pt x="906" y="491"/>
                    <a:pt x="901" y="490"/>
                    <a:pt x="898" y="489"/>
                  </a:cubicBezTo>
                  <a:cubicBezTo>
                    <a:pt x="896" y="487"/>
                    <a:pt x="894" y="492"/>
                    <a:pt x="892" y="492"/>
                  </a:cubicBezTo>
                  <a:cubicBezTo>
                    <a:pt x="890" y="492"/>
                    <a:pt x="890" y="496"/>
                    <a:pt x="891" y="497"/>
                  </a:cubicBezTo>
                  <a:cubicBezTo>
                    <a:pt x="891" y="499"/>
                    <a:pt x="890" y="501"/>
                    <a:pt x="891" y="504"/>
                  </a:cubicBezTo>
                  <a:cubicBezTo>
                    <a:pt x="892" y="506"/>
                    <a:pt x="891" y="508"/>
                    <a:pt x="892" y="512"/>
                  </a:cubicBezTo>
                  <a:cubicBezTo>
                    <a:pt x="895" y="510"/>
                    <a:pt x="897" y="508"/>
                    <a:pt x="898" y="508"/>
                  </a:cubicBezTo>
                  <a:cubicBezTo>
                    <a:pt x="901" y="508"/>
                    <a:pt x="904" y="513"/>
                    <a:pt x="908" y="513"/>
                  </a:cubicBezTo>
                  <a:cubicBezTo>
                    <a:pt x="911" y="513"/>
                    <a:pt x="926" y="503"/>
                    <a:pt x="926" y="502"/>
                  </a:cubicBezTo>
                  <a:cubicBezTo>
                    <a:pt x="926" y="500"/>
                    <a:pt x="935" y="492"/>
                    <a:pt x="939" y="487"/>
                  </a:cubicBezTo>
                  <a:cubicBezTo>
                    <a:pt x="943" y="483"/>
                    <a:pt x="949" y="476"/>
                    <a:pt x="951" y="471"/>
                  </a:cubicBezTo>
                  <a:cubicBezTo>
                    <a:pt x="952" y="468"/>
                    <a:pt x="958" y="462"/>
                    <a:pt x="960" y="460"/>
                  </a:cubicBezTo>
                  <a:cubicBezTo>
                    <a:pt x="961" y="458"/>
                    <a:pt x="962" y="457"/>
                    <a:pt x="965" y="452"/>
                  </a:cubicBezTo>
                  <a:cubicBezTo>
                    <a:pt x="967" y="446"/>
                    <a:pt x="967" y="432"/>
                    <a:pt x="968" y="431"/>
                  </a:cubicBezTo>
                  <a:cubicBezTo>
                    <a:pt x="969" y="430"/>
                    <a:pt x="968" y="427"/>
                    <a:pt x="970" y="426"/>
                  </a:cubicBezTo>
                  <a:cubicBezTo>
                    <a:pt x="971" y="424"/>
                    <a:pt x="970" y="422"/>
                    <a:pt x="973" y="420"/>
                  </a:cubicBezTo>
                  <a:cubicBezTo>
                    <a:pt x="975" y="418"/>
                    <a:pt x="974" y="416"/>
                    <a:pt x="974" y="415"/>
                  </a:cubicBezTo>
                  <a:cubicBezTo>
                    <a:pt x="973" y="413"/>
                    <a:pt x="974" y="410"/>
                    <a:pt x="973" y="408"/>
                  </a:cubicBezTo>
                  <a:cubicBezTo>
                    <a:pt x="973" y="407"/>
                    <a:pt x="973" y="407"/>
                    <a:pt x="974" y="406"/>
                  </a:cubicBezTo>
                  <a:cubicBezTo>
                    <a:pt x="976" y="405"/>
                    <a:pt x="973" y="403"/>
                    <a:pt x="971" y="402"/>
                  </a:cubicBezTo>
                  <a:cubicBezTo>
                    <a:pt x="969" y="401"/>
                    <a:pt x="967" y="400"/>
                    <a:pt x="967" y="398"/>
                  </a:cubicBezTo>
                  <a:cubicBezTo>
                    <a:pt x="966" y="396"/>
                    <a:pt x="963" y="393"/>
                    <a:pt x="960" y="393"/>
                  </a:cubicBezTo>
                  <a:cubicBezTo>
                    <a:pt x="958" y="394"/>
                    <a:pt x="953" y="392"/>
                    <a:pt x="953" y="394"/>
                  </a:cubicBezTo>
                  <a:cubicBezTo>
                    <a:pt x="954" y="395"/>
                    <a:pt x="953" y="397"/>
                    <a:pt x="952" y="396"/>
                  </a:cubicBezTo>
                  <a:cubicBezTo>
                    <a:pt x="950" y="396"/>
                    <a:pt x="950" y="397"/>
                    <a:pt x="948" y="399"/>
                  </a:cubicBezTo>
                  <a:cubicBezTo>
                    <a:pt x="947" y="402"/>
                    <a:pt x="941" y="402"/>
                    <a:pt x="944" y="400"/>
                  </a:cubicBezTo>
                  <a:cubicBezTo>
                    <a:pt x="946" y="398"/>
                    <a:pt x="943" y="397"/>
                    <a:pt x="943" y="395"/>
                  </a:cubicBezTo>
                  <a:cubicBezTo>
                    <a:pt x="944" y="393"/>
                    <a:pt x="946" y="390"/>
                    <a:pt x="943" y="392"/>
                  </a:cubicBezTo>
                  <a:cubicBezTo>
                    <a:pt x="940" y="393"/>
                    <a:pt x="940" y="397"/>
                    <a:pt x="938" y="398"/>
                  </a:cubicBezTo>
                  <a:cubicBezTo>
                    <a:pt x="936" y="398"/>
                    <a:pt x="937" y="391"/>
                    <a:pt x="937" y="389"/>
                  </a:cubicBezTo>
                  <a:cubicBezTo>
                    <a:pt x="938" y="388"/>
                    <a:pt x="933" y="389"/>
                    <a:pt x="928" y="389"/>
                  </a:cubicBezTo>
                  <a:cubicBezTo>
                    <a:pt x="923" y="389"/>
                    <a:pt x="924" y="385"/>
                    <a:pt x="928" y="383"/>
                  </a:cubicBezTo>
                  <a:cubicBezTo>
                    <a:pt x="933" y="381"/>
                    <a:pt x="932" y="379"/>
                    <a:pt x="934" y="378"/>
                  </a:cubicBezTo>
                  <a:cubicBezTo>
                    <a:pt x="936" y="377"/>
                    <a:pt x="941" y="374"/>
                    <a:pt x="944" y="372"/>
                  </a:cubicBezTo>
                  <a:cubicBezTo>
                    <a:pt x="947" y="370"/>
                    <a:pt x="948" y="368"/>
                    <a:pt x="949" y="366"/>
                  </a:cubicBezTo>
                  <a:cubicBezTo>
                    <a:pt x="949" y="364"/>
                    <a:pt x="955" y="362"/>
                    <a:pt x="960" y="358"/>
                  </a:cubicBezTo>
                  <a:cubicBezTo>
                    <a:pt x="965" y="353"/>
                    <a:pt x="968" y="351"/>
                    <a:pt x="969" y="349"/>
                  </a:cubicBezTo>
                  <a:cubicBezTo>
                    <a:pt x="970" y="346"/>
                    <a:pt x="978" y="343"/>
                    <a:pt x="978" y="341"/>
                  </a:cubicBezTo>
                  <a:cubicBezTo>
                    <a:pt x="978" y="339"/>
                    <a:pt x="987" y="334"/>
                    <a:pt x="993" y="333"/>
                  </a:cubicBezTo>
                  <a:cubicBezTo>
                    <a:pt x="999" y="332"/>
                    <a:pt x="1009" y="334"/>
                    <a:pt x="1010" y="335"/>
                  </a:cubicBezTo>
                  <a:cubicBezTo>
                    <a:pt x="1012" y="337"/>
                    <a:pt x="1013" y="336"/>
                    <a:pt x="1015" y="335"/>
                  </a:cubicBezTo>
                  <a:cubicBezTo>
                    <a:pt x="1016" y="334"/>
                    <a:pt x="1018" y="335"/>
                    <a:pt x="1022" y="335"/>
                  </a:cubicBezTo>
                  <a:cubicBezTo>
                    <a:pt x="1026" y="336"/>
                    <a:pt x="1027" y="333"/>
                    <a:pt x="1030" y="334"/>
                  </a:cubicBezTo>
                  <a:cubicBezTo>
                    <a:pt x="1032" y="335"/>
                    <a:pt x="1035" y="335"/>
                    <a:pt x="1036" y="332"/>
                  </a:cubicBezTo>
                  <a:cubicBezTo>
                    <a:pt x="1038" y="329"/>
                    <a:pt x="1046" y="330"/>
                    <a:pt x="1048" y="331"/>
                  </a:cubicBezTo>
                  <a:cubicBezTo>
                    <a:pt x="1050" y="332"/>
                    <a:pt x="1051" y="334"/>
                    <a:pt x="1054" y="332"/>
                  </a:cubicBezTo>
                  <a:cubicBezTo>
                    <a:pt x="1057" y="330"/>
                    <a:pt x="1057" y="334"/>
                    <a:pt x="1059" y="335"/>
                  </a:cubicBezTo>
                  <a:cubicBezTo>
                    <a:pt x="1062" y="335"/>
                    <a:pt x="1060" y="338"/>
                    <a:pt x="1058" y="337"/>
                  </a:cubicBezTo>
                  <a:cubicBezTo>
                    <a:pt x="1056" y="337"/>
                    <a:pt x="1053" y="339"/>
                    <a:pt x="1055" y="340"/>
                  </a:cubicBezTo>
                  <a:cubicBezTo>
                    <a:pt x="1058" y="342"/>
                    <a:pt x="1061" y="339"/>
                    <a:pt x="1063" y="339"/>
                  </a:cubicBezTo>
                  <a:cubicBezTo>
                    <a:pt x="1066" y="339"/>
                    <a:pt x="1069" y="339"/>
                    <a:pt x="1072" y="337"/>
                  </a:cubicBezTo>
                  <a:cubicBezTo>
                    <a:pt x="1075" y="336"/>
                    <a:pt x="1076" y="339"/>
                    <a:pt x="1078" y="337"/>
                  </a:cubicBezTo>
                  <a:cubicBezTo>
                    <a:pt x="1079" y="336"/>
                    <a:pt x="1084" y="335"/>
                    <a:pt x="1086" y="335"/>
                  </a:cubicBezTo>
                  <a:cubicBezTo>
                    <a:pt x="1088" y="335"/>
                    <a:pt x="1086" y="333"/>
                    <a:pt x="1083" y="333"/>
                  </a:cubicBezTo>
                  <a:cubicBezTo>
                    <a:pt x="1079" y="333"/>
                    <a:pt x="1079" y="331"/>
                    <a:pt x="1082" y="326"/>
                  </a:cubicBezTo>
                  <a:cubicBezTo>
                    <a:pt x="1085" y="321"/>
                    <a:pt x="1090" y="319"/>
                    <a:pt x="1094" y="316"/>
                  </a:cubicBezTo>
                  <a:cubicBezTo>
                    <a:pt x="1097" y="313"/>
                    <a:pt x="1100" y="314"/>
                    <a:pt x="1100" y="312"/>
                  </a:cubicBezTo>
                  <a:cubicBezTo>
                    <a:pt x="1100" y="310"/>
                    <a:pt x="1101" y="305"/>
                    <a:pt x="1104" y="305"/>
                  </a:cubicBezTo>
                  <a:cubicBezTo>
                    <a:pt x="1107" y="305"/>
                    <a:pt x="1113" y="306"/>
                    <a:pt x="1117" y="304"/>
                  </a:cubicBezTo>
                  <a:cubicBezTo>
                    <a:pt x="1121" y="301"/>
                    <a:pt x="1121" y="305"/>
                    <a:pt x="1123" y="306"/>
                  </a:cubicBezTo>
                  <a:cubicBezTo>
                    <a:pt x="1124" y="306"/>
                    <a:pt x="1127" y="302"/>
                    <a:pt x="1128" y="304"/>
                  </a:cubicBezTo>
                  <a:cubicBezTo>
                    <a:pt x="1130" y="305"/>
                    <a:pt x="1126" y="308"/>
                    <a:pt x="1125" y="311"/>
                  </a:cubicBezTo>
                  <a:cubicBezTo>
                    <a:pt x="1123" y="315"/>
                    <a:pt x="1127" y="313"/>
                    <a:pt x="1129" y="314"/>
                  </a:cubicBezTo>
                  <a:cubicBezTo>
                    <a:pt x="1131" y="315"/>
                    <a:pt x="1126" y="317"/>
                    <a:pt x="1127" y="317"/>
                  </a:cubicBezTo>
                  <a:cubicBezTo>
                    <a:pt x="1127" y="318"/>
                    <a:pt x="1131" y="318"/>
                    <a:pt x="1137" y="313"/>
                  </a:cubicBezTo>
                  <a:cubicBezTo>
                    <a:pt x="1142" y="308"/>
                    <a:pt x="1147" y="307"/>
                    <a:pt x="1150" y="307"/>
                  </a:cubicBezTo>
                  <a:cubicBezTo>
                    <a:pt x="1153" y="307"/>
                    <a:pt x="1151" y="304"/>
                    <a:pt x="1152" y="299"/>
                  </a:cubicBezTo>
                  <a:cubicBezTo>
                    <a:pt x="1152" y="294"/>
                    <a:pt x="1162" y="293"/>
                    <a:pt x="1165" y="294"/>
                  </a:cubicBezTo>
                  <a:cubicBezTo>
                    <a:pt x="1169" y="296"/>
                    <a:pt x="1169" y="297"/>
                    <a:pt x="1165" y="296"/>
                  </a:cubicBezTo>
                  <a:cubicBezTo>
                    <a:pt x="1162" y="295"/>
                    <a:pt x="1159" y="298"/>
                    <a:pt x="1159" y="302"/>
                  </a:cubicBezTo>
                  <a:cubicBezTo>
                    <a:pt x="1159" y="306"/>
                    <a:pt x="1156" y="308"/>
                    <a:pt x="1158" y="309"/>
                  </a:cubicBezTo>
                  <a:cubicBezTo>
                    <a:pt x="1159" y="311"/>
                    <a:pt x="1156" y="311"/>
                    <a:pt x="1156" y="313"/>
                  </a:cubicBezTo>
                  <a:cubicBezTo>
                    <a:pt x="1155" y="314"/>
                    <a:pt x="1156" y="316"/>
                    <a:pt x="1153" y="316"/>
                  </a:cubicBezTo>
                  <a:cubicBezTo>
                    <a:pt x="1151" y="317"/>
                    <a:pt x="1143" y="318"/>
                    <a:pt x="1143" y="321"/>
                  </a:cubicBezTo>
                  <a:cubicBezTo>
                    <a:pt x="1142" y="324"/>
                    <a:pt x="1138" y="324"/>
                    <a:pt x="1136" y="328"/>
                  </a:cubicBezTo>
                  <a:cubicBezTo>
                    <a:pt x="1134" y="332"/>
                    <a:pt x="1126" y="334"/>
                    <a:pt x="1121" y="342"/>
                  </a:cubicBezTo>
                  <a:cubicBezTo>
                    <a:pt x="1116" y="349"/>
                    <a:pt x="1108" y="349"/>
                    <a:pt x="1108" y="351"/>
                  </a:cubicBezTo>
                  <a:cubicBezTo>
                    <a:pt x="1108" y="352"/>
                    <a:pt x="1102" y="352"/>
                    <a:pt x="1101" y="352"/>
                  </a:cubicBezTo>
                  <a:cubicBezTo>
                    <a:pt x="1099" y="353"/>
                    <a:pt x="1102" y="357"/>
                    <a:pt x="1098" y="362"/>
                  </a:cubicBezTo>
                  <a:cubicBezTo>
                    <a:pt x="1093" y="367"/>
                    <a:pt x="1090" y="374"/>
                    <a:pt x="1090" y="381"/>
                  </a:cubicBezTo>
                  <a:cubicBezTo>
                    <a:pt x="1091" y="387"/>
                    <a:pt x="1093" y="407"/>
                    <a:pt x="1095" y="410"/>
                  </a:cubicBezTo>
                  <a:cubicBezTo>
                    <a:pt x="1097" y="414"/>
                    <a:pt x="1096" y="422"/>
                    <a:pt x="1097" y="424"/>
                  </a:cubicBezTo>
                  <a:cubicBezTo>
                    <a:pt x="1099" y="426"/>
                    <a:pt x="1098" y="429"/>
                    <a:pt x="1099" y="430"/>
                  </a:cubicBezTo>
                  <a:cubicBezTo>
                    <a:pt x="1101" y="431"/>
                    <a:pt x="1105" y="425"/>
                    <a:pt x="1108" y="423"/>
                  </a:cubicBezTo>
                  <a:cubicBezTo>
                    <a:pt x="1111" y="420"/>
                    <a:pt x="1110" y="419"/>
                    <a:pt x="1112" y="418"/>
                  </a:cubicBezTo>
                  <a:cubicBezTo>
                    <a:pt x="1114" y="417"/>
                    <a:pt x="1113" y="411"/>
                    <a:pt x="1114" y="410"/>
                  </a:cubicBezTo>
                  <a:cubicBezTo>
                    <a:pt x="1114" y="408"/>
                    <a:pt x="1118" y="408"/>
                    <a:pt x="1119" y="406"/>
                  </a:cubicBezTo>
                  <a:cubicBezTo>
                    <a:pt x="1120" y="405"/>
                    <a:pt x="1123" y="405"/>
                    <a:pt x="1125" y="405"/>
                  </a:cubicBezTo>
                  <a:cubicBezTo>
                    <a:pt x="1127" y="404"/>
                    <a:pt x="1125" y="400"/>
                    <a:pt x="1124" y="398"/>
                  </a:cubicBezTo>
                  <a:cubicBezTo>
                    <a:pt x="1124" y="396"/>
                    <a:pt x="1129" y="393"/>
                    <a:pt x="1132" y="391"/>
                  </a:cubicBezTo>
                  <a:cubicBezTo>
                    <a:pt x="1135" y="389"/>
                    <a:pt x="1139" y="392"/>
                    <a:pt x="1142" y="389"/>
                  </a:cubicBezTo>
                  <a:cubicBezTo>
                    <a:pt x="1145" y="386"/>
                    <a:pt x="1142" y="383"/>
                    <a:pt x="1140" y="381"/>
                  </a:cubicBezTo>
                  <a:cubicBezTo>
                    <a:pt x="1139" y="380"/>
                    <a:pt x="1144" y="372"/>
                    <a:pt x="1146" y="371"/>
                  </a:cubicBezTo>
                  <a:cubicBezTo>
                    <a:pt x="1149" y="371"/>
                    <a:pt x="1150" y="373"/>
                    <a:pt x="1152" y="371"/>
                  </a:cubicBezTo>
                  <a:cubicBezTo>
                    <a:pt x="1155" y="369"/>
                    <a:pt x="1150" y="365"/>
                    <a:pt x="1148" y="366"/>
                  </a:cubicBezTo>
                  <a:cubicBezTo>
                    <a:pt x="1147" y="366"/>
                    <a:pt x="1146" y="360"/>
                    <a:pt x="1150" y="357"/>
                  </a:cubicBezTo>
                  <a:cubicBezTo>
                    <a:pt x="1154" y="354"/>
                    <a:pt x="1152" y="353"/>
                    <a:pt x="1150" y="352"/>
                  </a:cubicBezTo>
                  <a:cubicBezTo>
                    <a:pt x="1147" y="352"/>
                    <a:pt x="1147" y="353"/>
                    <a:pt x="1145" y="353"/>
                  </a:cubicBezTo>
                  <a:cubicBezTo>
                    <a:pt x="1143" y="353"/>
                    <a:pt x="1141" y="349"/>
                    <a:pt x="1144" y="344"/>
                  </a:cubicBezTo>
                  <a:cubicBezTo>
                    <a:pt x="1147" y="340"/>
                    <a:pt x="1150" y="341"/>
                    <a:pt x="1151" y="337"/>
                  </a:cubicBezTo>
                  <a:cubicBezTo>
                    <a:pt x="1151" y="334"/>
                    <a:pt x="1156" y="329"/>
                    <a:pt x="1157" y="327"/>
                  </a:cubicBezTo>
                  <a:cubicBezTo>
                    <a:pt x="1158" y="325"/>
                    <a:pt x="1162" y="327"/>
                    <a:pt x="1164" y="327"/>
                  </a:cubicBezTo>
                  <a:cubicBezTo>
                    <a:pt x="1165" y="326"/>
                    <a:pt x="1165" y="330"/>
                    <a:pt x="1167" y="328"/>
                  </a:cubicBezTo>
                  <a:cubicBezTo>
                    <a:pt x="1169" y="326"/>
                    <a:pt x="1172" y="320"/>
                    <a:pt x="1175" y="320"/>
                  </a:cubicBezTo>
                  <a:cubicBezTo>
                    <a:pt x="1178" y="320"/>
                    <a:pt x="1176" y="325"/>
                    <a:pt x="1176" y="327"/>
                  </a:cubicBezTo>
                  <a:cubicBezTo>
                    <a:pt x="1177" y="330"/>
                    <a:pt x="1179" y="327"/>
                    <a:pt x="1184" y="323"/>
                  </a:cubicBezTo>
                  <a:cubicBezTo>
                    <a:pt x="1189" y="320"/>
                    <a:pt x="1201" y="320"/>
                    <a:pt x="1204" y="322"/>
                  </a:cubicBezTo>
                  <a:cubicBezTo>
                    <a:pt x="1208" y="323"/>
                    <a:pt x="1208" y="327"/>
                    <a:pt x="1210" y="327"/>
                  </a:cubicBezTo>
                  <a:cubicBezTo>
                    <a:pt x="1213" y="326"/>
                    <a:pt x="1210" y="323"/>
                    <a:pt x="1213" y="322"/>
                  </a:cubicBezTo>
                  <a:cubicBezTo>
                    <a:pt x="1216" y="321"/>
                    <a:pt x="1221" y="318"/>
                    <a:pt x="1225" y="315"/>
                  </a:cubicBezTo>
                  <a:cubicBezTo>
                    <a:pt x="1229" y="313"/>
                    <a:pt x="1228" y="315"/>
                    <a:pt x="1230" y="312"/>
                  </a:cubicBezTo>
                  <a:cubicBezTo>
                    <a:pt x="1232" y="310"/>
                    <a:pt x="1234" y="311"/>
                    <a:pt x="1234" y="309"/>
                  </a:cubicBezTo>
                  <a:cubicBezTo>
                    <a:pt x="1235" y="308"/>
                    <a:pt x="1240" y="305"/>
                    <a:pt x="1248" y="303"/>
                  </a:cubicBezTo>
                  <a:cubicBezTo>
                    <a:pt x="1255" y="301"/>
                    <a:pt x="1265" y="296"/>
                    <a:pt x="1265" y="295"/>
                  </a:cubicBezTo>
                  <a:cubicBezTo>
                    <a:pt x="1264" y="293"/>
                    <a:pt x="1268" y="293"/>
                    <a:pt x="1268" y="294"/>
                  </a:cubicBezTo>
                  <a:cubicBezTo>
                    <a:pt x="1268" y="296"/>
                    <a:pt x="1271" y="295"/>
                    <a:pt x="1275" y="296"/>
                  </a:cubicBezTo>
                  <a:cubicBezTo>
                    <a:pt x="1279" y="297"/>
                    <a:pt x="1281" y="298"/>
                    <a:pt x="1284" y="295"/>
                  </a:cubicBezTo>
                  <a:cubicBezTo>
                    <a:pt x="1287" y="292"/>
                    <a:pt x="1283" y="291"/>
                    <a:pt x="1284" y="289"/>
                  </a:cubicBezTo>
                  <a:cubicBezTo>
                    <a:pt x="1284" y="286"/>
                    <a:pt x="1278" y="284"/>
                    <a:pt x="1279" y="281"/>
                  </a:cubicBezTo>
                  <a:cubicBezTo>
                    <a:pt x="1280" y="279"/>
                    <a:pt x="1275" y="272"/>
                    <a:pt x="1274" y="274"/>
                  </a:cubicBezTo>
                  <a:cubicBezTo>
                    <a:pt x="1272" y="275"/>
                    <a:pt x="1269" y="272"/>
                    <a:pt x="1269" y="271"/>
                  </a:cubicBezTo>
                  <a:cubicBezTo>
                    <a:pt x="1269" y="269"/>
                    <a:pt x="1269" y="266"/>
                    <a:pt x="1266" y="268"/>
                  </a:cubicBezTo>
                  <a:cubicBezTo>
                    <a:pt x="1264" y="269"/>
                    <a:pt x="1260" y="269"/>
                    <a:pt x="1259" y="266"/>
                  </a:cubicBezTo>
                  <a:cubicBezTo>
                    <a:pt x="1259" y="264"/>
                    <a:pt x="1264" y="263"/>
                    <a:pt x="1267" y="264"/>
                  </a:cubicBezTo>
                  <a:cubicBezTo>
                    <a:pt x="1271" y="266"/>
                    <a:pt x="1270" y="267"/>
                    <a:pt x="1272" y="268"/>
                  </a:cubicBezTo>
                  <a:cubicBezTo>
                    <a:pt x="1274" y="269"/>
                    <a:pt x="1278" y="269"/>
                    <a:pt x="1281" y="267"/>
                  </a:cubicBezTo>
                  <a:cubicBezTo>
                    <a:pt x="1283" y="266"/>
                    <a:pt x="1290" y="264"/>
                    <a:pt x="1292" y="262"/>
                  </a:cubicBezTo>
                  <a:cubicBezTo>
                    <a:pt x="1293" y="260"/>
                    <a:pt x="1291" y="259"/>
                    <a:pt x="1294" y="258"/>
                  </a:cubicBezTo>
                  <a:cubicBezTo>
                    <a:pt x="1296" y="257"/>
                    <a:pt x="1294" y="254"/>
                    <a:pt x="1292" y="253"/>
                  </a:cubicBezTo>
                  <a:cubicBezTo>
                    <a:pt x="1290" y="252"/>
                    <a:pt x="1291" y="249"/>
                    <a:pt x="1293" y="249"/>
                  </a:cubicBezTo>
                  <a:cubicBezTo>
                    <a:pt x="1295" y="249"/>
                    <a:pt x="1295" y="247"/>
                    <a:pt x="1296" y="247"/>
                  </a:cubicBezTo>
                  <a:cubicBezTo>
                    <a:pt x="1297" y="246"/>
                    <a:pt x="1298" y="248"/>
                    <a:pt x="1300" y="246"/>
                  </a:cubicBezTo>
                  <a:cubicBezTo>
                    <a:pt x="1303" y="245"/>
                    <a:pt x="1300" y="248"/>
                    <a:pt x="1299" y="251"/>
                  </a:cubicBezTo>
                  <a:cubicBezTo>
                    <a:pt x="1298" y="253"/>
                    <a:pt x="1302" y="255"/>
                    <a:pt x="1302" y="256"/>
                  </a:cubicBezTo>
                  <a:cubicBezTo>
                    <a:pt x="1302" y="257"/>
                    <a:pt x="1308" y="258"/>
                    <a:pt x="1310" y="256"/>
                  </a:cubicBezTo>
                  <a:cubicBezTo>
                    <a:pt x="1313" y="255"/>
                    <a:pt x="1322" y="258"/>
                    <a:pt x="1323" y="260"/>
                  </a:cubicBezTo>
                  <a:cubicBezTo>
                    <a:pt x="1324" y="263"/>
                    <a:pt x="1325" y="265"/>
                    <a:pt x="1329" y="267"/>
                  </a:cubicBezTo>
                  <a:cubicBezTo>
                    <a:pt x="1332" y="269"/>
                    <a:pt x="1336" y="268"/>
                    <a:pt x="1337" y="270"/>
                  </a:cubicBezTo>
                  <a:cubicBezTo>
                    <a:pt x="1337" y="272"/>
                    <a:pt x="1339" y="273"/>
                    <a:pt x="1341" y="272"/>
                  </a:cubicBezTo>
                  <a:cubicBezTo>
                    <a:pt x="1343" y="272"/>
                    <a:pt x="1344" y="274"/>
                    <a:pt x="1346" y="273"/>
                  </a:cubicBezTo>
                  <a:cubicBezTo>
                    <a:pt x="1347" y="271"/>
                    <a:pt x="1348" y="274"/>
                    <a:pt x="1350" y="272"/>
                  </a:cubicBezTo>
                  <a:cubicBezTo>
                    <a:pt x="1352" y="270"/>
                    <a:pt x="1346" y="269"/>
                    <a:pt x="1347" y="268"/>
                  </a:cubicBezTo>
                  <a:cubicBezTo>
                    <a:pt x="1347" y="266"/>
                    <a:pt x="1349" y="269"/>
                    <a:pt x="1351" y="269"/>
                  </a:cubicBezTo>
                  <a:cubicBezTo>
                    <a:pt x="1352" y="268"/>
                    <a:pt x="1350" y="265"/>
                    <a:pt x="1351" y="265"/>
                  </a:cubicBezTo>
                  <a:cubicBezTo>
                    <a:pt x="1353" y="264"/>
                    <a:pt x="1352" y="257"/>
                    <a:pt x="1350" y="257"/>
                  </a:cubicBezTo>
                  <a:cubicBezTo>
                    <a:pt x="1349" y="256"/>
                    <a:pt x="1350" y="254"/>
                    <a:pt x="1353" y="256"/>
                  </a:cubicBezTo>
                  <a:cubicBezTo>
                    <a:pt x="1355" y="258"/>
                    <a:pt x="1360" y="258"/>
                    <a:pt x="1362" y="258"/>
                  </a:cubicBezTo>
                  <a:cubicBezTo>
                    <a:pt x="1364" y="258"/>
                    <a:pt x="1362" y="256"/>
                    <a:pt x="1360" y="255"/>
                  </a:cubicBezTo>
                  <a:cubicBezTo>
                    <a:pt x="1358" y="255"/>
                    <a:pt x="1360" y="253"/>
                    <a:pt x="1362" y="255"/>
                  </a:cubicBezTo>
                  <a:cubicBezTo>
                    <a:pt x="1363" y="256"/>
                    <a:pt x="1366" y="257"/>
                    <a:pt x="1366" y="255"/>
                  </a:cubicBezTo>
                  <a:cubicBezTo>
                    <a:pt x="1366" y="254"/>
                    <a:pt x="1368" y="251"/>
                    <a:pt x="1370" y="251"/>
                  </a:cubicBezTo>
                  <a:cubicBezTo>
                    <a:pt x="1373" y="251"/>
                    <a:pt x="1373" y="249"/>
                    <a:pt x="1371" y="249"/>
                  </a:cubicBezTo>
                  <a:close/>
                  <a:moveTo>
                    <a:pt x="708" y="405"/>
                  </a:moveTo>
                  <a:cubicBezTo>
                    <a:pt x="701" y="411"/>
                    <a:pt x="688" y="412"/>
                    <a:pt x="688" y="417"/>
                  </a:cubicBezTo>
                  <a:cubicBezTo>
                    <a:pt x="688" y="422"/>
                    <a:pt x="671" y="425"/>
                    <a:pt x="670" y="422"/>
                  </a:cubicBezTo>
                  <a:cubicBezTo>
                    <a:pt x="669" y="420"/>
                    <a:pt x="682" y="420"/>
                    <a:pt x="685" y="413"/>
                  </a:cubicBezTo>
                  <a:cubicBezTo>
                    <a:pt x="688" y="406"/>
                    <a:pt x="701" y="402"/>
                    <a:pt x="707" y="392"/>
                  </a:cubicBezTo>
                  <a:cubicBezTo>
                    <a:pt x="711" y="386"/>
                    <a:pt x="714" y="375"/>
                    <a:pt x="717" y="376"/>
                  </a:cubicBezTo>
                  <a:cubicBezTo>
                    <a:pt x="719" y="377"/>
                    <a:pt x="715" y="398"/>
                    <a:pt x="708" y="405"/>
                  </a:cubicBezTo>
                  <a:close/>
                  <a:moveTo>
                    <a:pt x="738" y="125"/>
                  </a:moveTo>
                  <a:cubicBezTo>
                    <a:pt x="737" y="127"/>
                    <a:pt x="732" y="127"/>
                    <a:pt x="733" y="129"/>
                  </a:cubicBezTo>
                  <a:cubicBezTo>
                    <a:pt x="736" y="132"/>
                    <a:pt x="748" y="130"/>
                    <a:pt x="748" y="127"/>
                  </a:cubicBezTo>
                  <a:cubicBezTo>
                    <a:pt x="748" y="123"/>
                    <a:pt x="739" y="123"/>
                    <a:pt x="738" y="125"/>
                  </a:cubicBezTo>
                  <a:close/>
                  <a:moveTo>
                    <a:pt x="305" y="8"/>
                  </a:moveTo>
                  <a:cubicBezTo>
                    <a:pt x="311" y="8"/>
                    <a:pt x="309" y="4"/>
                    <a:pt x="313" y="5"/>
                  </a:cubicBezTo>
                  <a:cubicBezTo>
                    <a:pt x="317" y="5"/>
                    <a:pt x="322" y="5"/>
                    <a:pt x="320" y="3"/>
                  </a:cubicBezTo>
                  <a:cubicBezTo>
                    <a:pt x="318" y="0"/>
                    <a:pt x="304" y="1"/>
                    <a:pt x="306" y="3"/>
                  </a:cubicBezTo>
                  <a:cubicBezTo>
                    <a:pt x="307" y="5"/>
                    <a:pt x="295" y="4"/>
                    <a:pt x="295" y="5"/>
                  </a:cubicBezTo>
                  <a:cubicBezTo>
                    <a:pt x="295" y="6"/>
                    <a:pt x="299" y="8"/>
                    <a:pt x="305" y="8"/>
                  </a:cubicBezTo>
                  <a:close/>
                  <a:moveTo>
                    <a:pt x="276" y="24"/>
                  </a:moveTo>
                  <a:cubicBezTo>
                    <a:pt x="276" y="20"/>
                    <a:pt x="263" y="24"/>
                    <a:pt x="266" y="25"/>
                  </a:cubicBezTo>
                  <a:cubicBezTo>
                    <a:pt x="268" y="26"/>
                    <a:pt x="276" y="28"/>
                    <a:pt x="276" y="24"/>
                  </a:cubicBezTo>
                  <a:close/>
                  <a:moveTo>
                    <a:pt x="306" y="21"/>
                  </a:moveTo>
                  <a:cubicBezTo>
                    <a:pt x="307" y="23"/>
                    <a:pt x="305" y="23"/>
                    <a:pt x="300" y="23"/>
                  </a:cubicBezTo>
                  <a:cubicBezTo>
                    <a:pt x="296" y="23"/>
                    <a:pt x="293" y="25"/>
                    <a:pt x="296" y="28"/>
                  </a:cubicBezTo>
                  <a:cubicBezTo>
                    <a:pt x="299" y="30"/>
                    <a:pt x="311" y="29"/>
                    <a:pt x="313" y="26"/>
                  </a:cubicBezTo>
                  <a:cubicBezTo>
                    <a:pt x="315" y="23"/>
                    <a:pt x="321" y="26"/>
                    <a:pt x="322" y="23"/>
                  </a:cubicBezTo>
                  <a:cubicBezTo>
                    <a:pt x="323" y="20"/>
                    <a:pt x="306" y="19"/>
                    <a:pt x="306" y="21"/>
                  </a:cubicBezTo>
                  <a:close/>
                  <a:moveTo>
                    <a:pt x="347" y="16"/>
                  </a:moveTo>
                  <a:cubicBezTo>
                    <a:pt x="349" y="14"/>
                    <a:pt x="344" y="14"/>
                    <a:pt x="343" y="12"/>
                  </a:cubicBezTo>
                  <a:cubicBezTo>
                    <a:pt x="343" y="10"/>
                    <a:pt x="330" y="9"/>
                    <a:pt x="330" y="12"/>
                  </a:cubicBezTo>
                  <a:cubicBezTo>
                    <a:pt x="331" y="14"/>
                    <a:pt x="321" y="17"/>
                    <a:pt x="324" y="19"/>
                  </a:cubicBezTo>
                  <a:cubicBezTo>
                    <a:pt x="330" y="23"/>
                    <a:pt x="345" y="18"/>
                    <a:pt x="347" y="16"/>
                  </a:cubicBezTo>
                  <a:close/>
                  <a:moveTo>
                    <a:pt x="309" y="12"/>
                  </a:moveTo>
                  <a:cubicBezTo>
                    <a:pt x="310" y="7"/>
                    <a:pt x="302" y="11"/>
                    <a:pt x="295" y="9"/>
                  </a:cubicBezTo>
                  <a:cubicBezTo>
                    <a:pt x="289" y="6"/>
                    <a:pt x="286" y="6"/>
                    <a:pt x="290" y="10"/>
                  </a:cubicBezTo>
                  <a:cubicBezTo>
                    <a:pt x="292" y="12"/>
                    <a:pt x="279" y="13"/>
                    <a:pt x="281" y="15"/>
                  </a:cubicBezTo>
                  <a:cubicBezTo>
                    <a:pt x="286" y="19"/>
                    <a:pt x="309" y="17"/>
                    <a:pt x="309" y="12"/>
                  </a:cubicBezTo>
                  <a:close/>
                  <a:moveTo>
                    <a:pt x="274" y="144"/>
                  </a:moveTo>
                  <a:cubicBezTo>
                    <a:pt x="274" y="147"/>
                    <a:pt x="273" y="148"/>
                    <a:pt x="268" y="148"/>
                  </a:cubicBezTo>
                  <a:cubicBezTo>
                    <a:pt x="264" y="148"/>
                    <a:pt x="270" y="151"/>
                    <a:pt x="271" y="154"/>
                  </a:cubicBezTo>
                  <a:cubicBezTo>
                    <a:pt x="271" y="156"/>
                    <a:pt x="266" y="154"/>
                    <a:pt x="266" y="159"/>
                  </a:cubicBezTo>
                  <a:cubicBezTo>
                    <a:pt x="266" y="163"/>
                    <a:pt x="257" y="159"/>
                    <a:pt x="256" y="164"/>
                  </a:cubicBezTo>
                  <a:cubicBezTo>
                    <a:pt x="255" y="169"/>
                    <a:pt x="260" y="168"/>
                    <a:pt x="264" y="169"/>
                  </a:cubicBezTo>
                  <a:cubicBezTo>
                    <a:pt x="268" y="169"/>
                    <a:pt x="263" y="172"/>
                    <a:pt x="265" y="174"/>
                  </a:cubicBezTo>
                  <a:cubicBezTo>
                    <a:pt x="268" y="177"/>
                    <a:pt x="270" y="176"/>
                    <a:pt x="269" y="172"/>
                  </a:cubicBezTo>
                  <a:cubicBezTo>
                    <a:pt x="267" y="168"/>
                    <a:pt x="279" y="173"/>
                    <a:pt x="275" y="176"/>
                  </a:cubicBezTo>
                  <a:cubicBezTo>
                    <a:pt x="271" y="179"/>
                    <a:pt x="281" y="182"/>
                    <a:pt x="285" y="182"/>
                  </a:cubicBezTo>
                  <a:cubicBezTo>
                    <a:pt x="290" y="182"/>
                    <a:pt x="306" y="186"/>
                    <a:pt x="306" y="182"/>
                  </a:cubicBezTo>
                  <a:cubicBezTo>
                    <a:pt x="306" y="180"/>
                    <a:pt x="300" y="178"/>
                    <a:pt x="295" y="172"/>
                  </a:cubicBezTo>
                  <a:cubicBezTo>
                    <a:pt x="290" y="167"/>
                    <a:pt x="287" y="159"/>
                    <a:pt x="292" y="155"/>
                  </a:cubicBezTo>
                  <a:cubicBezTo>
                    <a:pt x="298" y="151"/>
                    <a:pt x="293" y="150"/>
                    <a:pt x="299" y="146"/>
                  </a:cubicBezTo>
                  <a:cubicBezTo>
                    <a:pt x="304" y="142"/>
                    <a:pt x="301" y="138"/>
                    <a:pt x="306" y="137"/>
                  </a:cubicBezTo>
                  <a:cubicBezTo>
                    <a:pt x="311" y="137"/>
                    <a:pt x="305" y="133"/>
                    <a:pt x="310" y="132"/>
                  </a:cubicBezTo>
                  <a:cubicBezTo>
                    <a:pt x="315" y="131"/>
                    <a:pt x="316" y="126"/>
                    <a:pt x="315" y="124"/>
                  </a:cubicBezTo>
                  <a:cubicBezTo>
                    <a:pt x="314" y="122"/>
                    <a:pt x="320" y="124"/>
                    <a:pt x="323" y="121"/>
                  </a:cubicBezTo>
                  <a:cubicBezTo>
                    <a:pt x="325" y="119"/>
                    <a:pt x="332" y="120"/>
                    <a:pt x="333" y="116"/>
                  </a:cubicBezTo>
                  <a:cubicBezTo>
                    <a:pt x="335" y="112"/>
                    <a:pt x="363" y="103"/>
                    <a:pt x="378" y="100"/>
                  </a:cubicBezTo>
                  <a:cubicBezTo>
                    <a:pt x="394" y="96"/>
                    <a:pt x="404" y="90"/>
                    <a:pt x="399" y="85"/>
                  </a:cubicBezTo>
                  <a:cubicBezTo>
                    <a:pt x="393" y="81"/>
                    <a:pt x="378" y="87"/>
                    <a:pt x="374" y="90"/>
                  </a:cubicBezTo>
                  <a:cubicBezTo>
                    <a:pt x="370" y="93"/>
                    <a:pt x="365" y="91"/>
                    <a:pt x="361" y="93"/>
                  </a:cubicBezTo>
                  <a:cubicBezTo>
                    <a:pt x="357" y="95"/>
                    <a:pt x="349" y="97"/>
                    <a:pt x="345" y="95"/>
                  </a:cubicBezTo>
                  <a:cubicBezTo>
                    <a:pt x="341" y="92"/>
                    <a:pt x="336" y="98"/>
                    <a:pt x="333" y="97"/>
                  </a:cubicBezTo>
                  <a:cubicBezTo>
                    <a:pt x="330" y="97"/>
                    <a:pt x="327" y="101"/>
                    <a:pt x="323" y="100"/>
                  </a:cubicBezTo>
                  <a:cubicBezTo>
                    <a:pt x="320" y="100"/>
                    <a:pt x="313" y="103"/>
                    <a:pt x="313" y="105"/>
                  </a:cubicBezTo>
                  <a:cubicBezTo>
                    <a:pt x="312" y="107"/>
                    <a:pt x="307" y="106"/>
                    <a:pt x="307" y="109"/>
                  </a:cubicBezTo>
                  <a:cubicBezTo>
                    <a:pt x="307" y="111"/>
                    <a:pt x="302" y="113"/>
                    <a:pt x="300" y="111"/>
                  </a:cubicBezTo>
                  <a:cubicBezTo>
                    <a:pt x="297" y="109"/>
                    <a:pt x="295" y="113"/>
                    <a:pt x="298" y="116"/>
                  </a:cubicBezTo>
                  <a:cubicBezTo>
                    <a:pt x="301" y="120"/>
                    <a:pt x="292" y="120"/>
                    <a:pt x="293" y="122"/>
                  </a:cubicBezTo>
                  <a:cubicBezTo>
                    <a:pt x="295" y="124"/>
                    <a:pt x="290" y="125"/>
                    <a:pt x="291" y="127"/>
                  </a:cubicBezTo>
                  <a:cubicBezTo>
                    <a:pt x="292" y="129"/>
                    <a:pt x="288" y="130"/>
                    <a:pt x="284" y="130"/>
                  </a:cubicBezTo>
                  <a:cubicBezTo>
                    <a:pt x="280" y="131"/>
                    <a:pt x="279" y="136"/>
                    <a:pt x="283" y="136"/>
                  </a:cubicBezTo>
                  <a:cubicBezTo>
                    <a:pt x="288" y="136"/>
                    <a:pt x="280" y="137"/>
                    <a:pt x="281" y="141"/>
                  </a:cubicBezTo>
                  <a:cubicBezTo>
                    <a:pt x="281" y="144"/>
                    <a:pt x="274" y="142"/>
                    <a:pt x="274" y="144"/>
                  </a:cubicBezTo>
                  <a:close/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208" name="Group 207">
              <a:extLst>
                <a:ext uri="{FF2B5EF4-FFF2-40B4-BE49-F238E27FC236}">
                  <a16:creationId xmlns:a16="http://schemas.microsoft.com/office/drawing/2014/main" id="{2780527C-2773-45AF-BFC0-428E07C24C92}"/>
                </a:ext>
              </a:extLst>
            </p:cNvPr>
            <p:cNvGrpSpPr/>
            <p:nvPr/>
          </p:nvGrpSpPr>
          <p:grpSpPr>
            <a:xfrm>
              <a:off x="2235200" y="1676289"/>
              <a:ext cx="8248805" cy="4068623"/>
              <a:chOff x="1785409" y="1960529"/>
              <a:chExt cx="6680161" cy="3294909"/>
            </a:xfrm>
            <a:grpFill/>
          </p:grpSpPr>
          <p:sp>
            <p:nvSpPr>
              <p:cNvPr id="209" name="Freeform 5">
                <a:extLst>
                  <a:ext uri="{FF2B5EF4-FFF2-40B4-BE49-F238E27FC236}">
                    <a16:creationId xmlns:a16="http://schemas.microsoft.com/office/drawing/2014/main" id="{99561CFB-789B-4A23-B9C8-6022C6FB95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9291" y="4409753"/>
                <a:ext cx="235888" cy="234634"/>
              </a:xfrm>
              <a:custGeom>
                <a:avLst/>
                <a:gdLst>
                  <a:gd name="T0" fmla="*/ 38 w 102"/>
                  <a:gd name="T1" fmla="*/ 98 h 102"/>
                  <a:gd name="T2" fmla="*/ 43 w 102"/>
                  <a:gd name="T3" fmla="*/ 95 h 102"/>
                  <a:gd name="T4" fmla="*/ 47 w 102"/>
                  <a:gd name="T5" fmla="*/ 101 h 102"/>
                  <a:gd name="T6" fmla="*/ 57 w 102"/>
                  <a:gd name="T7" fmla="*/ 101 h 102"/>
                  <a:gd name="T8" fmla="*/ 62 w 102"/>
                  <a:gd name="T9" fmla="*/ 95 h 102"/>
                  <a:gd name="T10" fmla="*/ 62 w 102"/>
                  <a:gd name="T11" fmla="*/ 42 h 102"/>
                  <a:gd name="T12" fmla="*/ 70 w 102"/>
                  <a:gd name="T13" fmla="*/ 39 h 102"/>
                  <a:gd name="T14" fmla="*/ 70 w 102"/>
                  <a:gd name="T15" fmla="*/ 12 h 102"/>
                  <a:gd name="T16" fmla="*/ 78 w 102"/>
                  <a:gd name="T17" fmla="*/ 11 h 102"/>
                  <a:gd name="T18" fmla="*/ 87 w 102"/>
                  <a:gd name="T19" fmla="*/ 8 h 102"/>
                  <a:gd name="T20" fmla="*/ 91 w 102"/>
                  <a:gd name="T21" fmla="*/ 11 h 102"/>
                  <a:gd name="T22" fmla="*/ 97 w 102"/>
                  <a:gd name="T23" fmla="*/ 8 h 102"/>
                  <a:gd name="T24" fmla="*/ 102 w 102"/>
                  <a:gd name="T25" fmla="*/ 7 h 102"/>
                  <a:gd name="T26" fmla="*/ 102 w 102"/>
                  <a:gd name="T27" fmla="*/ 5 h 102"/>
                  <a:gd name="T28" fmla="*/ 85 w 102"/>
                  <a:gd name="T29" fmla="*/ 6 h 102"/>
                  <a:gd name="T30" fmla="*/ 72 w 102"/>
                  <a:gd name="T31" fmla="*/ 7 h 102"/>
                  <a:gd name="T32" fmla="*/ 55 w 102"/>
                  <a:gd name="T33" fmla="*/ 7 h 102"/>
                  <a:gd name="T34" fmla="*/ 52 w 102"/>
                  <a:gd name="T35" fmla="*/ 4 h 102"/>
                  <a:gd name="T36" fmla="*/ 24 w 102"/>
                  <a:gd name="T37" fmla="*/ 4 h 102"/>
                  <a:gd name="T38" fmla="*/ 17 w 102"/>
                  <a:gd name="T39" fmla="*/ 2 h 102"/>
                  <a:gd name="T40" fmla="*/ 9 w 102"/>
                  <a:gd name="T41" fmla="*/ 2 h 102"/>
                  <a:gd name="T42" fmla="*/ 6 w 102"/>
                  <a:gd name="T43" fmla="*/ 0 h 102"/>
                  <a:gd name="T44" fmla="*/ 3 w 102"/>
                  <a:gd name="T45" fmla="*/ 2 h 102"/>
                  <a:gd name="T46" fmla="*/ 0 w 102"/>
                  <a:gd name="T47" fmla="*/ 3 h 102"/>
                  <a:gd name="T48" fmla="*/ 5 w 102"/>
                  <a:gd name="T49" fmla="*/ 13 h 102"/>
                  <a:gd name="T50" fmla="*/ 13 w 102"/>
                  <a:gd name="T51" fmla="*/ 30 h 102"/>
                  <a:gd name="T52" fmla="*/ 21 w 102"/>
                  <a:gd name="T53" fmla="*/ 46 h 102"/>
                  <a:gd name="T54" fmla="*/ 21 w 102"/>
                  <a:gd name="T55" fmla="*/ 60 h 102"/>
                  <a:gd name="T56" fmla="*/ 24 w 102"/>
                  <a:gd name="T57" fmla="*/ 72 h 102"/>
                  <a:gd name="T58" fmla="*/ 30 w 102"/>
                  <a:gd name="T59" fmla="*/ 92 h 102"/>
                  <a:gd name="T60" fmla="*/ 35 w 102"/>
                  <a:gd name="T61" fmla="*/ 98 h 102"/>
                  <a:gd name="T62" fmla="*/ 38 w 102"/>
                  <a:gd name="T63" fmla="*/ 98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2" h="102">
                    <a:moveTo>
                      <a:pt x="38" y="98"/>
                    </a:moveTo>
                    <a:cubicBezTo>
                      <a:pt x="38" y="96"/>
                      <a:pt x="41" y="93"/>
                      <a:pt x="43" y="95"/>
                    </a:cubicBezTo>
                    <a:cubicBezTo>
                      <a:pt x="44" y="98"/>
                      <a:pt x="44" y="101"/>
                      <a:pt x="47" y="101"/>
                    </a:cubicBezTo>
                    <a:cubicBezTo>
                      <a:pt x="50" y="101"/>
                      <a:pt x="56" y="102"/>
                      <a:pt x="57" y="101"/>
                    </a:cubicBezTo>
                    <a:cubicBezTo>
                      <a:pt x="58" y="99"/>
                      <a:pt x="62" y="98"/>
                      <a:pt x="62" y="95"/>
                    </a:cubicBezTo>
                    <a:cubicBezTo>
                      <a:pt x="62" y="93"/>
                      <a:pt x="62" y="44"/>
                      <a:pt x="62" y="42"/>
                    </a:cubicBezTo>
                    <a:cubicBezTo>
                      <a:pt x="62" y="40"/>
                      <a:pt x="70" y="42"/>
                      <a:pt x="70" y="39"/>
                    </a:cubicBezTo>
                    <a:cubicBezTo>
                      <a:pt x="70" y="36"/>
                      <a:pt x="70" y="12"/>
                      <a:pt x="70" y="12"/>
                    </a:cubicBezTo>
                    <a:cubicBezTo>
                      <a:pt x="70" y="12"/>
                      <a:pt x="76" y="11"/>
                      <a:pt x="78" y="11"/>
                    </a:cubicBezTo>
                    <a:cubicBezTo>
                      <a:pt x="80" y="10"/>
                      <a:pt x="86" y="7"/>
                      <a:pt x="87" y="8"/>
                    </a:cubicBezTo>
                    <a:cubicBezTo>
                      <a:pt x="89" y="9"/>
                      <a:pt x="90" y="12"/>
                      <a:pt x="91" y="11"/>
                    </a:cubicBezTo>
                    <a:cubicBezTo>
                      <a:pt x="92" y="10"/>
                      <a:pt x="95" y="8"/>
                      <a:pt x="97" y="8"/>
                    </a:cubicBezTo>
                    <a:cubicBezTo>
                      <a:pt x="98" y="8"/>
                      <a:pt x="100" y="7"/>
                      <a:pt x="102" y="7"/>
                    </a:cubicBezTo>
                    <a:cubicBezTo>
                      <a:pt x="102" y="6"/>
                      <a:pt x="102" y="5"/>
                      <a:pt x="102" y="5"/>
                    </a:cubicBezTo>
                    <a:cubicBezTo>
                      <a:pt x="102" y="3"/>
                      <a:pt x="87" y="5"/>
                      <a:pt x="85" y="6"/>
                    </a:cubicBezTo>
                    <a:cubicBezTo>
                      <a:pt x="83" y="7"/>
                      <a:pt x="75" y="8"/>
                      <a:pt x="72" y="7"/>
                    </a:cubicBezTo>
                    <a:cubicBezTo>
                      <a:pt x="70" y="6"/>
                      <a:pt x="55" y="7"/>
                      <a:pt x="55" y="7"/>
                    </a:cubicBezTo>
                    <a:cubicBezTo>
                      <a:pt x="52" y="4"/>
                      <a:pt x="52" y="4"/>
                      <a:pt x="52" y="4"/>
                    </a:cubicBezTo>
                    <a:cubicBezTo>
                      <a:pt x="52" y="4"/>
                      <a:pt x="27" y="4"/>
                      <a:pt x="24" y="4"/>
                    </a:cubicBezTo>
                    <a:cubicBezTo>
                      <a:pt x="21" y="4"/>
                      <a:pt x="19" y="4"/>
                      <a:pt x="17" y="2"/>
                    </a:cubicBezTo>
                    <a:cubicBezTo>
                      <a:pt x="15" y="0"/>
                      <a:pt x="12" y="0"/>
                      <a:pt x="9" y="2"/>
                    </a:cubicBezTo>
                    <a:cubicBezTo>
                      <a:pt x="7" y="3"/>
                      <a:pt x="8" y="0"/>
                      <a:pt x="6" y="0"/>
                    </a:cubicBezTo>
                    <a:cubicBezTo>
                      <a:pt x="4" y="0"/>
                      <a:pt x="3" y="2"/>
                      <a:pt x="3" y="2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5"/>
                      <a:pt x="2" y="10"/>
                      <a:pt x="5" y="13"/>
                    </a:cubicBezTo>
                    <a:cubicBezTo>
                      <a:pt x="8" y="17"/>
                      <a:pt x="11" y="24"/>
                      <a:pt x="13" y="30"/>
                    </a:cubicBezTo>
                    <a:cubicBezTo>
                      <a:pt x="15" y="35"/>
                      <a:pt x="20" y="42"/>
                      <a:pt x="21" y="46"/>
                    </a:cubicBezTo>
                    <a:cubicBezTo>
                      <a:pt x="22" y="51"/>
                      <a:pt x="20" y="57"/>
                      <a:pt x="21" y="60"/>
                    </a:cubicBezTo>
                    <a:cubicBezTo>
                      <a:pt x="23" y="63"/>
                      <a:pt x="23" y="68"/>
                      <a:pt x="24" y="72"/>
                    </a:cubicBezTo>
                    <a:cubicBezTo>
                      <a:pt x="25" y="77"/>
                      <a:pt x="25" y="88"/>
                      <a:pt x="30" y="92"/>
                    </a:cubicBezTo>
                    <a:cubicBezTo>
                      <a:pt x="31" y="94"/>
                      <a:pt x="33" y="96"/>
                      <a:pt x="35" y="98"/>
                    </a:cubicBezTo>
                    <a:cubicBezTo>
                      <a:pt x="37" y="99"/>
                      <a:pt x="38" y="99"/>
                      <a:pt x="38" y="98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0" name="Freeform 6">
                <a:extLst>
                  <a:ext uri="{FF2B5EF4-FFF2-40B4-BE49-F238E27FC236}">
                    <a16:creationId xmlns:a16="http://schemas.microsoft.com/office/drawing/2014/main" id="{7A0DF6EB-2359-465E-97D9-31DDB91769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5180" y="4383404"/>
                <a:ext cx="149312" cy="129237"/>
              </a:xfrm>
              <a:custGeom>
                <a:avLst/>
                <a:gdLst>
                  <a:gd name="T0" fmla="*/ 43 w 65"/>
                  <a:gd name="T1" fmla="*/ 2 h 56"/>
                  <a:gd name="T2" fmla="*/ 42 w 65"/>
                  <a:gd name="T3" fmla="*/ 0 h 56"/>
                  <a:gd name="T4" fmla="*/ 35 w 65"/>
                  <a:gd name="T5" fmla="*/ 0 h 56"/>
                  <a:gd name="T6" fmla="*/ 31 w 65"/>
                  <a:gd name="T7" fmla="*/ 4 h 56"/>
                  <a:gd name="T8" fmla="*/ 23 w 65"/>
                  <a:gd name="T9" fmla="*/ 10 h 56"/>
                  <a:gd name="T10" fmla="*/ 15 w 65"/>
                  <a:gd name="T11" fmla="*/ 19 h 56"/>
                  <a:gd name="T12" fmla="*/ 5 w 65"/>
                  <a:gd name="T13" fmla="*/ 17 h 56"/>
                  <a:gd name="T14" fmla="*/ 0 w 65"/>
                  <a:gd name="T15" fmla="*/ 18 h 56"/>
                  <a:gd name="T16" fmla="*/ 5 w 65"/>
                  <a:gd name="T17" fmla="*/ 22 h 56"/>
                  <a:gd name="T18" fmla="*/ 9 w 65"/>
                  <a:gd name="T19" fmla="*/ 32 h 56"/>
                  <a:gd name="T20" fmla="*/ 18 w 65"/>
                  <a:gd name="T21" fmla="*/ 37 h 56"/>
                  <a:gd name="T22" fmla="*/ 21 w 65"/>
                  <a:gd name="T23" fmla="*/ 44 h 56"/>
                  <a:gd name="T24" fmla="*/ 26 w 65"/>
                  <a:gd name="T25" fmla="*/ 49 h 56"/>
                  <a:gd name="T26" fmla="*/ 32 w 65"/>
                  <a:gd name="T27" fmla="*/ 53 h 56"/>
                  <a:gd name="T28" fmla="*/ 40 w 65"/>
                  <a:gd name="T29" fmla="*/ 54 h 56"/>
                  <a:gd name="T30" fmla="*/ 49 w 65"/>
                  <a:gd name="T31" fmla="*/ 56 h 56"/>
                  <a:gd name="T32" fmla="*/ 57 w 65"/>
                  <a:gd name="T33" fmla="*/ 48 h 56"/>
                  <a:gd name="T34" fmla="*/ 59 w 65"/>
                  <a:gd name="T35" fmla="*/ 40 h 56"/>
                  <a:gd name="T36" fmla="*/ 63 w 65"/>
                  <a:gd name="T37" fmla="*/ 34 h 56"/>
                  <a:gd name="T38" fmla="*/ 61 w 65"/>
                  <a:gd name="T39" fmla="*/ 28 h 56"/>
                  <a:gd name="T40" fmla="*/ 63 w 65"/>
                  <a:gd name="T41" fmla="*/ 20 h 56"/>
                  <a:gd name="T42" fmla="*/ 63 w 65"/>
                  <a:gd name="T43" fmla="*/ 8 h 56"/>
                  <a:gd name="T44" fmla="*/ 53 w 65"/>
                  <a:gd name="T45" fmla="*/ 5 h 56"/>
                  <a:gd name="T46" fmla="*/ 43 w 65"/>
                  <a:gd name="T47" fmla="*/ 2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65" h="56">
                    <a:moveTo>
                      <a:pt x="43" y="2"/>
                    </a:moveTo>
                    <a:cubicBezTo>
                      <a:pt x="42" y="0"/>
                      <a:pt x="42" y="0"/>
                      <a:pt x="42" y="0"/>
                    </a:cubicBezTo>
                    <a:cubicBezTo>
                      <a:pt x="35" y="0"/>
                      <a:pt x="35" y="0"/>
                      <a:pt x="35" y="0"/>
                    </a:cubicBezTo>
                    <a:cubicBezTo>
                      <a:pt x="31" y="1"/>
                      <a:pt x="31" y="2"/>
                      <a:pt x="31" y="4"/>
                    </a:cubicBezTo>
                    <a:cubicBezTo>
                      <a:pt x="31" y="5"/>
                      <a:pt x="26" y="9"/>
                      <a:pt x="23" y="10"/>
                    </a:cubicBezTo>
                    <a:cubicBezTo>
                      <a:pt x="20" y="11"/>
                      <a:pt x="17" y="18"/>
                      <a:pt x="15" y="19"/>
                    </a:cubicBezTo>
                    <a:cubicBezTo>
                      <a:pt x="13" y="20"/>
                      <a:pt x="6" y="17"/>
                      <a:pt x="5" y="17"/>
                    </a:cubicBezTo>
                    <a:cubicBezTo>
                      <a:pt x="4" y="17"/>
                      <a:pt x="2" y="17"/>
                      <a:pt x="0" y="18"/>
                    </a:cubicBezTo>
                    <a:cubicBezTo>
                      <a:pt x="2" y="20"/>
                      <a:pt x="4" y="22"/>
                      <a:pt x="5" y="22"/>
                    </a:cubicBezTo>
                    <a:cubicBezTo>
                      <a:pt x="6" y="22"/>
                      <a:pt x="7" y="31"/>
                      <a:pt x="9" y="32"/>
                    </a:cubicBezTo>
                    <a:cubicBezTo>
                      <a:pt x="12" y="33"/>
                      <a:pt x="18" y="36"/>
                      <a:pt x="18" y="37"/>
                    </a:cubicBezTo>
                    <a:cubicBezTo>
                      <a:pt x="18" y="39"/>
                      <a:pt x="21" y="41"/>
                      <a:pt x="21" y="44"/>
                    </a:cubicBezTo>
                    <a:cubicBezTo>
                      <a:pt x="21" y="46"/>
                      <a:pt x="24" y="49"/>
                      <a:pt x="26" y="49"/>
                    </a:cubicBezTo>
                    <a:cubicBezTo>
                      <a:pt x="32" y="49"/>
                      <a:pt x="32" y="51"/>
                      <a:pt x="32" y="53"/>
                    </a:cubicBezTo>
                    <a:cubicBezTo>
                      <a:pt x="32" y="54"/>
                      <a:pt x="39" y="53"/>
                      <a:pt x="40" y="54"/>
                    </a:cubicBezTo>
                    <a:cubicBezTo>
                      <a:pt x="41" y="55"/>
                      <a:pt x="47" y="55"/>
                      <a:pt x="49" y="56"/>
                    </a:cubicBezTo>
                    <a:cubicBezTo>
                      <a:pt x="52" y="53"/>
                      <a:pt x="56" y="49"/>
                      <a:pt x="57" y="48"/>
                    </a:cubicBezTo>
                    <a:cubicBezTo>
                      <a:pt x="59" y="45"/>
                      <a:pt x="57" y="41"/>
                      <a:pt x="59" y="40"/>
                    </a:cubicBezTo>
                    <a:cubicBezTo>
                      <a:pt x="61" y="39"/>
                      <a:pt x="65" y="34"/>
                      <a:pt x="63" y="34"/>
                    </a:cubicBezTo>
                    <a:cubicBezTo>
                      <a:pt x="62" y="33"/>
                      <a:pt x="63" y="30"/>
                      <a:pt x="61" y="28"/>
                    </a:cubicBezTo>
                    <a:cubicBezTo>
                      <a:pt x="59" y="25"/>
                      <a:pt x="63" y="24"/>
                      <a:pt x="63" y="20"/>
                    </a:cubicBezTo>
                    <a:cubicBezTo>
                      <a:pt x="63" y="17"/>
                      <a:pt x="64" y="9"/>
                      <a:pt x="63" y="8"/>
                    </a:cubicBezTo>
                    <a:cubicBezTo>
                      <a:pt x="62" y="7"/>
                      <a:pt x="57" y="7"/>
                      <a:pt x="53" y="5"/>
                    </a:cubicBezTo>
                    <a:cubicBezTo>
                      <a:pt x="50" y="3"/>
                      <a:pt x="43" y="2"/>
                      <a:pt x="43" y="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1" name="Freeform 7">
                <a:extLst>
                  <a:ext uri="{FF2B5EF4-FFF2-40B4-BE49-F238E27FC236}">
                    <a16:creationId xmlns:a16="http://schemas.microsoft.com/office/drawing/2014/main" id="{45CDC157-C2FE-4B36-9285-7BBC2F5373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82330" y="4424810"/>
                <a:ext cx="165624" cy="178171"/>
              </a:xfrm>
              <a:custGeom>
                <a:avLst/>
                <a:gdLst>
                  <a:gd name="T0" fmla="*/ 66 w 72"/>
                  <a:gd name="T1" fmla="*/ 31 h 77"/>
                  <a:gd name="T2" fmla="*/ 61 w 72"/>
                  <a:gd name="T3" fmla="*/ 26 h 77"/>
                  <a:gd name="T4" fmla="*/ 58 w 72"/>
                  <a:gd name="T5" fmla="*/ 19 h 77"/>
                  <a:gd name="T6" fmla="*/ 49 w 72"/>
                  <a:gd name="T7" fmla="*/ 14 h 77"/>
                  <a:gd name="T8" fmla="*/ 45 w 72"/>
                  <a:gd name="T9" fmla="*/ 4 h 77"/>
                  <a:gd name="T10" fmla="*/ 40 w 72"/>
                  <a:gd name="T11" fmla="*/ 0 h 77"/>
                  <a:gd name="T12" fmla="*/ 35 w 72"/>
                  <a:gd name="T13" fmla="*/ 1 h 77"/>
                  <a:gd name="T14" fmla="*/ 29 w 72"/>
                  <a:gd name="T15" fmla="*/ 4 h 77"/>
                  <a:gd name="T16" fmla="*/ 25 w 72"/>
                  <a:gd name="T17" fmla="*/ 1 h 77"/>
                  <a:gd name="T18" fmla="*/ 16 w 72"/>
                  <a:gd name="T19" fmla="*/ 4 h 77"/>
                  <a:gd name="T20" fmla="*/ 8 w 72"/>
                  <a:gd name="T21" fmla="*/ 5 h 77"/>
                  <a:gd name="T22" fmla="*/ 8 w 72"/>
                  <a:gd name="T23" fmla="*/ 32 h 77"/>
                  <a:gd name="T24" fmla="*/ 0 w 72"/>
                  <a:gd name="T25" fmla="*/ 35 h 77"/>
                  <a:gd name="T26" fmla="*/ 0 w 72"/>
                  <a:gd name="T27" fmla="*/ 59 h 77"/>
                  <a:gd name="T28" fmla="*/ 4 w 72"/>
                  <a:gd name="T29" fmla="*/ 62 h 77"/>
                  <a:gd name="T30" fmla="*/ 7 w 72"/>
                  <a:gd name="T31" fmla="*/ 71 h 77"/>
                  <a:gd name="T32" fmla="*/ 5 w 72"/>
                  <a:gd name="T33" fmla="*/ 72 h 77"/>
                  <a:gd name="T34" fmla="*/ 7 w 72"/>
                  <a:gd name="T35" fmla="*/ 76 h 77"/>
                  <a:gd name="T36" fmla="*/ 15 w 72"/>
                  <a:gd name="T37" fmla="*/ 76 h 77"/>
                  <a:gd name="T38" fmla="*/ 22 w 72"/>
                  <a:gd name="T39" fmla="*/ 67 h 77"/>
                  <a:gd name="T40" fmla="*/ 27 w 72"/>
                  <a:gd name="T41" fmla="*/ 63 h 77"/>
                  <a:gd name="T42" fmla="*/ 37 w 72"/>
                  <a:gd name="T43" fmla="*/ 66 h 77"/>
                  <a:gd name="T44" fmla="*/ 45 w 72"/>
                  <a:gd name="T45" fmla="*/ 62 h 77"/>
                  <a:gd name="T46" fmla="*/ 48 w 72"/>
                  <a:gd name="T47" fmla="*/ 57 h 77"/>
                  <a:gd name="T48" fmla="*/ 55 w 72"/>
                  <a:gd name="T49" fmla="*/ 52 h 77"/>
                  <a:gd name="T50" fmla="*/ 58 w 72"/>
                  <a:gd name="T51" fmla="*/ 46 h 77"/>
                  <a:gd name="T52" fmla="*/ 64 w 72"/>
                  <a:gd name="T53" fmla="*/ 41 h 77"/>
                  <a:gd name="T54" fmla="*/ 69 w 72"/>
                  <a:gd name="T55" fmla="*/ 38 h 77"/>
                  <a:gd name="T56" fmla="*/ 72 w 72"/>
                  <a:gd name="T57" fmla="*/ 35 h 77"/>
                  <a:gd name="T58" fmla="*/ 72 w 72"/>
                  <a:gd name="T59" fmla="*/ 35 h 77"/>
                  <a:gd name="T60" fmla="*/ 66 w 72"/>
                  <a:gd name="T61" fmla="*/ 31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72" h="77">
                    <a:moveTo>
                      <a:pt x="66" y="31"/>
                    </a:moveTo>
                    <a:cubicBezTo>
                      <a:pt x="64" y="31"/>
                      <a:pt x="61" y="28"/>
                      <a:pt x="61" y="26"/>
                    </a:cubicBezTo>
                    <a:cubicBezTo>
                      <a:pt x="61" y="23"/>
                      <a:pt x="58" y="21"/>
                      <a:pt x="58" y="19"/>
                    </a:cubicBezTo>
                    <a:cubicBezTo>
                      <a:pt x="58" y="18"/>
                      <a:pt x="52" y="15"/>
                      <a:pt x="49" y="14"/>
                    </a:cubicBezTo>
                    <a:cubicBezTo>
                      <a:pt x="47" y="13"/>
                      <a:pt x="46" y="4"/>
                      <a:pt x="45" y="4"/>
                    </a:cubicBezTo>
                    <a:cubicBezTo>
                      <a:pt x="44" y="4"/>
                      <a:pt x="42" y="2"/>
                      <a:pt x="40" y="0"/>
                    </a:cubicBezTo>
                    <a:cubicBezTo>
                      <a:pt x="38" y="0"/>
                      <a:pt x="36" y="1"/>
                      <a:pt x="35" y="1"/>
                    </a:cubicBezTo>
                    <a:cubicBezTo>
                      <a:pt x="33" y="1"/>
                      <a:pt x="30" y="3"/>
                      <a:pt x="29" y="4"/>
                    </a:cubicBezTo>
                    <a:cubicBezTo>
                      <a:pt x="28" y="5"/>
                      <a:pt x="27" y="2"/>
                      <a:pt x="25" y="1"/>
                    </a:cubicBezTo>
                    <a:cubicBezTo>
                      <a:pt x="24" y="0"/>
                      <a:pt x="18" y="3"/>
                      <a:pt x="16" y="4"/>
                    </a:cubicBezTo>
                    <a:cubicBezTo>
                      <a:pt x="14" y="4"/>
                      <a:pt x="8" y="5"/>
                      <a:pt x="8" y="5"/>
                    </a:cubicBezTo>
                    <a:cubicBezTo>
                      <a:pt x="8" y="5"/>
                      <a:pt x="8" y="29"/>
                      <a:pt x="8" y="32"/>
                    </a:cubicBezTo>
                    <a:cubicBezTo>
                      <a:pt x="8" y="35"/>
                      <a:pt x="0" y="33"/>
                      <a:pt x="0" y="35"/>
                    </a:cubicBezTo>
                    <a:cubicBezTo>
                      <a:pt x="0" y="36"/>
                      <a:pt x="0" y="47"/>
                      <a:pt x="0" y="59"/>
                    </a:cubicBezTo>
                    <a:cubicBezTo>
                      <a:pt x="2" y="60"/>
                      <a:pt x="4" y="61"/>
                      <a:pt x="4" y="62"/>
                    </a:cubicBezTo>
                    <a:cubicBezTo>
                      <a:pt x="5" y="64"/>
                      <a:pt x="7" y="69"/>
                      <a:pt x="7" y="71"/>
                    </a:cubicBezTo>
                    <a:cubicBezTo>
                      <a:pt x="6" y="72"/>
                      <a:pt x="5" y="71"/>
                      <a:pt x="5" y="72"/>
                    </a:cubicBezTo>
                    <a:cubicBezTo>
                      <a:pt x="5" y="74"/>
                      <a:pt x="4" y="76"/>
                      <a:pt x="7" y="76"/>
                    </a:cubicBezTo>
                    <a:cubicBezTo>
                      <a:pt x="9" y="76"/>
                      <a:pt x="13" y="77"/>
                      <a:pt x="15" y="76"/>
                    </a:cubicBezTo>
                    <a:cubicBezTo>
                      <a:pt x="16" y="74"/>
                      <a:pt x="22" y="69"/>
                      <a:pt x="22" y="67"/>
                    </a:cubicBezTo>
                    <a:cubicBezTo>
                      <a:pt x="22" y="65"/>
                      <a:pt x="23" y="60"/>
                      <a:pt x="27" y="63"/>
                    </a:cubicBezTo>
                    <a:cubicBezTo>
                      <a:pt x="32" y="66"/>
                      <a:pt x="32" y="66"/>
                      <a:pt x="37" y="66"/>
                    </a:cubicBezTo>
                    <a:cubicBezTo>
                      <a:pt x="42" y="66"/>
                      <a:pt x="44" y="66"/>
                      <a:pt x="45" y="62"/>
                    </a:cubicBezTo>
                    <a:cubicBezTo>
                      <a:pt x="46" y="59"/>
                      <a:pt x="45" y="57"/>
                      <a:pt x="48" y="57"/>
                    </a:cubicBezTo>
                    <a:cubicBezTo>
                      <a:pt x="51" y="57"/>
                      <a:pt x="55" y="54"/>
                      <a:pt x="55" y="52"/>
                    </a:cubicBezTo>
                    <a:cubicBezTo>
                      <a:pt x="55" y="49"/>
                      <a:pt x="56" y="46"/>
                      <a:pt x="58" y="46"/>
                    </a:cubicBezTo>
                    <a:cubicBezTo>
                      <a:pt x="60" y="46"/>
                      <a:pt x="64" y="44"/>
                      <a:pt x="64" y="41"/>
                    </a:cubicBezTo>
                    <a:cubicBezTo>
                      <a:pt x="65" y="39"/>
                      <a:pt x="68" y="40"/>
                      <a:pt x="69" y="38"/>
                    </a:cubicBezTo>
                    <a:cubicBezTo>
                      <a:pt x="70" y="38"/>
                      <a:pt x="71" y="36"/>
                      <a:pt x="72" y="35"/>
                    </a:cubicBezTo>
                    <a:cubicBezTo>
                      <a:pt x="72" y="35"/>
                      <a:pt x="72" y="35"/>
                      <a:pt x="72" y="35"/>
                    </a:cubicBezTo>
                    <a:cubicBezTo>
                      <a:pt x="72" y="33"/>
                      <a:pt x="72" y="31"/>
                      <a:pt x="66" y="3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2" name="Freeform 8">
                <a:extLst>
                  <a:ext uri="{FF2B5EF4-FFF2-40B4-BE49-F238E27FC236}">
                    <a16:creationId xmlns:a16="http://schemas.microsoft.com/office/drawing/2014/main" id="{C81324F5-201D-4284-8888-95FF9B0882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78067" y="4580396"/>
                <a:ext cx="25095" cy="28859"/>
              </a:xfrm>
              <a:custGeom>
                <a:avLst/>
                <a:gdLst>
                  <a:gd name="T0" fmla="*/ 5 w 11"/>
                  <a:gd name="T1" fmla="*/ 0 h 13"/>
                  <a:gd name="T2" fmla="*/ 0 w 11"/>
                  <a:gd name="T3" fmla="*/ 5 h 13"/>
                  <a:gd name="T4" fmla="*/ 5 w 11"/>
                  <a:gd name="T5" fmla="*/ 13 h 13"/>
                  <a:gd name="T6" fmla="*/ 9 w 11"/>
                  <a:gd name="T7" fmla="*/ 11 h 13"/>
                  <a:gd name="T8" fmla="*/ 11 w 11"/>
                  <a:gd name="T9" fmla="*/ 9 h 13"/>
                  <a:gd name="T10" fmla="*/ 10 w 11"/>
                  <a:gd name="T11" fmla="*/ 2 h 13"/>
                  <a:gd name="T12" fmla="*/ 5 w 11"/>
                  <a:gd name="T13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" h="13">
                    <a:moveTo>
                      <a:pt x="5" y="0"/>
                    </a:moveTo>
                    <a:cubicBezTo>
                      <a:pt x="3" y="0"/>
                      <a:pt x="0" y="4"/>
                      <a:pt x="0" y="5"/>
                    </a:cubicBezTo>
                    <a:cubicBezTo>
                      <a:pt x="0" y="6"/>
                      <a:pt x="2" y="13"/>
                      <a:pt x="5" y="13"/>
                    </a:cubicBezTo>
                    <a:cubicBezTo>
                      <a:pt x="7" y="13"/>
                      <a:pt x="9" y="13"/>
                      <a:pt x="9" y="11"/>
                    </a:cubicBezTo>
                    <a:cubicBezTo>
                      <a:pt x="9" y="10"/>
                      <a:pt x="10" y="9"/>
                      <a:pt x="11" y="9"/>
                    </a:cubicBezTo>
                    <a:cubicBezTo>
                      <a:pt x="10" y="7"/>
                      <a:pt x="10" y="4"/>
                      <a:pt x="10" y="2"/>
                    </a:cubicBezTo>
                    <a:cubicBezTo>
                      <a:pt x="8" y="1"/>
                      <a:pt x="7" y="0"/>
                      <a:pt x="5" y="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3" name="Freeform 9">
                <a:extLst>
                  <a:ext uri="{FF2B5EF4-FFF2-40B4-BE49-F238E27FC236}">
                    <a16:creationId xmlns:a16="http://schemas.microsoft.com/office/drawing/2014/main" id="{5ADC209C-A8E7-4A30-B5BC-49FCA0BFA0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11567" y="4633094"/>
                <a:ext cx="41406" cy="43915"/>
              </a:xfrm>
              <a:custGeom>
                <a:avLst/>
                <a:gdLst>
                  <a:gd name="T0" fmla="*/ 13 w 18"/>
                  <a:gd name="T1" fmla="*/ 2 h 19"/>
                  <a:gd name="T2" fmla="*/ 5 w 18"/>
                  <a:gd name="T3" fmla="*/ 5 h 19"/>
                  <a:gd name="T4" fmla="*/ 0 w 18"/>
                  <a:gd name="T5" fmla="*/ 12 h 19"/>
                  <a:gd name="T6" fmla="*/ 5 w 18"/>
                  <a:gd name="T7" fmla="*/ 19 h 19"/>
                  <a:gd name="T8" fmla="*/ 8 w 18"/>
                  <a:gd name="T9" fmla="*/ 19 h 19"/>
                  <a:gd name="T10" fmla="*/ 10 w 18"/>
                  <a:gd name="T11" fmla="*/ 15 h 19"/>
                  <a:gd name="T12" fmla="*/ 15 w 18"/>
                  <a:gd name="T13" fmla="*/ 13 h 19"/>
                  <a:gd name="T14" fmla="*/ 18 w 18"/>
                  <a:gd name="T15" fmla="*/ 8 h 19"/>
                  <a:gd name="T16" fmla="*/ 13 w 18"/>
                  <a:gd name="T17" fmla="*/ 2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" h="19">
                    <a:moveTo>
                      <a:pt x="13" y="2"/>
                    </a:moveTo>
                    <a:cubicBezTo>
                      <a:pt x="12" y="0"/>
                      <a:pt x="5" y="3"/>
                      <a:pt x="5" y="5"/>
                    </a:cubicBezTo>
                    <a:cubicBezTo>
                      <a:pt x="4" y="7"/>
                      <a:pt x="0" y="12"/>
                      <a:pt x="0" y="12"/>
                    </a:cubicBezTo>
                    <a:cubicBezTo>
                      <a:pt x="5" y="19"/>
                      <a:pt x="5" y="19"/>
                      <a:pt x="5" y="19"/>
                    </a:cubicBezTo>
                    <a:cubicBezTo>
                      <a:pt x="8" y="19"/>
                      <a:pt x="8" y="19"/>
                      <a:pt x="8" y="19"/>
                    </a:cubicBezTo>
                    <a:cubicBezTo>
                      <a:pt x="8" y="19"/>
                      <a:pt x="9" y="17"/>
                      <a:pt x="10" y="15"/>
                    </a:cubicBezTo>
                    <a:cubicBezTo>
                      <a:pt x="11" y="13"/>
                      <a:pt x="15" y="15"/>
                      <a:pt x="15" y="13"/>
                    </a:cubicBezTo>
                    <a:cubicBezTo>
                      <a:pt x="15" y="11"/>
                      <a:pt x="18" y="10"/>
                      <a:pt x="18" y="8"/>
                    </a:cubicBezTo>
                    <a:cubicBezTo>
                      <a:pt x="18" y="6"/>
                      <a:pt x="14" y="3"/>
                      <a:pt x="13" y="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4" name="Freeform 10">
                <a:extLst>
                  <a:ext uri="{FF2B5EF4-FFF2-40B4-BE49-F238E27FC236}">
                    <a16:creationId xmlns:a16="http://schemas.microsoft.com/office/drawing/2014/main" id="{1E35FBEE-6A9F-4128-8E85-379AA616F4B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20849" y="4506367"/>
                <a:ext cx="297370" cy="259728"/>
              </a:xfrm>
              <a:custGeom>
                <a:avLst/>
                <a:gdLst>
                  <a:gd name="T0" fmla="*/ 123 w 129"/>
                  <a:gd name="T1" fmla="*/ 42 h 113"/>
                  <a:gd name="T2" fmla="*/ 123 w 129"/>
                  <a:gd name="T3" fmla="*/ 41 h 113"/>
                  <a:gd name="T4" fmla="*/ 121 w 129"/>
                  <a:gd name="T5" fmla="*/ 43 h 113"/>
                  <a:gd name="T6" fmla="*/ 117 w 129"/>
                  <a:gd name="T7" fmla="*/ 45 h 113"/>
                  <a:gd name="T8" fmla="*/ 112 w 129"/>
                  <a:gd name="T9" fmla="*/ 37 h 113"/>
                  <a:gd name="T10" fmla="*/ 117 w 129"/>
                  <a:gd name="T11" fmla="*/ 32 h 113"/>
                  <a:gd name="T12" fmla="*/ 122 w 129"/>
                  <a:gd name="T13" fmla="*/ 34 h 113"/>
                  <a:gd name="T14" fmla="*/ 122 w 129"/>
                  <a:gd name="T15" fmla="*/ 33 h 113"/>
                  <a:gd name="T16" fmla="*/ 121 w 129"/>
                  <a:gd name="T17" fmla="*/ 18 h 113"/>
                  <a:gd name="T18" fmla="*/ 116 w 129"/>
                  <a:gd name="T19" fmla="*/ 3 h 113"/>
                  <a:gd name="T20" fmla="*/ 107 w 129"/>
                  <a:gd name="T21" fmla="*/ 1 h 113"/>
                  <a:gd name="T22" fmla="*/ 99 w 129"/>
                  <a:gd name="T23" fmla="*/ 0 h 113"/>
                  <a:gd name="T24" fmla="*/ 96 w 129"/>
                  <a:gd name="T25" fmla="*/ 3 h 113"/>
                  <a:gd name="T26" fmla="*/ 91 w 129"/>
                  <a:gd name="T27" fmla="*/ 6 h 113"/>
                  <a:gd name="T28" fmla="*/ 85 w 129"/>
                  <a:gd name="T29" fmla="*/ 11 h 113"/>
                  <a:gd name="T30" fmla="*/ 82 w 129"/>
                  <a:gd name="T31" fmla="*/ 17 h 113"/>
                  <a:gd name="T32" fmla="*/ 75 w 129"/>
                  <a:gd name="T33" fmla="*/ 22 h 113"/>
                  <a:gd name="T34" fmla="*/ 72 w 129"/>
                  <a:gd name="T35" fmla="*/ 27 h 113"/>
                  <a:gd name="T36" fmla="*/ 64 w 129"/>
                  <a:gd name="T37" fmla="*/ 31 h 113"/>
                  <a:gd name="T38" fmla="*/ 54 w 129"/>
                  <a:gd name="T39" fmla="*/ 28 h 113"/>
                  <a:gd name="T40" fmla="*/ 49 w 129"/>
                  <a:gd name="T41" fmla="*/ 32 h 113"/>
                  <a:gd name="T42" fmla="*/ 42 w 129"/>
                  <a:gd name="T43" fmla="*/ 41 h 113"/>
                  <a:gd name="T44" fmla="*/ 34 w 129"/>
                  <a:gd name="T45" fmla="*/ 41 h 113"/>
                  <a:gd name="T46" fmla="*/ 32 w 129"/>
                  <a:gd name="T47" fmla="*/ 37 h 113"/>
                  <a:gd name="T48" fmla="*/ 34 w 129"/>
                  <a:gd name="T49" fmla="*/ 36 h 113"/>
                  <a:gd name="T50" fmla="*/ 31 w 129"/>
                  <a:gd name="T51" fmla="*/ 27 h 113"/>
                  <a:gd name="T52" fmla="*/ 27 w 129"/>
                  <a:gd name="T53" fmla="*/ 24 h 113"/>
                  <a:gd name="T54" fmla="*/ 27 w 129"/>
                  <a:gd name="T55" fmla="*/ 53 h 113"/>
                  <a:gd name="T56" fmla="*/ 22 w 129"/>
                  <a:gd name="T57" fmla="*/ 59 h 113"/>
                  <a:gd name="T58" fmla="*/ 12 w 129"/>
                  <a:gd name="T59" fmla="*/ 59 h 113"/>
                  <a:gd name="T60" fmla="*/ 8 w 129"/>
                  <a:gd name="T61" fmla="*/ 53 h 113"/>
                  <a:gd name="T62" fmla="*/ 3 w 129"/>
                  <a:gd name="T63" fmla="*/ 56 h 113"/>
                  <a:gd name="T64" fmla="*/ 0 w 129"/>
                  <a:gd name="T65" fmla="*/ 56 h 113"/>
                  <a:gd name="T66" fmla="*/ 6 w 129"/>
                  <a:gd name="T67" fmla="*/ 69 h 113"/>
                  <a:gd name="T68" fmla="*/ 13 w 129"/>
                  <a:gd name="T69" fmla="*/ 85 h 113"/>
                  <a:gd name="T70" fmla="*/ 13 w 129"/>
                  <a:gd name="T71" fmla="*/ 93 h 113"/>
                  <a:gd name="T72" fmla="*/ 14 w 129"/>
                  <a:gd name="T73" fmla="*/ 99 h 113"/>
                  <a:gd name="T74" fmla="*/ 16 w 129"/>
                  <a:gd name="T75" fmla="*/ 106 h 113"/>
                  <a:gd name="T76" fmla="*/ 20 w 129"/>
                  <a:gd name="T77" fmla="*/ 108 h 113"/>
                  <a:gd name="T78" fmla="*/ 24 w 129"/>
                  <a:gd name="T79" fmla="*/ 112 h 113"/>
                  <a:gd name="T80" fmla="*/ 29 w 129"/>
                  <a:gd name="T81" fmla="*/ 111 h 113"/>
                  <a:gd name="T82" fmla="*/ 39 w 129"/>
                  <a:gd name="T83" fmla="*/ 109 h 113"/>
                  <a:gd name="T84" fmla="*/ 46 w 129"/>
                  <a:gd name="T85" fmla="*/ 106 h 113"/>
                  <a:gd name="T86" fmla="*/ 58 w 129"/>
                  <a:gd name="T87" fmla="*/ 106 h 113"/>
                  <a:gd name="T88" fmla="*/ 66 w 129"/>
                  <a:gd name="T89" fmla="*/ 105 h 113"/>
                  <a:gd name="T90" fmla="*/ 71 w 129"/>
                  <a:gd name="T91" fmla="*/ 104 h 113"/>
                  <a:gd name="T92" fmla="*/ 78 w 129"/>
                  <a:gd name="T93" fmla="*/ 101 h 113"/>
                  <a:gd name="T94" fmla="*/ 94 w 129"/>
                  <a:gd name="T95" fmla="*/ 91 h 113"/>
                  <a:gd name="T96" fmla="*/ 113 w 129"/>
                  <a:gd name="T97" fmla="*/ 67 h 113"/>
                  <a:gd name="T98" fmla="*/ 125 w 129"/>
                  <a:gd name="T99" fmla="*/ 55 h 113"/>
                  <a:gd name="T100" fmla="*/ 129 w 129"/>
                  <a:gd name="T101" fmla="*/ 41 h 113"/>
                  <a:gd name="T102" fmla="*/ 123 w 129"/>
                  <a:gd name="T103" fmla="*/ 42 h 113"/>
                  <a:gd name="T104" fmla="*/ 98 w 129"/>
                  <a:gd name="T105" fmla="*/ 68 h 113"/>
                  <a:gd name="T106" fmla="*/ 93 w 129"/>
                  <a:gd name="T107" fmla="*/ 70 h 113"/>
                  <a:gd name="T108" fmla="*/ 91 w 129"/>
                  <a:gd name="T109" fmla="*/ 74 h 113"/>
                  <a:gd name="T110" fmla="*/ 88 w 129"/>
                  <a:gd name="T111" fmla="*/ 74 h 113"/>
                  <a:gd name="T112" fmla="*/ 83 w 129"/>
                  <a:gd name="T113" fmla="*/ 67 h 113"/>
                  <a:gd name="T114" fmla="*/ 88 w 129"/>
                  <a:gd name="T115" fmla="*/ 60 h 113"/>
                  <a:gd name="T116" fmla="*/ 96 w 129"/>
                  <a:gd name="T117" fmla="*/ 57 h 113"/>
                  <a:gd name="T118" fmla="*/ 101 w 129"/>
                  <a:gd name="T119" fmla="*/ 63 h 113"/>
                  <a:gd name="T120" fmla="*/ 98 w 129"/>
                  <a:gd name="T121" fmla="*/ 68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29" h="113">
                    <a:moveTo>
                      <a:pt x="123" y="42"/>
                    </a:moveTo>
                    <a:cubicBezTo>
                      <a:pt x="123" y="42"/>
                      <a:pt x="123" y="41"/>
                      <a:pt x="123" y="41"/>
                    </a:cubicBezTo>
                    <a:cubicBezTo>
                      <a:pt x="122" y="41"/>
                      <a:pt x="121" y="42"/>
                      <a:pt x="121" y="43"/>
                    </a:cubicBezTo>
                    <a:cubicBezTo>
                      <a:pt x="121" y="45"/>
                      <a:pt x="119" y="45"/>
                      <a:pt x="117" y="45"/>
                    </a:cubicBezTo>
                    <a:cubicBezTo>
                      <a:pt x="114" y="45"/>
                      <a:pt x="112" y="38"/>
                      <a:pt x="112" y="37"/>
                    </a:cubicBezTo>
                    <a:cubicBezTo>
                      <a:pt x="112" y="36"/>
                      <a:pt x="115" y="32"/>
                      <a:pt x="117" y="32"/>
                    </a:cubicBezTo>
                    <a:cubicBezTo>
                      <a:pt x="119" y="32"/>
                      <a:pt x="120" y="33"/>
                      <a:pt x="122" y="34"/>
                    </a:cubicBezTo>
                    <a:cubicBezTo>
                      <a:pt x="122" y="33"/>
                      <a:pt x="122" y="33"/>
                      <a:pt x="122" y="33"/>
                    </a:cubicBezTo>
                    <a:cubicBezTo>
                      <a:pt x="122" y="31"/>
                      <a:pt x="123" y="19"/>
                      <a:pt x="121" y="18"/>
                    </a:cubicBezTo>
                    <a:cubicBezTo>
                      <a:pt x="119" y="17"/>
                      <a:pt x="117" y="4"/>
                      <a:pt x="116" y="3"/>
                    </a:cubicBezTo>
                    <a:cubicBezTo>
                      <a:pt x="115" y="2"/>
                      <a:pt x="108" y="2"/>
                      <a:pt x="107" y="1"/>
                    </a:cubicBezTo>
                    <a:cubicBezTo>
                      <a:pt x="106" y="0"/>
                      <a:pt x="99" y="1"/>
                      <a:pt x="99" y="0"/>
                    </a:cubicBezTo>
                    <a:cubicBezTo>
                      <a:pt x="98" y="1"/>
                      <a:pt x="97" y="3"/>
                      <a:pt x="96" y="3"/>
                    </a:cubicBezTo>
                    <a:cubicBezTo>
                      <a:pt x="95" y="5"/>
                      <a:pt x="92" y="4"/>
                      <a:pt x="91" y="6"/>
                    </a:cubicBezTo>
                    <a:cubicBezTo>
                      <a:pt x="91" y="9"/>
                      <a:pt x="87" y="11"/>
                      <a:pt x="85" y="11"/>
                    </a:cubicBezTo>
                    <a:cubicBezTo>
                      <a:pt x="83" y="11"/>
                      <a:pt x="82" y="14"/>
                      <a:pt x="82" y="17"/>
                    </a:cubicBezTo>
                    <a:cubicBezTo>
                      <a:pt x="82" y="19"/>
                      <a:pt x="78" y="22"/>
                      <a:pt x="75" y="22"/>
                    </a:cubicBezTo>
                    <a:cubicBezTo>
                      <a:pt x="72" y="22"/>
                      <a:pt x="73" y="24"/>
                      <a:pt x="72" y="27"/>
                    </a:cubicBezTo>
                    <a:cubicBezTo>
                      <a:pt x="71" y="31"/>
                      <a:pt x="69" y="31"/>
                      <a:pt x="64" y="31"/>
                    </a:cubicBezTo>
                    <a:cubicBezTo>
                      <a:pt x="59" y="31"/>
                      <a:pt x="59" y="31"/>
                      <a:pt x="54" y="28"/>
                    </a:cubicBezTo>
                    <a:cubicBezTo>
                      <a:pt x="50" y="25"/>
                      <a:pt x="49" y="30"/>
                      <a:pt x="49" y="32"/>
                    </a:cubicBezTo>
                    <a:cubicBezTo>
                      <a:pt x="49" y="34"/>
                      <a:pt x="43" y="39"/>
                      <a:pt x="42" y="41"/>
                    </a:cubicBezTo>
                    <a:cubicBezTo>
                      <a:pt x="40" y="42"/>
                      <a:pt x="36" y="41"/>
                      <a:pt x="34" y="41"/>
                    </a:cubicBezTo>
                    <a:cubicBezTo>
                      <a:pt x="31" y="41"/>
                      <a:pt x="32" y="39"/>
                      <a:pt x="32" y="37"/>
                    </a:cubicBezTo>
                    <a:cubicBezTo>
                      <a:pt x="32" y="36"/>
                      <a:pt x="33" y="37"/>
                      <a:pt x="34" y="36"/>
                    </a:cubicBezTo>
                    <a:cubicBezTo>
                      <a:pt x="34" y="34"/>
                      <a:pt x="32" y="29"/>
                      <a:pt x="31" y="27"/>
                    </a:cubicBezTo>
                    <a:cubicBezTo>
                      <a:pt x="31" y="26"/>
                      <a:pt x="29" y="25"/>
                      <a:pt x="27" y="24"/>
                    </a:cubicBezTo>
                    <a:cubicBezTo>
                      <a:pt x="27" y="38"/>
                      <a:pt x="27" y="52"/>
                      <a:pt x="27" y="53"/>
                    </a:cubicBezTo>
                    <a:cubicBezTo>
                      <a:pt x="27" y="56"/>
                      <a:pt x="23" y="57"/>
                      <a:pt x="22" y="59"/>
                    </a:cubicBezTo>
                    <a:cubicBezTo>
                      <a:pt x="21" y="60"/>
                      <a:pt x="15" y="59"/>
                      <a:pt x="12" y="59"/>
                    </a:cubicBezTo>
                    <a:cubicBezTo>
                      <a:pt x="9" y="59"/>
                      <a:pt x="9" y="56"/>
                      <a:pt x="8" y="53"/>
                    </a:cubicBezTo>
                    <a:cubicBezTo>
                      <a:pt x="6" y="51"/>
                      <a:pt x="3" y="54"/>
                      <a:pt x="3" y="56"/>
                    </a:cubicBezTo>
                    <a:cubicBezTo>
                      <a:pt x="3" y="57"/>
                      <a:pt x="2" y="57"/>
                      <a:pt x="0" y="56"/>
                    </a:cubicBezTo>
                    <a:cubicBezTo>
                      <a:pt x="2" y="61"/>
                      <a:pt x="5" y="65"/>
                      <a:pt x="6" y="69"/>
                    </a:cubicBezTo>
                    <a:cubicBezTo>
                      <a:pt x="8" y="76"/>
                      <a:pt x="12" y="81"/>
                      <a:pt x="13" y="85"/>
                    </a:cubicBezTo>
                    <a:cubicBezTo>
                      <a:pt x="15" y="89"/>
                      <a:pt x="16" y="92"/>
                      <a:pt x="13" y="93"/>
                    </a:cubicBezTo>
                    <a:cubicBezTo>
                      <a:pt x="11" y="93"/>
                      <a:pt x="11" y="95"/>
                      <a:pt x="14" y="99"/>
                    </a:cubicBezTo>
                    <a:cubicBezTo>
                      <a:pt x="16" y="103"/>
                      <a:pt x="14" y="106"/>
                      <a:pt x="16" y="106"/>
                    </a:cubicBezTo>
                    <a:cubicBezTo>
                      <a:pt x="18" y="107"/>
                      <a:pt x="18" y="108"/>
                      <a:pt x="20" y="108"/>
                    </a:cubicBezTo>
                    <a:cubicBezTo>
                      <a:pt x="21" y="108"/>
                      <a:pt x="23" y="110"/>
                      <a:pt x="24" y="112"/>
                    </a:cubicBezTo>
                    <a:cubicBezTo>
                      <a:pt x="25" y="113"/>
                      <a:pt x="28" y="113"/>
                      <a:pt x="29" y="111"/>
                    </a:cubicBezTo>
                    <a:cubicBezTo>
                      <a:pt x="30" y="109"/>
                      <a:pt x="34" y="109"/>
                      <a:pt x="39" y="109"/>
                    </a:cubicBezTo>
                    <a:cubicBezTo>
                      <a:pt x="43" y="109"/>
                      <a:pt x="42" y="107"/>
                      <a:pt x="46" y="106"/>
                    </a:cubicBezTo>
                    <a:cubicBezTo>
                      <a:pt x="50" y="105"/>
                      <a:pt x="55" y="104"/>
                      <a:pt x="58" y="106"/>
                    </a:cubicBezTo>
                    <a:cubicBezTo>
                      <a:pt x="62" y="107"/>
                      <a:pt x="64" y="106"/>
                      <a:pt x="66" y="105"/>
                    </a:cubicBezTo>
                    <a:cubicBezTo>
                      <a:pt x="68" y="104"/>
                      <a:pt x="71" y="106"/>
                      <a:pt x="71" y="104"/>
                    </a:cubicBezTo>
                    <a:cubicBezTo>
                      <a:pt x="71" y="101"/>
                      <a:pt x="75" y="101"/>
                      <a:pt x="78" y="101"/>
                    </a:cubicBezTo>
                    <a:cubicBezTo>
                      <a:pt x="81" y="101"/>
                      <a:pt x="88" y="96"/>
                      <a:pt x="94" y="91"/>
                    </a:cubicBezTo>
                    <a:cubicBezTo>
                      <a:pt x="100" y="85"/>
                      <a:pt x="110" y="73"/>
                      <a:pt x="113" y="67"/>
                    </a:cubicBezTo>
                    <a:cubicBezTo>
                      <a:pt x="117" y="62"/>
                      <a:pt x="122" y="57"/>
                      <a:pt x="125" y="55"/>
                    </a:cubicBezTo>
                    <a:cubicBezTo>
                      <a:pt x="127" y="53"/>
                      <a:pt x="128" y="46"/>
                      <a:pt x="129" y="41"/>
                    </a:cubicBezTo>
                    <a:cubicBezTo>
                      <a:pt x="126" y="41"/>
                      <a:pt x="123" y="42"/>
                      <a:pt x="123" y="42"/>
                    </a:cubicBezTo>
                    <a:close/>
                    <a:moveTo>
                      <a:pt x="98" y="68"/>
                    </a:moveTo>
                    <a:cubicBezTo>
                      <a:pt x="98" y="70"/>
                      <a:pt x="94" y="68"/>
                      <a:pt x="93" y="70"/>
                    </a:cubicBezTo>
                    <a:cubicBezTo>
                      <a:pt x="92" y="72"/>
                      <a:pt x="91" y="74"/>
                      <a:pt x="91" y="74"/>
                    </a:cubicBezTo>
                    <a:cubicBezTo>
                      <a:pt x="88" y="74"/>
                      <a:pt x="88" y="74"/>
                      <a:pt x="88" y="74"/>
                    </a:cubicBezTo>
                    <a:cubicBezTo>
                      <a:pt x="83" y="67"/>
                      <a:pt x="83" y="67"/>
                      <a:pt x="83" y="67"/>
                    </a:cubicBezTo>
                    <a:cubicBezTo>
                      <a:pt x="83" y="67"/>
                      <a:pt x="87" y="62"/>
                      <a:pt x="88" y="60"/>
                    </a:cubicBezTo>
                    <a:cubicBezTo>
                      <a:pt x="88" y="58"/>
                      <a:pt x="95" y="55"/>
                      <a:pt x="96" y="57"/>
                    </a:cubicBezTo>
                    <a:cubicBezTo>
                      <a:pt x="97" y="58"/>
                      <a:pt x="101" y="61"/>
                      <a:pt x="101" y="63"/>
                    </a:cubicBezTo>
                    <a:cubicBezTo>
                      <a:pt x="101" y="65"/>
                      <a:pt x="98" y="66"/>
                      <a:pt x="98" y="68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5" name="Freeform 11">
                <a:extLst>
                  <a:ext uri="{FF2B5EF4-FFF2-40B4-BE49-F238E27FC236}">
                    <a16:creationId xmlns:a16="http://schemas.microsoft.com/office/drawing/2014/main" id="{D1198E76-B30B-433B-AF07-FB3ECE541C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9291" y="4197704"/>
                <a:ext cx="217068" cy="229615"/>
              </a:xfrm>
              <a:custGeom>
                <a:avLst/>
                <a:gdLst>
                  <a:gd name="T0" fmla="*/ 6 w 94"/>
                  <a:gd name="T1" fmla="*/ 92 h 100"/>
                  <a:gd name="T2" fmla="*/ 9 w 94"/>
                  <a:gd name="T3" fmla="*/ 94 h 100"/>
                  <a:gd name="T4" fmla="*/ 17 w 94"/>
                  <a:gd name="T5" fmla="*/ 94 h 100"/>
                  <a:gd name="T6" fmla="*/ 24 w 94"/>
                  <a:gd name="T7" fmla="*/ 96 h 100"/>
                  <a:gd name="T8" fmla="*/ 52 w 94"/>
                  <a:gd name="T9" fmla="*/ 96 h 100"/>
                  <a:gd name="T10" fmla="*/ 55 w 94"/>
                  <a:gd name="T11" fmla="*/ 99 h 100"/>
                  <a:gd name="T12" fmla="*/ 72 w 94"/>
                  <a:gd name="T13" fmla="*/ 99 h 100"/>
                  <a:gd name="T14" fmla="*/ 85 w 94"/>
                  <a:gd name="T15" fmla="*/ 98 h 100"/>
                  <a:gd name="T16" fmla="*/ 87 w 94"/>
                  <a:gd name="T17" fmla="*/ 97 h 100"/>
                  <a:gd name="T18" fmla="*/ 78 w 94"/>
                  <a:gd name="T19" fmla="*/ 85 h 100"/>
                  <a:gd name="T20" fmla="*/ 79 w 94"/>
                  <a:gd name="T21" fmla="*/ 58 h 100"/>
                  <a:gd name="T22" fmla="*/ 91 w 94"/>
                  <a:gd name="T23" fmla="*/ 59 h 100"/>
                  <a:gd name="T24" fmla="*/ 93 w 94"/>
                  <a:gd name="T25" fmla="*/ 57 h 100"/>
                  <a:gd name="T26" fmla="*/ 94 w 94"/>
                  <a:gd name="T27" fmla="*/ 41 h 100"/>
                  <a:gd name="T28" fmla="*/ 92 w 94"/>
                  <a:gd name="T29" fmla="*/ 40 h 100"/>
                  <a:gd name="T30" fmla="*/ 85 w 94"/>
                  <a:gd name="T31" fmla="*/ 41 h 100"/>
                  <a:gd name="T32" fmla="*/ 81 w 94"/>
                  <a:gd name="T33" fmla="*/ 43 h 100"/>
                  <a:gd name="T34" fmla="*/ 81 w 94"/>
                  <a:gd name="T35" fmla="*/ 37 h 100"/>
                  <a:gd name="T36" fmla="*/ 77 w 94"/>
                  <a:gd name="T37" fmla="*/ 30 h 100"/>
                  <a:gd name="T38" fmla="*/ 78 w 94"/>
                  <a:gd name="T39" fmla="*/ 19 h 100"/>
                  <a:gd name="T40" fmla="*/ 77 w 94"/>
                  <a:gd name="T41" fmla="*/ 13 h 100"/>
                  <a:gd name="T42" fmla="*/ 71 w 94"/>
                  <a:gd name="T43" fmla="*/ 12 h 100"/>
                  <a:gd name="T44" fmla="*/ 67 w 94"/>
                  <a:gd name="T45" fmla="*/ 10 h 100"/>
                  <a:gd name="T46" fmla="*/ 61 w 94"/>
                  <a:gd name="T47" fmla="*/ 10 h 100"/>
                  <a:gd name="T48" fmla="*/ 58 w 94"/>
                  <a:gd name="T49" fmla="*/ 17 h 100"/>
                  <a:gd name="T50" fmla="*/ 48 w 94"/>
                  <a:gd name="T51" fmla="*/ 18 h 100"/>
                  <a:gd name="T52" fmla="*/ 42 w 94"/>
                  <a:gd name="T53" fmla="*/ 13 h 100"/>
                  <a:gd name="T54" fmla="*/ 38 w 94"/>
                  <a:gd name="T55" fmla="*/ 7 h 100"/>
                  <a:gd name="T56" fmla="*/ 37 w 94"/>
                  <a:gd name="T57" fmla="*/ 1 h 100"/>
                  <a:gd name="T58" fmla="*/ 11 w 94"/>
                  <a:gd name="T59" fmla="*/ 1 h 100"/>
                  <a:gd name="T60" fmla="*/ 6 w 94"/>
                  <a:gd name="T61" fmla="*/ 3 h 100"/>
                  <a:gd name="T62" fmla="*/ 13 w 94"/>
                  <a:gd name="T63" fmla="*/ 20 h 100"/>
                  <a:gd name="T64" fmla="*/ 12 w 94"/>
                  <a:gd name="T65" fmla="*/ 28 h 100"/>
                  <a:gd name="T66" fmla="*/ 17 w 94"/>
                  <a:gd name="T67" fmla="*/ 45 h 100"/>
                  <a:gd name="T68" fmla="*/ 11 w 94"/>
                  <a:gd name="T69" fmla="*/ 57 h 100"/>
                  <a:gd name="T70" fmla="*/ 6 w 94"/>
                  <a:gd name="T71" fmla="*/ 72 h 100"/>
                  <a:gd name="T72" fmla="*/ 1 w 94"/>
                  <a:gd name="T73" fmla="*/ 83 h 100"/>
                  <a:gd name="T74" fmla="*/ 0 w 94"/>
                  <a:gd name="T75" fmla="*/ 94 h 100"/>
                  <a:gd name="T76" fmla="*/ 0 w 94"/>
                  <a:gd name="T77" fmla="*/ 95 h 100"/>
                  <a:gd name="T78" fmla="*/ 3 w 94"/>
                  <a:gd name="T79" fmla="*/ 94 h 100"/>
                  <a:gd name="T80" fmla="*/ 6 w 94"/>
                  <a:gd name="T81" fmla="*/ 92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94" h="100">
                    <a:moveTo>
                      <a:pt x="6" y="92"/>
                    </a:moveTo>
                    <a:cubicBezTo>
                      <a:pt x="8" y="92"/>
                      <a:pt x="7" y="95"/>
                      <a:pt x="9" y="94"/>
                    </a:cubicBezTo>
                    <a:cubicBezTo>
                      <a:pt x="12" y="92"/>
                      <a:pt x="15" y="92"/>
                      <a:pt x="17" y="94"/>
                    </a:cubicBezTo>
                    <a:cubicBezTo>
                      <a:pt x="19" y="96"/>
                      <a:pt x="21" y="96"/>
                      <a:pt x="24" y="96"/>
                    </a:cubicBezTo>
                    <a:cubicBezTo>
                      <a:pt x="27" y="96"/>
                      <a:pt x="52" y="96"/>
                      <a:pt x="52" y="96"/>
                    </a:cubicBezTo>
                    <a:cubicBezTo>
                      <a:pt x="55" y="99"/>
                      <a:pt x="55" y="99"/>
                      <a:pt x="55" y="99"/>
                    </a:cubicBezTo>
                    <a:cubicBezTo>
                      <a:pt x="55" y="99"/>
                      <a:pt x="70" y="98"/>
                      <a:pt x="72" y="99"/>
                    </a:cubicBezTo>
                    <a:cubicBezTo>
                      <a:pt x="75" y="100"/>
                      <a:pt x="83" y="99"/>
                      <a:pt x="85" y="98"/>
                    </a:cubicBezTo>
                    <a:cubicBezTo>
                      <a:pt x="85" y="98"/>
                      <a:pt x="86" y="98"/>
                      <a:pt x="87" y="97"/>
                    </a:cubicBezTo>
                    <a:cubicBezTo>
                      <a:pt x="78" y="85"/>
                      <a:pt x="78" y="85"/>
                      <a:pt x="78" y="85"/>
                    </a:cubicBezTo>
                    <a:cubicBezTo>
                      <a:pt x="79" y="58"/>
                      <a:pt x="79" y="58"/>
                      <a:pt x="79" y="58"/>
                    </a:cubicBezTo>
                    <a:cubicBezTo>
                      <a:pt x="91" y="59"/>
                      <a:pt x="91" y="59"/>
                      <a:pt x="91" y="59"/>
                    </a:cubicBezTo>
                    <a:cubicBezTo>
                      <a:pt x="93" y="57"/>
                      <a:pt x="93" y="57"/>
                      <a:pt x="93" y="57"/>
                    </a:cubicBezTo>
                    <a:cubicBezTo>
                      <a:pt x="94" y="41"/>
                      <a:pt x="94" y="41"/>
                      <a:pt x="94" y="41"/>
                    </a:cubicBezTo>
                    <a:cubicBezTo>
                      <a:pt x="94" y="40"/>
                      <a:pt x="93" y="40"/>
                      <a:pt x="92" y="40"/>
                    </a:cubicBezTo>
                    <a:cubicBezTo>
                      <a:pt x="90" y="42"/>
                      <a:pt x="88" y="41"/>
                      <a:pt x="85" y="41"/>
                    </a:cubicBezTo>
                    <a:cubicBezTo>
                      <a:pt x="83" y="41"/>
                      <a:pt x="82" y="44"/>
                      <a:pt x="81" y="43"/>
                    </a:cubicBezTo>
                    <a:cubicBezTo>
                      <a:pt x="79" y="43"/>
                      <a:pt x="81" y="39"/>
                      <a:pt x="81" y="37"/>
                    </a:cubicBezTo>
                    <a:cubicBezTo>
                      <a:pt x="81" y="35"/>
                      <a:pt x="79" y="32"/>
                      <a:pt x="77" y="30"/>
                    </a:cubicBezTo>
                    <a:cubicBezTo>
                      <a:pt x="75" y="29"/>
                      <a:pt x="79" y="20"/>
                      <a:pt x="78" y="19"/>
                    </a:cubicBezTo>
                    <a:cubicBezTo>
                      <a:pt x="77" y="18"/>
                      <a:pt x="77" y="15"/>
                      <a:pt x="77" y="13"/>
                    </a:cubicBezTo>
                    <a:cubicBezTo>
                      <a:pt x="77" y="10"/>
                      <a:pt x="75" y="12"/>
                      <a:pt x="71" y="12"/>
                    </a:cubicBezTo>
                    <a:cubicBezTo>
                      <a:pt x="68" y="12"/>
                      <a:pt x="67" y="10"/>
                      <a:pt x="67" y="10"/>
                    </a:cubicBezTo>
                    <a:cubicBezTo>
                      <a:pt x="67" y="10"/>
                      <a:pt x="63" y="9"/>
                      <a:pt x="61" y="10"/>
                    </a:cubicBezTo>
                    <a:cubicBezTo>
                      <a:pt x="59" y="11"/>
                      <a:pt x="59" y="17"/>
                      <a:pt x="58" y="17"/>
                    </a:cubicBezTo>
                    <a:cubicBezTo>
                      <a:pt x="56" y="17"/>
                      <a:pt x="52" y="17"/>
                      <a:pt x="48" y="18"/>
                    </a:cubicBezTo>
                    <a:cubicBezTo>
                      <a:pt x="45" y="19"/>
                      <a:pt x="43" y="18"/>
                      <a:pt x="42" y="13"/>
                    </a:cubicBezTo>
                    <a:cubicBezTo>
                      <a:pt x="40" y="9"/>
                      <a:pt x="38" y="10"/>
                      <a:pt x="38" y="7"/>
                    </a:cubicBezTo>
                    <a:cubicBezTo>
                      <a:pt x="39" y="4"/>
                      <a:pt x="37" y="1"/>
                      <a:pt x="37" y="1"/>
                    </a:cubicBezTo>
                    <a:cubicBezTo>
                      <a:pt x="37" y="1"/>
                      <a:pt x="13" y="0"/>
                      <a:pt x="11" y="1"/>
                    </a:cubicBezTo>
                    <a:cubicBezTo>
                      <a:pt x="10" y="1"/>
                      <a:pt x="8" y="2"/>
                      <a:pt x="6" y="3"/>
                    </a:cubicBezTo>
                    <a:cubicBezTo>
                      <a:pt x="8" y="8"/>
                      <a:pt x="12" y="18"/>
                      <a:pt x="13" y="20"/>
                    </a:cubicBezTo>
                    <a:cubicBezTo>
                      <a:pt x="15" y="22"/>
                      <a:pt x="12" y="24"/>
                      <a:pt x="12" y="28"/>
                    </a:cubicBezTo>
                    <a:cubicBezTo>
                      <a:pt x="12" y="32"/>
                      <a:pt x="17" y="40"/>
                      <a:pt x="17" y="45"/>
                    </a:cubicBezTo>
                    <a:cubicBezTo>
                      <a:pt x="18" y="50"/>
                      <a:pt x="14" y="53"/>
                      <a:pt x="11" y="57"/>
                    </a:cubicBezTo>
                    <a:cubicBezTo>
                      <a:pt x="9" y="60"/>
                      <a:pt x="6" y="68"/>
                      <a:pt x="6" y="72"/>
                    </a:cubicBezTo>
                    <a:cubicBezTo>
                      <a:pt x="6" y="77"/>
                      <a:pt x="1" y="81"/>
                      <a:pt x="1" y="83"/>
                    </a:cubicBezTo>
                    <a:cubicBezTo>
                      <a:pt x="2" y="86"/>
                      <a:pt x="1" y="92"/>
                      <a:pt x="0" y="94"/>
                    </a:cubicBezTo>
                    <a:cubicBezTo>
                      <a:pt x="0" y="94"/>
                      <a:pt x="0" y="95"/>
                      <a:pt x="0" y="95"/>
                    </a:cubicBezTo>
                    <a:cubicBezTo>
                      <a:pt x="3" y="94"/>
                      <a:pt x="3" y="94"/>
                      <a:pt x="3" y="94"/>
                    </a:cubicBezTo>
                    <a:cubicBezTo>
                      <a:pt x="3" y="94"/>
                      <a:pt x="4" y="92"/>
                      <a:pt x="6" y="9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6" name="Freeform 12">
                <a:extLst>
                  <a:ext uri="{FF2B5EF4-FFF2-40B4-BE49-F238E27FC236}">
                    <a16:creationId xmlns:a16="http://schemas.microsoft.com/office/drawing/2014/main" id="{0A37CE45-017D-42DB-B62E-4BDC5504EB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9972" y="4240365"/>
                <a:ext cx="213303" cy="189464"/>
              </a:xfrm>
              <a:custGeom>
                <a:avLst/>
                <a:gdLst>
                  <a:gd name="T0" fmla="*/ 71 w 93"/>
                  <a:gd name="T1" fmla="*/ 3 h 82"/>
                  <a:gd name="T2" fmla="*/ 65 w 93"/>
                  <a:gd name="T3" fmla="*/ 0 h 82"/>
                  <a:gd name="T4" fmla="*/ 56 w 93"/>
                  <a:gd name="T5" fmla="*/ 1 h 82"/>
                  <a:gd name="T6" fmla="*/ 54 w 93"/>
                  <a:gd name="T7" fmla="*/ 7 h 82"/>
                  <a:gd name="T8" fmla="*/ 52 w 93"/>
                  <a:gd name="T9" fmla="*/ 11 h 82"/>
                  <a:gd name="T10" fmla="*/ 52 w 93"/>
                  <a:gd name="T11" fmla="*/ 20 h 82"/>
                  <a:gd name="T12" fmla="*/ 50 w 93"/>
                  <a:gd name="T13" fmla="*/ 28 h 82"/>
                  <a:gd name="T14" fmla="*/ 56 w 93"/>
                  <a:gd name="T15" fmla="*/ 34 h 82"/>
                  <a:gd name="T16" fmla="*/ 61 w 93"/>
                  <a:gd name="T17" fmla="*/ 32 h 82"/>
                  <a:gd name="T18" fmla="*/ 62 w 93"/>
                  <a:gd name="T19" fmla="*/ 38 h 82"/>
                  <a:gd name="T20" fmla="*/ 61 w 93"/>
                  <a:gd name="T21" fmla="*/ 41 h 82"/>
                  <a:gd name="T22" fmla="*/ 55 w 93"/>
                  <a:gd name="T23" fmla="*/ 41 h 82"/>
                  <a:gd name="T24" fmla="*/ 52 w 93"/>
                  <a:gd name="T25" fmla="*/ 35 h 82"/>
                  <a:gd name="T26" fmla="*/ 46 w 93"/>
                  <a:gd name="T27" fmla="*/ 33 h 82"/>
                  <a:gd name="T28" fmla="*/ 41 w 93"/>
                  <a:gd name="T29" fmla="*/ 29 h 82"/>
                  <a:gd name="T30" fmla="*/ 39 w 93"/>
                  <a:gd name="T31" fmla="*/ 30 h 82"/>
                  <a:gd name="T32" fmla="*/ 35 w 93"/>
                  <a:gd name="T33" fmla="*/ 31 h 82"/>
                  <a:gd name="T34" fmla="*/ 28 w 93"/>
                  <a:gd name="T35" fmla="*/ 29 h 82"/>
                  <a:gd name="T36" fmla="*/ 26 w 93"/>
                  <a:gd name="T37" fmla="*/ 25 h 82"/>
                  <a:gd name="T38" fmla="*/ 21 w 93"/>
                  <a:gd name="T39" fmla="*/ 25 h 82"/>
                  <a:gd name="T40" fmla="*/ 19 w 93"/>
                  <a:gd name="T41" fmla="*/ 24 h 82"/>
                  <a:gd name="T42" fmla="*/ 16 w 93"/>
                  <a:gd name="T43" fmla="*/ 22 h 82"/>
                  <a:gd name="T44" fmla="*/ 15 w 93"/>
                  <a:gd name="T45" fmla="*/ 38 h 82"/>
                  <a:gd name="T46" fmla="*/ 13 w 93"/>
                  <a:gd name="T47" fmla="*/ 40 h 82"/>
                  <a:gd name="T48" fmla="*/ 1 w 93"/>
                  <a:gd name="T49" fmla="*/ 39 h 82"/>
                  <a:gd name="T50" fmla="*/ 0 w 93"/>
                  <a:gd name="T51" fmla="*/ 66 h 82"/>
                  <a:gd name="T52" fmla="*/ 9 w 93"/>
                  <a:gd name="T53" fmla="*/ 78 h 82"/>
                  <a:gd name="T54" fmla="*/ 24 w 93"/>
                  <a:gd name="T55" fmla="*/ 78 h 82"/>
                  <a:gd name="T56" fmla="*/ 24 w 93"/>
                  <a:gd name="T57" fmla="*/ 80 h 82"/>
                  <a:gd name="T58" fmla="*/ 29 w 93"/>
                  <a:gd name="T59" fmla="*/ 79 h 82"/>
                  <a:gd name="T60" fmla="*/ 39 w 93"/>
                  <a:gd name="T61" fmla="*/ 81 h 82"/>
                  <a:gd name="T62" fmla="*/ 47 w 93"/>
                  <a:gd name="T63" fmla="*/ 72 h 82"/>
                  <a:gd name="T64" fmla="*/ 55 w 93"/>
                  <a:gd name="T65" fmla="*/ 66 h 82"/>
                  <a:gd name="T66" fmla="*/ 59 w 93"/>
                  <a:gd name="T67" fmla="*/ 62 h 82"/>
                  <a:gd name="T68" fmla="*/ 66 w 93"/>
                  <a:gd name="T69" fmla="*/ 62 h 82"/>
                  <a:gd name="T70" fmla="*/ 66 w 93"/>
                  <a:gd name="T71" fmla="*/ 62 h 82"/>
                  <a:gd name="T72" fmla="*/ 65 w 93"/>
                  <a:gd name="T73" fmla="*/ 56 h 82"/>
                  <a:gd name="T74" fmla="*/ 87 w 93"/>
                  <a:gd name="T75" fmla="*/ 48 h 82"/>
                  <a:gd name="T76" fmla="*/ 86 w 93"/>
                  <a:gd name="T77" fmla="*/ 44 h 82"/>
                  <a:gd name="T78" fmla="*/ 87 w 93"/>
                  <a:gd name="T79" fmla="*/ 36 h 82"/>
                  <a:gd name="T80" fmla="*/ 90 w 93"/>
                  <a:gd name="T81" fmla="*/ 34 h 82"/>
                  <a:gd name="T82" fmla="*/ 90 w 93"/>
                  <a:gd name="T83" fmla="*/ 21 h 82"/>
                  <a:gd name="T84" fmla="*/ 93 w 93"/>
                  <a:gd name="T85" fmla="*/ 19 h 82"/>
                  <a:gd name="T86" fmla="*/ 89 w 93"/>
                  <a:gd name="T87" fmla="*/ 11 h 82"/>
                  <a:gd name="T88" fmla="*/ 79 w 93"/>
                  <a:gd name="T89" fmla="*/ 6 h 82"/>
                  <a:gd name="T90" fmla="*/ 71 w 93"/>
                  <a:gd name="T91" fmla="*/ 3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93" h="82">
                    <a:moveTo>
                      <a:pt x="71" y="3"/>
                    </a:moveTo>
                    <a:cubicBezTo>
                      <a:pt x="70" y="3"/>
                      <a:pt x="68" y="2"/>
                      <a:pt x="65" y="0"/>
                    </a:cubicBezTo>
                    <a:cubicBezTo>
                      <a:pt x="64" y="2"/>
                      <a:pt x="58" y="1"/>
                      <a:pt x="56" y="1"/>
                    </a:cubicBezTo>
                    <a:cubicBezTo>
                      <a:pt x="53" y="1"/>
                      <a:pt x="55" y="5"/>
                      <a:pt x="54" y="7"/>
                    </a:cubicBezTo>
                    <a:cubicBezTo>
                      <a:pt x="52" y="8"/>
                      <a:pt x="51" y="10"/>
                      <a:pt x="52" y="11"/>
                    </a:cubicBezTo>
                    <a:cubicBezTo>
                      <a:pt x="54" y="12"/>
                      <a:pt x="52" y="18"/>
                      <a:pt x="52" y="20"/>
                    </a:cubicBezTo>
                    <a:cubicBezTo>
                      <a:pt x="52" y="22"/>
                      <a:pt x="49" y="27"/>
                      <a:pt x="50" y="28"/>
                    </a:cubicBezTo>
                    <a:cubicBezTo>
                      <a:pt x="51" y="28"/>
                      <a:pt x="53" y="33"/>
                      <a:pt x="56" y="34"/>
                    </a:cubicBezTo>
                    <a:cubicBezTo>
                      <a:pt x="58" y="35"/>
                      <a:pt x="60" y="32"/>
                      <a:pt x="61" y="32"/>
                    </a:cubicBezTo>
                    <a:cubicBezTo>
                      <a:pt x="62" y="32"/>
                      <a:pt x="62" y="35"/>
                      <a:pt x="62" y="38"/>
                    </a:cubicBezTo>
                    <a:cubicBezTo>
                      <a:pt x="62" y="40"/>
                      <a:pt x="61" y="41"/>
                      <a:pt x="61" y="41"/>
                    </a:cubicBezTo>
                    <a:cubicBezTo>
                      <a:pt x="61" y="41"/>
                      <a:pt x="57" y="43"/>
                      <a:pt x="55" y="41"/>
                    </a:cubicBezTo>
                    <a:cubicBezTo>
                      <a:pt x="53" y="40"/>
                      <a:pt x="52" y="36"/>
                      <a:pt x="52" y="35"/>
                    </a:cubicBezTo>
                    <a:cubicBezTo>
                      <a:pt x="52" y="33"/>
                      <a:pt x="47" y="33"/>
                      <a:pt x="46" y="33"/>
                    </a:cubicBezTo>
                    <a:cubicBezTo>
                      <a:pt x="44" y="33"/>
                      <a:pt x="42" y="30"/>
                      <a:pt x="41" y="29"/>
                    </a:cubicBezTo>
                    <a:cubicBezTo>
                      <a:pt x="41" y="27"/>
                      <a:pt x="39" y="29"/>
                      <a:pt x="39" y="30"/>
                    </a:cubicBezTo>
                    <a:cubicBezTo>
                      <a:pt x="39" y="31"/>
                      <a:pt x="37" y="31"/>
                      <a:pt x="35" y="31"/>
                    </a:cubicBezTo>
                    <a:cubicBezTo>
                      <a:pt x="33" y="31"/>
                      <a:pt x="30" y="28"/>
                      <a:pt x="28" y="29"/>
                    </a:cubicBezTo>
                    <a:cubicBezTo>
                      <a:pt x="27" y="30"/>
                      <a:pt x="25" y="26"/>
                      <a:pt x="26" y="25"/>
                    </a:cubicBezTo>
                    <a:cubicBezTo>
                      <a:pt x="26" y="24"/>
                      <a:pt x="22" y="25"/>
                      <a:pt x="21" y="25"/>
                    </a:cubicBezTo>
                    <a:cubicBezTo>
                      <a:pt x="19" y="26"/>
                      <a:pt x="19" y="24"/>
                      <a:pt x="19" y="24"/>
                    </a:cubicBezTo>
                    <a:cubicBezTo>
                      <a:pt x="19" y="24"/>
                      <a:pt x="18" y="22"/>
                      <a:pt x="16" y="22"/>
                    </a:cubicBezTo>
                    <a:cubicBezTo>
                      <a:pt x="15" y="38"/>
                      <a:pt x="15" y="38"/>
                      <a:pt x="15" y="38"/>
                    </a:cubicBezTo>
                    <a:cubicBezTo>
                      <a:pt x="13" y="40"/>
                      <a:pt x="13" y="40"/>
                      <a:pt x="13" y="40"/>
                    </a:cubicBezTo>
                    <a:cubicBezTo>
                      <a:pt x="1" y="39"/>
                      <a:pt x="1" y="39"/>
                      <a:pt x="1" y="39"/>
                    </a:cubicBezTo>
                    <a:cubicBezTo>
                      <a:pt x="0" y="66"/>
                      <a:pt x="0" y="66"/>
                      <a:pt x="0" y="66"/>
                    </a:cubicBezTo>
                    <a:cubicBezTo>
                      <a:pt x="9" y="78"/>
                      <a:pt x="9" y="78"/>
                      <a:pt x="9" y="78"/>
                    </a:cubicBezTo>
                    <a:cubicBezTo>
                      <a:pt x="14" y="77"/>
                      <a:pt x="24" y="76"/>
                      <a:pt x="24" y="78"/>
                    </a:cubicBezTo>
                    <a:cubicBezTo>
                      <a:pt x="24" y="78"/>
                      <a:pt x="24" y="79"/>
                      <a:pt x="24" y="80"/>
                    </a:cubicBezTo>
                    <a:cubicBezTo>
                      <a:pt x="26" y="79"/>
                      <a:pt x="28" y="79"/>
                      <a:pt x="29" y="79"/>
                    </a:cubicBezTo>
                    <a:cubicBezTo>
                      <a:pt x="30" y="79"/>
                      <a:pt x="37" y="82"/>
                      <a:pt x="39" y="81"/>
                    </a:cubicBezTo>
                    <a:cubicBezTo>
                      <a:pt x="41" y="80"/>
                      <a:pt x="44" y="73"/>
                      <a:pt x="47" y="72"/>
                    </a:cubicBezTo>
                    <a:cubicBezTo>
                      <a:pt x="50" y="71"/>
                      <a:pt x="55" y="67"/>
                      <a:pt x="55" y="66"/>
                    </a:cubicBezTo>
                    <a:cubicBezTo>
                      <a:pt x="55" y="64"/>
                      <a:pt x="55" y="63"/>
                      <a:pt x="59" y="62"/>
                    </a:cubicBezTo>
                    <a:cubicBezTo>
                      <a:pt x="66" y="62"/>
                      <a:pt x="66" y="62"/>
                      <a:pt x="66" y="62"/>
                    </a:cubicBezTo>
                    <a:cubicBezTo>
                      <a:pt x="66" y="62"/>
                      <a:pt x="66" y="62"/>
                      <a:pt x="66" y="62"/>
                    </a:cubicBezTo>
                    <a:cubicBezTo>
                      <a:pt x="65" y="56"/>
                      <a:pt x="65" y="56"/>
                      <a:pt x="65" y="56"/>
                    </a:cubicBezTo>
                    <a:cubicBezTo>
                      <a:pt x="65" y="56"/>
                      <a:pt x="86" y="48"/>
                      <a:pt x="87" y="48"/>
                    </a:cubicBezTo>
                    <a:cubicBezTo>
                      <a:pt x="86" y="46"/>
                      <a:pt x="85" y="44"/>
                      <a:pt x="86" y="44"/>
                    </a:cubicBezTo>
                    <a:cubicBezTo>
                      <a:pt x="86" y="44"/>
                      <a:pt x="87" y="38"/>
                      <a:pt x="87" y="36"/>
                    </a:cubicBezTo>
                    <a:cubicBezTo>
                      <a:pt x="87" y="35"/>
                      <a:pt x="92" y="36"/>
                      <a:pt x="90" y="34"/>
                    </a:cubicBezTo>
                    <a:cubicBezTo>
                      <a:pt x="88" y="33"/>
                      <a:pt x="89" y="23"/>
                      <a:pt x="90" y="21"/>
                    </a:cubicBezTo>
                    <a:cubicBezTo>
                      <a:pt x="91" y="19"/>
                      <a:pt x="93" y="21"/>
                      <a:pt x="93" y="19"/>
                    </a:cubicBezTo>
                    <a:cubicBezTo>
                      <a:pt x="93" y="18"/>
                      <a:pt x="90" y="12"/>
                      <a:pt x="89" y="11"/>
                    </a:cubicBezTo>
                    <a:cubicBezTo>
                      <a:pt x="88" y="10"/>
                      <a:pt x="81" y="7"/>
                      <a:pt x="79" y="6"/>
                    </a:cubicBezTo>
                    <a:cubicBezTo>
                      <a:pt x="77" y="6"/>
                      <a:pt x="73" y="3"/>
                      <a:pt x="71" y="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7" name="Freeform 13">
                <a:extLst>
                  <a:ext uri="{FF2B5EF4-FFF2-40B4-BE49-F238E27FC236}">
                    <a16:creationId xmlns:a16="http://schemas.microsoft.com/office/drawing/2014/main" id="{B558557B-871C-467C-9ECB-FC9F291A5C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6699" y="4107364"/>
                <a:ext cx="36387" cy="32623"/>
              </a:xfrm>
              <a:custGeom>
                <a:avLst/>
                <a:gdLst>
                  <a:gd name="T0" fmla="*/ 13 w 16"/>
                  <a:gd name="T1" fmla="*/ 0 h 14"/>
                  <a:gd name="T2" fmla="*/ 8 w 16"/>
                  <a:gd name="T3" fmla="*/ 2 h 14"/>
                  <a:gd name="T4" fmla="*/ 4 w 16"/>
                  <a:gd name="T5" fmla="*/ 2 h 14"/>
                  <a:gd name="T6" fmla="*/ 3 w 16"/>
                  <a:gd name="T7" fmla="*/ 3 h 14"/>
                  <a:gd name="T8" fmla="*/ 2 w 16"/>
                  <a:gd name="T9" fmla="*/ 8 h 14"/>
                  <a:gd name="T10" fmla="*/ 0 w 16"/>
                  <a:gd name="T11" fmla="*/ 11 h 14"/>
                  <a:gd name="T12" fmla="*/ 2 w 16"/>
                  <a:gd name="T13" fmla="*/ 13 h 14"/>
                  <a:gd name="T14" fmla="*/ 4 w 16"/>
                  <a:gd name="T15" fmla="*/ 13 h 14"/>
                  <a:gd name="T16" fmla="*/ 8 w 16"/>
                  <a:gd name="T17" fmla="*/ 11 h 14"/>
                  <a:gd name="T18" fmla="*/ 15 w 16"/>
                  <a:gd name="T19" fmla="*/ 9 h 14"/>
                  <a:gd name="T20" fmla="*/ 14 w 16"/>
                  <a:gd name="T21" fmla="*/ 4 h 14"/>
                  <a:gd name="T22" fmla="*/ 13 w 16"/>
                  <a:gd name="T23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6" h="14">
                    <a:moveTo>
                      <a:pt x="13" y="0"/>
                    </a:moveTo>
                    <a:cubicBezTo>
                      <a:pt x="11" y="1"/>
                      <a:pt x="9" y="1"/>
                      <a:pt x="8" y="2"/>
                    </a:cubicBezTo>
                    <a:cubicBezTo>
                      <a:pt x="7" y="2"/>
                      <a:pt x="7" y="3"/>
                      <a:pt x="4" y="2"/>
                    </a:cubicBezTo>
                    <a:cubicBezTo>
                      <a:pt x="4" y="3"/>
                      <a:pt x="4" y="3"/>
                      <a:pt x="3" y="3"/>
                    </a:cubicBezTo>
                    <a:cubicBezTo>
                      <a:pt x="1" y="4"/>
                      <a:pt x="2" y="8"/>
                      <a:pt x="2" y="8"/>
                    </a:cubicBezTo>
                    <a:cubicBezTo>
                      <a:pt x="2" y="8"/>
                      <a:pt x="0" y="8"/>
                      <a:pt x="0" y="11"/>
                    </a:cubicBezTo>
                    <a:cubicBezTo>
                      <a:pt x="0" y="12"/>
                      <a:pt x="1" y="13"/>
                      <a:pt x="2" y="13"/>
                    </a:cubicBezTo>
                    <a:cubicBezTo>
                      <a:pt x="3" y="13"/>
                      <a:pt x="4" y="13"/>
                      <a:pt x="4" y="13"/>
                    </a:cubicBezTo>
                    <a:cubicBezTo>
                      <a:pt x="9" y="14"/>
                      <a:pt x="8" y="11"/>
                      <a:pt x="8" y="11"/>
                    </a:cubicBezTo>
                    <a:cubicBezTo>
                      <a:pt x="8" y="11"/>
                      <a:pt x="15" y="11"/>
                      <a:pt x="15" y="9"/>
                    </a:cubicBezTo>
                    <a:cubicBezTo>
                      <a:pt x="16" y="7"/>
                      <a:pt x="14" y="4"/>
                      <a:pt x="14" y="4"/>
                    </a:cubicBezTo>
                    <a:lnTo>
                      <a:pt x="13" y="0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8" name="Freeform 14">
                <a:extLst>
                  <a:ext uri="{FF2B5EF4-FFF2-40B4-BE49-F238E27FC236}">
                    <a16:creationId xmlns:a16="http://schemas.microsoft.com/office/drawing/2014/main" id="{D15AE1B2-A2E5-4BDD-97B9-8E3F8F6B6C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0041" y="3857674"/>
                <a:ext cx="190718" cy="258473"/>
              </a:xfrm>
              <a:custGeom>
                <a:avLst/>
                <a:gdLst>
                  <a:gd name="T0" fmla="*/ 19 w 83"/>
                  <a:gd name="T1" fmla="*/ 21 h 112"/>
                  <a:gd name="T2" fmla="*/ 25 w 83"/>
                  <a:gd name="T3" fmla="*/ 26 h 112"/>
                  <a:gd name="T4" fmla="*/ 41 w 83"/>
                  <a:gd name="T5" fmla="*/ 32 h 112"/>
                  <a:gd name="T6" fmla="*/ 52 w 83"/>
                  <a:gd name="T7" fmla="*/ 34 h 112"/>
                  <a:gd name="T8" fmla="*/ 55 w 83"/>
                  <a:gd name="T9" fmla="*/ 36 h 112"/>
                  <a:gd name="T10" fmla="*/ 33 w 83"/>
                  <a:gd name="T11" fmla="*/ 58 h 112"/>
                  <a:gd name="T12" fmla="*/ 24 w 83"/>
                  <a:gd name="T13" fmla="*/ 59 h 112"/>
                  <a:gd name="T14" fmla="*/ 14 w 83"/>
                  <a:gd name="T15" fmla="*/ 65 h 112"/>
                  <a:gd name="T16" fmla="*/ 7 w 83"/>
                  <a:gd name="T17" fmla="*/ 66 h 112"/>
                  <a:gd name="T18" fmla="*/ 4 w 83"/>
                  <a:gd name="T19" fmla="*/ 71 h 112"/>
                  <a:gd name="T20" fmla="*/ 0 w 83"/>
                  <a:gd name="T21" fmla="*/ 77 h 112"/>
                  <a:gd name="T22" fmla="*/ 0 w 83"/>
                  <a:gd name="T23" fmla="*/ 106 h 112"/>
                  <a:gd name="T24" fmla="*/ 4 w 83"/>
                  <a:gd name="T25" fmla="*/ 112 h 112"/>
                  <a:gd name="T26" fmla="*/ 22 w 83"/>
                  <a:gd name="T27" fmla="*/ 93 h 112"/>
                  <a:gd name="T28" fmla="*/ 36 w 83"/>
                  <a:gd name="T29" fmla="*/ 83 h 112"/>
                  <a:gd name="T30" fmla="*/ 56 w 83"/>
                  <a:gd name="T31" fmla="*/ 63 h 112"/>
                  <a:gd name="T32" fmla="*/ 65 w 83"/>
                  <a:gd name="T33" fmla="*/ 48 h 112"/>
                  <a:gd name="T34" fmla="*/ 73 w 83"/>
                  <a:gd name="T35" fmla="*/ 36 h 112"/>
                  <a:gd name="T36" fmla="*/ 80 w 83"/>
                  <a:gd name="T37" fmla="*/ 20 h 112"/>
                  <a:gd name="T38" fmla="*/ 83 w 83"/>
                  <a:gd name="T39" fmla="*/ 6 h 112"/>
                  <a:gd name="T40" fmla="*/ 78 w 83"/>
                  <a:gd name="T41" fmla="*/ 3 h 112"/>
                  <a:gd name="T42" fmla="*/ 60 w 83"/>
                  <a:gd name="T43" fmla="*/ 8 h 112"/>
                  <a:gd name="T44" fmla="*/ 47 w 83"/>
                  <a:gd name="T45" fmla="*/ 11 h 112"/>
                  <a:gd name="T46" fmla="*/ 36 w 83"/>
                  <a:gd name="T47" fmla="*/ 13 h 112"/>
                  <a:gd name="T48" fmla="*/ 23 w 83"/>
                  <a:gd name="T49" fmla="*/ 12 h 112"/>
                  <a:gd name="T50" fmla="*/ 19 w 83"/>
                  <a:gd name="T51" fmla="*/ 7 h 112"/>
                  <a:gd name="T52" fmla="*/ 14 w 83"/>
                  <a:gd name="T53" fmla="*/ 14 h 112"/>
                  <a:gd name="T54" fmla="*/ 19 w 83"/>
                  <a:gd name="T55" fmla="*/ 21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83" h="112">
                    <a:moveTo>
                      <a:pt x="19" y="21"/>
                    </a:moveTo>
                    <a:cubicBezTo>
                      <a:pt x="21" y="22"/>
                      <a:pt x="23" y="26"/>
                      <a:pt x="25" y="26"/>
                    </a:cubicBezTo>
                    <a:cubicBezTo>
                      <a:pt x="26" y="27"/>
                      <a:pt x="35" y="30"/>
                      <a:pt x="41" y="32"/>
                    </a:cubicBezTo>
                    <a:cubicBezTo>
                      <a:pt x="47" y="34"/>
                      <a:pt x="50" y="34"/>
                      <a:pt x="52" y="34"/>
                    </a:cubicBezTo>
                    <a:cubicBezTo>
                      <a:pt x="54" y="34"/>
                      <a:pt x="56" y="35"/>
                      <a:pt x="55" y="36"/>
                    </a:cubicBezTo>
                    <a:cubicBezTo>
                      <a:pt x="53" y="37"/>
                      <a:pt x="36" y="55"/>
                      <a:pt x="33" y="58"/>
                    </a:cubicBezTo>
                    <a:cubicBezTo>
                      <a:pt x="31" y="60"/>
                      <a:pt x="30" y="59"/>
                      <a:pt x="24" y="59"/>
                    </a:cubicBezTo>
                    <a:cubicBezTo>
                      <a:pt x="19" y="59"/>
                      <a:pt x="15" y="65"/>
                      <a:pt x="14" y="65"/>
                    </a:cubicBezTo>
                    <a:cubicBezTo>
                      <a:pt x="13" y="65"/>
                      <a:pt x="10" y="65"/>
                      <a:pt x="7" y="66"/>
                    </a:cubicBezTo>
                    <a:cubicBezTo>
                      <a:pt x="4" y="71"/>
                      <a:pt x="4" y="71"/>
                      <a:pt x="4" y="71"/>
                    </a:cubicBezTo>
                    <a:cubicBezTo>
                      <a:pt x="0" y="77"/>
                      <a:pt x="0" y="77"/>
                      <a:pt x="0" y="77"/>
                    </a:cubicBezTo>
                    <a:cubicBezTo>
                      <a:pt x="0" y="106"/>
                      <a:pt x="0" y="106"/>
                      <a:pt x="0" y="106"/>
                    </a:cubicBezTo>
                    <a:cubicBezTo>
                      <a:pt x="4" y="112"/>
                      <a:pt x="4" y="112"/>
                      <a:pt x="4" y="112"/>
                    </a:cubicBezTo>
                    <a:cubicBezTo>
                      <a:pt x="7" y="108"/>
                      <a:pt x="16" y="100"/>
                      <a:pt x="22" y="93"/>
                    </a:cubicBezTo>
                    <a:cubicBezTo>
                      <a:pt x="29" y="86"/>
                      <a:pt x="32" y="85"/>
                      <a:pt x="36" y="83"/>
                    </a:cubicBezTo>
                    <a:cubicBezTo>
                      <a:pt x="40" y="81"/>
                      <a:pt x="50" y="71"/>
                      <a:pt x="56" y="63"/>
                    </a:cubicBezTo>
                    <a:cubicBezTo>
                      <a:pt x="60" y="58"/>
                      <a:pt x="65" y="52"/>
                      <a:pt x="65" y="48"/>
                    </a:cubicBezTo>
                    <a:cubicBezTo>
                      <a:pt x="66" y="44"/>
                      <a:pt x="70" y="39"/>
                      <a:pt x="73" y="36"/>
                    </a:cubicBezTo>
                    <a:cubicBezTo>
                      <a:pt x="75" y="32"/>
                      <a:pt x="80" y="23"/>
                      <a:pt x="80" y="20"/>
                    </a:cubicBezTo>
                    <a:cubicBezTo>
                      <a:pt x="80" y="17"/>
                      <a:pt x="83" y="11"/>
                      <a:pt x="83" y="6"/>
                    </a:cubicBezTo>
                    <a:cubicBezTo>
                      <a:pt x="83" y="1"/>
                      <a:pt x="79" y="0"/>
                      <a:pt x="78" y="3"/>
                    </a:cubicBezTo>
                    <a:cubicBezTo>
                      <a:pt x="76" y="6"/>
                      <a:pt x="66" y="8"/>
                      <a:pt x="60" y="8"/>
                    </a:cubicBezTo>
                    <a:cubicBezTo>
                      <a:pt x="53" y="8"/>
                      <a:pt x="49" y="9"/>
                      <a:pt x="47" y="11"/>
                    </a:cubicBezTo>
                    <a:cubicBezTo>
                      <a:pt x="44" y="13"/>
                      <a:pt x="38" y="10"/>
                      <a:pt x="36" y="13"/>
                    </a:cubicBezTo>
                    <a:cubicBezTo>
                      <a:pt x="34" y="15"/>
                      <a:pt x="26" y="17"/>
                      <a:pt x="23" y="12"/>
                    </a:cubicBezTo>
                    <a:cubicBezTo>
                      <a:pt x="22" y="9"/>
                      <a:pt x="20" y="8"/>
                      <a:pt x="19" y="7"/>
                    </a:cubicBezTo>
                    <a:cubicBezTo>
                      <a:pt x="17" y="9"/>
                      <a:pt x="14" y="13"/>
                      <a:pt x="14" y="14"/>
                    </a:cubicBezTo>
                    <a:cubicBezTo>
                      <a:pt x="15" y="16"/>
                      <a:pt x="18" y="21"/>
                      <a:pt x="19" y="2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9" name="Freeform 15">
                <a:extLst>
                  <a:ext uri="{FF2B5EF4-FFF2-40B4-BE49-F238E27FC236}">
                    <a16:creationId xmlns:a16="http://schemas.microsoft.com/office/drawing/2014/main" id="{D1D4A05E-89F8-4735-8323-CF681D6459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78807" y="3385897"/>
                <a:ext cx="223341" cy="179426"/>
              </a:xfrm>
              <a:custGeom>
                <a:avLst/>
                <a:gdLst>
                  <a:gd name="T0" fmla="*/ 36 w 97"/>
                  <a:gd name="T1" fmla="*/ 78 h 78"/>
                  <a:gd name="T2" fmla="*/ 36 w 97"/>
                  <a:gd name="T3" fmla="*/ 67 h 78"/>
                  <a:gd name="T4" fmla="*/ 49 w 97"/>
                  <a:gd name="T5" fmla="*/ 58 h 78"/>
                  <a:gd name="T6" fmla="*/ 54 w 97"/>
                  <a:gd name="T7" fmla="*/ 57 h 78"/>
                  <a:gd name="T8" fmla="*/ 61 w 97"/>
                  <a:gd name="T9" fmla="*/ 55 h 78"/>
                  <a:gd name="T10" fmla="*/ 65 w 97"/>
                  <a:gd name="T11" fmla="*/ 50 h 78"/>
                  <a:gd name="T12" fmla="*/ 71 w 97"/>
                  <a:gd name="T13" fmla="*/ 48 h 78"/>
                  <a:gd name="T14" fmla="*/ 75 w 97"/>
                  <a:gd name="T15" fmla="*/ 46 h 78"/>
                  <a:gd name="T16" fmla="*/ 76 w 97"/>
                  <a:gd name="T17" fmla="*/ 41 h 78"/>
                  <a:gd name="T18" fmla="*/ 78 w 97"/>
                  <a:gd name="T19" fmla="*/ 39 h 78"/>
                  <a:gd name="T20" fmla="*/ 83 w 97"/>
                  <a:gd name="T21" fmla="*/ 36 h 78"/>
                  <a:gd name="T22" fmla="*/ 95 w 97"/>
                  <a:gd name="T23" fmla="*/ 35 h 78"/>
                  <a:gd name="T24" fmla="*/ 97 w 97"/>
                  <a:gd name="T25" fmla="*/ 32 h 78"/>
                  <a:gd name="T26" fmla="*/ 94 w 97"/>
                  <a:gd name="T27" fmla="*/ 27 h 78"/>
                  <a:gd name="T28" fmla="*/ 93 w 97"/>
                  <a:gd name="T29" fmla="*/ 19 h 78"/>
                  <a:gd name="T30" fmla="*/ 91 w 97"/>
                  <a:gd name="T31" fmla="*/ 11 h 78"/>
                  <a:gd name="T32" fmla="*/ 89 w 97"/>
                  <a:gd name="T33" fmla="*/ 9 h 78"/>
                  <a:gd name="T34" fmla="*/ 80 w 97"/>
                  <a:gd name="T35" fmla="*/ 6 h 78"/>
                  <a:gd name="T36" fmla="*/ 66 w 97"/>
                  <a:gd name="T37" fmla="*/ 5 h 78"/>
                  <a:gd name="T38" fmla="*/ 59 w 97"/>
                  <a:gd name="T39" fmla="*/ 2 h 78"/>
                  <a:gd name="T40" fmla="*/ 50 w 97"/>
                  <a:gd name="T41" fmla="*/ 18 h 78"/>
                  <a:gd name="T42" fmla="*/ 38 w 97"/>
                  <a:gd name="T43" fmla="*/ 24 h 78"/>
                  <a:gd name="T44" fmla="*/ 32 w 97"/>
                  <a:gd name="T45" fmla="*/ 31 h 78"/>
                  <a:gd name="T46" fmla="*/ 27 w 97"/>
                  <a:gd name="T47" fmla="*/ 38 h 78"/>
                  <a:gd name="T48" fmla="*/ 27 w 97"/>
                  <a:gd name="T49" fmla="*/ 51 h 78"/>
                  <a:gd name="T50" fmla="*/ 18 w 97"/>
                  <a:gd name="T51" fmla="*/ 64 h 78"/>
                  <a:gd name="T52" fmla="*/ 6 w 97"/>
                  <a:gd name="T53" fmla="*/ 72 h 78"/>
                  <a:gd name="T54" fmla="*/ 0 w 97"/>
                  <a:gd name="T55" fmla="*/ 75 h 78"/>
                  <a:gd name="T56" fmla="*/ 30 w 97"/>
                  <a:gd name="T57" fmla="*/ 75 h 78"/>
                  <a:gd name="T58" fmla="*/ 36 w 97"/>
                  <a:gd name="T59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97" h="78">
                    <a:moveTo>
                      <a:pt x="36" y="78"/>
                    </a:moveTo>
                    <a:cubicBezTo>
                      <a:pt x="36" y="72"/>
                      <a:pt x="36" y="67"/>
                      <a:pt x="36" y="67"/>
                    </a:cubicBezTo>
                    <a:cubicBezTo>
                      <a:pt x="36" y="66"/>
                      <a:pt x="47" y="59"/>
                      <a:pt x="49" y="58"/>
                    </a:cubicBezTo>
                    <a:cubicBezTo>
                      <a:pt x="50" y="57"/>
                      <a:pt x="54" y="59"/>
                      <a:pt x="54" y="57"/>
                    </a:cubicBezTo>
                    <a:cubicBezTo>
                      <a:pt x="54" y="55"/>
                      <a:pt x="58" y="56"/>
                      <a:pt x="61" y="55"/>
                    </a:cubicBezTo>
                    <a:cubicBezTo>
                      <a:pt x="63" y="55"/>
                      <a:pt x="65" y="53"/>
                      <a:pt x="65" y="50"/>
                    </a:cubicBezTo>
                    <a:cubicBezTo>
                      <a:pt x="65" y="48"/>
                      <a:pt x="69" y="49"/>
                      <a:pt x="71" y="48"/>
                    </a:cubicBezTo>
                    <a:cubicBezTo>
                      <a:pt x="73" y="48"/>
                      <a:pt x="73" y="46"/>
                      <a:pt x="75" y="46"/>
                    </a:cubicBezTo>
                    <a:cubicBezTo>
                      <a:pt x="76" y="46"/>
                      <a:pt x="76" y="44"/>
                      <a:pt x="76" y="41"/>
                    </a:cubicBezTo>
                    <a:cubicBezTo>
                      <a:pt x="76" y="38"/>
                      <a:pt x="76" y="39"/>
                      <a:pt x="78" y="39"/>
                    </a:cubicBezTo>
                    <a:cubicBezTo>
                      <a:pt x="81" y="39"/>
                      <a:pt x="83" y="38"/>
                      <a:pt x="83" y="36"/>
                    </a:cubicBezTo>
                    <a:cubicBezTo>
                      <a:pt x="83" y="34"/>
                      <a:pt x="93" y="35"/>
                      <a:pt x="95" y="35"/>
                    </a:cubicBezTo>
                    <a:cubicBezTo>
                      <a:pt x="97" y="35"/>
                      <a:pt x="97" y="34"/>
                      <a:pt x="97" y="32"/>
                    </a:cubicBezTo>
                    <a:cubicBezTo>
                      <a:pt x="97" y="31"/>
                      <a:pt x="95" y="27"/>
                      <a:pt x="94" y="27"/>
                    </a:cubicBezTo>
                    <a:cubicBezTo>
                      <a:pt x="92" y="27"/>
                      <a:pt x="93" y="23"/>
                      <a:pt x="93" y="19"/>
                    </a:cubicBezTo>
                    <a:cubicBezTo>
                      <a:pt x="93" y="16"/>
                      <a:pt x="93" y="13"/>
                      <a:pt x="91" y="11"/>
                    </a:cubicBezTo>
                    <a:cubicBezTo>
                      <a:pt x="90" y="11"/>
                      <a:pt x="90" y="10"/>
                      <a:pt x="89" y="9"/>
                    </a:cubicBezTo>
                    <a:cubicBezTo>
                      <a:pt x="87" y="9"/>
                      <a:pt x="83" y="6"/>
                      <a:pt x="80" y="6"/>
                    </a:cubicBezTo>
                    <a:cubicBezTo>
                      <a:pt x="76" y="6"/>
                      <a:pt x="69" y="8"/>
                      <a:pt x="66" y="5"/>
                    </a:cubicBezTo>
                    <a:cubicBezTo>
                      <a:pt x="63" y="2"/>
                      <a:pt x="61" y="0"/>
                      <a:pt x="59" y="2"/>
                    </a:cubicBezTo>
                    <a:cubicBezTo>
                      <a:pt x="57" y="3"/>
                      <a:pt x="53" y="14"/>
                      <a:pt x="50" y="18"/>
                    </a:cubicBezTo>
                    <a:cubicBezTo>
                      <a:pt x="48" y="21"/>
                      <a:pt x="41" y="24"/>
                      <a:pt x="38" y="24"/>
                    </a:cubicBezTo>
                    <a:cubicBezTo>
                      <a:pt x="35" y="24"/>
                      <a:pt x="34" y="29"/>
                      <a:pt x="32" y="31"/>
                    </a:cubicBezTo>
                    <a:cubicBezTo>
                      <a:pt x="29" y="33"/>
                      <a:pt x="30" y="36"/>
                      <a:pt x="27" y="38"/>
                    </a:cubicBezTo>
                    <a:cubicBezTo>
                      <a:pt x="24" y="41"/>
                      <a:pt x="26" y="48"/>
                      <a:pt x="27" y="51"/>
                    </a:cubicBezTo>
                    <a:cubicBezTo>
                      <a:pt x="29" y="53"/>
                      <a:pt x="22" y="61"/>
                      <a:pt x="18" y="64"/>
                    </a:cubicBezTo>
                    <a:cubicBezTo>
                      <a:pt x="14" y="66"/>
                      <a:pt x="12" y="71"/>
                      <a:pt x="6" y="72"/>
                    </a:cubicBezTo>
                    <a:cubicBezTo>
                      <a:pt x="4" y="72"/>
                      <a:pt x="2" y="73"/>
                      <a:pt x="0" y="75"/>
                    </a:cubicBezTo>
                    <a:cubicBezTo>
                      <a:pt x="10" y="75"/>
                      <a:pt x="25" y="75"/>
                      <a:pt x="30" y="75"/>
                    </a:cubicBezTo>
                    <a:cubicBezTo>
                      <a:pt x="36" y="75"/>
                      <a:pt x="35" y="76"/>
                      <a:pt x="36" y="78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0" name="Freeform 16">
                <a:extLst>
                  <a:ext uri="{FF2B5EF4-FFF2-40B4-BE49-F238E27FC236}">
                    <a16:creationId xmlns:a16="http://schemas.microsoft.com/office/drawing/2014/main" id="{C20E01FC-2900-482D-8CCA-BE89728DCD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8989" y="3355784"/>
                <a:ext cx="80302" cy="149312"/>
              </a:xfrm>
              <a:custGeom>
                <a:avLst/>
                <a:gdLst>
                  <a:gd name="T0" fmla="*/ 10 w 35"/>
                  <a:gd name="T1" fmla="*/ 16 h 65"/>
                  <a:gd name="T2" fmla="*/ 7 w 35"/>
                  <a:gd name="T3" fmla="*/ 25 h 65"/>
                  <a:gd name="T4" fmla="*/ 2 w 35"/>
                  <a:gd name="T5" fmla="*/ 30 h 65"/>
                  <a:gd name="T6" fmla="*/ 5 w 35"/>
                  <a:gd name="T7" fmla="*/ 39 h 65"/>
                  <a:gd name="T8" fmla="*/ 9 w 35"/>
                  <a:gd name="T9" fmla="*/ 44 h 65"/>
                  <a:gd name="T10" fmla="*/ 15 w 35"/>
                  <a:gd name="T11" fmla="*/ 49 h 65"/>
                  <a:gd name="T12" fmla="*/ 19 w 35"/>
                  <a:gd name="T13" fmla="*/ 63 h 65"/>
                  <a:gd name="T14" fmla="*/ 19 w 35"/>
                  <a:gd name="T15" fmla="*/ 65 h 65"/>
                  <a:gd name="T16" fmla="*/ 23 w 35"/>
                  <a:gd name="T17" fmla="*/ 62 h 65"/>
                  <a:gd name="T18" fmla="*/ 24 w 35"/>
                  <a:gd name="T19" fmla="*/ 56 h 65"/>
                  <a:gd name="T20" fmla="*/ 25 w 35"/>
                  <a:gd name="T21" fmla="*/ 52 h 65"/>
                  <a:gd name="T22" fmla="*/ 31 w 35"/>
                  <a:gd name="T23" fmla="*/ 46 h 65"/>
                  <a:gd name="T24" fmla="*/ 34 w 35"/>
                  <a:gd name="T25" fmla="*/ 44 h 65"/>
                  <a:gd name="T26" fmla="*/ 35 w 35"/>
                  <a:gd name="T27" fmla="*/ 39 h 65"/>
                  <a:gd name="T28" fmla="*/ 32 w 35"/>
                  <a:gd name="T29" fmla="*/ 36 h 65"/>
                  <a:gd name="T30" fmla="*/ 28 w 35"/>
                  <a:gd name="T31" fmla="*/ 33 h 65"/>
                  <a:gd name="T32" fmla="*/ 22 w 35"/>
                  <a:gd name="T33" fmla="*/ 31 h 65"/>
                  <a:gd name="T34" fmla="*/ 28 w 35"/>
                  <a:gd name="T35" fmla="*/ 25 h 65"/>
                  <a:gd name="T36" fmla="*/ 29 w 35"/>
                  <a:gd name="T37" fmla="*/ 14 h 65"/>
                  <a:gd name="T38" fmla="*/ 30 w 35"/>
                  <a:gd name="T39" fmla="*/ 7 h 65"/>
                  <a:gd name="T40" fmla="*/ 29 w 35"/>
                  <a:gd name="T41" fmla="*/ 4 h 65"/>
                  <a:gd name="T42" fmla="*/ 25 w 35"/>
                  <a:gd name="T43" fmla="*/ 3 h 65"/>
                  <a:gd name="T44" fmla="*/ 14 w 35"/>
                  <a:gd name="T45" fmla="*/ 2 h 65"/>
                  <a:gd name="T46" fmla="*/ 10 w 35"/>
                  <a:gd name="T47" fmla="*/ 4 h 65"/>
                  <a:gd name="T48" fmla="*/ 10 w 35"/>
                  <a:gd name="T49" fmla="*/ 16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35" h="65">
                    <a:moveTo>
                      <a:pt x="10" y="16"/>
                    </a:moveTo>
                    <a:cubicBezTo>
                      <a:pt x="12" y="19"/>
                      <a:pt x="9" y="24"/>
                      <a:pt x="7" y="25"/>
                    </a:cubicBezTo>
                    <a:cubicBezTo>
                      <a:pt x="5" y="26"/>
                      <a:pt x="4" y="30"/>
                      <a:pt x="2" y="30"/>
                    </a:cubicBezTo>
                    <a:cubicBezTo>
                      <a:pt x="0" y="30"/>
                      <a:pt x="2" y="37"/>
                      <a:pt x="5" y="39"/>
                    </a:cubicBezTo>
                    <a:cubicBezTo>
                      <a:pt x="9" y="40"/>
                      <a:pt x="9" y="42"/>
                      <a:pt x="9" y="44"/>
                    </a:cubicBezTo>
                    <a:cubicBezTo>
                      <a:pt x="9" y="45"/>
                      <a:pt x="13" y="47"/>
                      <a:pt x="15" y="49"/>
                    </a:cubicBezTo>
                    <a:cubicBezTo>
                      <a:pt x="16" y="50"/>
                      <a:pt x="19" y="59"/>
                      <a:pt x="19" y="63"/>
                    </a:cubicBezTo>
                    <a:cubicBezTo>
                      <a:pt x="19" y="64"/>
                      <a:pt x="19" y="64"/>
                      <a:pt x="19" y="65"/>
                    </a:cubicBezTo>
                    <a:cubicBezTo>
                      <a:pt x="21" y="64"/>
                      <a:pt x="22" y="63"/>
                      <a:pt x="23" y="62"/>
                    </a:cubicBezTo>
                    <a:cubicBezTo>
                      <a:pt x="24" y="60"/>
                      <a:pt x="25" y="56"/>
                      <a:pt x="24" y="56"/>
                    </a:cubicBezTo>
                    <a:cubicBezTo>
                      <a:pt x="24" y="55"/>
                      <a:pt x="24" y="53"/>
                      <a:pt x="25" y="52"/>
                    </a:cubicBezTo>
                    <a:cubicBezTo>
                      <a:pt x="26" y="51"/>
                      <a:pt x="30" y="47"/>
                      <a:pt x="31" y="46"/>
                    </a:cubicBezTo>
                    <a:cubicBezTo>
                      <a:pt x="32" y="46"/>
                      <a:pt x="35" y="46"/>
                      <a:pt x="34" y="44"/>
                    </a:cubicBezTo>
                    <a:cubicBezTo>
                      <a:pt x="34" y="43"/>
                      <a:pt x="35" y="41"/>
                      <a:pt x="35" y="39"/>
                    </a:cubicBezTo>
                    <a:cubicBezTo>
                      <a:pt x="33" y="38"/>
                      <a:pt x="32" y="37"/>
                      <a:pt x="32" y="36"/>
                    </a:cubicBezTo>
                    <a:cubicBezTo>
                      <a:pt x="32" y="35"/>
                      <a:pt x="29" y="32"/>
                      <a:pt x="28" y="33"/>
                    </a:cubicBezTo>
                    <a:cubicBezTo>
                      <a:pt x="27" y="35"/>
                      <a:pt x="23" y="34"/>
                      <a:pt x="22" y="31"/>
                    </a:cubicBezTo>
                    <a:cubicBezTo>
                      <a:pt x="21" y="28"/>
                      <a:pt x="25" y="28"/>
                      <a:pt x="28" y="25"/>
                    </a:cubicBezTo>
                    <a:cubicBezTo>
                      <a:pt x="32" y="22"/>
                      <a:pt x="32" y="17"/>
                      <a:pt x="29" y="14"/>
                    </a:cubicBezTo>
                    <a:cubicBezTo>
                      <a:pt x="25" y="11"/>
                      <a:pt x="27" y="10"/>
                      <a:pt x="30" y="7"/>
                    </a:cubicBezTo>
                    <a:cubicBezTo>
                      <a:pt x="32" y="5"/>
                      <a:pt x="30" y="3"/>
                      <a:pt x="29" y="4"/>
                    </a:cubicBezTo>
                    <a:cubicBezTo>
                      <a:pt x="28" y="5"/>
                      <a:pt x="25" y="6"/>
                      <a:pt x="25" y="3"/>
                    </a:cubicBezTo>
                    <a:cubicBezTo>
                      <a:pt x="25" y="0"/>
                      <a:pt x="17" y="0"/>
                      <a:pt x="14" y="2"/>
                    </a:cubicBezTo>
                    <a:cubicBezTo>
                      <a:pt x="13" y="3"/>
                      <a:pt x="11" y="4"/>
                      <a:pt x="10" y="4"/>
                    </a:cubicBezTo>
                    <a:cubicBezTo>
                      <a:pt x="9" y="8"/>
                      <a:pt x="8" y="14"/>
                      <a:pt x="10" y="16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1" name="Freeform 17">
                <a:extLst>
                  <a:ext uri="{FF2B5EF4-FFF2-40B4-BE49-F238E27FC236}">
                    <a16:creationId xmlns:a16="http://schemas.microsoft.com/office/drawing/2014/main" id="{571FE884-4A1E-403B-B184-759F9539A0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61619" y="3360803"/>
                <a:ext cx="385201" cy="370144"/>
              </a:xfrm>
              <a:custGeom>
                <a:avLst/>
                <a:gdLst>
                  <a:gd name="T0" fmla="*/ 57 w 167"/>
                  <a:gd name="T1" fmla="*/ 30 h 161"/>
                  <a:gd name="T2" fmla="*/ 58 w 167"/>
                  <a:gd name="T3" fmla="*/ 38 h 161"/>
                  <a:gd name="T4" fmla="*/ 61 w 167"/>
                  <a:gd name="T5" fmla="*/ 43 h 161"/>
                  <a:gd name="T6" fmla="*/ 59 w 167"/>
                  <a:gd name="T7" fmla="*/ 46 h 161"/>
                  <a:gd name="T8" fmla="*/ 47 w 167"/>
                  <a:gd name="T9" fmla="*/ 47 h 161"/>
                  <a:gd name="T10" fmla="*/ 42 w 167"/>
                  <a:gd name="T11" fmla="*/ 50 h 161"/>
                  <a:gd name="T12" fmla="*/ 40 w 167"/>
                  <a:gd name="T13" fmla="*/ 52 h 161"/>
                  <a:gd name="T14" fmla="*/ 39 w 167"/>
                  <a:gd name="T15" fmla="*/ 57 h 161"/>
                  <a:gd name="T16" fmla="*/ 35 w 167"/>
                  <a:gd name="T17" fmla="*/ 59 h 161"/>
                  <a:gd name="T18" fmla="*/ 29 w 167"/>
                  <a:gd name="T19" fmla="*/ 61 h 161"/>
                  <a:gd name="T20" fmla="*/ 25 w 167"/>
                  <a:gd name="T21" fmla="*/ 66 h 161"/>
                  <a:gd name="T22" fmla="*/ 18 w 167"/>
                  <a:gd name="T23" fmla="*/ 68 h 161"/>
                  <a:gd name="T24" fmla="*/ 13 w 167"/>
                  <a:gd name="T25" fmla="*/ 69 h 161"/>
                  <a:gd name="T26" fmla="*/ 0 w 167"/>
                  <a:gd name="T27" fmla="*/ 78 h 161"/>
                  <a:gd name="T28" fmla="*/ 0 w 167"/>
                  <a:gd name="T29" fmla="*/ 89 h 161"/>
                  <a:gd name="T30" fmla="*/ 1 w 167"/>
                  <a:gd name="T31" fmla="*/ 90 h 161"/>
                  <a:gd name="T32" fmla="*/ 79 w 167"/>
                  <a:gd name="T33" fmla="*/ 142 h 161"/>
                  <a:gd name="T34" fmla="*/ 85 w 167"/>
                  <a:gd name="T35" fmla="*/ 149 h 161"/>
                  <a:gd name="T36" fmla="*/ 94 w 167"/>
                  <a:gd name="T37" fmla="*/ 152 h 161"/>
                  <a:gd name="T38" fmla="*/ 98 w 167"/>
                  <a:gd name="T39" fmla="*/ 161 h 161"/>
                  <a:gd name="T40" fmla="*/ 105 w 167"/>
                  <a:gd name="T41" fmla="*/ 159 h 161"/>
                  <a:gd name="T42" fmla="*/ 118 w 167"/>
                  <a:gd name="T43" fmla="*/ 155 h 161"/>
                  <a:gd name="T44" fmla="*/ 133 w 167"/>
                  <a:gd name="T45" fmla="*/ 143 h 161"/>
                  <a:gd name="T46" fmla="*/ 167 w 167"/>
                  <a:gd name="T47" fmla="*/ 122 h 161"/>
                  <a:gd name="T48" fmla="*/ 167 w 167"/>
                  <a:gd name="T49" fmla="*/ 122 h 161"/>
                  <a:gd name="T50" fmla="*/ 163 w 167"/>
                  <a:gd name="T51" fmla="*/ 115 h 161"/>
                  <a:gd name="T52" fmla="*/ 157 w 167"/>
                  <a:gd name="T53" fmla="*/ 113 h 161"/>
                  <a:gd name="T54" fmla="*/ 152 w 167"/>
                  <a:gd name="T55" fmla="*/ 110 h 161"/>
                  <a:gd name="T56" fmla="*/ 151 w 167"/>
                  <a:gd name="T57" fmla="*/ 104 h 161"/>
                  <a:gd name="T58" fmla="*/ 147 w 167"/>
                  <a:gd name="T59" fmla="*/ 99 h 161"/>
                  <a:gd name="T60" fmla="*/ 151 w 167"/>
                  <a:gd name="T61" fmla="*/ 95 h 161"/>
                  <a:gd name="T62" fmla="*/ 149 w 167"/>
                  <a:gd name="T63" fmla="*/ 91 h 161"/>
                  <a:gd name="T64" fmla="*/ 149 w 167"/>
                  <a:gd name="T65" fmla="*/ 86 h 161"/>
                  <a:gd name="T66" fmla="*/ 150 w 167"/>
                  <a:gd name="T67" fmla="*/ 80 h 161"/>
                  <a:gd name="T68" fmla="*/ 150 w 167"/>
                  <a:gd name="T69" fmla="*/ 72 h 161"/>
                  <a:gd name="T70" fmla="*/ 147 w 167"/>
                  <a:gd name="T71" fmla="*/ 65 h 161"/>
                  <a:gd name="T72" fmla="*/ 148 w 167"/>
                  <a:gd name="T73" fmla="*/ 63 h 161"/>
                  <a:gd name="T74" fmla="*/ 148 w 167"/>
                  <a:gd name="T75" fmla="*/ 61 h 161"/>
                  <a:gd name="T76" fmla="*/ 144 w 167"/>
                  <a:gd name="T77" fmla="*/ 47 h 161"/>
                  <a:gd name="T78" fmla="*/ 138 w 167"/>
                  <a:gd name="T79" fmla="*/ 42 h 161"/>
                  <a:gd name="T80" fmla="*/ 134 w 167"/>
                  <a:gd name="T81" fmla="*/ 37 h 161"/>
                  <a:gd name="T82" fmla="*/ 131 w 167"/>
                  <a:gd name="T83" fmla="*/ 28 h 161"/>
                  <a:gd name="T84" fmla="*/ 136 w 167"/>
                  <a:gd name="T85" fmla="*/ 23 h 161"/>
                  <a:gd name="T86" fmla="*/ 139 w 167"/>
                  <a:gd name="T87" fmla="*/ 14 h 161"/>
                  <a:gd name="T88" fmla="*/ 139 w 167"/>
                  <a:gd name="T89" fmla="*/ 2 h 161"/>
                  <a:gd name="T90" fmla="*/ 131 w 167"/>
                  <a:gd name="T91" fmla="*/ 0 h 161"/>
                  <a:gd name="T92" fmla="*/ 123 w 167"/>
                  <a:gd name="T93" fmla="*/ 1 h 161"/>
                  <a:gd name="T94" fmla="*/ 112 w 167"/>
                  <a:gd name="T95" fmla="*/ 3 h 161"/>
                  <a:gd name="T96" fmla="*/ 82 w 167"/>
                  <a:gd name="T97" fmla="*/ 5 h 161"/>
                  <a:gd name="T98" fmla="*/ 69 w 167"/>
                  <a:gd name="T99" fmla="*/ 12 h 161"/>
                  <a:gd name="T100" fmla="*/ 56 w 167"/>
                  <a:gd name="T101" fmla="*/ 18 h 161"/>
                  <a:gd name="T102" fmla="*/ 53 w 167"/>
                  <a:gd name="T103" fmla="*/ 20 h 161"/>
                  <a:gd name="T104" fmla="*/ 55 w 167"/>
                  <a:gd name="T105" fmla="*/ 22 h 161"/>
                  <a:gd name="T106" fmla="*/ 57 w 167"/>
                  <a:gd name="T107" fmla="*/ 30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67" h="161">
                    <a:moveTo>
                      <a:pt x="57" y="30"/>
                    </a:moveTo>
                    <a:cubicBezTo>
                      <a:pt x="57" y="34"/>
                      <a:pt x="56" y="38"/>
                      <a:pt x="58" y="38"/>
                    </a:cubicBezTo>
                    <a:cubicBezTo>
                      <a:pt x="59" y="38"/>
                      <a:pt x="61" y="42"/>
                      <a:pt x="61" y="43"/>
                    </a:cubicBezTo>
                    <a:cubicBezTo>
                      <a:pt x="61" y="45"/>
                      <a:pt x="61" y="46"/>
                      <a:pt x="59" y="46"/>
                    </a:cubicBezTo>
                    <a:cubicBezTo>
                      <a:pt x="57" y="46"/>
                      <a:pt x="47" y="45"/>
                      <a:pt x="47" y="47"/>
                    </a:cubicBezTo>
                    <a:cubicBezTo>
                      <a:pt x="47" y="49"/>
                      <a:pt x="45" y="50"/>
                      <a:pt x="42" y="50"/>
                    </a:cubicBezTo>
                    <a:cubicBezTo>
                      <a:pt x="40" y="50"/>
                      <a:pt x="40" y="49"/>
                      <a:pt x="40" y="52"/>
                    </a:cubicBezTo>
                    <a:cubicBezTo>
                      <a:pt x="40" y="55"/>
                      <a:pt x="40" y="57"/>
                      <a:pt x="39" y="57"/>
                    </a:cubicBezTo>
                    <a:cubicBezTo>
                      <a:pt x="37" y="57"/>
                      <a:pt x="37" y="59"/>
                      <a:pt x="35" y="59"/>
                    </a:cubicBezTo>
                    <a:cubicBezTo>
                      <a:pt x="33" y="60"/>
                      <a:pt x="29" y="59"/>
                      <a:pt x="29" y="61"/>
                    </a:cubicBezTo>
                    <a:cubicBezTo>
                      <a:pt x="29" y="64"/>
                      <a:pt x="27" y="66"/>
                      <a:pt x="25" y="66"/>
                    </a:cubicBezTo>
                    <a:cubicBezTo>
                      <a:pt x="22" y="67"/>
                      <a:pt x="18" y="66"/>
                      <a:pt x="18" y="68"/>
                    </a:cubicBezTo>
                    <a:cubicBezTo>
                      <a:pt x="18" y="70"/>
                      <a:pt x="14" y="68"/>
                      <a:pt x="13" y="69"/>
                    </a:cubicBezTo>
                    <a:cubicBezTo>
                      <a:pt x="11" y="70"/>
                      <a:pt x="0" y="77"/>
                      <a:pt x="0" y="78"/>
                    </a:cubicBezTo>
                    <a:cubicBezTo>
                      <a:pt x="0" y="78"/>
                      <a:pt x="0" y="83"/>
                      <a:pt x="0" y="89"/>
                    </a:cubicBezTo>
                    <a:cubicBezTo>
                      <a:pt x="0" y="89"/>
                      <a:pt x="1" y="90"/>
                      <a:pt x="1" y="90"/>
                    </a:cubicBezTo>
                    <a:cubicBezTo>
                      <a:pt x="5" y="92"/>
                      <a:pt x="77" y="140"/>
                      <a:pt x="79" y="142"/>
                    </a:cubicBezTo>
                    <a:cubicBezTo>
                      <a:pt x="82" y="144"/>
                      <a:pt x="85" y="149"/>
                      <a:pt x="85" y="149"/>
                    </a:cubicBezTo>
                    <a:cubicBezTo>
                      <a:pt x="85" y="149"/>
                      <a:pt x="90" y="150"/>
                      <a:pt x="94" y="152"/>
                    </a:cubicBezTo>
                    <a:cubicBezTo>
                      <a:pt x="98" y="155"/>
                      <a:pt x="98" y="161"/>
                      <a:pt x="98" y="161"/>
                    </a:cubicBezTo>
                    <a:cubicBezTo>
                      <a:pt x="98" y="161"/>
                      <a:pt x="103" y="160"/>
                      <a:pt x="105" y="159"/>
                    </a:cubicBezTo>
                    <a:cubicBezTo>
                      <a:pt x="108" y="158"/>
                      <a:pt x="118" y="155"/>
                      <a:pt x="118" y="155"/>
                    </a:cubicBezTo>
                    <a:cubicBezTo>
                      <a:pt x="133" y="143"/>
                      <a:pt x="133" y="143"/>
                      <a:pt x="133" y="143"/>
                    </a:cubicBezTo>
                    <a:cubicBezTo>
                      <a:pt x="167" y="122"/>
                      <a:pt x="167" y="122"/>
                      <a:pt x="167" y="122"/>
                    </a:cubicBezTo>
                    <a:cubicBezTo>
                      <a:pt x="167" y="122"/>
                      <a:pt x="167" y="122"/>
                      <a:pt x="167" y="122"/>
                    </a:cubicBezTo>
                    <a:cubicBezTo>
                      <a:pt x="166" y="118"/>
                      <a:pt x="165" y="115"/>
                      <a:pt x="163" y="115"/>
                    </a:cubicBezTo>
                    <a:cubicBezTo>
                      <a:pt x="161" y="115"/>
                      <a:pt x="160" y="113"/>
                      <a:pt x="157" y="113"/>
                    </a:cubicBezTo>
                    <a:cubicBezTo>
                      <a:pt x="155" y="113"/>
                      <a:pt x="152" y="112"/>
                      <a:pt x="152" y="110"/>
                    </a:cubicBezTo>
                    <a:cubicBezTo>
                      <a:pt x="151" y="108"/>
                      <a:pt x="152" y="106"/>
                      <a:pt x="151" y="104"/>
                    </a:cubicBezTo>
                    <a:cubicBezTo>
                      <a:pt x="149" y="101"/>
                      <a:pt x="147" y="100"/>
                      <a:pt x="147" y="99"/>
                    </a:cubicBezTo>
                    <a:cubicBezTo>
                      <a:pt x="147" y="97"/>
                      <a:pt x="150" y="95"/>
                      <a:pt x="151" y="95"/>
                    </a:cubicBezTo>
                    <a:cubicBezTo>
                      <a:pt x="151" y="94"/>
                      <a:pt x="149" y="92"/>
                      <a:pt x="149" y="91"/>
                    </a:cubicBezTo>
                    <a:cubicBezTo>
                      <a:pt x="149" y="90"/>
                      <a:pt x="148" y="87"/>
                      <a:pt x="149" y="86"/>
                    </a:cubicBezTo>
                    <a:cubicBezTo>
                      <a:pt x="151" y="84"/>
                      <a:pt x="151" y="83"/>
                      <a:pt x="150" y="80"/>
                    </a:cubicBezTo>
                    <a:cubicBezTo>
                      <a:pt x="149" y="78"/>
                      <a:pt x="152" y="75"/>
                      <a:pt x="150" y="72"/>
                    </a:cubicBezTo>
                    <a:cubicBezTo>
                      <a:pt x="149" y="69"/>
                      <a:pt x="146" y="66"/>
                      <a:pt x="147" y="65"/>
                    </a:cubicBezTo>
                    <a:cubicBezTo>
                      <a:pt x="147" y="64"/>
                      <a:pt x="147" y="64"/>
                      <a:pt x="148" y="63"/>
                    </a:cubicBezTo>
                    <a:cubicBezTo>
                      <a:pt x="148" y="62"/>
                      <a:pt x="148" y="62"/>
                      <a:pt x="148" y="61"/>
                    </a:cubicBezTo>
                    <a:cubicBezTo>
                      <a:pt x="148" y="57"/>
                      <a:pt x="145" y="48"/>
                      <a:pt x="144" y="47"/>
                    </a:cubicBezTo>
                    <a:cubicBezTo>
                      <a:pt x="142" y="45"/>
                      <a:pt x="138" y="43"/>
                      <a:pt x="138" y="42"/>
                    </a:cubicBezTo>
                    <a:cubicBezTo>
                      <a:pt x="138" y="40"/>
                      <a:pt x="138" y="38"/>
                      <a:pt x="134" y="37"/>
                    </a:cubicBezTo>
                    <a:cubicBezTo>
                      <a:pt x="131" y="35"/>
                      <a:pt x="129" y="28"/>
                      <a:pt x="131" y="28"/>
                    </a:cubicBezTo>
                    <a:cubicBezTo>
                      <a:pt x="133" y="28"/>
                      <a:pt x="134" y="24"/>
                      <a:pt x="136" y="23"/>
                    </a:cubicBezTo>
                    <a:cubicBezTo>
                      <a:pt x="138" y="22"/>
                      <a:pt x="141" y="17"/>
                      <a:pt x="139" y="14"/>
                    </a:cubicBezTo>
                    <a:cubicBezTo>
                      <a:pt x="137" y="12"/>
                      <a:pt x="138" y="6"/>
                      <a:pt x="139" y="2"/>
                    </a:cubicBezTo>
                    <a:cubicBezTo>
                      <a:pt x="136" y="2"/>
                      <a:pt x="132" y="0"/>
                      <a:pt x="131" y="0"/>
                    </a:cubicBezTo>
                    <a:cubicBezTo>
                      <a:pt x="130" y="0"/>
                      <a:pt x="126" y="1"/>
                      <a:pt x="123" y="1"/>
                    </a:cubicBezTo>
                    <a:cubicBezTo>
                      <a:pt x="120" y="1"/>
                      <a:pt x="114" y="5"/>
                      <a:pt x="112" y="3"/>
                    </a:cubicBezTo>
                    <a:cubicBezTo>
                      <a:pt x="110" y="1"/>
                      <a:pt x="88" y="5"/>
                      <a:pt x="82" y="5"/>
                    </a:cubicBezTo>
                    <a:cubicBezTo>
                      <a:pt x="75" y="5"/>
                      <a:pt x="73" y="12"/>
                      <a:pt x="69" y="12"/>
                    </a:cubicBezTo>
                    <a:cubicBezTo>
                      <a:pt x="65" y="12"/>
                      <a:pt x="60" y="15"/>
                      <a:pt x="56" y="18"/>
                    </a:cubicBezTo>
                    <a:cubicBezTo>
                      <a:pt x="56" y="19"/>
                      <a:pt x="55" y="20"/>
                      <a:pt x="53" y="20"/>
                    </a:cubicBezTo>
                    <a:cubicBezTo>
                      <a:pt x="54" y="21"/>
                      <a:pt x="54" y="22"/>
                      <a:pt x="55" y="22"/>
                    </a:cubicBezTo>
                    <a:cubicBezTo>
                      <a:pt x="57" y="24"/>
                      <a:pt x="57" y="27"/>
                      <a:pt x="57" y="3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2" name="Freeform 18">
                <a:extLst>
                  <a:ext uri="{FF2B5EF4-FFF2-40B4-BE49-F238E27FC236}">
                    <a16:creationId xmlns:a16="http://schemas.microsoft.com/office/drawing/2014/main" id="{D03776E1-C0F0-4B1C-B8D0-6EEE18F6D9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97886" y="3446124"/>
                <a:ext cx="283568" cy="271021"/>
              </a:xfrm>
              <a:custGeom>
                <a:avLst/>
                <a:gdLst>
                  <a:gd name="T0" fmla="*/ 14 w 123"/>
                  <a:gd name="T1" fmla="*/ 7 h 118"/>
                  <a:gd name="T2" fmla="*/ 8 w 123"/>
                  <a:gd name="T3" fmla="*/ 13 h 118"/>
                  <a:gd name="T4" fmla="*/ 7 w 123"/>
                  <a:gd name="T5" fmla="*/ 17 h 118"/>
                  <a:gd name="T6" fmla="*/ 6 w 123"/>
                  <a:gd name="T7" fmla="*/ 23 h 118"/>
                  <a:gd name="T8" fmla="*/ 1 w 123"/>
                  <a:gd name="T9" fmla="*/ 28 h 118"/>
                  <a:gd name="T10" fmla="*/ 4 w 123"/>
                  <a:gd name="T11" fmla="*/ 35 h 118"/>
                  <a:gd name="T12" fmla="*/ 4 w 123"/>
                  <a:gd name="T13" fmla="*/ 43 h 118"/>
                  <a:gd name="T14" fmla="*/ 3 w 123"/>
                  <a:gd name="T15" fmla="*/ 49 h 118"/>
                  <a:gd name="T16" fmla="*/ 3 w 123"/>
                  <a:gd name="T17" fmla="*/ 54 h 118"/>
                  <a:gd name="T18" fmla="*/ 5 w 123"/>
                  <a:gd name="T19" fmla="*/ 58 h 118"/>
                  <a:gd name="T20" fmla="*/ 1 w 123"/>
                  <a:gd name="T21" fmla="*/ 62 h 118"/>
                  <a:gd name="T22" fmla="*/ 5 w 123"/>
                  <a:gd name="T23" fmla="*/ 67 h 118"/>
                  <a:gd name="T24" fmla="*/ 6 w 123"/>
                  <a:gd name="T25" fmla="*/ 73 h 118"/>
                  <a:gd name="T26" fmla="*/ 11 w 123"/>
                  <a:gd name="T27" fmla="*/ 76 h 118"/>
                  <a:gd name="T28" fmla="*/ 17 w 123"/>
                  <a:gd name="T29" fmla="*/ 78 h 118"/>
                  <a:gd name="T30" fmla="*/ 21 w 123"/>
                  <a:gd name="T31" fmla="*/ 85 h 118"/>
                  <a:gd name="T32" fmla="*/ 33 w 123"/>
                  <a:gd name="T33" fmla="*/ 87 h 118"/>
                  <a:gd name="T34" fmla="*/ 38 w 123"/>
                  <a:gd name="T35" fmla="*/ 92 h 118"/>
                  <a:gd name="T36" fmla="*/ 52 w 123"/>
                  <a:gd name="T37" fmla="*/ 85 h 118"/>
                  <a:gd name="T38" fmla="*/ 113 w 123"/>
                  <a:gd name="T39" fmla="*/ 118 h 118"/>
                  <a:gd name="T40" fmla="*/ 113 w 123"/>
                  <a:gd name="T41" fmla="*/ 113 h 118"/>
                  <a:gd name="T42" fmla="*/ 120 w 123"/>
                  <a:gd name="T43" fmla="*/ 113 h 118"/>
                  <a:gd name="T44" fmla="*/ 120 w 123"/>
                  <a:gd name="T45" fmla="*/ 35 h 118"/>
                  <a:gd name="T46" fmla="*/ 120 w 123"/>
                  <a:gd name="T47" fmla="*/ 23 h 118"/>
                  <a:gd name="T48" fmla="*/ 121 w 123"/>
                  <a:gd name="T49" fmla="*/ 13 h 118"/>
                  <a:gd name="T50" fmla="*/ 122 w 123"/>
                  <a:gd name="T51" fmla="*/ 11 h 118"/>
                  <a:gd name="T52" fmla="*/ 122 w 123"/>
                  <a:gd name="T53" fmla="*/ 10 h 118"/>
                  <a:gd name="T54" fmla="*/ 111 w 123"/>
                  <a:gd name="T55" fmla="*/ 8 h 118"/>
                  <a:gd name="T56" fmla="*/ 99 w 123"/>
                  <a:gd name="T57" fmla="*/ 1 h 118"/>
                  <a:gd name="T58" fmla="*/ 81 w 123"/>
                  <a:gd name="T59" fmla="*/ 10 h 118"/>
                  <a:gd name="T60" fmla="*/ 82 w 123"/>
                  <a:gd name="T61" fmla="*/ 21 h 118"/>
                  <a:gd name="T62" fmla="*/ 70 w 123"/>
                  <a:gd name="T63" fmla="*/ 21 h 118"/>
                  <a:gd name="T64" fmla="*/ 55 w 123"/>
                  <a:gd name="T65" fmla="*/ 16 h 118"/>
                  <a:gd name="T66" fmla="*/ 47 w 123"/>
                  <a:gd name="T67" fmla="*/ 10 h 118"/>
                  <a:gd name="T68" fmla="*/ 42 w 123"/>
                  <a:gd name="T69" fmla="*/ 5 h 118"/>
                  <a:gd name="T70" fmla="*/ 27 w 123"/>
                  <a:gd name="T71" fmla="*/ 2 h 118"/>
                  <a:gd name="T72" fmla="*/ 18 w 123"/>
                  <a:gd name="T73" fmla="*/ 0 h 118"/>
                  <a:gd name="T74" fmla="*/ 17 w 123"/>
                  <a:gd name="T75" fmla="*/ 5 h 118"/>
                  <a:gd name="T76" fmla="*/ 14 w 123"/>
                  <a:gd name="T77" fmla="*/ 7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23" h="118">
                    <a:moveTo>
                      <a:pt x="14" y="7"/>
                    </a:moveTo>
                    <a:cubicBezTo>
                      <a:pt x="13" y="8"/>
                      <a:pt x="9" y="12"/>
                      <a:pt x="8" y="13"/>
                    </a:cubicBezTo>
                    <a:cubicBezTo>
                      <a:pt x="7" y="14"/>
                      <a:pt x="7" y="16"/>
                      <a:pt x="7" y="17"/>
                    </a:cubicBezTo>
                    <a:cubicBezTo>
                      <a:pt x="8" y="17"/>
                      <a:pt x="7" y="21"/>
                      <a:pt x="6" y="23"/>
                    </a:cubicBezTo>
                    <a:cubicBezTo>
                      <a:pt x="5" y="25"/>
                      <a:pt x="1" y="26"/>
                      <a:pt x="1" y="28"/>
                    </a:cubicBezTo>
                    <a:cubicBezTo>
                      <a:pt x="0" y="29"/>
                      <a:pt x="3" y="32"/>
                      <a:pt x="4" y="35"/>
                    </a:cubicBezTo>
                    <a:cubicBezTo>
                      <a:pt x="6" y="38"/>
                      <a:pt x="3" y="41"/>
                      <a:pt x="4" y="43"/>
                    </a:cubicBezTo>
                    <a:cubicBezTo>
                      <a:pt x="5" y="46"/>
                      <a:pt x="5" y="47"/>
                      <a:pt x="3" y="49"/>
                    </a:cubicBezTo>
                    <a:cubicBezTo>
                      <a:pt x="2" y="50"/>
                      <a:pt x="3" y="53"/>
                      <a:pt x="3" y="54"/>
                    </a:cubicBezTo>
                    <a:cubicBezTo>
                      <a:pt x="3" y="55"/>
                      <a:pt x="5" y="57"/>
                      <a:pt x="5" y="58"/>
                    </a:cubicBezTo>
                    <a:cubicBezTo>
                      <a:pt x="4" y="58"/>
                      <a:pt x="1" y="60"/>
                      <a:pt x="1" y="62"/>
                    </a:cubicBezTo>
                    <a:cubicBezTo>
                      <a:pt x="1" y="63"/>
                      <a:pt x="3" y="64"/>
                      <a:pt x="5" y="67"/>
                    </a:cubicBezTo>
                    <a:cubicBezTo>
                      <a:pt x="6" y="69"/>
                      <a:pt x="5" y="71"/>
                      <a:pt x="6" y="73"/>
                    </a:cubicBezTo>
                    <a:cubicBezTo>
                      <a:pt x="6" y="75"/>
                      <a:pt x="9" y="76"/>
                      <a:pt x="11" y="76"/>
                    </a:cubicBezTo>
                    <a:cubicBezTo>
                      <a:pt x="14" y="76"/>
                      <a:pt x="15" y="78"/>
                      <a:pt x="17" y="78"/>
                    </a:cubicBezTo>
                    <a:cubicBezTo>
                      <a:pt x="19" y="78"/>
                      <a:pt x="20" y="81"/>
                      <a:pt x="21" y="85"/>
                    </a:cubicBezTo>
                    <a:cubicBezTo>
                      <a:pt x="22" y="85"/>
                      <a:pt x="30" y="85"/>
                      <a:pt x="33" y="87"/>
                    </a:cubicBezTo>
                    <a:cubicBezTo>
                      <a:pt x="36" y="89"/>
                      <a:pt x="38" y="92"/>
                      <a:pt x="38" y="92"/>
                    </a:cubicBezTo>
                    <a:cubicBezTo>
                      <a:pt x="52" y="85"/>
                      <a:pt x="52" y="85"/>
                      <a:pt x="52" y="85"/>
                    </a:cubicBezTo>
                    <a:cubicBezTo>
                      <a:pt x="113" y="118"/>
                      <a:pt x="113" y="118"/>
                      <a:pt x="113" y="118"/>
                    </a:cubicBezTo>
                    <a:cubicBezTo>
                      <a:pt x="113" y="113"/>
                      <a:pt x="113" y="113"/>
                      <a:pt x="113" y="113"/>
                    </a:cubicBezTo>
                    <a:cubicBezTo>
                      <a:pt x="120" y="113"/>
                      <a:pt x="120" y="113"/>
                      <a:pt x="120" y="113"/>
                    </a:cubicBezTo>
                    <a:cubicBezTo>
                      <a:pt x="120" y="113"/>
                      <a:pt x="120" y="40"/>
                      <a:pt x="120" y="35"/>
                    </a:cubicBezTo>
                    <a:cubicBezTo>
                      <a:pt x="120" y="29"/>
                      <a:pt x="118" y="26"/>
                      <a:pt x="120" y="23"/>
                    </a:cubicBezTo>
                    <a:cubicBezTo>
                      <a:pt x="123" y="20"/>
                      <a:pt x="119" y="18"/>
                      <a:pt x="121" y="13"/>
                    </a:cubicBezTo>
                    <a:cubicBezTo>
                      <a:pt x="122" y="12"/>
                      <a:pt x="122" y="11"/>
                      <a:pt x="122" y="11"/>
                    </a:cubicBezTo>
                    <a:cubicBezTo>
                      <a:pt x="122" y="11"/>
                      <a:pt x="122" y="11"/>
                      <a:pt x="122" y="10"/>
                    </a:cubicBezTo>
                    <a:cubicBezTo>
                      <a:pt x="121" y="9"/>
                      <a:pt x="118" y="9"/>
                      <a:pt x="111" y="8"/>
                    </a:cubicBezTo>
                    <a:cubicBezTo>
                      <a:pt x="104" y="7"/>
                      <a:pt x="107" y="2"/>
                      <a:pt x="99" y="1"/>
                    </a:cubicBezTo>
                    <a:cubicBezTo>
                      <a:pt x="91" y="1"/>
                      <a:pt x="81" y="7"/>
                      <a:pt x="81" y="10"/>
                    </a:cubicBezTo>
                    <a:cubicBezTo>
                      <a:pt x="81" y="14"/>
                      <a:pt x="85" y="17"/>
                      <a:pt x="82" y="21"/>
                    </a:cubicBezTo>
                    <a:cubicBezTo>
                      <a:pt x="79" y="24"/>
                      <a:pt x="74" y="25"/>
                      <a:pt x="70" y="21"/>
                    </a:cubicBezTo>
                    <a:cubicBezTo>
                      <a:pt x="66" y="17"/>
                      <a:pt x="60" y="16"/>
                      <a:pt x="55" y="16"/>
                    </a:cubicBezTo>
                    <a:cubicBezTo>
                      <a:pt x="50" y="16"/>
                      <a:pt x="46" y="13"/>
                      <a:pt x="47" y="10"/>
                    </a:cubicBezTo>
                    <a:cubicBezTo>
                      <a:pt x="47" y="7"/>
                      <a:pt x="46" y="6"/>
                      <a:pt x="42" y="5"/>
                    </a:cubicBezTo>
                    <a:cubicBezTo>
                      <a:pt x="38" y="5"/>
                      <a:pt x="34" y="1"/>
                      <a:pt x="27" y="2"/>
                    </a:cubicBezTo>
                    <a:cubicBezTo>
                      <a:pt x="23" y="3"/>
                      <a:pt x="20" y="2"/>
                      <a:pt x="18" y="0"/>
                    </a:cubicBezTo>
                    <a:cubicBezTo>
                      <a:pt x="18" y="2"/>
                      <a:pt x="17" y="4"/>
                      <a:pt x="17" y="5"/>
                    </a:cubicBezTo>
                    <a:cubicBezTo>
                      <a:pt x="18" y="7"/>
                      <a:pt x="15" y="7"/>
                      <a:pt x="14" y="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3" name="Freeform 19">
                <a:extLst>
                  <a:ext uri="{FF2B5EF4-FFF2-40B4-BE49-F238E27FC236}">
                    <a16:creationId xmlns:a16="http://schemas.microsoft.com/office/drawing/2014/main" id="{A3EB4280-7A5D-4341-B873-31506CAF54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12307" y="3823796"/>
                <a:ext cx="55208" cy="18821"/>
              </a:xfrm>
              <a:custGeom>
                <a:avLst/>
                <a:gdLst>
                  <a:gd name="T0" fmla="*/ 12 w 24"/>
                  <a:gd name="T1" fmla="*/ 5 h 8"/>
                  <a:gd name="T2" fmla="*/ 19 w 24"/>
                  <a:gd name="T3" fmla="*/ 7 h 8"/>
                  <a:gd name="T4" fmla="*/ 24 w 24"/>
                  <a:gd name="T5" fmla="*/ 6 h 8"/>
                  <a:gd name="T6" fmla="*/ 19 w 24"/>
                  <a:gd name="T7" fmla="*/ 5 h 8"/>
                  <a:gd name="T8" fmla="*/ 12 w 24"/>
                  <a:gd name="T9" fmla="*/ 2 h 8"/>
                  <a:gd name="T10" fmla="*/ 1 w 24"/>
                  <a:gd name="T11" fmla="*/ 4 h 8"/>
                  <a:gd name="T12" fmla="*/ 0 w 24"/>
                  <a:gd name="T13" fmla="*/ 8 h 8"/>
                  <a:gd name="T14" fmla="*/ 3 w 24"/>
                  <a:gd name="T15" fmla="*/ 8 h 8"/>
                  <a:gd name="T16" fmla="*/ 12 w 24"/>
                  <a:gd name="T17" fmla="*/ 5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" h="8">
                    <a:moveTo>
                      <a:pt x="12" y="5"/>
                    </a:moveTo>
                    <a:cubicBezTo>
                      <a:pt x="14" y="4"/>
                      <a:pt x="16" y="7"/>
                      <a:pt x="19" y="7"/>
                    </a:cubicBezTo>
                    <a:cubicBezTo>
                      <a:pt x="21" y="7"/>
                      <a:pt x="24" y="6"/>
                      <a:pt x="24" y="6"/>
                    </a:cubicBezTo>
                    <a:cubicBezTo>
                      <a:pt x="24" y="6"/>
                      <a:pt x="23" y="5"/>
                      <a:pt x="19" y="5"/>
                    </a:cubicBezTo>
                    <a:cubicBezTo>
                      <a:pt x="15" y="5"/>
                      <a:pt x="15" y="0"/>
                      <a:pt x="12" y="2"/>
                    </a:cubicBezTo>
                    <a:cubicBezTo>
                      <a:pt x="8" y="4"/>
                      <a:pt x="6" y="4"/>
                      <a:pt x="1" y="4"/>
                    </a:cubicBezTo>
                    <a:cubicBezTo>
                      <a:pt x="1" y="5"/>
                      <a:pt x="1" y="7"/>
                      <a:pt x="0" y="8"/>
                    </a:cubicBezTo>
                    <a:cubicBezTo>
                      <a:pt x="2" y="8"/>
                      <a:pt x="2" y="8"/>
                      <a:pt x="3" y="8"/>
                    </a:cubicBezTo>
                    <a:cubicBezTo>
                      <a:pt x="5" y="8"/>
                      <a:pt x="10" y="7"/>
                      <a:pt x="12" y="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4" name="Freeform 20">
                <a:extLst>
                  <a:ext uri="{FF2B5EF4-FFF2-40B4-BE49-F238E27FC236}">
                    <a16:creationId xmlns:a16="http://schemas.microsoft.com/office/drawing/2014/main" id="{7ACB97B2-81D6-49C3-AE4E-BEE2BCAE24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99759" y="3772353"/>
                <a:ext cx="111671" cy="87831"/>
              </a:xfrm>
              <a:custGeom>
                <a:avLst/>
                <a:gdLst>
                  <a:gd name="T0" fmla="*/ 11 w 48"/>
                  <a:gd name="T1" fmla="*/ 36 h 38"/>
                  <a:gd name="T2" fmla="*/ 16 w 48"/>
                  <a:gd name="T3" fmla="*/ 34 h 38"/>
                  <a:gd name="T4" fmla="*/ 27 w 48"/>
                  <a:gd name="T5" fmla="*/ 33 h 38"/>
                  <a:gd name="T6" fmla="*/ 30 w 48"/>
                  <a:gd name="T7" fmla="*/ 34 h 38"/>
                  <a:gd name="T8" fmla="*/ 30 w 48"/>
                  <a:gd name="T9" fmla="*/ 33 h 38"/>
                  <a:gd name="T10" fmla="*/ 35 w 48"/>
                  <a:gd name="T11" fmla="*/ 36 h 38"/>
                  <a:gd name="T12" fmla="*/ 47 w 48"/>
                  <a:gd name="T13" fmla="*/ 36 h 38"/>
                  <a:gd name="T14" fmla="*/ 48 w 48"/>
                  <a:gd name="T15" fmla="*/ 36 h 38"/>
                  <a:gd name="T16" fmla="*/ 48 w 48"/>
                  <a:gd name="T17" fmla="*/ 31 h 38"/>
                  <a:gd name="T18" fmla="*/ 44 w 48"/>
                  <a:gd name="T19" fmla="*/ 26 h 38"/>
                  <a:gd name="T20" fmla="*/ 42 w 48"/>
                  <a:gd name="T21" fmla="*/ 21 h 38"/>
                  <a:gd name="T22" fmla="*/ 41 w 48"/>
                  <a:gd name="T23" fmla="*/ 18 h 38"/>
                  <a:gd name="T24" fmla="*/ 36 w 48"/>
                  <a:gd name="T25" fmla="*/ 13 h 38"/>
                  <a:gd name="T26" fmla="*/ 31 w 48"/>
                  <a:gd name="T27" fmla="*/ 5 h 38"/>
                  <a:gd name="T28" fmla="*/ 28 w 48"/>
                  <a:gd name="T29" fmla="*/ 5 h 38"/>
                  <a:gd name="T30" fmla="*/ 23 w 48"/>
                  <a:gd name="T31" fmla="*/ 2 h 38"/>
                  <a:gd name="T32" fmla="*/ 17 w 48"/>
                  <a:gd name="T33" fmla="*/ 2 h 38"/>
                  <a:gd name="T34" fmla="*/ 10 w 48"/>
                  <a:gd name="T35" fmla="*/ 2 h 38"/>
                  <a:gd name="T36" fmla="*/ 5 w 48"/>
                  <a:gd name="T37" fmla="*/ 6 h 38"/>
                  <a:gd name="T38" fmla="*/ 5 w 48"/>
                  <a:gd name="T39" fmla="*/ 6 h 38"/>
                  <a:gd name="T40" fmla="*/ 3 w 48"/>
                  <a:gd name="T41" fmla="*/ 13 h 38"/>
                  <a:gd name="T42" fmla="*/ 6 w 48"/>
                  <a:gd name="T43" fmla="*/ 24 h 38"/>
                  <a:gd name="T44" fmla="*/ 6 w 48"/>
                  <a:gd name="T45" fmla="*/ 26 h 38"/>
                  <a:gd name="T46" fmla="*/ 17 w 48"/>
                  <a:gd name="T47" fmla="*/ 24 h 38"/>
                  <a:gd name="T48" fmla="*/ 24 w 48"/>
                  <a:gd name="T49" fmla="*/ 27 h 38"/>
                  <a:gd name="T50" fmla="*/ 29 w 48"/>
                  <a:gd name="T51" fmla="*/ 28 h 38"/>
                  <a:gd name="T52" fmla="*/ 24 w 48"/>
                  <a:gd name="T53" fmla="*/ 29 h 38"/>
                  <a:gd name="T54" fmla="*/ 17 w 48"/>
                  <a:gd name="T55" fmla="*/ 27 h 38"/>
                  <a:gd name="T56" fmla="*/ 8 w 48"/>
                  <a:gd name="T57" fmla="*/ 30 h 38"/>
                  <a:gd name="T58" fmla="*/ 5 w 48"/>
                  <a:gd name="T59" fmla="*/ 30 h 38"/>
                  <a:gd name="T60" fmla="*/ 6 w 48"/>
                  <a:gd name="T61" fmla="*/ 34 h 38"/>
                  <a:gd name="T62" fmla="*/ 7 w 48"/>
                  <a:gd name="T63" fmla="*/ 35 h 38"/>
                  <a:gd name="T64" fmla="*/ 11 w 48"/>
                  <a:gd name="T65" fmla="*/ 36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8" h="38">
                    <a:moveTo>
                      <a:pt x="11" y="36"/>
                    </a:moveTo>
                    <a:cubicBezTo>
                      <a:pt x="13" y="36"/>
                      <a:pt x="16" y="34"/>
                      <a:pt x="16" y="34"/>
                    </a:cubicBezTo>
                    <a:cubicBezTo>
                      <a:pt x="16" y="34"/>
                      <a:pt x="26" y="34"/>
                      <a:pt x="27" y="33"/>
                    </a:cubicBezTo>
                    <a:cubicBezTo>
                      <a:pt x="28" y="33"/>
                      <a:pt x="29" y="34"/>
                      <a:pt x="30" y="34"/>
                    </a:cubicBezTo>
                    <a:cubicBezTo>
                      <a:pt x="30" y="34"/>
                      <a:pt x="30" y="33"/>
                      <a:pt x="30" y="33"/>
                    </a:cubicBezTo>
                    <a:cubicBezTo>
                      <a:pt x="30" y="33"/>
                      <a:pt x="35" y="34"/>
                      <a:pt x="35" y="36"/>
                    </a:cubicBezTo>
                    <a:cubicBezTo>
                      <a:pt x="36" y="37"/>
                      <a:pt x="43" y="38"/>
                      <a:pt x="47" y="36"/>
                    </a:cubicBezTo>
                    <a:cubicBezTo>
                      <a:pt x="47" y="36"/>
                      <a:pt x="48" y="36"/>
                      <a:pt x="48" y="36"/>
                    </a:cubicBezTo>
                    <a:cubicBezTo>
                      <a:pt x="48" y="34"/>
                      <a:pt x="48" y="32"/>
                      <a:pt x="48" y="31"/>
                    </a:cubicBezTo>
                    <a:cubicBezTo>
                      <a:pt x="48" y="30"/>
                      <a:pt x="45" y="27"/>
                      <a:pt x="44" y="26"/>
                    </a:cubicBezTo>
                    <a:cubicBezTo>
                      <a:pt x="42" y="24"/>
                      <a:pt x="42" y="21"/>
                      <a:pt x="42" y="21"/>
                    </a:cubicBezTo>
                    <a:cubicBezTo>
                      <a:pt x="41" y="18"/>
                      <a:pt x="41" y="18"/>
                      <a:pt x="41" y="18"/>
                    </a:cubicBezTo>
                    <a:cubicBezTo>
                      <a:pt x="41" y="18"/>
                      <a:pt x="40" y="14"/>
                      <a:pt x="36" y="13"/>
                    </a:cubicBezTo>
                    <a:cubicBezTo>
                      <a:pt x="33" y="12"/>
                      <a:pt x="31" y="5"/>
                      <a:pt x="31" y="5"/>
                    </a:cubicBezTo>
                    <a:cubicBezTo>
                      <a:pt x="28" y="5"/>
                      <a:pt x="28" y="5"/>
                      <a:pt x="28" y="5"/>
                    </a:cubicBezTo>
                    <a:cubicBezTo>
                      <a:pt x="28" y="5"/>
                      <a:pt x="26" y="3"/>
                      <a:pt x="23" y="2"/>
                    </a:cubicBezTo>
                    <a:cubicBezTo>
                      <a:pt x="21" y="0"/>
                      <a:pt x="17" y="2"/>
                      <a:pt x="17" y="2"/>
                    </a:cubicBezTo>
                    <a:cubicBezTo>
                      <a:pt x="17" y="2"/>
                      <a:pt x="13" y="3"/>
                      <a:pt x="10" y="2"/>
                    </a:cubicBezTo>
                    <a:cubicBezTo>
                      <a:pt x="7" y="2"/>
                      <a:pt x="8" y="5"/>
                      <a:pt x="5" y="6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8"/>
                      <a:pt x="4" y="11"/>
                      <a:pt x="3" y="13"/>
                    </a:cubicBezTo>
                    <a:cubicBezTo>
                      <a:pt x="0" y="17"/>
                      <a:pt x="4" y="22"/>
                      <a:pt x="6" y="24"/>
                    </a:cubicBezTo>
                    <a:cubicBezTo>
                      <a:pt x="6" y="24"/>
                      <a:pt x="7" y="25"/>
                      <a:pt x="6" y="26"/>
                    </a:cubicBezTo>
                    <a:cubicBezTo>
                      <a:pt x="11" y="26"/>
                      <a:pt x="13" y="26"/>
                      <a:pt x="17" y="24"/>
                    </a:cubicBezTo>
                    <a:cubicBezTo>
                      <a:pt x="20" y="22"/>
                      <a:pt x="20" y="27"/>
                      <a:pt x="24" y="27"/>
                    </a:cubicBezTo>
                    <a:cubicBezTo>
                      <a:pt x="28" y="27"/>
                      <a:pt x="29" y="28"/>
                      <a:pt x="29" y="28"/>
                    </a:cubicBezTo>
                    <a:cubicBezTo>
                      <a:pt x="29" y="28"/>
                      <a:pt x="26" y="29"/>
                      <a:pt x="24" y="29"/>
                    </a:cubicBezTo>
                    <a:cubicBezTo>
                      <a:pt x="21" y="29"/>
                      <a:pt x="19" y="26"/>
                      <a:pt x="17" y="27"/>
                    </a:cubicBezTo>
                    <a:cubicBezTo>
                      <a:pt x="15" y="29"/>
                      <a:pt x="10" y="30"/>
                      <a:pt x="8" y="30"/>
                    </a:cubicBezTo>
                    <a:cubicBezTo>
                      <a:pt x="7" y="30"/>
                      <a:pt x="7" y="30"/>
                      <a:pt x="5" y="30"/>
                    </a:cubicBezTo>
                    <a:cubicBezTo>
                      <a:pt x="5" y="32"/>
                      <a:pt x="5" y="33"/>
                      <a:pt x="6" y="34"/>
                    </a:cubicBezTo>
                    <a:cubicBezTo>
                      <a:pt x="7" y="34"/>
                      <a:pt x="7" y="35"/>
                      <a:pt x="7" y="35"/>
                    </a:cubicBezTo>
                    <a:cubicBezTo>
                      <a:pt x="11" y="34"/>
                      <a:pt x="10" y="36"/>
                      <a:pt x="11" y="36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5" name="Freeform 21">
                <a:extLst>
                  <a:ext uri="{FF2B5EF4-FFF2-40B4-BE49-F238E27FC236}">
                    <a16:creationId xmlns:a16="http://schemas.microsoft.com/office/drawing/2014/main" id="{6E767A31-D2EC-4C31-8A0F-FCA2A8034D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16071" y="3848891"/>
                <a:ext cx="52698" cy="32623"/>
              </a:xfrm>
              <a:custGeom>
                <a:avLst/>
                <a:gdLst>
                  <a:gd name="T0" fmla="*/ 12 w 23"/>
                  <a:gd name="T1" fmla="*/ 13 h 14"/>
                  <a:gd name="T2" fmla="*/ 18 w 23"/>
                  <a:gd name="T3" fmla="*/ 9 h 14"/>
                  <a:gd name="T4" fmla="*/ 21 w 23"/>
                  <a:gd name="T5" fmla="*/ 8 h 14"/>
                  <a:gd name="T6" fmla="*/ 21 w 23"/>
                  <a:gd name="T7" fmla="*/ 4 h 14"/>
                  <a:gd name="T8" fmla="*/ 23 w 23"/>
                  <a:gd name="T9" fmla="*/ 1 h 14"/>
                  <a:gd name="T10" fmla="*/ 20 w 23"/>
                  <a:gd name="T11" fmla="*/ 0 h 14"/>
                  <a:gd name="T12" fmla="*/ 9 w 23"/>
                  <a:gd name="T13" fmla="*/ 1 h 14"/>
                  <a:gd name="T14" fmla="*/ 4 w 23"/>
                  <a:gd name="T15" fmla="*/ 3 h 14"/>
                  <a:gd name="T16" fmla="*/ 0 w 23"/>
                  <a:gd name="T17" fmla="*/ 2 h 14"/>
                  <a:gd name="T18" fmla="*/ 7 w 23"/>
                  <a:gd name="T19" fmla="*/ 7 h 14"/>
                  <a:gd name="T20" fmla="*/ 10 w 23"/>
                  <a:gd name="T21" fmla="*/ 13 h 14"/>
                  <a:gd name="T22" fmla="*/ 11 w 23"/>
                  <a:gd name="T23" fmla="*/ 14 h 14"/>
                  <a:gd name="T24" fmla="*/ 12 w 23"/>
                  <a:gd name="T25" fmla="*/ 13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3" h="14">
                    <a:moveTo>
                      <a:pt x="12" y="13"/>
                    </a:moveTo>
                    <a:cubicBezTo>
                      <a:pt x="14" y="12"/>
                      <a:pt x="17" y="8"/>
                      <a:pt x="18" y="9"/>
                    </a:cubicBezTo>
                    <a:cubicBezTo>
                      <a:pt x="20" y="10"/>
                      <a:pt x="21" y="8"/>
                      <a:pt x="21" y="8"/>
                    </a:cubicBezTo>
                    <a:cubicBezTo>
                      <a:pt x="21" y="7"/>
                      <a:pt x="19" y="5"/>
                      <a:pt x="21" y="4"/>
                    </a:cubicBezTo>
                    <a:cubicBezTo>
                      <a:pt x="22" y="4"/>
                      <a:pt x="22" y="2"/>
                      <a:pt x="23" y="1"/>
                    </a:cubicBezTo>
                    <a:cubicBezTo>
                      <a:pt x="22" y="1"/>
                      <a:pt x="21" y="0"/>
                      <a:pt x="20" y="0"/>
                    </a:cubicBezTo>
                    <a:cubicBezTo>
                      <a:pt x="19" y="1"/>
                      <a:pt x="9" y="1"/>
                      <a:pt x="9" y="1"/>
                    </a:cubicBezTo>
                    <a:cubicBezTo>
                      <a:pt x="9" y="1"/>
                      <a:pt x="6" y="3"/>
                      <a:pt x="4" y="3"/>
                    </a:cubicBezTo>
                    <a:cubicBezTo>
                      <a:pt x="3" y="3"/>
                      <a:pt x="4" y="1"/>
                      <a:pt x="0" y="2"/>
                    </a:cubicBezTo>
                    <a:cubicBezTo>
                      <a:pt x="2" y="5"/>
                      <a:pt x="2" y="6"/>
                      <a:pt x="7" y="7"/>
                    </a:cubicBezTo>
                    <a:cubicBezTo>
                      <a:pt x="11" y="8"/>
                      <a:pt x="6" y="11"/>
                      <a:pt x="10" y="13"/>
                    </a:cubicBezTo>
                    <a:cubicBezTo>
                      <a:pt x="10" y="13"/>
                      <a:pt x="11" y="14"/>
                      <a:pt x="11" y="14"/>
                    </a:cubicBezTo>
                    <a:cubicBezTo>
                      <a:pt x="11" y="13"/>
                      <a:pt x="12" y="13"/>
                      <a:pt x="12" y="1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6" name="Freeform 22">
                <a:extLst>
                  <a:ext uri="{FF2B5EF4-FFF2-40B4-BE49-F238E27FC236}">
                    <a16:creationId xmlns:a16="http://schemas.microsoft.com/office/drawing/2014/main" id="{D22E562F-F50A-4B34-8D0A-49DB668C5F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0735" y="3876495"/>
                <a:ext cx="228360" cy="161860"/>
              </a:xfrm>
              <a:custGeom>
                <a:avLst/>
                <a:gdLst>
                  <a:gd name="T0" fmla="*/ 91 w 99"/>
                  <a:gd name="T1" fmla="*/ 40 h 70"/>
                  <a:gd name="T2" fmla="*/ 88 w 99"/>
                  <a:gd name="T3" fmla="*/ 35 h 70"/>
                  <a:gd name="T4" fmla="*/ 83 w 99"/>
                  <a:gd name="T5" fmla="*/ 30 h 70"/>
                  <a:gd name="T6" fmla="*/ 80 w 99"/>
                  <a:gd name="T7" fmla="*/ 25 h 70"/>
                  <a:gd name="T8" fmla="*/ 74 w 99"/>
                  <a:gd name="T9" fmla="*/ 22 h 70"/>
                  <a:gd name="T10" fmla="*/ 73 w 99"/>
                  <a:gd name="T11" fmla="*/ 20 h 70"/>
                  <a:gd name="T12" fmla="*/ 69 w 99"/>
                  <a:gd name="T13" fmla="*/ 19 h 70"/>
                  <a:gd name="T14" fmla="*/ 70 w 99"/>
                  <a:gd name="T15" fmla="*/ 16 h 70"/>
                  <a:gd name="T16" fmla="*/ 70 w 99"/>
                  <a:gd name="T17" fmla="*/ 9 h 70"/>
                  <a:gd name="T18" fmla="*/ 64 w 99"/>
                  <a:gd name="T19" fmla="*/ 2 h 70"/>
                  <a:gd name="T20" fmla="*/ 62 w 99"/>
                  <a:gd name="T21" fmla="*/ 1 h 70"/>
                  <a:gd name="T22" fmla="*/ 56 w 99"/>
                  <a:gd name="T23" fmla="*/ 4 h 70"/>
                  <a:gd name="T24" fmla="*/ 54 w 99"/>
                  <a:gd name="T25" fmla="*/ 8 h 70"/>
                  <a:gd name="T26" fmla="*/ 46 w 99"/>
                  <a:gd name="T27" fmla="*/ 16 h 70"/>
                  <a:gd name="T28" fmla="*/ 35 w 99"/>
                  <a:gd name="T29" fmla="*/ 18 h 70"/>
                  <a:gd name="T30" fmla="*/ 34 w 99"/>
                  <a:gd name="T31" fmla="*/ 23 h 70"/>
                  <a:gd name="T32" fmla="*/ 27 w 99"/>
                  <a:gd name="T33" fmla="*/ 26 h 70"/>
                  <a:gd name="T34" fmla="*/ 18 w 99"/>
                  <a:gd name="T35" fmla="*/ 29 h 70"/>
                  <a:gd name="T36" fmla="*/ 13 w 99"/>
                  <a:gd name="T37" fmla="*/ 29 h 70"/>
                  <a:gd name="T38" fmla="*/ 9 w 99"/>
                  <a:gd name="T39" fmla="*/ 31 h 70"/>
                  <a:gd name="T40" fmla="*/ 8 w 99"/>
                  <a:gd name="T41" fmla="*/ 30 h 70"/>
                  <a:gd name="T42" fmla="*/ 4 w 99"/>
                  <a:gd name="T43" fmla="*/ 35 h 70"/>
                  <a:gd name="T44" fmla="*/ 0 w 99"/>
                  <a:gd name="T45" fmla="*/ 43 h 70"/>
                  <a:gd name="T46" fmla="*/ 1 w 99"/>
                  <a:gd name="T47" fmla="*/ 50 h 70"/>
                  <a:gd name="T48" fmla="*/ 3 w 99"/>
                  <a:gd name="T49" fmla="*/ 56 h 70"/>
                  <a:gd name="T50" fmla="*/ 5 w 99"/>
                  <a:gd name="T51" fmla="*/ 61 h 70"/>
                  <a:gd name="T52" fmla="*/ 6 w 99"/>
                  <a:gd name="T53" fmla="*/ 64 h 70"/>
                  <a:gd name="T54" fmla="*/ 12 w 99"/>
                  <a:gd name="T55" fmla="*/ 69 h 70"/>
                  <a:gd name="T56" fmla="*/ 13 w 99"/>
                  <a:gd name="T57" fmla="*/ 70 h 70"/>
                  <a:gd name="T58" fmla="*/ 14 w 99"/>
                  <a:gd name="T59" fmla="*/ 69 h 70"/>
                  <a:gd name="T60" fmla="*/ 15 w 99"/>
                  <a:gd name="T61" fmla="*/ 63 h 70"/>
                  <a:gd name="T62" fmla="*/ 19 w 99"/>
                  <a:gd name="T63" fmla="*/ 62 h 70"/>
                  <a:gd name="T64" fmla="*/ 23 w 99"/>
                  <a:gd name="T65" fmla="*/ 61 h 70"/>
                  <a:gd name="T66" fmla="*/ 30 w 99"/>
                  <a:gd name="T67" fmla="*/ 62 h 70"/>
                  <a:gd name="T68" fmla="*/ 30 w 99"/>
                  <a:gd name="T69" fmla="*/ 57 h 70"/>
                  <a:gd name="T70" fmla="*/ 38 w 99"/>
                  <a:gd name="T71" fmla="*/ 50 h 70"/>
                  <a:gd name="T72" fmla="*/ 45 w 99"/>
                  <a:gd name="T73" fmla="*/ 55 h 70"/>
                  <a:gd name="T74" fmla="*/ 60 w 99"/>
                  <a:gd name="T75" fmla="*/ 58 h 70"/>
                  <a:gd name="T76" fmla="*/ 63 w 99"/>
                  <a:gd name="T77" fmla="*/ 52 h 70"/>
                  <a:gd name="T78" fmla="*/ 69 w 99"/>
                  <a:gd name="T79" fmla="*/ 52 h 70"/>
                  <a:gd name="T80" fmla="*/ 77 w 99"/>
                  <a:gd name="T81" fmla="*/ 50 h 70"/>
                  <a:gd name="T82" fmla="*/ 84 w 99"/>
                  <a:gd name="T83" fmla="*/ 49 h 70"/>
                  <a:gd name="T84" fmla="*/ 93 w 99"/>
                  <a:gd name="T85" fmla="*/ 50 h 70"/>
                  <a:gd name="T86" fmla="*/ 99 w 99"/>
                  <a:gd name="T87" fmla="*/ 49 h 70"/>
                  <a:gd name="T88" fmla="*/ 97 w 99"/>
                  <a:gd name="T89" fmla="*/ 44 h 70"/>
                  <a:gd name="T90" fmla="*/ 91 w 99"/>
                  <a:gd name="T91" fmla="*/ 4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99" h="70">
                    <a:moveTo>
                      <a:pt x="91" y="40"/>
                    </a:moveTo>
                    <a:cubicBezTo>
                      <a:pt x="91" y="39"/>
                      <a:pt x="91" y="37"/>
                      <a:pt x="88" y="35"/>
                    </a:cubicBezTo>
                    <a:cubicBezTo>
                      <a:pt x="85" y="32"/>
                      <a:pt x="83" y="32"/>
                      <a:pt x="83" y="30"/>
                    </a:cubicBezTo>
                    <a:cubicBezTo>
                      <a:pt x="83" y="29"/>
                      <a:pt x="82" y="28"/>
                      <a:pt x="80" y="25"/>
                    </a:cubicBezTo>
                    <a:cubicBezTo>
                      <a:pt x="77" y="22"/>
                      <a:pt x="74" y="22"/>
                      <a:pt x="74" y="22"/>
                    </a:cubicBezTo>
                    <a:cubicBezTo>
                      <a:pt x="73" y="20"/>
                      <a:pt x="73" y="20"/>
                      <a:pt x="73" y="20"/>
                    </a:cubicBezTo>
                    <a:cubicBezTo>
                      <a:pt x="69" y="19"/>
                      <a:pt x="69" y="19"/>
                      <a:pt x="69" y="19"/>
                    </a:cubicBezTo>
                    <a:cubicBezTo>
                      <a:pt x="69" y="19"/>
                      <a:pt x="67" y="18"/>
                      <a:pt x="70" y="16"/>
                    </a:cubicBezTo>
                    <a:cubicBezTo>
                      <a:pt x="73" y="15"/>
                      <a:pt x="70" y="11"/>
                      <a:pt x="70" y="9"/>
                    </a:cubicBezTo>
                    <a:cubicBezTo>
                      <a:pt x="69" y="8"/>
                      <a:pt x="65" y="3"/>
                      <a:pt x="64" y="2"/>
                    </a:cubicBezTo>
                    <a:cubicBezTo>
                      <a:pt x="63" y="2"/>
                      <a:pt x="63" y="2"/>
                      <a:pt x="62" y="1"/>
                    </a:cubicBezTo>
                    <a:cubicBezTo>
                      <a:pt x="61" y="0"/>
                      <a:pt x="57" y="2"/>
                      <a:pt x="56" y="4"/>
                    </a:cubicBezTo>
                    <a:cubicBezTo>
                      <a:pt x="54" y="6"/>
                      <a:pt x="55" y="7"/>
                      <a:pt x="54" y="8"/>
                    </a:cubicBezTo>
                    <a:cubicBezTo>
                      <a:pt x="53" y="9"/>
                      <a:pt x="49" y="13"/>
                      <a:pt x="46" y="16"/>
                    </a:cubicBezTo>
                    <a:cubicBezTo>
                      <a:pt x="44" y="19"/>
                      <a:pt x="37" y="17"/>
                      <a:pt x="35" y="18"/>
                    </a:cubicBezTo>
                    <a:cubicBezTo>
                      <a:pt x="33" y="19"/>
                      <a:pt x="36" y="21"/>
                      <a:pt x="34" y="23"/>
                    </a:cubicBezTo>
                    <a:cubicBezTo>
                      <a:pt x="33" y="24"/>
                      <a:pt x="29" y="26"/>
                      <a:pt x="27" y="26"/>
                    </a:cubicBezTo>
                    <a:cubicBezTo>
                      <a:pt x="26" y="27"/>
                      <a:pt x="20" y="27"/>
                      <a:pt x="18" y="29"/>
                    </a:cubicBezTo>
                    <a:cubicBezTo>
                      <a:pt x="17" y="31"/>
                      <a:pt x="15" y="27"/>
                      <a:pt x="13" y="29"/>
                    </a:cubicBezTo>
                    <a:cubicBezTo>
                      <a:pt x="12" y="31"/>
                      <a:pt x="10" y="32"/>
                      <a:pt x="9" y="31"/>
                    </a:cubicBezTo>
                    <a:cubicBezTo>
                      <a:pt x="8" y="31"/>
                      <a:pt x="8" y="30"/>
                      <a:pt x="8" y="30"/>
                    </a:cubicBezTo>
                    <a:cubicBezTo>
                      <a:pt x="6" y="31"/>
                      <a:pt x="5" y="33"/>
                      <a:pt x="4" y="35"/>
                    </a:cubicBezTo>
                    <a:cubicBezTo>
                      <a:pt x="3" y="38"/>
                      <a:pt x="0" y="41"/>
                      <a:pt x="0" y="43"/>
                    </a:cubicBezTo>
                    <a:cubicBezTo>
                      <a:pt x="0" y="45"/>
                      <a:pt x="1" y="47"/>
                      <a:pt x="1" y="50"/>
                    </a:cubicBezTo>
                    <a:cubicBezTo>
                      <a:pt x="1" y="52"/>
                      <a:pt x="2" y="54"/>
                      <a:pt x="3" y="56"/>
                    </a:cubicBezTo>
                    <a:cubicBezTo>
                      <a:pt x="5" y="58"/>
                      <a:pt x="5" y="61"/>
                      <a:pt x="5" y="61"/>
                    </a:cubicBezTo>
                    <a:cubicBezTo>
                      <a:pt x="5" y="61"/>
                      <a:pt x="5" y="62"/>
                      <a:pt x="6" y="64"/>
                    </a:cubicBezTo>
                    <a:cubicBezTo>
                      <a:pt x="8" y="65"/>
                      <a:pt x="11" y="67"/>
                      <a:pt x="12" y="69"/>
                    </a:cubicBezTo>
                    <a:cubicBezTo>
                      <a:pt x="12" y="69"/>
                      <a:pt x="12" y="70"/>
                      <a:pt x="13" y="70"/>
                    </a:cubicBezTo>
                    <a:cubicBezTo>
                      <a:pt x="13" y="70"/>
                      <a:pt x="13" y="70"/>
                      <a:pt x="14" y="69"/>
                    </a:cubicBezTo>
                    <a:cubicBezTo>
                      <a:pt x="15" y="67"/>
                      <a:pt x="15" y="63"/>
                      <a:pt x="15" y="63"/>
                    </a:cubicBezTo>
                    <a:cubicBezTo>
                      <a:pt x="19" y="62"/>
                      <a:pt x="19" y="62"/>
                      <a:pt x="19" y="62"/>
                    </a:cubicBezTo>
                    <a:cubicBezTo>
                      <a:pt x="23" y="61"/>
                      <a:pt x="23" y="61"/>
                      <a:pt x="23" y="61"/>
                    </a:cubicBezTo>
                    <a:cubicBezTo>
                      <a:pt x="30" y="62"/>
                      <a:pt x="30" y="62"/>
                      <a:pt x="30" y="62"/>
                    </a:cubicBezTo>
                    <a:cubicBezTo>
                      <a:pt x="30" y="57"/>
                      <a:pt x="30" y="57"/>
                      <a:pt x="30" y="57"/>
                    </a:cubicBezTo>
                    <a:cubicBezTo>
                      <a:pt x="30" y="57"/>
                      <a:pt x="35" y="50"/>
                      <a:pt x="38" y="50"/>
                    </a:cubicBezTo>
                    <a:cubicBezTo>
                      <a:pt x="42" y="50"/>
                      <a:pt x="45" y="55"/>
                      <a:pt x="45" y="55"/>
                    </a:cubicBezTo>
                    <a:cubicBezTo>
                      <a:pt x="60" y="58"/>
                      <a:pt x="60" y="58"/>
                      <a:pt x="60" y="58"/>
                    </a:cubicBezTo>
                    <a:cubicBezTo>
                      <a:pt x="60" y="58"/>
                      <a:pt x="61" y="53"/>
                      <a:pt x="63" y="52"/>
                    </a:cubicBezTo>
                    <a:cubicBezTo>
                      <a:pt x="64" y="51"/>
                      <a:pt x="67" y="53"/>
                      <a:pt x="69" y="52"/>
                    </a:cubicBezTo>
                    <a:cubicBezTo>
                      <a:pt x="71" y="51"/>
                      <a:pt x="74" y="50"/>
                      <a:pt x="77" y="50"/>
                    </a:cubicBezTo>
                    <a:cubicBezTo>
                      <a:pt x="81" y="50"/>
                      <a:pt x="82" y="52"/>
                      <a:pt x="84" y="49"/>
                    </a:cubicBezTo>
                    <a:cubicBezTo>
                      <a:pt x="85" y="46"/>
                      <a:pt x="93" y="50"/>
                      <a:pt x="93" y="50"/>
                    </a:cubicBezTo>
                    <a:cubicBezTo>
                      <a:pt x="99" y="49"/>
                      <a:pt x="99" y="49"/>
                      <a:pt x="99" y="49"/>
                    </a:cubicBezTo>
                    <a:cubicBezTo>
                      <a:pt x="97" y="44"/>
                      <a:pt x="97" y="44"/>
                      <a:pt x="97" y="44"/>
                    </a:cubicBezTo>
                    <a:cubicBezTo>
                      <a:pt x="97" y="44"/>
                      <a:pt x="91" y="42"/>
                      <a:pt x="91" y="4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7" name="Freeform 23">
                <a:extLst>
                  <a:ext uri="{FF2B5EF4-FFF2-40B4-BE49-F238E27FC236}">
                    <a16:creationId xmlns:a16="http://schemas.microsoft.com/office/drawing/2014/main" id="{E6613EBA-CBB4-407C-8806-B431A84066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73668" y="3826306"/>
                <a:ext cx="220832" cy="181935"/>
              </a:xfrm>
              <a:custGeom>
                <a:avLst/>
                <a:gdLst>
                  <a:gd name="T0" fmla="*/ 59 w 96"/>
                  <a:gd name="T1" fmla="*/ 58 h 79"/>
                  <a:gd name="T2" fmla="*/ 64 w 96"/>
                  <a:gd name="T3" fmla="*/ 57 h 79"/>
                  <a:gd name="T4" fmla="*/ 69 w 96"/>
                  <a:gd name="T5" fmla="*/ 61 h 79"/>
                  <a:gd name="T6" fmla="*/ 73 w 96"/>
                  <a:gd name="T7" fmla="*/ 57 h 79"/>
                  <a:gd name="T8" fmla="*/ 79 w 96"/>
                  <a:gd name="T9" fmla="*/ 45 h 79"/>
                  <a:gd name="T10" fmla="*/ 83 w 96"/>
                  <a:gd name="T11" fmla="*/ 40 h 79"/>
                  <a:gd name="T12" fmla="*/ 83 w 96"/>
                  <a:gd name="T13" fmla="*/ 36 h 79"/>
                  <a:gd name="T14" fmla="*/ 85 w 96"/>
                  <a:gd name="T15" fmla="*/ 31 h 79"/>
                  <a:gd name="T16" fmla="*/ 90 w 96"/>
                  <a:gd name="T17" fmla="*/ 22 h 79"/>
                  <a:gd name="T18" fmla="*/ 95 w 96"/>
                  <a:gd name="T19" fmla="*/ 19 h 79"/>
                  <a:gd name="T20" fmla="*/ 94 w 96"/>
                  <a:gd name="T21" fmla="*/ 14 h 79"/>
                  <a:gd name="T22" fmla="*/ 91 w 96"/>
                  <a:gd name="T23" fmla="*/ 11 h 79"/>
                  <a:gd name="T24" fmla="*/ 92 w 96"/>
                  <a:gd name="T25" fmla="*/ 7 h 79"/>
                  <a:gd name="T26" fmla="*/ 88 w 96"/>
                  <a:gd name="T27" fmla="*/ 3 h 79"/>
                  <a:gd name="T28" fmla="*/ 86 w 96"/>
                  <a:gd name="T29" fmla="*/ 2 h 79"/>
                  <a:gd name="T30" fmla="*/ 80 w 96"/>
                  <a:gd name="T31" fmla="*/ 7 h 79"/>
                  <a:gd name="T32" fmla="*/ 73 w 96"/>
                  <a:gd name="T33" fmla="*/ 5 h 79"/>
                  <a:gd name="T34" fmla="*/ 63 w 96"/>
                  <a:gd name="T35" fmla="*/ 5 h 79"/>
                  <a:gd name="T36" fmla="*/ 57 w 96"/>
                  <a:gd name="T37" fmla="*/ 9 h 79"/>
                  <a:gd name="T38" fmla="*/ 49 w 96"/>
                  <a:gd name="T39" fmla="*/ 9 h 79"/>
                  <a:gd name="T40" fmla="*/ 43 w 96"/>
                  <a:gd name="T41" fmla="*/ 6 h 79"/>
                  <a:gd name="T42" fmla="*/ 36 w 96"/>
                  <a:gd name="T43" fmla="*/ 7 h 79"/>
                  <a:gd name="T44" fmla="*/ 32 w 96"/>
                  <a:gd name="T45" fmla="*/ 3 h 79"/>
                  <a:gd name="T46" fmla="*/ 25 w 96"/>
                  <a:gd name="T47" fmla="*/ 1 h 79"/>
                  <a:gd name="T48" fmla="*/ 21 w 96"/>
                  <a:gd name="T49" fmla="*/ 3 h 79"/>
                  <a:gd name="T50" fmla="*/ 13 w 96"/>
                  <a:gd name="T51" fmla="*/ 3 h 79"/>
                  <a:gd name="T52" fmla="*/ 11 w 96"/>
                  <a:gd name="T53" fmla="*/ 9 h 79"/>
                  <a:gd name="T54" fmla="*/ 8 w 96"/>
                  <a:gd name="T55" fmla="*/ 15 h 79"/>
                  <a:gd name="T56" fmla="*/ 7 w 96"/>
                  <a:gd name="T57" fmla="*/ 17 h 79"/>
                  <a:gd name="T58" fmla="*/ 8 w 96"/>
                  <a:gd name="T59" fmla="*/ 22 h 79"/>
                  <a:gd name="T60" fmla="*/ 7 w 96"/>
                  <a:gd name="T61" fmla="*/ 33 h 79"/>
                  <a:gd name="T62" fmla="*/ 4 w 96"/>
                  <a:gd name="T63" fmla="*/ 38 h 79"/>
                  <a:gd name="T64" fmla="*/ 1 w 96"/>
                  <a:gd name="T65" fmla="*/ 44 h 79"/>
                  <a:gd name="T66" fmla="*/ 1 w 96"/>
                  <a:gd name="T67" fmla="*/ 53 h 79"/>
                  <a:gd name="T68" fmla="*/ 3 w 96"/>
                  <a:gd name="T69" fmla="*/ 60 h 79"/>
                  <a:gd name="T70" fmla="*/ 3 w 96"/>
                  <a:gd name="T71" fmla="*/ 60 h 79"/>
                  <a:gd name="T72" fmla="*/ 15 w 96"/>
                  <a:gd name="T73" fmla="*/ 63 h 79"/>
                  <a:gd name="T74" fmla="*/ 23 w 96"/>
                  <a:gd name="T75" fmla="*/ 71 h 79"/>
                  <a:gd name="T76" fmla="*/ 27 w 96"/>
                  <a:gd name="T77" fmla="*/ 78 h 79"/>
                  <a:gd name="T78" fmla="*/ 35 w 96"/>
                  <a:gd name="T79" fmla="*/ 76 h 79"/>
                  <a:gd name="T80" fmla="*/ 46 w 96"/>
                  <a:gd name="T81" fmla="*/ 75 h 79"/>
                  <a:gd name="T82" fmla="*/ 47 w 96"/>
                  <a:gd name="T83" fmla="*/ 75 h 79"/>
                  <a:gd name="T84" fmla="*/ 50 w 96"/>
                  <a:gd name="T85" fmla="*/ 66 h 79"/>
                  <a:gd name="T86" fmla="*/ 59 w 96"/>
                  <a:gd name="T87" fmla="*/ 58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96" h="79">
                    <a:moveTo>
                      <a:pt x="59" y="58"/>
                    </a:moveTo>
                    <a:cubicBezTo>
                      <a:pt x="60" y="57"/>
                      <a:pt x="62" y="58"/>
                      <a:pt x="64" y="57"/>
                    </a:cubicBezTo>
                    <a:cubicBezTo>
                      <a:pt x="65" y="56"/>
                      <a:pt x="69" y="59"/>
                      <a:pt x="69" y="61"/>
                    </a:cubicBezTo>
                    <a:cubicBezTo>
                      <a:pt x="70" y="63"/>
                      <a:pt x="71" y="60"/>
                      <a:pt x="73" y="57"/>
                    </a:cubicBezTo>
                    <a:cubicBezTo>
                      <a:pt x="74" y="55"/>
                      <a:pt x="79" y="47"/>
                      <a:pt x="79" y="45"/>
                    </a:cubicBezTo>
                    <a:cubicBezTo>
                      <a:pt x="79" y="43"/>
                      <a:pt x="83" y="41"/>
                      <a:pt x="83" y="40"/>
                    </a:cubicBezTo>
                    <a:cubicBezTo>
                      <a:pt x="83" y="39"/>
                      <a:pt x="82" y="36"/>
                      <a:pt x="83" y="36"/>
                    </a:cubicBezTo>
                    <a:cubicBezTo>
                      <a:pt x="85" y="35"/>
                      <a:pt x="86" y="32"/>
                      <a:pt x="85" y="31"/>
                    </a:cubicBezTo>
                    <a:cubicBezTo>
                      <a:pt x="85" y="30"/>
                      <a:pt x="89" y="23"/>
                      <a:pt x="90" y="22"/>
                    </a:cubicBezTo>
                    <a:cubicBezTo>
                      <a:pt x="91" y="21"/>
                      <a:pt x="95" y="21"/>
                      <a:pt x="95" y="19"/>
                    </a:cubicBezTo>
                    <a:cubicBezTo>
                      <a:pt x="95" y="17"/>
                      <a:pt x="96" y="15"/>
                      <a:pt x="94" y="14"/>
                    </a:cubicBezTo>
                    <a:cubicBezTo>
                      <a:pt x="93" y="14"/>
                      <a:pt x="91" y="12"/>
                      <a:pt x="91" y="11"/>
                    </a:cubicBezTo>
                    <a:cubicBezTo>
                      <a:pt x="91" y="10"/>
                      <a:pt x="91" y="8"/>
                      <a:pt x="92" y="7"/>
                    </a:cubicBezTo>
                    <a:cubicBezTo>
                      <a:pt x="90" y="6"/>
                      <a:pt x="90" y="4"/>
                      <a:pt x="88" y="3"/>
                    </a:cubicBezTo>
                    <a:cubicBezTo>
                      <a:pt x="87" y="2"/>
                      <a:pt x="87" y="1"/>
                      <a:pt x="86" y="2"/>
                    </a:cubicBezTo>
                    <a:cubicBezTo>
                      <a:pt x="84" y="2"/>
                      <a:pt x="82" y="6"/>
                      <a:pt x="80" y="7"/>
                    </a:cubicBezTo>
                    <a:cubicBezTo>
                      <a:pt x="78" y="8"/>
                      <a:pt x="75" y="6"/>
                      <a:pt x="73" y="5"/>
                    </a:cubicBezTo>
                    <a:cubicBezTo>
                      <a:pt x="72" y="5"/>
                      <a:pt x="65" y="5"/>
                      <a:pt x="63" y="5"/>
                    </a:cubicBezTo>
                    <a:cubicBezTo>
                      <a:pt x="61" y="5"/>
                      <a:pt x="59" y="8"/>
                      <a:pt x="57" y="9"/>
                    </a:cubicBezTo>
                    <a:cubicBezTo>
                      <a:pt x="55" y="10"/>
                      <a:pt x="51" y="9"/>
                      <a:pt x="49" y="9"/>
                    </a:cubicBezTo>
                    <a:cubicBezTo>
                      <a:pt x="48" y="8"/>
                      <a:pt x="44" y="6"/>
                      <a:pt x="43" y="6"/>
                    </a:cubicBezTo>
                    <a:cubicBezTo>
                      <a:pt x="42" y="6"/>
                      <a:pt x="39" y="6"/>
                      <a:pt x="36" y="7"/>
                    </a:cubicBezTo>
                    <a:cubicBezTo>
                      <a:pt x="34" y="9"/>
                      <a:pt x="33" y="5"/>
                      <a:pt x="32" y="3"/>
                    </a:cubicBezTo>
                    <a:cubicBezTo>
                      <a:pt x="30" y="1"/>
                      <a:pt x="27" y="3"/>
                      <a:pt x="25" y="1"/>
                    </a:cubicBezTo>
                    <a:cubicBezTo>
                      <a:pt x="24" y="0"/>
                      <a:pt x="22" y="3"/>
                      <a:pt x="21" y="3"/>
                    </a:cubicBezTo>
                    <a:cubicBezTo>
                      <a:pt x="19" y="3"/>
                      <a:pt x="15" y="2"/>
                      <a:pt x="13" y="3"/>
                    </a:cubicBezTo>
                    <a:cubicBezTo>
                      <a:pt x="12" y="4"/>
                      <a:pt x="12" y="9"/>
                      <a:pt x="11" y="9"/>
                    </a:cubicBezTo>
                    <a:cubicBezTo>
                      <a:pt x="11" y="10"/>
                      <a:pt x="8" y="13"/>
                      <a:pt x="8" y="15"/>
                    </a:cubicBezTo>
                    <a:cubicBezTo>
                      <a:pt x="8" y="16"/>
                      <a:pt x="8" y="16"/>
                      <a:pt x="7" y="17"/>
                    </a:cubicBezTo>
                    <a:cubicBezTo>
                      <a:pt x="7" y="19"/>
                      <a:pt x="8" y="21"/>
                      <a:pt x="8" y="22"/>
                    </a:cubicBezTo>
                    <a:cubicBezTo>
                      <a:pt x="8" y="24"/>
                      <a:pt x="9" y="32"/>
                      <a:pt x="7" y="33"/>
                    </a:cubicBezTo>
                    <a:cubicBezTo>
                      <a:pt x="5" y="35"/>
                      <a:pt x="4" y="38"/>
                      <a:pt x="4" y="38"/>
                    </a:cubicBezTo>
                    <a:cubicBezTo>
                      <a:pt x="4" y="38"/>
                      <a:pt x="1" y="40"/>
                      <a:pt x="1" y="44"/>
                    </a:cubicBezTo>
                    <a:cubicBezTo>
                      <a:pt x="0" y="48"/>
                      <a:pt x="1" y="50"/>
                      <a:pt x="1" y="53"/>
                    </a:cubicBezTo>
                    <a:cubicBezTo>
                      <a:pt x="1" y="56"/>
                      <a:pt x="2" y="57"/>
                      <a:pt x="3" y="60"/>
                    </a:cubicBezTo>
                    <a:cubicBezTo>
                      <a:pt x="3" y="60"/>
                      <a:pt x="3" y="60"/>
                      <a:pt x="3" y="60"/>
                    </a:cubicBezTo>
                    <a:cubicBezTo>
                      <a:pt x="5" y="62"/>
                      <a:pt x="12" y="62"/>
                      <a:pt x="15" y="63"/>
                    </a:cubicBezTo>
                    <a:cubicBezTo>
                      <a:pt x="19" y="64"/>
                      <a:pt x="23" y="69"/>
                      <a:pt x="23" y="71"/>
                    </a:cubicBezTo>
                    <a:cubicBezTo>
                      <a:pt x="23" y="73"/>
                      <a:pt x="25" y="77"/>
                      <a:pt x="27" y="78"/>
                    </a:cubicBezTo>
                    <a:cubicBezTo>
                      <a:pt x="29" y="79"/>
                      <a:pt x="33" y="76"/>
                      <a:pt x="35" y="76"/>
                    </a:cubicBezTo>
                    <a:cubicBezTo>
                      <a:pt x="37" y="76"/>
                      <a:pt x="45" y="76"/>
                      <a:pt x="46" y="75"/>
                    </a:cubicBezTo>
                    <a:cubicBezTo>
                      <a:pt x="47" y="75"/>
                      <a:pt x="47" y="75"/>
                      <a:pt x="47" y="75"/>
                    </a:cubicBezTo>
                    <a:cubicBezTo>
                      <a:pt x="49" y="70"/>
                      <a:pt x="50" y="66"/>
                      <a:pt x="50" y="66"/>
                    </a:cubicBezTo>
                    <a:cubicBezTo>
                      <a:pt x="50" y="66"/>
                      <a:pt x="58" y="58"/>
                      <a:pt x="59" y="58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8" name="Freeform 24">
                <a:extLst>
                  <a:ext uri="{FF2B5EF4-FFF2-40B4-BE49-F238E27FC236}">
                    <a16:creationId xmlns:a16="http://schemas.microsoft.com/office/drawing/2014/main" id="{9B7E9B4C-FC9E-4A3C-B375-BA3B89EF82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37281" y="3853910"/>
                <a:ext cx="56463" cy="115435"/>
              </a:xfrm>
              <a:custGeom>
                <a:avLst/>
                <a:gdLst>
                  <a:gd name="T0" fmla="*/ 17 w 25"/>
                  <a:gd name="T1" fmla="*/ 32 h 50"/>
                  <a:gd name="T2" fmla="*/ 20 w 25"/>
                  <a:gd name="T3" fmla="*/ 26 h 50"/>
                  <a:gd name="T4" fmla="*/ 23 w 25"/>
                  <a:gd name="T5" fmla="*/ 21 h 50"/>
                  <a:gd name="T6" fmla="*/ 24 w 25"/>
                  <a:gd name="T7" fmla="*/ 10 h 50"/>
                  <a:gd name="T8" fmla="*/ 23 w 25"/>
                  <a:gd name="T9" fmla="*/ 5 h 50"/>
                  <a:gd name="T10" fmla="*/ 21 w 25"/>
                  <a:gd name="T11" fmla="*/ 4 h 50"/>
                  <a:gd name="T12" fmla="*/ 18 w 25"/>
                  <a:gd name="T13" fmla="*/ 1 h 50"/>
                  <a:gd name="T14" fmla="*/ 15 w 25"/>
                  <a:gd name="T15" fmla="*/ 4 h 50"/>
                  <a:gd name="T16" fmla="*/ 13 w 25"/>
                  <a:gd name="T17" fmla="*/ 8 h 50"/>
                  <a:gd name="T18" fmla="*/ 6 w 25"/>
                  <a:gd name="T19" fmla="*/ 9 h 50"/>
                  <a:gd name="T20" fmla="*/ 2 w 25"/>
                  <a:gd name="T21" fmla="*/ 12 h 50"/>
                  <a:gd name="T22" fmla="*/ 0 w 25"/>
                  <a:gd name="T23" fmla="*/ 12 h 50"/>
                  <a:gd name="T24" fmla="*/ 5 w 25"/>
                  <a:gd name="T25" fmla="*/ 20 h 50"/>
                  <a:gd name="T26" fmla="*/ 6 w 25"/>
                  <a:gd name="T27" fmla="*/ 26 h 50"/>
                  <a:gd name="T28" fmla="*/ 8 w 25"/>
                  <a:gd name="T29" fmla="*/ 35 h 50"/>
                  <a:gd name="T30" fmla="*/ 8 w 25"/>
                  <a:gd name="T31" fmla="*/ 50 h 50"/>
                  <a:gd name="T32" fmla="*/ 14 w 25"/>
                  <a:gd name="T33" fmla="*/ 50 h 50"/>
                  <a:gd name="T34" fmla="*/ 19 w 25"/>
                  <a:gd name="T35" fmla="*/ 48 h 50"/>
                  <a:gd name="T36" fmla="*/ 17 w 25"/>
                  <a:gd name="T37" fmla="*/ 41 h 50"/>
                  <a:gd name="T38" fmla="*/ 17 w 25"/>
                  <a:gd name="T39" fmla="*/ 32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5" h="50">
                    <a:moveTo>
                      <a:pt x="17" y="32"/>
                    </a:moveTo>
                    <a:cubicBezTo>
                      <a:pt x="17" y="28"/>
                      <a:pt x="20" y="26"/>
                      <a:pt x="20" y="26"/>
                    </a:cubicBezTo>
                    <a:cubicBezTo>
                      <a:pt x="20" y="26"/>
                      <a:pt x="21" y="23"/>
                      <a:pt x="23" y="21"/>
                    </a:cubicBezTo>
                    <a:cubicBezTo>
                      <a:pt x="25" y="20"/>
                      <a:pt x="24" y="12"/>
                      <a:pt x="24" y="10"/>
                    </a:cubicBezTo>
                    <a:cubicBezTo>
                      <a:pt x="24" y="9"/>
                      <a:pt x="23" y="7"/>
                      <a:pt x="23" y="5"/>
                    </a:cubicBezTo>
                    <a:cubicBezTo>
                      <a:pt x="23" y="5"/>
                      <a:pt x="22" y="5"/>
                      <a:pt x="21" y="4"/>
                    </a:cubicBezTo>
                    <a:cubicBezTo>
                      <a:pt x="18" y="4"/>
                      <a:pt x="20" y="1"/>
                      <a:pt x="18" y="1"/>
                    </a:cubicBezTo>
                    <a:cubicBezTo>
                      <a:pt x="16" y="0"/>
                      <a:pt x="15" y="3"/>
                      <a:pt x="15" y="4"/>
                    </a:cubicBezTo>
                    <a:cubicBezTo>
                      <a:pt x="16" y="6"/>
                      <a:pt x="14" y="6"/>
                      <a:pt x="13" y="8"/>
                    </a:cubicBezTo>
                    <a:cubicBezTo>
                      <a:pt x="12" y="9"/>
                      <a:pt x="8" y="9"/>
                      <a:pt x="6" y="9"/>
                    </a:cubicBezTo>
                    <a:cubicBezTo>
                      <a:pt x="5" y="9"/>
                      <a:pt x="3" y="12"/>
                      <a:pt x="2" y="12"/>
                    </a:cubicBezTo>
                    <a:cubicBezTo>
                      <a:pt x="1" y="12"/>
                      <a:pt x="1" y="12"/>
                      <a:pt x="0" y="12"/>
                    </a:cubicBezTo>
                    <a:cubicBezTo>
                      <a:pt x="1" y="18"/>
                      <a:pt x="2" y="18"/>
                      <a:pt x="5" y="20"/>
                    </a:cubicBezTo>
                    <a:cubicBezTo>
                      <a:pt x="8" y="22"/>
                      <a:pt x="5" y="24"/>
                      <a:pt x="6" y="26"/>
                    </a:cubicBezTo>
                    <a:cubicBezTo>
                      <a:pt x="8" y="27"/>
                      <a:pt x="7" y="31"/>
                      <a:pt x="8" y="35"/>
                    </a:cubicBezTo>
                    <a:cubicBezTo>
                      <a:pt x="8" y="38"/>
                      <a:pt x="8" y="45"/>
                      <a:pt x="8" y="50"/>
                    </a:cubicBezTo>
                    <a:cubicBezTo>
                      <a:pt x="10" y="50"/>
                      <a:pt x="12" y="50"/>
                      <a:pt x="14" y="50"/>
                    </a:cubicBezTo>
                    <a:cubicBezTo>
                      <a:pt x="16" y="50"/>
                      <a:pt x="18" y="46"/>
                      <a:pt x="19" y="48"/>
                    </a:cubicBezTo>
                    <a:cubicBezTo>
                      <a:pt x="18" y="45"/>
                      <a:pt x="17" y="44"/>
                      <a:pt x="17" y="41"/>
                    </a:cubicBezTo>
                    <a:cubicBezTo>
                      <a:pt x="17" y="38"/>
                      <a:pt x="16" y="36"/>
                      <a:pt x="17" y="3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9" name="Freeform 25">
                <a:extLst>
                  <a:ext uri="{FF2B5EF4-FFF2-40B4-BE49-F238E27FC236}">
                    <a16:creationId xmlns:a16="http://schemas.microsoft.com/office/drawing/2014/main" id="{B226C2BC-3080-4FC1-8129-4F10D69BDB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20969" y="3879004"/>
                <a:ext cx="33878" cy="96614"/>
              </a:xfrm>
              <a:custGeom>
                <a:avLst/>
                <a:gdLst>
                  <a:gd name="T0" fmla="*/ 13 w 15"/>
                  <a:gd name="T1" fmla="*/ 15 h 42"/>
                  <a:gd name="T2" fmla="*/ 12 w 15"/>
                  <a:gd name="T3" fmla="*/ 9 h 42"/>
                  <a:gd name="T4" fmla="*/ 7 w 15"/>
                  <a:gd name="T5" fmla="*/ 1 h 42"/>
                  <a:gd name="T6" fmla="*/ 1 w 15"/>
                  <a:gd name="T7" fmla="*/ 0 h 42"/>
                  <a:gd name="T8" fmla="*/ 0 w 15"/>
                  <a:gd name="T9" fmla="*/ 0 h 42"/>
                  <a:gd name="T10" fmla="*/ 2 w 15"/>
                  <a:gd name="T11" fmla="*/ 5 h 42"/>
                  <a:gd name="T12" fmla="*/ 4 w 15"/>
                  <a:gd name="T13" fmla="*/ 10 h 42"/>
                  <a:gd name="T14" fmla="*/ 4 w 15"/>
                  <a:gd name="T15" fmla="*/ 22 h 42"/>
                  <a:gd name="T16" fmla="*/ 6 w 15"/>
                  <a:gd name="T17" fmla="*/ 33 h 42"/>
                  <a:gd name="T18" fmla="*/ 9 w 15"/>
                  <a:gd name="T19" fmla="*/ 42 h 42"/>
                  <a:gd name="T20" fmla="*/ 11 w 15"/>
                  <a:gd name="T21" fmla="*/ 41 h 42"/>
                  <a:gd name="T22" fmla="*/ 15 w 15"/>
                  <a:gd name="T23" fmla="*/ 39 h 42"/>
                  <a:gd name="T24" fmla="*/ 15 w 15"/>
                  <a:gd name="T25" fmla="*/ 24 h 42"/>
                  <a:gd name="T26" fmla="*/ 13 w 15"/>
                  <a:gd name="T27" fmla="*/ 15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5" h="42">
                    <a:moveTo>
                      <a:pt x="13" y="15"/>
                    </a:moveTo>
                    <a:cubicBezTo>
                      <a:pt x="12" y="13"/>
                      <a:pt x="15" y="11"/>
                      <a:pt x="12" y="9"/>
                    </a:cubicBezTo>
                    <a:cubicBezTo>
                      <a:pt x="9" y="7"/>
                      <a:pt x="8" y="7"/>
                      <a:pt x="7" y="1"/>
                    </a:cubicBezTo>
                    <a:cubicBezTo>
                      <a:pt x="6" y="1"/>
                      <a:pt x="3" y="0"/>
                      <a:pt x="1" y="0"/>
                    </a:cubicBezTo>
                    <a:cubicBezTo>
                      <a:pt x="1" y="0"/>
                      <a:pt x="1" y="0"/>
                      <a:pt x="0" y="0"/>
                    </a:cubicBezTo>
                    <a:cubicBezTo>
                      <a:pt x="1" y="3"/>
                      <a:pt x="1" y="5"/>
                      <a:pt x="2" y="5"/>
                    </a:cubicBezTo>
                    <a:cubicBezTo>
                      <a:pt x="3" y="6"/>
                      <a:pt x="4" y="8"/>
                      <a:pt x="4" y="10"/>
                    </a:cubicBezTo>
                    <a:cubicBezTo>
                      <a:pt x="4" y="13"/>
                      <a:pt x="3" y="19"/>
                      <a:pt x="4" y="22"/>
                    </a:cubicBezTo>
                    <a:cubicBezTo>
                      <a:pt x="5" y="24"/>
                      <a:pt x="6" y="28"/>
                      <a:pt x="6" y="33"/>
                    </a:cubicBezTo>
                    <a:cubicBezTo>
                      <a:pt x="6" y="35"/>
                      <a:pt x="8" y="39"/>
                      <a:pt x="9" y="42"/>
                    </a:cubicBezTo>
                    <a:cubicBezTo>
                      <a:pt x="10" y="41"/>
                      <a:pt x="10" y="41"/>
                      <a:pt x="11" y="41"/>
                    </a:cubicBezTo>
                    <a:cubicBezTo>
                      <a:pt x="12" y="40"/>
                      <a:pt x="14" y="39"/>
                      <a:pt x="15" y="39"/>
                    </a:cubicBezTo>
                    <a:cubicBezTo>
                      <a:pt x="15" y="34"/>
                      <a:pt x="15" y="27"/>
                      <a:pt x="15" y="24"/>
                    </a:cubicBezTo>
                    <a:cubicBezTo>
                      <a:pt x="14" y="20"/>
                      <a:pt x="15" y="16"/>
                      <a:pt x="13" y="1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0" name="Freeform 26">
                <a:extLst>
                  <a:ext uri="{FF2B5EF4-FFF2-40B4-BE49-F238E27FC236}">
                    <a16:creationId xmlns:a16="http://schemas.microsoft.com/office/drawing/2014/main" id="{D3C41865-341D-493A-8B9E-31A51B5698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1574" y="3842617"/>
                <a:ext cx="139275" cy="212049"/>
              </a:xfrm>
              <a:custGeom>
                <a:avLst/>
                <a:gdLst>
                  <a:gd name="T0" fmla="*/ 25 w 60"/>
                  <a:gd name="T1" fmla="*/ 88 h 92"/>
                  <a:gd name="T2" fmla="*/ 47 w 60"/>
                  <a:gd name="T3" fmla="*/ 88 h 92"/>
                  <a:gd name="T4" fmla="*/ 58 w 60"/>
                  <a:gd name="T5" fmla="*/ 92 h 92"/>
                  <a:gd name="T6" fmla="*/ 60 w 60"/>
                  <a:gd name="T7" fmla="*/ 85 h 92"/>
                  <a:gd name="T8" fmla="*/ 59 w 60"/>
                  <a:gd name="T9" fmla="*/ 84 h 92"/>
                  <a:gd name="T10" fmla="*/ 53 w 60"/>
                  <a:gd name="T11" fmla="*/ 79 h 92"/>
                  <a:gd name="T12" fmla="*/ 52 w 60"/>
                  <a:gd name="T13" fmla="*/ 76 h 92"/>
                  <a:gd name="T14" fmla="*/ 50 w 60"/>
                  <a:gd name="T15" fmla="*/ 71 h 92"/>
                  <a:gd name="T16" fmla="*/ 48 w 60"/>
                  <a:gd name="T17" fmla="*/ 65 h 92"/>
                  <a:gd name="T18" fmla="*/ 47 w 60"/>
                  <a:gd name="T19" fmla="*/ 58 h 92"/>
                  <a:gd name="T20" fmla="*/ 51 w 60"/>
                  <a:gd name="T21" fmla="*/ 50 h 92"/>
                  <a:gd name="T22" fmla="*/ 55 w 60"/>
                  <a:gd name="T23" fmla="*/ 45 h 92"/>
                  <a:gd name="T24" fmla="*/ 53 w 60"/>
                  <a:gd name="T25" fmla="*/ 39 h 92"/>
                  <a:gd name="T26" fmla="*/ 46 w 60"/>
                  <a:gd name="T27" fmla="*/ 32 h 92"/>
                  <a:gd name="T28" fmla="*/ 44 w 60"/>
                  <a:gd name="T29" fmla="*/ 27 h 92"/>
                  <a:gd name="T30" fmla="*/ 51 w 60"/>
                  <a:gd name="T31" fmla="*/ 26 h 92"/>
                  <a:gd name="T32" fmla="*/ 54 w 60"/>
                  <a:gd name="T33" fmla="*/ 24 h 92"/>
                  <a:gd name="T34" fmla="*/ 51 w 60"/>
                  <a:gd name="T35" fmla="*/ 14 h 92"/>
                  <a:gd name="T36" fmla="*/ 50 w 60"/>
                  <a:gd name="T37" fmla="*/ 7 h 92"/>
                  <a:gd name="T38" fmla="*/ 45 w 60"/>
                  <a:gd name="T39" fmla="*/ 0 h 92"/>
                  <a:gd name="T40" fmla="*/ 45 w 60"/>
                  <a:gd name="T41" fmla="*/ 0 h 92"/>
                  <a:gd name="T42" fmla="*/ 44 w 60"/>
                  <a:gd name="T43" fmla="*/ 4 h 92"/>
                  <a:gd name="T44" fmla="*/ 47 w 60"/>
                  <a:gd name="T45" fmla="*/ 7 h 92"/>
                  <a:gd name="T46" fmla="*/ 48 w 60"/>
                  <a:gd name="T47" fmla="*/ 12 h 92"/>
                  <a:gd name="T48" fmla="*/ 43 w 60"/>
                  <a:gd name="T49" fmla="*/ 15 h 92"/>
                  <a:gd name="T50" fmla="*/ 38 w 60"/>
                  <a:gd name="T51" fmla="*/ 24 h 92"/>
                  <a:gd name="T52" fmla="*/ 36 w 60"/>
                  <a:gd name="T53" fmla="*/ 29 h 92"/>
                  <a:gd name="T54" fmla="*/ 36 w 60"/>
                  <a:gd name="T55" fmla="*/ 33 h 92"/>
                  <a:gd name="T56" fmla="*/ 32 w 60"/>
                  <a:gd name="T57" fmla="*/ 38 h 92"/>
                  <a:gd name="T58" fmla="*/ 26 w 60"/>
                  <a:gd name="T59" fmla="*/ 50 h 92"/>
                  <a:gd name="T60" fmla="*/ 22 w 60"/>
                  <a:gd name="T61" fmla="*/ 54 h 92"/>
                  <a:gd name="T62" fmla="*/ 17 w 60"/>
                  <a:gd name="T63" fmla="*/ 50 h 92"/>
                  <a:gd name="T64" fmla="*/ 12 w 60"/>
                  <a:gd name="T65" fmla="*/ 51 h 92"/>
                  <a:gd name="T66" fmla="*/ 3 w 60"/>
                  <a:gd name="T67" fmla="*/ 59 h 92"/>
                  <a:gd name="T68" fmla="*/ 0 w 60"/>
                  <a:gd name="T69" fmla="*/ 68 h 92"/>
                  <a:gd name="T70" fmla="*/ 4 w 60"/>
                  <a:gd name="T71" fmla="*/ 72 h 92"/>
                  <a:gd name="T72" fmla="*/ 10 w 60"/>
                  <a:gd name="T73" fmla="*/ 74 h 92"/>
                  <a:gd name="T74" fmla="*/ 12 w 60"/>
                  <a:gd name="T75" fmla="*/ 82 h 92"/>
                  <a:gd name="T76" fmla="*/ 11 w 60"/>
                  <a:gd name="T77" fmla="*/ 89 h 92"/>
                  <a:gd name="T78" fmla="*/ 22 w 60"/>
                  <a:gd name="T79" fmla="*/ 89 h 92"/>
                  <a:gd name="T80" fmla="*/ 25 w 60"/>
                  <a:gd name="T81" fmla="*/ 88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60" h="92">
                    <a:moveTo>
                      <a:pt x="25" y="88"/>
                    </a:moveTo>
                    <a:cubicBezTo>
                      <a:pt x="25" y="88"/>
                      <a:pt x="44" y="89"/>
                      <a:pt x="47" y="88"/>
                    </a:cubicBezTo>
                    <a:cubicBezTo>
                      <a:pt x="49" y="88"/>
                      <a:pt x="58" y="92"/>
                      <a:pt x="58" y="92"/>
                    </a:cubicBezTo>
                    <a:cubicBezTo>
                      <a:pt x="58" y="92"/>
                      <a:pt x="58" y="88"/>
                      <a:pt x="60" y="85"/>
                    </a:cubicBezTo>
                    <a:cubicBezTo>
                      <a:pt x="59" y="85"/>
                      <a:pt x="59" y="84"/>
                      <a:pt x="59" y="84"/>
                    </a:cubicBezTo>
                    <a:cubicBezTo>
                      <a:pt x="58" y="82"/>
                      <a:pt x="55" y="80"/>
                      <a:pt x="53" y="79"/>
                    </a:cubicBezTo>
                    <a:cubicBezTo>
                      <a:pt x="52" y="77"/>
                      <a:pt x="52" y="76"/>
                      <a:pt x="52" y="76"/>
                    </a:cubicBezTo>
                    <a:cubicBezTo>
                      <a:pt x="52" y="76"/>
                      <a:pt x="52" y="73"/>
                      <a:pt x="50" y="71"/>
                    </a:cubicBezTo>
                    <a:cubicBezTo>
                      <a:pt x="49" y="69"/>
                      <a:pt x="48" y="67"/>
                      <a:pt x="48" y="65"/>
                    </a:cubicBezTo>
                    <a:cubicBezTo>
                      <a:pt x="48" y="62"/>
                      <a:pt x="47" y="60"/>
                      <a:pt x="47" y="58"/>
                    </a:cubicBezTo>
                    <a:cubicBezTo>
                      <a:pt x="47" y="56"/>
                      <a:pt x="50" y="53"/>
                      <a:pt x="51" y="50"/>
                    </a:cubicBezTo>
                    <a:cubicBezTo>
                      <a:pt x="52" y="48"/>
                      <a:pt x="53" y="46"/>
                      <a:pt x="55" y="45"/>
                    </a:cubicBezTo>
                    <a:cubicBezTo>
                      <a:pt x="54" y="44"/>
                      <a:pt x="53" y="42"/>
                      <a:pt x="53" y="39"/>
                    </a:cubicBezTo>
                    <a:cubicBezTo>
                      <a:pt x="52" y="36"/>
                      <a:pt x="49" y="35"/>
                      <a:pt x="46" y="32"/>
                    </a:cubicBezTo>
                    <a:cubicBezTo>
                      <a:pt x="43" y="29"/>
                      <a:pt x="44" y="28"/>
                      <a:pt x="44" y="27"/>
                    </a:cubicBezTo>
                    <a:cubicBezTo>
                      <a:pt x="44" y="25"/>
                      <a:pt x="48" y="25"/>
                      <a:pt x="51" y="26"/>
                    </a:cubicBezTo>
                    <a:cubicBezTo>
                      <a:pt x="54" y="26"/>
                      <a:pt x="55" y="25"/>
                      <a:pt x="54" y="24"/>
                    </a:cubicBezTo>
                    <a:cubicBezTo>
                      <a:pt x="53" y="24"/>
                      <a:pt x="51" y="18"/>
                      <a:pt x="51" y="14"/>
                    </a:cubicBezTo>
                    <a:cubicBezTo>
                      <a:pt x="51" y="11"/>
                      <a:pt x="50" y="9"/>
                      <a:pt x="50" y="7"/>
                    </a:cubicBezTo>
                    <a:cubicBezTo>
                      <a:pt x="50" y="5"/>
                      <a:pt x="47" y="0"/>
                      <a:pt x="45" y="0"/>
                    </a:cubicBezTo>
                    <a:cubicBezTo>
                      <a:pt x="45" y="0"/>
                      <a:pt x="45" y="0"/>
                      <a:pt x="45" y="0"/>
                    </a:cubicBezTo>
                    <a:cubicBezTo>
                      <a:pt x="44" y="1"/>
                      <a:pt x="44" y="3"/>
                      <a:pt x="44" y="4"/>
                    </a:cubicBezTo>
                    <a:cubicBezTo>
                      <a:pt x="44" y="5"/>
                      <a:pt x="46" y="7"/>
                      <a:pt x="47" y="7"/>
                    </a:cubicBezTo>
                    <a:cubicBezTo>
                      <a:pt x="49" y="8"/>
                      <a:pt x="48" y="10"/>
                      <a:pt x="48" y="12"/>
                    </a:cubicBezTo>
                    <a:cubicBezTo>
                      <a:pt x="48" y="14"/>
                      <a:pt x="44" y="14"/>
                      <a:pt x="43" y="15"/>
                    </a:cubicBezTo>
                    <a:cubicBezTo>
                      <a:pt x="42" y="16"/>
                      <a:pt x="38" y="23"/>
                      <a:pt x="38" y="24"/>
                    </a:cubicBezTo>
                    <a:cubicBezTo>
                      <a:pt x="39" y="25"/>
                      <a:pt x="38" y="28"/>
                      <a:pt x="36" y="29"/>
                    </a:cubicBezTo>
                    <a:cubicBezTo>
                      <a:pt x="35" y="29"/>
                      <a:pt x="36" y="32"/>
                      <a:pt x="36" y="33"/>
                    </a:cubicBezTo>
                    <a:cubicBezTo>
                      <a:pt x="36" y="34"/>
                      <a:pt x="32" y="36"/>
                      <a:pt x="32" y="38"/>
                    </a:cubicBezTo>
                    <a:cubicBezTo>
                      <a:pt x="32" y="40"/>
                      <a:pt x="27" y="48"/>
                      <a:pt x="26" y="50"/>
                    </a:cubicBezTo>
                    <a:cubicBezTo>
                      <a:pt x="24" y="53"/>
                      <a:pt x="23" y="56"/>
                      <a:pt x="22" y="54"/>
                    </a:cubicBezTo>
                    <a:cubicBezTo>
                      <a:pt x="22" y="52"/>
                      <a:pt x="18" y="49"/>
                      <a:pt x="17" y="50"/>
                    </a:cubicBezTo>
                    <a:cubicBezTo>
                      <a:pt x="15" y="51"/>
                      <a:pt x="13" y="50"/>
                      <a:pt x="12" y="51"/>
                    </a:cubicBezTo>
                    <a:cubicBezTo>
                      <a:pt x="11" y="51"/>
                      <a:pt x="3" y="59"/>
                      <a:pt x="3" y="59"/>
                    </a:cubicBezTo>
                    <a:cubicBezTo>
                      <a:pt x="3" y="59"/>
                      <a:pt x="2" y="63"/>
                      <a:pt x="0" y="68"/>
                    </a:cubicBezTo>
                    <a:cubicBezTo>
                      <a:pt x="1" y="69"/>
                      <a:pt x="3" y="71"/>
                      <a:pt x="4" y="72"/>
                    </a:cubicBezTo>
                    <a:cubicBezTo>
                      <a:pt x="5" y="75"/>
                      <a:pt x="9" y="73"/>
                      <a:pt x="10" y="74"/>
                    </a:cubicBezTo>
                    <a:cubicBezTo>
                      <a:pt x="11" y="74"/>
                      <a:pt x="13" y="80"/>
                      <a:pt x="12" y="82"/>
                    </a:cubicBezTo>
                    <a:cubicBezTo>
                      <a:pt x="12" y="83"/>
                      <a:pt x="10" y="87"/>
                      <a:pt x="11" y="89"/>
                    </a:cubicBezTo>
                    <a:cubicBezTo>
                      <a:pt x="22" y="89"/>
                      <a:pt x="22" y="89"/>
                      <a:pt x="22" y="89"/>
                    </a:cubicBezTo>
                    <a:lnTo>
                      <a:pt x="25" y="88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1" name="Freeform 27">
                <a:extLst>
                  <a:ext uri="{FF2B5EF4-FFF2-40B4-BE49-F238E27FC236}">
                    <a16:creationId xmlns:a16="http://schemas.microsoft.com/office/drawing/2014/main" id="{C0C25430-6E1D-49CD-9B8B-2D00733641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61619" y="3886533"/>
                <a:ext cx="115435" cy="116689"/>
              </a:xfrm>
              <a:custGeom>
                <a:avLst/>
                <a:gdLst>
                  <a:gd name="T0" fmla="*/ 47 w 50"/>
                  <a:gd name="T1" fmla="*/ 43 h 51"/>
                  <a:gd name="T2" fmla="*/ 44 w 50"/>
                  <a:gd name="T3" fmla="*/ 34 h 51"/>
                  <a:gd name="T4" fmla="*/ 47 w 50"/>
                  <a:gd name="T5" fmla="*/ 26 h 51"/>
                  <a:gd name="T6" fmla="*/ 50 w 50"/>
                  <a:gd name="T7" fmla="*/ 21 h 51"/>
                  <a:gd name="T8" fmla="*/ 47 w 50"/>
                  <a:gd name="T9" fmla="*/ 8 h 51"/>
                  <a:gd name="T10" fmla="*/ 46 w 50"/>
                  <a:gd name="T11" fmla="*/ 8 h 51"/>
                  <a:gd name="T12" fmla="*/ 36 w 50"/>
                  <a:gd name="T13" fmla="*/ 9 h 51"/>
                  <a:gd name="T14" fmla="*/ 29 w 50"/>
                  <a:gd name="T15" fmla="*/ 5 h 51"/>
                  <a:gd name="T16" fmla="*/ 23 w 50"/>
                  <a:gd name="T17" fmla="*/ 3 h 51"/>
                  <a:gd name="T18" fmla="*/ 20 w 50"/>
                  <a:gd name="T19" fmla="*/ 2 h 51"/>
                  <a:gd name="T20" fmla="*/ 16 w 50"/>
                  <a:gd name="T21" fmla="*/ 3 h 51"/>
                  <a:gd name="T22" fmla="*/ 12 w 50"/>
                  <a:gd name="T23" fmla="*/ 5 h 51"/>
                  <a:gd name="T24" fmla="*/ 8 w 50"/>
                  <a:gd name="T25" fmla="*/ 4 h 51"/>
                  <a:gd name="T26" fmla="*/ 5 w 50"/>
                  <a:gd name="T27" fmla="*/ 4 h 51"/>
                  <a:gd name="T28" fmla="*/ 5 w 50"/>
                  <a:gd name="T29" fmla="*/ 11 h 51"/>
                  <a:gd name="T30" fmla="*/ 6 w 50"/>
                  <a:gd name="T31" fmla="*/ 15 h 51"/>
                  <a:gd name="T32" fmla="*/ 8 w 50"/>
                  <a:gd name="T33" fmla="*/ 20 h 51"/>
                  <a:gd name="T34" fmla="*/ 4 w 50"/>
                  <a:gd name="T35" fmla="*/ 20 h 51"/>
                  <a:gd name="T36" fmla="*/ 5 w 50"/>
                  <a:gd name="T37" fmla="*/ 25 h 51"/>
                  <a:gd name="T38" fmla="*/ 2 w 50"/>
                  <a:gd name="T39" fmla="*/ 29 h 51"/>
                  <a:gd name="T40" fmla="*/ 1 w 50"/>
                  <a:gd name="T41" fmla="*/ 35 h 51"/>
                  <a:gd name="T42" fmla="*/ 4 w 50"/>
                  <a:gd name="T43" fmla="*/ 38 h 51"/>
                  <a:gd name="T44" fmla="*/ 10 w 50"/>
                  <a:gd name="T45" fmla="*/ 44 h 51"/>
                  <a:gd name="T46" fmla="*/ 8 w 50"/>
                  <a:gd name="T47" fmla="*/ 51 h 51"/>
                  <a:gd name="T48" fmla="*/ 32 w 50"/>
                  <a:gd name="T49" fmla="*/ 46 h 51"/>
                  <a:gd name="T50" fmla="*/ 47 w 50"/>
                  <a:gd name="T51" fmla="*/ 47 h 51"/>
                  <a:gd name="T52" fmla="*/ 47 w 50"/>
                  <a:gd name="T53" fmla="*/ 43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50" h="51">
                    <a:moveTo>
                      <a:pt x="47" y="43"/>
                    </a:moveTo>
                    <a:cubicBezTo>
                      <a:pt x="46" y="42"/>
                      <a:pt x="44" y="35"/>
                      <a:pt x="44" y="34"/>
                    </a:cubicBezTo>
                    <a:cubicBezTo>
                      <a:pt x="44" y="33"/>
                      <a:pt x="47" y="28"/>
                      <a:pt x="47" y="26"/>
                    </a:cubicBezTo>
                    <a:cubicBezTo>
                      <a:pt x="47" y="24"/>
                      <a:pt x="50" y="23"/>
                      <a:pt x="50" y="21"/>
                    </a:cubicBezTo>
                    <a:cubicBezTo>
                      <a:pt x="50" y="19"/>
                      <a:pt x="49" y="13"/>
                      <a:pt x="47" y="8"/>
                    </a:cubicBezTo>
                    <a:cubicBezTo>
                      <a:pt x="47" y="8"/>
                      <a:pt x="46" y="8"/>
                      <a:pt x="46" y="8"/>
                    </a:cubicBezTo>
                    <a:cubicBezTo>
                      <a:pt x="44" y="6"/>
                      <a:pt x="38" y="6"/>
                      <a:pt x="36" y="9"/>
                    </a:cubicBezTo>
                    <a:cubicBezTo>
                      <a:pt x="34" y="11"/>
                      <a:pt x="30" y="7"/>
                      <a:pt x="29" y="5"/>
                    </a:cubicBezTo>
                    <a:cubicBezTo>
                      <a:pt x="29" y="4"/>
                      <a:pt x="25" y="2"/>
                      <a:pt x="23" y="3"/>
                    </a:cubicBezTo>
                    <a:cubicBezTo>
                      <a:pt x="21" y="5"/>
                      <a:pt x="20" y="4"/>
                      <a:pt x="20" y="2"/>
                    </a:cubicBezTo>
                    <a:cubicBezTo>
                      <a:pt x="20" y="0"/>
                      <a:pt x="17" y="1"/>
                      <a:pt x="16" y="3"/>
                    </a:cubicBezTo>
                    <a:cubicBezTo>
                      <a:pt x="16" y="5"/>
                      <a:pt x="13" y="6"/>
                      <a:pt x="12" y="5"/>
                    </a:cubicBezTo>
                    <a:cubicBezTo>
                      <a:pt x="11" y="4"/>
                      <a:pt x="9" y="2"/>
                      <a:pt x="8" y="4"/>
                    </a:cubicBezTo>
                    <a:cubicBezTo>
                      <a:pt x="7" y="5"/>
                      <a:pt x="6" y="5"/>
                      <a:pt x="5" y="4"/>
                    </a:cubicBezTo>
                    <a:cubicBezTo>
                      <a:pt x="4" y="7"/>
                      <a:pt x="4" y="10"/>
                      <a:pt x="5" y="11"/>
                    </a:cubicBezTo>
                    <a:cubicBezTo>
                      <a:pt x="6" y="12"/>
                      <a:pt x="7" y="14"/>
                      <a:pt x="6" y="15"/>
                    </a:cubicBezTo>
                    <a:cubicBezTo>
                      <a:pt x="6" y="16"/>
                      <a:pt x="9" y="18"/>
                      <a:pt x="8" y="20"/>
                    </a:cubicBezTo>
                    <a:cubicBezTo>
                      <a:pt x="6" y="21"/>
                      <a:pt x="5" y="18"/>
                      <a:pt x="4" y="20"/>
                    </a:cubicBezTo>
                    <a:cubicBezTo>
                      <a:pt x="3" y="22"/>
                      <a:pt x="6" y="24"/>
                      <a:pt x="5" y="25"/>
                    </a:cubicBezTo>
                    <a:cubicBezTo>
                      <a:pt x="4" y="26"/>
                      <a:pt x="2" y="27"/>
                      <a:pt x="2" y="29"/>
                    </a:cubicBezTo>
                    <a:cubicBezTo>
                      <a:pt x="3" y="32"/>
                      <a:pt x="3" y="34"/>
                      <a:pt x="1" y="35"/>
                    </a:cubicBezTo>
                    <a:cubicBezTo>
                      <a:pt x="0" y="36"/>
                      <a:pt x="2" y="36"/>
                      <a:pt x="4" y="38"/>
                    </a:cubicBezTo>
                    <a:cubicBezTo>
                      <a:pt x="7" y="39"/>
                      <a:pt x="11" y="41"/>
                      <a:pt x="10" y="44"/>
                    </a:cubicBezTo>
                    <a:cubicBezTo>
                      <a:pt x="10" y="46"/>
                      <a:pt x="9" y="47"/>
                      <a:pt x="8" y="51"/>
                    </a:cubicBezTo>
                    <a:cubicBezTo>
                      <a:pt x="13" y="51"/>
                      <a:pt x="22" y="48"/>
                      <a:pt x="32" y="46"/>
                    </a:cubicBezTo>
                    <a:cubicBezTo>
                      <a:pt x="38" y="45"/>
                      <a:pt x="43" y="46"/>
                      <a:pt x="47" y="47"/>
                    </a:cubicBezTo>
                    <a:cubicBezTo>
                      <a:pt x="48" y="45"/>
                      <a:pt x="48" y="44"/>
                      <a:pt x="47" y="4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2" name="Freeform 28">
                <a:extLst>
                  <a:ext uri="{FF2B5EF4-FFF2-40B4-BE49-F238E27FC236}">
                    <a16:creationId xmlns:a16="http://schemas.microsoft.com/office/drawing/2014/main" id="{BC0F3890-7774-4285-B53B-4370ACD070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63252" y="3879004"/>
                <a:ext cx="77793" cy="120454"/>
              </a:xfrm>
              <a:custGeom>
                <a:avLst/>
                <a:gdLst>
                  <a:gd name="T0" fmla="*/ 29 w 34"/>
                  <a:gd name="T1" fmla="*/ 22 h 52"/>
                  <a:gd name="T2" fmla="*/ 29 w 34"/>
                  <a:gd name="T3" fmla="*/ 10 h 52"/>
                  <a:gd name="T4" fmla="*/ 27 w 34"/>
                  <a:gd name="T5" fmla="*/ 5 h 52"/>
                  <a:gd name="T6" fmla="*/ 25 w 34"/>
                  <a:gd name="T7" fmla="*/ 0 h 52"/>
                  <a:gd name="T8" fmla="*/ 23 w 34"/>
                  <a:gd name="T9" fmla="*/ 2 h 52"/>
                  <a:gd name="T10" fmla="*/ 3 w 34"/>
                  <a:gd name="T11" fmla="*/ 2 h 52"/>
                  <a:gd name="T12" fmla="*/ 4 w 34"/>
                  <a:gd name="T13" fmla="*/ 10 h 52"/>
                  <a:gd name="T14" fmla="*/ 3 w 34"/>
                  <a:gd name="T15" fmla="*/ 11 h 52"/>
                  <a:gd name="T16" fmla="*/ 6 w 34"/>
                  <a:gd name="T17" fmla="*/ 24 h 52"/>
                  <a:gd name="T18" fmla="*/ 3 w 34"/>
                  <a:gd name="T19" fmla="*/ 29 h 52"/>
                  <a:gd name="T20" fmla="*/ 0 w 34"/>
                  <a:gd name="T21" fmla="*/ 37 h 52"/>
                  <a:gd name="T22" fmla="*/ 3 w 34"/>
                  <a:gd name="T23" fmla="*/ 46 h 52"/>
                  <a:gd name="T24" fmla="*/ 3 w 34"/>
                  <a:gd name="T25" fmla="*/ 50 h 52"/>
                  <a:gd name="T26" fmla="*/ 9 w 34"/>
                  <a:gd name="T27" fmla="*/ 52 h 52"/>
                  <a:gd name="T28" fmla="*/ 25 w 34"/>
                  <a:gd name="T29" fmla="*/ 46 h 52"/>
                  <a:gd name="T30" fmla="*/ 34 w 34"/>
                  <a:gd name="T31" fmla="*/ 42 h 52"/>
                  <a:gd name="T32" fmla="*/ 31 w 34"/>
                  <a:gd name="T33" fmla="*/ 33 h 52"/>
                  <a:gd name="T34" fmla="*/ 29 w 34"/>
                  <a:gd name="T35" fmla="*/ 2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4" h="52">
                    <a:moveTo>
                      <a:pt x="29" y="22"/>
                    </a:moveTo>
                    <a:cubicBezTo>
                      <a:pt x="28" y="19"/>
                      <a:pt x="29" y="13"/>
                      <a:pt x="29" y="10"/>
                    </a:cubicBezTo>
                    <a:cubicBezTo>
                      <a:pt x="29" y="8"/>
                      <a:pt x="28" y="6"/>
                      <a:pt x="27" y="5"/>
                    </a:cubicBezTo>
                    <a:cubicBezTo>
                      <a:pt x="26" y="5"/>
                      <a:pt x="26" y="3"/>
                      <a:pt x="25" y="0"/>
                    </a:cubicBezTo>
                    <a:cubicBezTo>
                      <a:pt x="24" y="1"/>
                      <a:pt x="24" y="3"/>
                      <a:pt x="23" y="2"/>
                    </a:cubicBezTo>
                    <a:cubicBezTo>
                      <a:pt x="23" y="1"/>
                      <a:pt x="4" y="0"/>
                      <a:pt x="3" y="2"/>
                    </a:cubicBezTo>
                    <a:cubicBezTo>
                      <a:pt x="2" y="3"/>
                      <a:pt x="5" y="8"/>
                      <a:pt x="4" y="10"/>
                    </a:cubicBezTo>
                    <a:cubicBezTo>
                      <a:pt x="4" y="11"/>
                      <a:pt x="4" y="11"/>
                      <a:pt x="3" y="11"/>
                    </a:cubicBezTo>
                    <a:cubicBezTo>
                      <a:pt x="5" y="16"/>
                      <a:pt x="6" y="22"/>
                      <a:pt x="6" y="24"/>
                    </a:cubicBezTo>
                    <a:cubicBezTo>
                      <a:pt x="6" y="26"/>
                      <a:pt x="3" y="27"/>
                      <a:pt x="3" y="29"/>
                    </a:cubicBezTo>
                    <a:cubicBezTo>
                      <a:pt x="3" y="31"/>
                      <a:pt x="0" y="36"/>
                      <a:pt x="0" y="37"/>
                    </a:cubicBezTo>
                    <a:cubicBezTo>
                      <a:pt x="0" y="38"/>
                      <a:pt x="2" y="45"/>
                      <a:pt x="3" y="46"/>
                    </a:cubicBezTo>
                    <a:cubicBezTo>
                      <a:pt x="4" y="47"/>
                      <a:pt x="4" y="48"/>
                      <a:pt x="3" y="50"/>
                    </a:cubicBezTo>
                    <a:cubicBezTo>
                      <a:pt x="7" y="51"/>
                      <a:pt x="9" y="52"/>
                      <a:pt x="9" y="52"/>
                    </a:cubicBezTo>
                    <a:cubicBezTo>
                      <a:pt x="11" y="52"/>
                      <a:pt x="21" y="48"/>
                      <a:pt x="25" y="46"/>
                    </a:cubicBezTo>
                    <a:cubicBezTo>
                      <a:pt x="28" y="44"/>
                      <a:pt x="32" y="43"/>
                      <a:pt x="34" y="42"/>
                    </a:cubicBezTo>
                    <a:cubicBezTo>
                      <a:pt x="33" y="39"/>
                      <a:pt x="31" y="35"/>
                      <a:pt x="31" y="33"/>
                    </a:cubicBezTo>
                    <a:cubicBezTo>
                      <a:pt x="31" y="28"/>
                      <a:pt x="30" y="24"/>
                      <a:pt x="29" y="2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3" name="Freeform 29">
                <a:extLst>
                  <a:ext uri="{FF2B5EF4-FFF2-40B4-BE49-F238E27FC236}">
                    <a16:creationId xmlns:a16="http://schemas.microsoft.com/office/drawing/2014/main" id="{575CECD2-8A40-4478-9071-E8AC630159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41165" y="3848891"/>
                <a:ext cx="140529" cy="106652"/>
              </a:xfrm>
              <a:custGeom>
                <a:avLst/>
                <a:gdLst>
                  <a:gd name="T0" fmla="*/ 20 w 61"/>
                  <a:gd name="T1" fmla="*/ 25 h 46"/>
                  <a:gd name="T2" fmla="*/ 24 w 61"/>
                  <a:gd name="T3" fmla="*/ 24 h 46"/>
                  <a:gd name="T4" fmla="*/ 30 w 61"/>
                  <a:gd name="T5" fmla="*/ 23 h 46"/>
                  <a:gd name="T6" fmla="*/ 37 w 61"/>
                  <a:gd name="T7" fmla="*/ 31 h 46"/>
                  <a:gd name="T8" fmla="*/ 38 w 61"/>
                  <a:gd name="T9" fmla="*/ 35 h 46"/>
                  <a:gd name="T10" fmla="*/ 38 w 61"/>
                  <a:gd name="T11" fmla="*/ 36 h 46"/>
                  <a:gd name="T12" fmla="*/ 44 w 61"/>
                  <a:gd name="T13" fmla="*/ 35 h 46"/>
                  <a:gd name="T14" fmla="*/ 46 w 61"/>
                  <a:gd name="T15" fmla="*/ 42 h 46"/>
                  <a:gd name="T16" fmla="*/ 50 w 61"/>
                  <a:gd name="T17" fmla="*/ 45 h 46"/>
                  <a:gd name="T18" fmla="*/ 53 w 61"/>
                  <a:gd name="T19" fmla="*/ 42 h 46"/>
                  <a:gd name="T20" fmla="*/ 55 w 61"/>
                  <a:gd name="T21" fmla="*/ 43 h 46"/>
                  <a:gd name="T22" fmla="*/ 57 w 61"/>
                  <a:gd name="T23" fmla="*/ 41 h 46"/>
                  <a:gd name="T24" fmla="*/ 56 w 61"/>
                  <a:gd name="T25" fmla="*/ 36 h 46"/>
                  <a:gd name="T26" fmla="*/ 60 w 61"/>
                  <a:gd name="T27" fmla="*/ 36 h 46"/>
                  <a:gd name="T28" fmla="*/ 58 w 61"/>
                  <a:gd name="T29" fmla="*/ 31 h 46"/>
                  <a:gd name="T30" fmla="*/ 57 w 61"/>
                  <a:gd name="T31" fmla="*/ 27 h 46"/>
                  <a:gd name="T32" fmla="*/ 57 w 61"/>
                  <a:gd name="T33" fmla="*/ 20 h 46"/>
                  <a:gd name="T34" fmla="*/ 56 w 61"/>
                  <a:gd name="T35" fmla="*/ 19 h 46"/>
                  <a:gd name="T36" fmla="*/ 54 w 61"/>
                  <a:gd name="T37" fmla="*/ 15 h 46"/>
                  <a:gd name="T38" fmla="*/ 54 w 61"/>
                  <a:gd name="T39" fmla="*/ 12 h 46"/>
                  <a:gd name="T40" fmla="*/ 51 w 61"/>
                  <a:gd name="T41" fmla="*/ 8 h 46"/>
                  <a:gd name="T42" fmla="*/ 48 w 61"/>
                  <a:gd name="T43" fmla="*/ 2 h 46"/>
                  <a:gd name="T44" fmla="*/ 42 w 61"/>
                  <a:gd name="T45" fmla="*/ 6 h 46"/>
                  <a:gd name="T46" fmla="*/ 37 w 61"/>
                  <a:gd name="T47" fmla="*/ 6 h 46"/>
                  <a:gd name="T48" fmla="*/ 32 w 61"/>
                  <a:gd name="T49" fmla="*/ 6 h 46"/>
                  <a:gd name="T50" fmla="*/ 30 w 61"/>
                  <a:gd name="T51" fmla="*/ 4 h 46"/>
                  <a:gd name="T52" fmla="*/ 30 w 61"/>
                  <a:gd name="T53" fmla="*/ 3 h 46"/>
                  <a:gd name="T54" fmla="*/ 29 w 61"/>
                  <a:gd name="T55" fmla="*/ 3 h 46"/>
                  <a:gd name="T56" fmla="*/ 17 w 61"/>
                  <a:gd name="T57" fmla="*/ 3 h 46"/>
                  <a:gd name="T58" fmla="*/ 12 w 61"/>
                  <a:gd name="T59" fmla="*/ 0 h 46"/>
                  <a:gd name="T60" fmla="*/ 10 w 61"/>
                  <a:gd name="T61" fmla="*/ 4 h 46"/>
                  <a:gd name="T62" fmla="*/ 10 w 61"/>
                  <a:gd name="T63" fmla="*/ 8 h 46"/>
                  <a:gd name="T64" fmla="*/ 7 w 61"/>
                  <a:gd name="T65" fmla="*/ 9 h 46"/>
                  <a:gd name="T66" fmla="*/ 1 w 61"/>
                  <a:gd name="T67" fmla="*/ 13 h 46"/>
                  <a:gd name="T68" fmla="*/ 0 w 61"/>
                  <a:gd name="T69" fmla="*/ 14 h 46"/>
                  <a:gd name="T70" fmla="*/ 6 w 61"/>
                  <a:gd name="T71" fmla="*/ 21 h 46"/>
                  <a:gd name="T72" fmla="*/ 15 w 61"/>
                  <a:gd name="T73" fmla="*/ 31 h 46"/>
                  <a:gd name="T74" fmla="*/ 20 w 61"/>
                  <a:gd name="T75" fmla="*/ 25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61" h="46">
                    <a:moveTo>
                      <a:pt x="20" y="25"/>
                    </a:moveTo>
                    <a:cubicBezTo>
                      <a:pt x="20" y="23"/>
                      <a:pt x="22" y="23"/>
                      <a:pt x="24" y="24"/>
                    </a:cubicBezTo>
                    <a:cubicBezTo>
                      <a:pt x="26" y="24"/>
                      <a:pt x="28" y="23"/>
                      <a:pt x="30" y="23"/>
                    </a:cubicBezTo>
                    <a:cubicBezTo>
                      <a:pt x="32" y="23"/>
                      <a:pt x="37" y="29"/>
                      <a:pt x="37" y="31"/>
                    </a:cubicBezTo>
                    <a:cubicBezTo>
                      <a:pt x="37" y="32"/>
                      <a:pt x="37" y="34"/>
                      <a:pt x="38" y="35"/>
                    </a:cubicBezTo>
                    <a:cubicBezTo>
                      <a:pt x="38" y="36"/>
                      <a:pt x="38" y="36"/>
                      <a:pt x="38" y="36"/>
                    </a:cubicBezTo>
                    <a:cubicBezTo>
                      <a:pt x="41" y="35"/>
                      <a:pt x="43" y="35"/>
                      <a:pt x="44" y="35"/>
                    </a:cubicBezTo>
                    <a:cubicBezTo>
                      <a:pt x="45" y="35"/>
                      <a:pt x="46" y="39"/>
                      <a:pt x="46" y="42"/>
                    </a:cubicBezTo>
                    <a:cubicBezTo>
                      <a:pt x="46" y="44"/>
                      <a:pt x="49" y="46"/>
                      <a:pt x="50" y="45"/>
                    </a:cubicBezTo>
                    <a:cubicBezTo>
                      <a:pt x="51" y="43"/>
                      <a:pt x="53" y="41"/>
                      <a:pt x="53" y="42"/>
                    </a:cubicBezTo>
                    <a:cubicBezTo>
                      <a:pt x="53" y="43"/>
                      <a:pt x="54" y="43"/>
                      <a:pt x="55" y="43"/>
                    </a:cubicBezTo>
                    <a:cubicBezTo>
                      <a:pt x="55" y="42"/>
                      <a:pt x="56" y="42"/>
                      <a:pt x="57" y="41"/>
                    </a:cubicBezTo>
                    <a:cubicBezTo>
                      <a:pt x="58" y="40"/>
                      <a:pt x="55" y="38"/>
                      <a:pt x="56" y="36"/>
                    </a:cubicBezTo>
                    <a:cubicBezTo>
                      <a:pt x="57" y="34"/>
                      <a:pt x="58" y="37"/>
                      <a:pt x="60" y="36"/>
                    </a:cubicBezTo>
                    <a:cubicBezTo>
                      <a:pt x="61" y="34"/>
                      <a:pt x="58" y="32"/>
                      <a:pt x="58" y="31"/>
                    </a:cubicBezTo>
                    <a:cubicBezTo>
                      <a:pt x="59" y="30"/>
                      <a:pt x="58" y="28"/>
                      <a:pt x="57" y="27"/>
                    </a:cubicBezTo>
                    <a:cubicBezTo>
                      <a:pt x="56" y="26"/>
                      <a:pt x="56" y="23"/>
                      <a:pt x="57" y="20"/>
                    </a:cubicBezTo>
                    <a:cubicBezTo>
                      <a:pt x="56" y="20"/>
                      <a:pt x="56" y="20"/>
                      <a:pt x="56" y="19"/>
                    </a:cubicBezTo>
                    <a:cubicBezTo>
                      <a:pt x="55" y="18"/>
                      <a:pt x="56" y="15"/>
                      <a:pt x="54" y="15"/>
                    </a:cubicBezTo>
                    <a:cubicBezTo>
                      <a:pt x="52" y="15"/>
                      <a:pt x="52" y="12"/>
                      <a:pt x="54" y="12"/>
                    </a:cubicBezTo>
                    <a:cubicBezTo>
                      <a:pt x="55" y="11"/>
                      <a:pt x="51" y="10"/>
                      <a:pt x="51" y="8"/>
                    </a:cubicBezTo>
                    <a:cubicBezTo>
                      <a:pt x="51" y="6"/>
                      <a:pt x="49" y="2"/>
                      <a:pt x="48" y="2"/>
                    </a:cubicBezTo>
                    <a:cubicBezTo>
                      <a:pt x="47" y="2"/>
                      <a:pt x="44" y="6"/>
                      <a:pt x="42" y="6"/>
                    </a:cubicBezTo>
                    <a:cubicBezTo>
                      <a:pt x="41" y="6"/>
                      <a:pt x="38" y="3"/>
                      <a:pt x="37" y="6"/>
                    </a:cubicBezTo>
                    <a:cubicBezTo>
                      <a:pt x="36" y="8"/>
                      <a:pt x="34" y="5"/>
                      <a:pt x="32" y="6"/>
                    </a:cubicBezTo>
                    <a:cubicBezTo>
                      <a:pt x="31" y="8"/>
                      <a:pt x="30" y="4"/>
                      <a:pt x="30" y="4"/>
                    </a:cubicBezTo>
                    <a:cubicBezTo>
                      <a:pt x="30" y="4"/>
                      <a:pt x="30" y="4"/>
                      <a:pt x="30" y="3"/>
                    </a:cubicBezTo>
                    <a:cubicBezTo>
                      <a:pt x="30" y="3"/>
                      <a:pt x="29" y="3"/>
                      <a:pt x="29" y="3"/>
                    </a:cubicBezTo>
                    <a:cubicBezTo>
                      <a:pt x="25" y="5"/>
                      <a:pt x="18" y="4"/>
                      <a:pt x="17" y="3"/>
                    </a:cubicBezTo>
                    <a:cubicBezTo>
                      <a:pt x="17" y="1"/>
                      <a:pt x="12" y="0"/>
                      <a:pt x="12" y="0"/>
                    </a:cubicBezTo>
                    <a:cubicBezTo>
                      <a:pt x="12" y="0"/>
                      <a:pt x="12" y="3"/>
                      <a:pt x="10" y="4"/>
                    </a:cubicBezTo>
                    <a:cubicBezTo>
                      <a:pt x="8" y="5"/>
                      <a:pt x="10" y="7"/>
                      <a:pt x="10" y="8"/>
                    </a:cubicBezTo>
                    <a:cubicBezTo>
                      <a:pt x="10" y="8"/>
                      <a:pt x="9" y="10"/>
                      <a:pt x="7" y="9"/>
                    </a:cubicBezTo>
                    <a:cubicBezTo>
                      <a:pt x="6" y="8"/>
                      <a:pt x="3" y="12"/>
                      <a:pt x="1" y="13"/>
                    </a:cubicBezTo>
                    <a:cubicBezTo>
                      <a:pt x="1" y="13"/>
                      <a:pt x="0" y="13"/>
                      <a:pt x="0" y="14"/>
                    </a:cubicBezTo>
                    <a:cubicBezTo>
                      <a:pt x="3" y="16"/>
                      <a:pt x="2" y="18"/>
                      <a:pt x="6" y="21"/>
                    </a:cubicBezTo>
                    <a:cubicBezTo>
                      <a:pt x="9" y="23"/>
                      <a:pt x="13" y="26"/>
                      <a:pt x="15" y="31"/>
                    </a:cubicBezTo>
                    <a:cubicBezTo>
                      <a:pt x="17" y="29"/>
                      <a:pt x="20" y="26"/>
                      <a:pt x="20" y="2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4" name="Freeform 30">
                <a:extLst>
                  <a:ext uri="{FF2B5EF4-FFF2-40B4-BE49-F238E27FC236}">
                    <a16:creationId xmlns:a16="http://schemas.microsoft.com/office/drawing/2014/main" id="{780996E7-D27F-4BF3-B82D-7BBE9CF9CD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08920" y="3929193"/>
                <a:ext cx="77793" cy="74029"/>
              </a:xfrm>
              <a:custGeom>
                <a:avLst/>
                <a:gdLst>
                  <a:gd name="T0" fmla="*/ 27 w 34"/>
                  <a:gd name="T1" fmla="*/ 19 h 32"/>
                  <a:gd name="T2" fmla="*/ 24 w 34"/>
                  <a:gd name="T3" fmla="*/ 16 h 32"/>
                  <a:gd name="T4" fmla="*/ 25 w 34"/>
                  <a:gd name="T5" fmla="*/ 10 h 32"/>
                  <a:gd name="T6" fmla="*/ 26 w 34"/>
                  <a:gd name="T7" fmla="*/ 8 h 32"/>
                  <a:gd name="T8" fmla="*/ 24 w 34"/>
                  <a:gd name="T9" fmla="*/ 7 h 32"/>
                  <a:gd name="T10" fmla="*/ 21 w 34"/>
                  <a:gd name="T11" fmla="*/ 10 h 32"/>
                  <a:gd name="T12" fmla="*/ 17 w 34"/>
                  <a:gd name="T13" fmla="*/ 7 h 32"/>
                  <a:gd name="T14" fmla="*/ 15 w 34"/>
                  <a:gd name="T15" fmla="*/ 0 h 32"/>
                  <a:gd name="T16" fmla="*/ 9 w 34"/>
                  <a:gd name="T17" fmla="*/ 1 h 32"/>
                  <a:gd name="T18" fmla="*/ 8 w 34"/>
                  <a:gd name="T19" fmla="*/ 5 h 32"/>
                  <a:gd name="T20" fmla="*/ 2 w 34"/>
                  <a:gd name="T21" fmla="*/ 10 h 32"/>
                  <a:gd name="T22" fmla="*/ 0 w 34"/>
                  <a:gd name="T23" fmla="*/ 13 h 32"/>
                  <a:gd name="T24" fmla="*/ 10 w 34"/>
                  <a:gd name="T25" fmla="*/ 20 h 32"/>
                  <a:gd name="T26" fmla="*/ 29 w 34"/>
                  <a:gd name="T27" fmla="*/ 32 h 32"/>
                  <a:gd name="T28" fmla="*/ 31 w 34"/>
                  <a:gd name="T29" fmla="*/ 32 h 32"/>
                  <a:gd name="T30" fmla="*/ 33 w 34"/>
                  <a:gd name="T31" fmla="*/ 25 h 32"/>
                  <a:gd name="T32" fmla="*/ 27 w 34"/>
                  <a:gd name="T33" fmla="*/ 19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4" h="32">
                    <a:moveTo>
                      <a:pt x="27" y="19"/>
                    </a:moveTo>
                    <a:cubicBezTo>
                      <a:pt x="25" y="17"/>
                      <a:pt x="23" y="17"/>
                      <a:pt x="24" y="16"/>
                    </a:cubicBezTo>
                    <a:cubicBezTo>
                      <a:pt x="26" y="15"/>
                      <a:pt x="26" y="13"/>
                      <a:pt x="25" y="10"/>
                    </a:cubicBezTo>
                    <a:cubicBezTo>
                      <a:pt x="25" y="9"/>
                      <a:pt x="25" y="9"/>
                      <a:pt x="26" y="8"/>
                    </a:cubicBezTo>
                    <a:cubicBezTo>
                      <a:pt x="25" y="8"/>
                      <a:pt x="24" y="8"/>
                      <a:pt x="24" y="7"/>
                    </a:cubicBezTo>
                    <a:cubicBezTo>
                      <a:pt x="24" y="6"/>
                      <a:pt x="22" y="8"/>
                      <a:pt x="21" y="10"/>
                    </a:cubicBezTo>
                    <a:cubicBezTo>
                      <a:pt x="20" y="11"/>
                      <a:pt x="17" y="9"/>
                      <a:pt x="17" y="7"/>
                    </a:cubicBezTo>
                    <a:cubicBezTo>
                      <a:pt x="17" y="4"/>
                      <a:pt x="16" y="0"/>
                      <a:pt x="15" y="0"/>
                    </a:cubicBezTo>
                    <a:cubicBezTo>
                      <a:pt x="14" y="0"/>
                      <a:pt x="12" y="0"/>
                      <a:pt x="9" y="1"/>
                    </a:cubicBezTo>
                    <a:cubicBezTo>
                      <a:pt x="9" y="2"/>
                      <a:pt x="8" y="4"/>
                      <a:pt x="8" y="5"/>
                    </a:cubicBezTo>
                    <a:cubicBezTo>
                      <a:pt x="8" y="7"/>
                      <a:pt x="3" y="9"/>
                      <a:pt x="2" y="10"/>
                    </a:cubicBezTo>
                    <a:cubicBezTo>
                      <a:pt x="1" y="11"/>
                      <a:pt x="0" y="12"/>
                      <a:pt x="0" y="13"/>
                    </a:cubicBezTo>
                    <a:cubicBezTo>
                      <a:pt x="3" y="15"/>
                      <a:pt x="7" y="18"/>
                      <a:pt x="10" y="20"/>
                    </a:cubicBezTo>
                    <a:cubicBezTo>
                      <a:pt x="16" y="24"/>
                      <a:pt x="25" y="30"/>
                      <a:pt x="29" y="32"/>
                    </a:cubicBezTo>
                    <a:cubicBezTo>
                      <a:pt x="30" y="32"/>
                      <a:pt x="30" y="32"/>
                      <a:pt x="31" y="32"/>
                    </a:cubicBezTo>
                    <a:cubicBezTo>
                      <a:pt x="32" y="28"/>
                      <a:pt x="33" y="27"/>
                      <a:pt x="33" y="25"/>
                    </a:cubicBezTo>
                    <a:cubicBezTo>
                      <a:pt x="34" y="22"/>
                      <a:pt x="30" y="20"/>
                      <a:pt x="27" y="1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5" name="Freeform 31">
                <a:extLst>
                  <a:ext uri="{FF2B5EF4-FFF2-40B4-BE49-F238E27FC236}">
                    <a16:creationId xmlns:a16="http://schemas.microsoft.com/office/drawing/2014/main" id="{18725BD7-A584-4D10-8C40-E21BC348F4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76298" y="3901589"/>
                <a:ext cx="52698" cy="57717"/>
              </a:xfrm>
              <a:custGeom>
                <a:avLst/>
                <a:gdLst>
                  <a:gd name="T0" fmla="*/ 22 w 23"/>
                  <a:gd name="T1" fmla="*/ 17 h 25"/>
                  <a:gd name="T2" fmla="*/ 23 w 23"/>
                  <a:gd name="T3" fmla="*/ 12 h 25"/>
                  <a:gd name="T4" fmla="*/ 22 w 23"/>
                  <a:gd name="T5" fmla="*/ 8 h 25"/>
                  <a:gd name="T6" fmla="*/ 15 w 23"/>
                  <a:gd name="T7" fmla="*/ 0 h 25"/>
                  <a:gd name="T8" fmla="*/ 9 w 23"/>
                  <a:gd name="T9" fmla="*/ 1 h 25"/>
                  <a:gd name="T10" fmla="*/ 5 w 23"/>
                  <a:gd name="T11" fmla="*/ 2 h 25"/>
                  <a:gd name="T12" fmla="*/ 0 w 23"/>
                  <a:gd name="T13" fmla="*/ 8 h 25"/>
                  <a:gd name="T14" fmla="*/ 1 w 23"/>
                  <a:gd name="T15" fmla="*/ 11 h 25"/>
                  <a:gd name="T16" fmla="*/ 7 w 23"/>
                  <a:gd name="T17" fmla="*/ 21 h 25"/>
                  <a:gd name="T18" fmla="*/ 14 w 23"/>
                  <a:gd name="T19" fmla="*/ 25 h 25"/>
                  <a:gd name="T20" fmla="*/ 16 w 23"/>
                  <a:gd name="T21" fmla="*/ 22 h 25"/>
                  <a:gd name="T22" fmla="*/ 22 w 23"/>
                  <a:gd name="T23" fmla="*/ 17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3" h="25">
                    <a:moveTo>
                      <a:pt x="22" y="17"/>
                    </a:moveTo>
                    <a:cubicBezTo>
                      <a:pt x="22" y="15"/>
                      <a:pt x="23" y="14"/>
                      <a:pt x="23" y="12"/>
                    </a:cubicBezTo>
                    <a:cubicBezTo>
                      <a:pt x="22" y="11"/>
                      <a:pt x="22" y="9"/>
                      <a:pt x="22" y="8"/>
                    </a:cubicBezTo>
                    <a:cubicBezTo>
                      <a:pt x="22" y="6"/>
                      <a:pt x="17" y="0"/>
                      <a:pt x="15" y="0"/>
                    </a:cubicBezTo>
                    <a:cubicBezTo>
                      <a:pt x="13" y="0"/>
                      <a:pt x="11" y="1"/>
                      <a:pt x="9" y="1"/>
                    </a:cubicBezTo>
                    <a:cubicBezTo>
                      <a:pt x="7" y="0"/>
                      <a:pt x="5" y="0"/>
                      <a:pt x="5" y="2"/>
                    </a:cubicBezTo>
                    <a:cubicBezTo>
                      <a:pt x="5" y="3"/>
                      <a:pt x="2" y="6"/>
                      <a:pt x="0" y="8"/>
                    </a:cubicBezTo>
                    <a:cubicBezTo>
                      <a:pt x="0" y="9"/>
                      <a:pt x="1" y="10"/>
                      <a:pt x="1" y="11"/>
                    </a:cubicBezTo>
                    <a:cubicBezTo>
                      <a:pt x="3" y="17"/>
                      <a:pt x="5" y="19"/>
                      <a:pt x="7" y="21"/>
                    </a:cubicBezTo>
                    <a:cubicBezTo>
                      <a:pt x="9" y="22"/>
                      <a:pt x="11" y="23"/>
                      <a:pt x="14" y="25"/>
                    </a:cubicBezTo>
                    <a:cubicBezTo>
                      <a:pt x="14" y="24"/>
                      <a:pt x="15" y="23"/>
                      <a:pt x="16" y="22"/>
                    </a:cubicBezTo>
                    <a:cubicBezTo>
                      <a:pt x="17" y="21"/>
                      <a:pt x="22" y="19"/>
                      <a:pt x="22" y="1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6" name="Freeform 32">
                <a:extLst>
                  <a:ext uri="{FF2B5EF4-FFF2-40B4-BE49-F238E27FC236}">
                    <a16:creationId xmlns:a16="http://schemas.microsoft.com/office/drawing/2014/main" id="{B5E2B236-82A2-48EF-9BA0-A15705CE01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07288" y="3559049"/>
                <a:ext cx="154331" cy="124218"/>
              </a:xfrm>
              <a:custGeom>
                <a:avLst/>
                <a:gdLst>
                  <a:gd name="T0" fmla="*/ 31 w 67"/>
                  <a:gd name="T1" fmla="*/ 42 h 54"/>
                  <a:gd name="T2" fmla="*/ 40 w 67"/>
                  <a:gd name="T3" fmla="*/ 36 h 54"/>
                  <a:gd name="T4" fmla="*/ 40 w 67"/>
                  <a:gd name="T5" fmla="*/ 14 h 54"/>
                  <a:gd name="T6" fmla="*/ 67 w 67"/>
                  <a:gd name="T7" fmla="*/ 14 h 54"/>
                  <a:gd name="T8" fmla="*/ 67 w 67"/>
                  <a:gd name="T9" fmla="*/ 3 h 54"/>
                  <a:gd name="T10" fmla="*/ 61 w 67"/>
                  <a:gd name="T11" fmla="*/ 0 h 54"/>
                  <a:gd name="T12" fmla="*/ 31 w 67"/>
                  <a:gd name="T13" fmla="*/ 0 h 54"/>
                  <a:gd name="T14" fmla="*/ 27 w 67"/>
                  <a:gd name="T15" fmla="*/ 7 h 54"/>
                  <a:gd name="T16" fmla="*/ 16 w 67"/>
                  <a:gd name="T17" fmla="*/ 22 h 54"/>
                  <a:gd name="T18" fmla="*/ 2 w 67"/>
                  <a:gd name="T19" fmla="*/ 47 h 54"/>
                  <a:gd name="T20" fmla="*/ 0 w 67"/>
                  <a:gd name="T21" fmla="*/ 54 h 54"/>
                  <a:gd name="T22" fmla="*/ 31 w 67"/>
                  <a:gd name="T23" fmla="*/ 54 h 54"/>
                  <a:gd name="T24" fmla="*/ 31 w 67"/>
                  <a:gd name="T25" fmla="*/ 42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7" h="54">
                    <a:moveTo>
                      <a:pt x="31" y="42"/>
                    </a:moveTo>
                    <a:cubicBezTo>
                      <a:pt x="31" y="40"/>
                      <a:pt x="40" y="38"/>
                      <a:pt x="40" y="36"/>
                    </a:cubicBezTo>
                    <a:cubicBezTo>
                      <a:pt x="40" y="34"/>
                      <a:pt x="40" y="14"/>
                      <a:pt x="40" y="14"/>
                    </a:cubicBezTo>
                    <a:cubicBezTo>
                      <a:pt x="40" y="14"/>
                      <a:pt x="66" y="15"/>
                      <a:pt x="67" y="14"/>
                    </a:cubicBezTo>
                    <a:cubicBezTo>
                      <a:pt x="67" y="14"/>
                      <a:pt x="67" y="8"/>
                      <a:pt x="67" y="3"/>
                    </a:cubicBezTo>
                    <a:cubicBezTo>
                      <a:pt x="66" y="1"/>
                      <a:pt x="67" y="0"/>
                      <a:pt x="61" y="0"/>
                    </a:cubicBezTo>
                    <a:cubicBezTo>
                      <a:pt x="56" y="0"/>
                      <a:pt x="41" y="0"/>
                      <a:pt x="31" y="0"/>
                    </a:cubicBezTo>
                    <a:cubicBezTo>
                      <a:pt x="29" y="2"/>
                      <a:pt x="28" y="5"/>
                      <a:pt x="27" y="7"/>
                    </a:cubicBezTo>
                    <a:cubicBezTo>
                      <a:pt x="25" y="11"/>
                      <a:pt x="16" y="16"/>
                      <a:pt x="16" y="22"/>
                    </a:cubicBezTo>
                    <a:cubicBezTo>
                      <a:pt x="16" y="27"/>
                      <a:pt x="7" y="35"/>
                      <a:pt x="2" y="47"/>
                    </a:cubicBezTo>
                    <a:cubicBezTo>
                      <a:pt x="0" y="50"/>
                      <a:pt x="0" y="52"/>
                      <a:pt x="0" y="54"/>
                    </a:cubicBezTo>
                    <a:cubicBezTo>
                      <a:pt x="31" y="54"/>
                      <a:pt x="31" y="54"/>
                      <a:pt x="31" y="54"/>
                    </a:cubicBezTo>
                    <a:cubicBezTo>
                      <a:pt x="31" y="54"/>
                      <a:pt x="31" y="44"/>
                      <a:pt x="31" y="4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7" name="Freeform 33">
                <a:extLst>
                  <a:ext uri="{FF2B5EF4-FFF2-40B4-BE49-F238E27FC236}">
                    <a16:creationId xmlns:a16="http://schemas.microsoft.com/office/drawing/2014/main" id="{F2022576-33F5-4876-93AE-1AE54A6147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04778" y="3565323"/>
                <a:ext cx="225851" cy="247181"/>
              </a:xfrm>
              <a:custGeom>
                <a:avLst/>
                <a:gdLst>
                  <a:gd name="T0" fmla="*/ 8 w 98"/>
                  <a:gd name="T1" fmla="*/ 92 h 107"/>
                  <a:gd name="T2" fmla="*/ 15 w 98"/>
                  <a:gd name="T3" fmla="*/ 92 h 107"/>
                  <a:gd name="T4" fmla="*/ 21 w 98"/>
                  <a:gd name="T5" fmla="*/ 92 h 107"/>
                  <a:gd name="T6" fmla="*/ 26 w 98"/>
                  <a:gd name="T7" fmla="*/ 95 h 107"/>
                  <a:gd name="T8" fmla="*/ 29 w 98"/>
                  <a:gd name="T9" fmla="*/ 95 h 107"/>
                  <a:gd name="T10" fmla="*/ 34 w 98"/>
                  <a:gd name="T11" fmla="*/ 103 h 107"/>
                  <a:gd name="T12" fmla="*/ 38 w 98"/>
                  <a:gd name="T13" fmla="*/ 107 h 107"/>
                  <a:gd name="T14" fmla="*/ 42 w 98"/>
                  <a:gd name="T15" fmla="*/ 104 h 107"/>
                  <a:gd name="T16" fmla="*/ 47 w 98"/>
                  <a:gd name="T17" fmla="*/ 102 h 107"/>
                  <a:gd name="T18" fmla="*/ 52 w 98"/>
                  <a:gd name="T19" fmla="*/ 101 h 107"/>
                  <a:gd name="T20" fmla="*/ 57 w 98"/>
                  <a:gd name="T21" fmla="*/ 102 h 107"/>
                  <a:gd name="T22" fmla="*/ 62 w 98"/>
                  <a:gd name="T23" fmla="*/ 100 h 107"/>
                  <a:gd name="T24" fmla="*/ 93 w 98"/>
                  <a:gd name="T25" fmla="*/ 100 h 107"/>
                  <a:gd name="T26" fmla="*/ 94 w 98"/>
                  <a:gd name="T27" fmla="*/ 93 h 107"/>
                  <a:gd name="T28" fmla="*/ 92 w 98"/>
                  <a:gd name="T29" fmla="*/ 91 h 107"/>
                  <a:gd name="T30" fmla="*/ 84 w 98"/>
                  <a:gd name="T31" fmla="*/ 20 h 107"/>
                  <a:gd name="T32" fmla="*/ 98 w 98"/>
                  <a:gd name="T33" fmla="*/ 20 h 107"/>
                  <a:gd name="T34" fmla="*/ 69 w 98"/>
                  <a:gd name="T35" fmla="*/ 1 h 107"/>
                  <a:gd name="T36" fmla="*/ 68 w 98"/>
                  <a:gd name="T37" fmla="*/ 0 h 107"/>
                  <a:gd name="T38" fmla="*/ 68 w 98"/>
                  <a:gd name="T39" fmla="*/ 11 h 107"/>
                  <a:gd name="T40" fmla="*/ 41 w 98"/>
                  <a:gd name="T41" fmla="*/ 11 h 107"/>
                  <a:gd name="T42" fmla="*/ 41 w 98"/>
                  <a:gd name="T43" fmla="*/ 33 h 107"/>
                  <a:gd name="T44" fmla="*/ 32 w 98"/>
                  <a:gd name="T45" fmla="*/ 39 h 107"/>
                  <a:gd name="T46" fmla="*/ 32 w 98"/>
                  <a:gd name="T47" fmla="*/ 51 h 107"/>
                  <a:gd name="T48" fmla="*/ 1 w 98"/>
                  <a:gd name="T49" fmla="*/ 51 h 107"/>
                  <a:gd name="T50" fmla="*/ 5 w 98"/>
                  <a:gd name="T51" fmla="*/ 60 h 107"/>
                  <a:gd name="T52" fmla="*/ 7 w 98"/>
                  <a:gd name="T53" fmla="*/ 73 h 107"/>
                  <a:gd name="T54" fmla="*/ 4 w 98"/>
                  <a:gd name="T55" fmla="*/ 89 h 107"/>
                  <a:gd name="T56" fmla="*/ 3 w 98"/>
                  <a:gd name="T57" fmla="*/ 96 h 107"/>
                  <a:gd name="T58" fmla="*/ 3 w 98"/>
                  <a:gd name="T59" fmla="*/ 96 h 107"/>
                  <a:gd name="T60" fmla="*/ 8 w 98"/>
                  <a:gd name="T61" fmla="*/ 92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98" h="107">
                    <a:moveTo>
                      <a:pt x="8" y="92"/>
                    </a:moveTo>
                    <a:cubicBezTo>
                      <a:pt x="11" y="93"/>
                      <a:pt x="15" y="92"/>
                      <a:pt x="15" y="92"/>
                    </a:cubicBezTo>
                    <a:cubicBezTo>
                      <a:pt x="15" y="92"/>
                      <a:pt x="19" y="90"/>
                      <a:pt x="21" y="92"/>
                    </a:cubicBezTo>
                    <a:cubicBezTo>
                      <a:pt x="24" y="93"/>
                      <a:pt x="26" y="95"/>
                      <a:pt x="26" y="95"/>
                    </a:cubicBezTo>
                    <a:cubicBezTo>
                      <a:pt x="29" y="95"/>
                      <a:pt x="29" y="95"/>
                      <a:pt x="29" y="95"/>
                    </a:cubicBezTo>
                    <a:cubicBezTo>
                      <a:pt x="29" y="95"/>
                      <a:pt x="31" y="102"/>
                      <a:pt x="34" y="103"/>
                    </a:cubicBezTo>
                    <a:cubicBezTo>
                      <a:pt x="36" y="103"/>
                      <a:pt x="38" y="105"/>
                      <a:pt x="38" y="107"/>
                    </a:cubicBezTo>
                    <a:cubicBezTo>
                      <a:pt x="41" y="107"/>
                      <a:pt x="42" y="106"/>
                      <a:pt x="42" y="104"/>
                    </a:cubicBezTo>
                    <a:cubicBezTo>
                      <a:pt x="42" y="102"/>
                      <a:pt x="44" y="99"/>
                      <a:pt x="47" y="102"/>
                    </a:cubicBezTo>
                    <a:cubicBezTo>
                      <a:pt x="51" y="105"/>
                      <a:pt x="51" y="103"/>
                      <a:pt x="52" y="101"/>
                    </a:cubicBezTo>
                    <a:cubicBezTo>
                      <a:pt x="52" y="100"/>
                      <a:pt x="55" y="102"/>
                      <a:pt x="57" y="102"/>
                    </a:cubicBezTo>
                    <a:cubicBezTo>
                      <a:pt x="59" y="102"/>
                      <a:pt x="62" y="100"/>
                      <a:pt x="62" y="100"/>
                    </a:cubicBezTo>
                    <a:cubicBezTo>
                      <a:pt x="62" y="100"/>
                      <a:pt x="92" y="101"/>
                      <a:pt x="93" y="100"/>
                    </a:cubicBezTo>
                    <a:cubicBezTo>
                      <a:pt x="95" y="99"/>
                      <a:pt x="94" y="93"/>
                      <a:pt x="94" y="93"/>
                    </a:cubicBezTo>
                    <a:cubicBezTo>
                      <a:pt x="92" y="91"/>
                      <a:pt x="92" y="91"/>
                      <a:pt x="92" y="91"/>
                    </a:cubicBezTo>
                    <a:cubicBezTo>
                      <a:pt x="84" y="20"/>
                      <a:pt x="84" y="20"/>
                      <a:pt x="84" y="20"/>
                    </a:cubicBezTo>
                    <a:cubicBezTo>
                      <a:pt x="98" y="20"/>
                      <a:pt x="98" y="20"/>
                      <a:pt x="98" y="20"/>
                    </a:cubicBezTo>
                    <a:cubicBezTo>
                      <a:pt x="83" y="10"/>
                      <a:pt x="71" y="2"/>
                      <a:pt x="69" y="1"/>
                    </a:cubicBezTo>
                    <a:cubicBezTo>
                      <a:pt x="69" y="1"/>
                      <a:pt x="68" y="0"/>
                      <a:pt x="68" y="0"/>
                    </a:cubicBezTo>
                    <a:cubicBezTo>
                      <a:pt x="68" y="5"/>
                      <a:pt x="68" y="11"/>
                      <a:pt x="68" y="11"/>
                    </a:cubicBezTo>
                    <a:cubicBezTo>
                      <a:pt x="67" y="12"/>
                      <a:pt x="41" y="11"/>
                      <a:pt x="41" y="11"/>
                    </a:cubicBezTo>
                    <a:cubicBezTo>
                      <a:pt x="41" y="11"/>
                      <a:pt x="41" y="31"/>
                      <a:pt x="41" y="33"/>
                    </a:cubicBezTo>
                    <a:cubicBezTo>
                      <a:pt x="41" y="35"/>
                      <a:pt x="32" y="37"/>
                      <a:pt x="32" y="39"/>
                    </a:cubicBezTo>
                    <a:cubicBezTo>
                      <a:pt x="32" y="41"/>
                      <a:pt x="32" y="51"/>
                      <a:pt x="32" y="51"/>
                    </a:cubicBezTo>
                    <a:cubicBezTo>
                      <a:pt x="1" y="51"/>
                      <a:pt x="1" y="51"/>
                      <a:pt x="1" y="51"/>
                    </a:cubicBezTo>
                    <a:cubicBezTo>
                      <a:pt x="0" y="56"/>
                      <a:pt x="3" y="58"/>
                      <a:pt x="5" y="60"/>
                    </a:cubicBezTo>
                    <a:cubicBezTo>
                      <a:pt x="8" y="63"/>
                      <a:pt x="3" y="68"/>
                      <a:pt x="7" y="73"/>
                    </a:cubicBezTo>
                    <a:cubicBezTo>
                      <a:pt x="11" y="78"/>
                      <a:pt x="6" y="86"/>
                      <a:pt x="4" y="89"/>
                    </a:cubicBezTo>
                    <a:cubicBezTo>
                      <a:pt x="3" y="91"/>
                      <a:pt x="3" y="93"/>
                      <a:pt x="3" y="96"/>
                    </a:cubicBezTo>
                    <a:cubicBezTo>
                      <a:pt x="3" y="96"/>
                      <a:pt x="3" y="96"/>
                      <a:pt x="3" y="96"/>
                    </a:cubicBezTo>
                    <a:cubicBezTo>
                      <a:pt x="6" y="95"/>
                      <a:pt x="5" y="92"/>
                      <a:pt x="8" y="9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8" name="Freeform 34">
                <a:extLst>
                  <a:ext uri="{FF2B5EF4-FFF2-40B4-BE49-F238E27FC236}">
                    <a16:creationId xmlns:a16="http://schemas.microsoft.com/office/drawing/2014/main" id="{7CCEC966-C8C6-4469-BA47-662FC47867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92609" y="3611748"/>
                <a:ext cx="311172" cy="288587"/>
              </a:xfrm>
              <a:custGeom>
                <a:avLst/>
                <a:gdLst>
                  <a:gd name="T0" fmla="*/ 128 w 135"/>
                  <a:gd name="T1" fmla="*/ 52 h 125"/>
                  <a:gd name="T2" fmla="*/ 124 w 135"/>
                  <a:gd name="T3" fmla="*/ 43 h 125"/>
                  <a:gd name="T4" fmla="*/ 115 w 135"/>
                  <a:gd name="T5" fmla="*/ 40 h 125"/>
                  <a:gd name="T6" fmla="*/ 109 w 135"/>
                  <a:gd name="T7" fmla="*/ 33 h 125"/>
                  <a:gd name="T8" fmla="*/ 60 w 135"/>
                  <a:gd name="T9" fmla="*/ 0 h 125"/>
                  <a:gd name="T10" fmla="*/ 46 w 135"/>
                  <a:gd name="T11" fmla="*/ 0 h 125"/>
                  <a:gd name="T12" fmla="*/ 54 w 135"/>
                  <a:gd name="T13" fmla="*/ 71 h 125"/>
                  <a:gd name="T14" fmla="*/ 56 w 135"/>
                  <a:gd name="T15" fmla="*/ 73 h 125"/>
                  <a:gd name="T16" fmla="*/ 55 w 135"/>
                  <a:gd name="T17" fmla="*/ 80 h 125"/>
                  <a:gd name="T18" fmla="*/ 24 w 135"/>
                  <a:gd name="T19" fmla="*/ 80 h 125"/>
                  <a:gd name="T20" fmla="*/ 19 w 135"/>
                  <a:gd name="T21" fmla="*/ 82 h 125"/>
                  <a:gd name="T22" fmla="*/ 14 w 135"/>
                  <a:gd name="T23" fmla="*/ 81 h 125"/>
                  <a:gd name="T24" fmla="*/ 9 w 135"/>
                  <a:gd name="T25" fmla="*/ 82 h 125"/>
                  <a:gd name="T26" fmla="*/ 4 w 135"/>
                  <a:gd name="T27" fmla="*/ 84 h 125"/>
                  <a:gd name="T28" fmla="*/ 0 w 135"/>
                  <a:gd name="T29" fmla="*/ 87 h 125"/>
                  <a:gd name="T30" fmla="*/ 1 w 135"/>
                  <a:gd name="T31" fmla="*/ 88 h 125"/>
                  <a:gd name="T32" fmla="*/ 2 w 135"/>
                  <a:gd name="T33" fmla="*/ 91 h 125"/>
                  <a:gd name="T34" fmla="*/ 4 w 135"/>
                  <a:gd name="T35" fmla="*/ 96 h 125"/>
                  <a:gd name="T36" fmla="*/ 8 w 135"/>
                  <a:gd name="T37" fmla="*/ 101 h 125"/>
                  <a:gd name="T38" fmla="*/ 8 w 135"/>
                  <a:gd name="T39" fmla="*/ 107 h 125"/>
                  <a:gd name="T40" fmla="*/ 10 w 135"/>
                  <a:gd name="T41" fmla="*/ 109 h 125"/>
                  <a:gd name="T42" fmla="*/ 15 w 135"/>
                  <a:gd name="T43" fmla="*/ 109 h 125"/>
                  <a:gd name="T44" fmla="*/ 20 w 135"/>
                  <a:gd name="T45" fmla="*/ 109 h 125"/>
                  <a:gd name="T46" fmla="*/ 26 w 135"/>
                  <a:gd name="T47" fmla="*/ 105 h 125"/>
                  <a:gd name="T48" fmla="*/ 29 w 135"/>
                  <a:gd name="T49" fmla="*/ 111 h 125"/>
                  <a:gd name="T50" fmla="*/ 32 w 135"/>
                  <a:gd name="T51" fmla="*/ 115 h 125"/>
                  <a:gd name="T52" fmla="*/ 32 w 135"/>
                  <a:gd name="T53" fmla="*/ 118 h 125"/>
                  <a:gd name="T54" fmla="*/ 34 w 135"/>
                  <a:gd name="T55" fmla="*/ 122 h 125"/>
                  <a:gd name="T56" fmla="*/ 38 w 135"/>
                  <a:gd name="T57" fmla="*/ 123 h 125"/>
                  <a:gd name="T58" fmla="*/ 42 w 135"/>
                  <a:gd name="T59" fmla="*/ 124 h 125"/>
                  <a:gd name="T60" fmla="*/ 46 w 135"/>
                  <a:gd name="T61" fmla="*/ 122 h 125"/>
                  <a:gd name="T62" fmla="*/ 50 w 135"/>
                  <a:gd name="T63" fmla="*/ 121 h 125"/>
                  <a:gd name="T64" fmla="*/ 53 w 135"/>
                  <a:gd name="T65" fmla="*/ 122 h 125"/>
                  <a:gd name="T66" fmla="*/ 55 w 135"/>
                  <a:gd name="T67" fmla="*/ 122 h 125"/>
                  <a:gd name="T68" fmla="*/ 58 w 135"/>
                  <a:gd name="T69" fmla="*/ 116 h 125"/>
                  <a:gd name="T70" fmla="*/ 57 w 135"/>
                  <a:gd name="T71" fmla="*/ 110 h 125"/>
                  <a:gd name="T72" fmla="*/ 63 w 135"/>
                  <a:gd name="T73" fmla="*/ 108 h 125"/>
                  <a:gd name="T74" fmla="*/ 66 w 135"/>
                  <a:gd name="T75" fmla="*/ 103 h 125"/>
                  <a:gd name="T76" fmla="*/ 69 w 135"/>
                  <a:gd name="T77" fmla="*/ 97 h 125"/>
                  <a:gd name="T78" fmla="*/ 74 w 135"/>
                  <a:gd name="T79" fmla="*/ 97 h 125"/>
                  <a:gd name="T80" fmla="*/ 77 w 135"/>
                  <a:gd name="T81" fmla="*/ 93 h 125"/>
                  <a:gd name="T82" fmla="*/ 81 w 135"/>
                  <a:gd name="T83" fmla="*/ 91 h 125"/>
                  <a:gd name="T84" fmla="*/ 84 w 135"/>
                  <a:gd name="T85" fmla="*/ 89 h 125"/>
                  <a:gd name="T86" fmla="*/ 91 w 135"/>
                  <a:gd name="T87" fmla="*/ 87 h 125"/>
                  <a:gd name="T88" fmla="*/ 97 w 135"/>
                  <a:gd name="T89" fmla="*/ 84 h 125"/>
                  <a:gd name="T90" fmla="*/ 107 w 135"/>
                  <a:gd name="T91" fmla="*/ 84 h 125"/>
                  <a:gd name="T92" fmla="*/ 114 w 135"/>
                  <a:gd name="T93" fmla="*/ 82 h 125"/>
                  <a:gd name="T94" fmla="*/ 126 w 135"/>
                  <a:gd name="T95" fmla="*/ 81 h 125"/>
                  <a:gd name="T96" fmla="*/ 131 w 135"/>
                  <a:gd name="T97" fmla="*/ 78 h 125"/>
                  <a:gd name="T98" fmla="*/ 134 w 135"/>
                  <a:gd name="T99" fmla="*/ 72 h 125"/>
                  <a:gd name="T100" fmla="*/ 134 w 135"/>
                  <a:gd name="T101" fmla="*/ 50 h 125"/>
                  <a:gd name="T102" fmla="*/ 128 w 135"/>
                  <a:gd name="T103" fmla="*/ 52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35" h="125">
                    <a:moveTo>
                      <a:pt x="128" y="52"/>
                    </a:moveTo>
                    <a:cubicBezTo>
                      <a:pt x="128" y="52"/>
                      <a:pt x="128" y="46"/>
                      <a:pt x="124" y="43"/>
                    </a:cubicBezTo>
                    <a:cubicBezTo>
                      <a:pt x="120" y="41"/>
                      <a:pt x="115" y="40"/>
                      <a:pt x="115" y="40"/>
                    </a:cubicBezTo>
                    <a:cubicBezTo>
                      <a:pt x="115" y="40"/>
                      <a:pt x="112" y="35"/>
                      <a:pt x="109" y="33"/>
                    </a:cubicBezTo>
                    <a:cubicBezTo>
                      <a:pt x="108" y="32"/>
                      <a:pt x="82" y="14"/>
                      <a:pt x="60" y="0"/>
                    </a:cubicBezTo>
                    <a:cubicBezTo>
                      <a:pt x="46" y="0"/>
                      <a:pt x="46" y="0"/>
                      <a:pt x="46" y="0"/>
                    </a:cubicBezTo>
                    <a:cubicBezTo>
                      <a:pt x="54" y="71"/>
                      <a:pt x="54" y="71"/>
                      <a:pt x="54" y="71"/>
                    </a:cubicBezTo>
                    <a:cubicBezTo>
                      <a:pt x="56" y="73"/>
                      <a:pt x="56" y="73"/>
                      <a:pt x="56" y="73"/>
                    </a:cubicBezTo>
                    <a:cubicBezTo>
                      <a:pt x="56" y="73"/>
                      <a:pt x="57" y="79"/>
                      <a:pt x="55" y="80"/>
                    </a:cubicBezTo>
                    <a:cubicBezTo>
                      <a:pt x="54" y="81"/>
                      <a:pt x="24" y="80"/>
                      <a:pt x="24" y="80"/>
                    </a:cubicBezTo>
                    <a:cubicBezTo>
                      <a:pt x="24" y="80"/>
                      <a:pt x="21" y="82"/>
                      <a:pt x="19" y="82"/>
                    </a:cubicBezTo>
                    <a:cubicBezTo>
                      <a:pt x="17" y="82"/>
                      <a:pt x="14" y="80"/>
                      <a:pt x="14" y="81"/>
                    </a:cubicBezTo>
                    <a:cubicBezTo>
                      <a:pt x="13" y="83"/>
                      <a:pt x="13" y="85"/>
                      <a:pt x="9" y="82"/>
                    </a:cubicBezTo>
                    <a:cubicBezTo>
                      <a:pt x="6" y="79"/>
                      <a:pt x="4" y="82"/>
                      <a:pt x="4" y="84"/>
                    </a:cubicBezTo>
                    <a:cubicBezTo>
                      <a:pt x="4" y="86"/>
                      <a:pt x="3" y="87"/>
                      <a:pt x="0" y="87"/>
                    </a:cubicBezTo>
                    <a:cubicBezTo>
                      <a:pt x="1" y="88"/>
                      <a:pt x="1" y="88"/>
                      <a:pt x="1" y="88"/>
                    </a:cubicBezTo>
                    <a:cubicBezTo>
                      <a:pt x="2" y="91"/>
                      <a:pt x="2" y="91"/>
                      <a:pt x="2" y="91"/>
                    </a:cubicBezTo>
                    <a:cubicBezTo>
                      <a:pt x="2" y="91"/>
                      <a:pt x="2" y="94"/>
                      <a:pt x="4" y="96"/>
                    </a:cubicBezTo>
                    <a:cubicBezTo>
                      <a:pt x="5" y="97"/>
                      <a:pt x="8" y="100"/>
                      <a:pt x="8" y="101"/>
                    </a:cubicBezTo>
                    <a:cubicBezTo>
                      <a:pt x="8" y="102"/>
                      <a:pt x="8" y="107"/>
                      <a:pt x="8" y="107"/>
                    </a:cubicBezTo>
                    <a:cubicBezTo>
                      <a:pt x="8" y="107"/>
                      <a:pt x="9" y="111"/>
                      <a:pt x="10" y="109"/>
                    </a:cubicBezTo>
                    <a:cubicBezTo>
                      <a:pt x="12" y="108"/>
                      <a:pt x="14" y="111"/>
                      <a:pt x="15" y="109"/>
                    </a:cubicBezTo>
                    <a:cubicBezTo>
                      <a:pt x="16" y="106"/>
                      <a:pt x="19" y="109"/>
                      <a:pt x="20" y="109"/>
                    </a:cubicBezTo>
                    <a:cubicBezTo>
                      <a:pt x="22" y="109"/>
                      <a:pt x="25" y="105"/>
                      <a:pt x="26" y="105"/>
                    </a:cubicBezTo>
                    <a:cubicBezTo>
                      <a:pt x="27" y="105"/>
                      <a:pt x="29" y="109"/>
                      <a:pt x="29" y="111"/>
                    </a:cubicBezTo>
                    <a:cubicBezTo>
                      <a:pt x="29" y="113"/>
                      <a:pt x="33" y="114"/>
                      <a:pt x="32" y="115"/>
                    </a:cubicBezTo>
                    <a:cubicBezTo>
                      <a:pt x="30" y="115"/>
                      <a:pt x="30" y="118"/>
                      <a:pt x="32" y="118"/>
                    </a:cubicBezTo>
                    <a:cubicBezTo>
                      <a:pt x="34" y="118"/>
                      <a:pt x="33" y="121"/>
                      <a:pt x="34" y="122"/>
                    </a:cubicBezTo>
                    <a:cubicBezTo>
                      <a:pt x="35" y="124"/>
                      <a:pt x="37" y="125"/>
                      <a:pt x="38" y="123"/>
                    </a:cubicBezTo>
                    <a:cubicBezTo>
                      <a:pt x="39" y="121"/>
                      <a:pt x="41" y="123"/>
                      <a:pt x="42" y="124"/>
                    </a:cubicBezTo>
                    <a:cubicBezTo>
                      <a:pt x="43" y="125"/>
                      <a:pt x="46" y="124"/>
                      <a:pt x="46" y="122"/>
                    </a:cubicBezTo>
                    <a:cubicBezTo>
                      <a:pt x="47" y="120"/>
                      <a:pt x="50" y="119"/>
                      <a:pt x="50" y="121"/>
                    </a:cubicBezTo>
                    <a:cubicBezTo>
                      <a:pt x="50" y="123"/>
                      <a:pt x="51" y="124"/>
                      <a:pt x="53" y="122"/>
                    </a:cubicBezTo>
                    <a:cubicBezTo>
                      <a:pt x="54" y="122"/>
                      <a:pt x="55" y="122"/>
                      <a:pt x="55" y="122"/>
                    </a:cubicBezTo>
                    <a:cubicBezTo>
                      <a:pt x="56" y="119"/>
                      <a:pt x="57" y="117"/>
                      <a:pt x="58" y="116"/>
                    </a:cubicBezTo>
                    <a:cubicBezTo>
                      <a:pt x="58" y="114"/>
                      <a:pt x="56" y="111"/>
                      <a:pt x="57" y="110"/>
                    </a:cubicBezTo>
                    <a:cubicBezTo>
                      <a:pt x="58" y="110"/>
                      <a:pt x="62" y="111"/>
                      <a:pt x="63" y="108"/>
                    </a:cubicBezTo>
                    <a:cubicBezTo>
                      <a:pt x="65" y="104"/>
                      <a:pt x="66" y="103"/>
                      <a:pt x="66" y="103"/>
                    </a:cubicBezTo>
                    <a:cubicBezTo>
                      <a:pt x="66" y="103"/>
                      <a:pt x="67" y="95"/>
                      <a:pt x="69" y="97"/>
                    </a:cubicBezTo>
                    <a:cubicBezTo>
                      <a:pt x="71" y="98"/>
                      <a:pt x="73" y="100"/>
                      <a:pt x="74" y="97"/>
                    </a:cubicBezTo>
                    <a:cubicBezTo>
                      <a:pt x="74" y="94"/>
                      <a:pt x="77" y="96"/>
                      <a:pt x="77" y="93"/>
                    </a:cubicBezTo>
                    <a:cubicBezTo>
                      <a:pt x="78" y="90"/>
                      <a:pt x="79" y="91"/>
                      <a:pt x="81" y="91"/>
                    </a:cubicBezTo>
                    <a:cubicBezTo>
                      <a:pt x="83" y="92"/>
                      <a:pt x="84" y="91"/>
                      <a:pt x="84" y="89"/>
                    </a:cubicBezTo>
                    <a:cubicBezTo>
                      <a:pt x="84" y="88"/>
                      <a:pt x="88" y="89"/>
                      <a:pt x="91" y="87"/>
                    </a:cubicBezTo>
                    <a:cubicBezTo>
                      <a:pt x="94" y="84"/>
                      <a:pt x="96" y="83"/>
                      <a:pt x="97" y="84"/>
                    </a:cubicBezTo>
                    <a:cubicBezTo>
                      <a:pt x="98" y="85"/>
                      <a:pt x="106" y="85"/>
                      <a:pt x="107" y="84"/>
                    </a:cubicBezTo>
                    <a:cubicBezTo>
                      <a:pt x="108" y="84"/>
                      <a:pt x="111" y="82"/>
                      <a:pt x="114" y="82"/>
                    </a:cubicBezTo>
                    <a:cubicBezTo>
                      <a:pt x="117" y="83"/>
                      <a:pt x="123" y="81"/>
                      <a:pt x="126" y="81"/>
                    </a:cubicBezTo>
                    <a:cubicBezTo>
                      <a:pt x="129" y="81"/>
                      <a:pt x="130" y="79"/>
                      <a:pt x="131" y="78"/>
                    </a:cubicBezTo>
                    <a:cubicBezTo>
                      <a:pt x="132" y="77"/>
                      <a:pt x="133" y="72"/>
                      <a:pt x="134" y="72"/>
                    </a:cubicBezTo>
                    <a:cubicBezTo>
                      <a:pt x="135" y="71"/>
                      <a:pt x="134" y="56"/>
                      <a:pt x="134" y="50"/>
                    </a:cubicBezTo>
                    <a:cubicBezTo>
                      <a:pt x="132" y="51"/>
                      <a:pt x="128" y="52"/>
                      <a:pt x="128" y="5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9" name="Freeform 35">
                <a:extLst>
                  <a:ext uri="{FF2B5EF4-FFF2-40B4-BE49-F238E27FC236}">
                    <a16:creationId xmlns:a16="http://schemas.microsoft.com/office/drawing/2014/main" id="{4779085A-F5F9-4EF5-87A3-DDB98712AD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19336" y="3802466"/>
                <a:ext cx="154331" cy="109161"/>
              </a:xfrm>
              <a:custGeom>
                <a:avLst/>
                <a:gdLst>
                  <a:gd name="T0" fmla="*/ 66 w 67"/>
                  <a:gd name="T1" fmla="*/ 26 h 47"/>
                  <a:gd name="T2" fmla="*/ 63 w 67"/>
                  <a:gd name="T3" fmla="*/ 25 h 47"/>
                  <a:gd name="T4" fmla="*/ 62 w 67"/>
                  <a:gd name="T5" fmla="*/ 20 h 47"/>
                  <a:gd name="T6" fmla="*/ 58 w 67"/>
                  <a:gd name="T7" fmla="*/ 21 h 47"/>
                  <a:gd name="T8" fmla="*/ 55 w 67"/>
                  <a:gd name="T9" fmla="*/ 18 h 47"/>
                  <a:gd name="T10" fmla="*/ 54 w 67"/>
                  <a:gd name="T11" fmla="*/ 15 h 47"/>
                  <a:gd name="T12" fmla="*/ 50 w 67"/>
                  <a:gd name="T13" fmla="*/ 11 h 47"/>
                  <a:gd name="T14" fmla="*/ 47 w 67"/>
                  <a:gd name="T15" fmla="*/ 6 h 47"/>
                  <a:gd name="T16" fmla="*/ 47 w 67"/>
                  <a:gd name="T17" fmla="*/ 2 h 47"/>
                  <a:gd name="T18" fmla="*/ 42 w 67"/>
                  <a:gd name="T19" fmla="*/ 1 h 47"/>
                  <a:gd name="T20" fmla="*/ 36 w 67"/>
                  <a:gd name="T21" fmla="*/ 4 h 47"/>
                  <a:gd name="T22" fmla="*/ 29 w 67"/>
                  <a:gd name="T23" fmla="*/ 6 h 47"/>
                  <a:gd name="T24" fmla="*/ 26 w 67"/>
                  <a:gd name="T25" fmla="*/ 8 h 47"/>
                  <a:gd name="T26" fmla="*/ 22 w 67"/>
                  <a:gd name="T27" fmla="*/ 10 h 47"/>
                  <a:gd name="T28" fmla="*/ 19 w 67"/>
                  <a:gd name="T29" fmla="*/ 14 h 47"/>
                  <a:gd name="T30" fmla="*/ 14 w 67"/>
                  <a:gd name="T31" fmla="*/ 14 h 47"/>
                  <a:gd name="T32" fmla="*/ 11 w 67"/>
                  <a:gd name="T33" fmla="*/ 20 h 47"/>
                  <a:gd name="T34" fmla="*/ 8 w 67"/>
                  <a:gd name="T35" fmla="*/ 25 h 47"/>
                  <a:gd name="T36" fmla="*/ 2 w 67"/>
                  <a:gd name="T37" fmla="*/ 27 h 47"/>
                  <a:gd name="T38" fmla="*/ 3 w 67"/>
                  <a:gd name="T39" fmla="*/ 33 h 47"/>
                  <a:gd name="T40" fmla="*/ 0 w 67"/>
                  <a:gd name="T41" fmla="*/ 39 h 47"/>
                  <a:gd name="T42" fmla="*/ 4 w 67"/>
                  <a:gd name="T43" fmla="*/ 41 h 47"/>
                  <a:gd name="T44" fmla="*/ 11 w 67"/>
                  <a:gd name="T45" fmla="*/ 45 h 47"/>
                  <a:gd name="T46" fmla="*/ 21 w 67"/>
                  <a:gd name="T47" fmla="*/ 44 h 47"/>
                  <a:gd name="T48" fmla="*/ 23 w 67"/>
                  <a:gd name="T49" fmla="*/ 43 h 47"/>
                  <a:gd name="T50" fmla="*/ 22 w 67"/>
                  <a:gd name="T51" fmla="*/ 35 h 47"/>
                  <a:gd name="T52" fmla="*/ 42 w 67"/>
                  <a:gd name="T53" fmla="*/ 35 h 47"/>
                  <a:gd name="T54" fmla="*/ 45 w 67"/>
                  <a:gd name="T55" fmla="*/ 33 h 47"/>
                  <a:gd name="T56" fmla="*/ 53 w 67"/>
                  <a:gd name="T57" fmla="*/ 34 h 47"/>
                  <a:gd name="T58" fmla="*/ 57 w 67"/>
                  <a:gd name="T59" fmla="*/ 31 h 47"/>
                  <a:gd name="T60" fmla="*/ 64 w 67"/>
                  <a:gd name="T61" fmla="*/ 30 h 47"/>
                  <a:gd name="T62" fmla="*/ 66 w 67"/>
                  <a:gd name="T63" fmla="*/ 26 h 47"/>
                  <a:gd name="T64" fmla="*/ 66 w 67"/>
                  <a:gd name="T65" fmla="*/ 26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67" h="47">
                    <a:moveTo>
                      <a:pt x="66" y="26"/>
                    </a:moveTo>
                    <a:cubicBezTo>
                      <a:pt x="65" y="25"/>
                      <a:pt x="63" y="25"/>
                      <a:pt x="63" y="25"/>
                    </a:cubicBezTo>
                    <a:cubicBezTo>
                      <a:pt x="62" y="25"/>
                      <a:pt x="63" y="21"/>
                      <a:pt x="62" y="20"/>
                    </a:cubicBezTo>
                    <a:cubicBezTo>
                      <a:pt x="62" y="20"/>
                      <a:pt x="60" y="22"/>
                      <a:pt x="58" y="21"/>
                    </a:cubicBezTo>
                    <a:cubicBezTo>
                      <a:pt x="57" y="20"/>
                      <a:pt x="56" y="18"/>
                      <a:pt x="55" y="18"/>
                    </a:cubicBezTo>
                    <a:cubicBezTo>
                      <a:pt x="54" y="18"/>
                      <a:pt x="54" y="17"/>
                      <a:pt x="54" y="15"/>
                    </a:cubicBezTo>
                    <a:cubicBezTo>
                      <a:pt x="54" y="13"/>
                      <a:pt x="51" y="12"/>
                      <a:pt x="50" y="11"/>
                    </a:cubicBezTo>
                    <a:cubicBezTo>
                      <a:pt x="48" y="10"/>
                      <a:pt x="48" y="7"/>
                      <a:pt x="47" y="6"/>
                    </a:cubicBezTo>
                    <a:cubicBezTo>
                      <a:pt x="47" y="6"/>
                      <a:pt x="47" y="4"/>
                      <a:pt x="47" y="2"/>
                    </a:cubicBezTo>
                    <a:cubicBezTo>
                      <a:pt x="45" y="2"/>
                      <a:pt x="43" y="2"/>
                      <a:pt x="42" y="1"/>
                    </a:cubicBezTo>
                    <a:cubicBezTo>
                      <a:pt x="41" y="0"/>
                      <a:pt x="39" y="1"/>
                      <a:pt x="36" y="4"/>
                    </a:cubicBezTo>
                    <a:cubicBezTo>
                      <a:pt x="33" y="6"/>
                      <a:pt x="29" y="5"/>
                      <a:pt x="29" y="6"/>
                    </a:cubicBezTo>
                    <a:cubicBezTo>
                      <a:pt x="29" y="8"/>
                      <a:pt x="28" y="9"/>
                      <a:pt x="26" y="8"/>
                    </a:cubicBezTo>
                    <a:cubicBezTo>
                      <a:pt x="24" y="8"/>
                      <a:pt x="23" y="7"/>
                      <a:pt x="22" y="10"/>
                    </a:cubicBezTo>
                    <a:cubicBezTo>
                      <a:pt x="22" y="13"/>
                      <a:pt x="19" y="11"/>
                      <a:pt x="19" y="14"/>
                    </a:cubicBezTo>
                    <a:cubicBezTo>
                      <a:pt x="18" y="17"/>
                      <a:pt x="16" y="15"/>
                      <a:pt x="14" y="14"/>
                    </a:cubicBezTo>
                    <a:cubicBezTo>
                      <a:pt x="12" y="12"/>
                      <a:pt x="11" y="20"/>
                      <a:pt x="11" y="20"/>
                    </a:cubicBezTo>
                    <a:cubicBezTo>
                      <a:pt x="11" y="20"/>
                      <a:pt x="10" y="21"/>
                      <a:pt x="8" y="25"/>
                    </a:cubicBezTo>
                    <a:cubicBezTo>
                      <a:pt x="7" y="28"/>
                      <a:pt x="3" y="27"/>
                      <a:pt x="2" y="27"/>
                    </a:cubicBezTo>
                    <a:cubicBezTo>
                      <a:pt x="1" y="28"/>
                      <a:pt x="3" y="31"/>
                      <a:pt x="3" y="33"/>
                    </a:cubicBezTo>
                    <a:cubicBezTo>
                      <a:pt x="2" y="34"/>
                      <a:pt x="1" y="36"/>
                      <a:pt x="0" y="39"/>
                    </a:cubicBezTo>
                    <a:cubicBezTo>
                      <a:pt x="2" y="39"/>
                      <a:pt x="4" y="41"/>
                      <a:pt x="4" y="41"/>
                    </a:cubicBezTo>
                    <a:cubicBezTo>
                      <a:pt x="5" y="43"/>
                      <a:pt x="9" y="47"/>
                      <a:pt x="11" y="45"/>
                    </a:cubicBezTo>
                    <a:cubicBezTo>
                      <a:pt x="13" y="42"/>
                      <a:pt x="19" y="42"/>
                      <a:pt x="21" y="44"/>
                    </a:cubicBezTo>
                    <a:cubicBezTo>
                      <a:pt x="22" y="45"/>
                      <a:pt x="23" y="44"/>
                      <a:pt x="23" y="43"/>
                    </a:cubicBezTo>
                    <a:cubicBezTo>
                      <a:pt x="24" y="41"/>
                      <a:pt x="21" y="36"/>
                      <a:pt x="22" y="35"/>
                    </a:cubicBezTo>
                    <a:cubicBezTo>
                      <a:pt x="23" y="33"/>
                      <a:pt x="42" y="34"/>
                      <a:pt x="42" y="35"/>
                    </a:cubicBezTo>
                    <a:cubicBezTo>
                      <a:pt x="43" y="36"/>
                      <a:pt x="43" y="33"/>
                      <a:pt x="45" y="33"/>
                    </a:cubicBezTo>
                    <a:cubicBezTo>
                      <a:pt x="48" y="33"/>
                      <a:pt x="51" y="35"/>
                      <a:pt x="53" y="34"/>
                    </a:cubicBezTo>
                    <a:cubicBezTo>
                      <a:pt x="54" y="34"/>
                      <a:pt x="56" y="31"/>
                      <a:pt x="57" y="31"/>
                    </a:cubicBezTo>
                    <a:cubicBezTo>
                      <a:pt x="59" y="31"/>
                      <a:pt x="63" y="31"/>
                      <a:pt x="64" y="30"/>
                    </a:cubicBezTo>
                    <a:cubicBezTo>
                      <a:pt x="65" y="28"/>
                      <a:pt x="67" y="28"/>
                      <a:pt x="66" y="26"/>
                    </a:cubicBezTo>
                    <a:cubicBezTo>
                      <a:pt x="66" y="26"/>
                      <a:pt x="66" y="26"/>
                      <a:pt x="66" y="26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0" name="Freeform 36">
                <a:extLst>
                  <a:ext uri="{FF2B5EF4-FFF2-40B4-BE49-F238E27FC236}">
                    <a16:creationId xmlns:a16="http://schemas.microsoft.com/office/drawing/2014/main" id="{828F52D2-F599-4452-8D0F-1352385E92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27243" y="3641861"/>
                <a:ext cx="288587" cy="223341"/>
              </a:xfrm>
              <a:custGeom>
                <a:avLst/>
                <a:gdLst>
                  <a:gd name="T0" fmla="*/ 119 w 125"/>
                  <a:gd name="T1" fmla="*/ 14 h 97"/>
                  <a:gd name="T2" fmla="*/ 118 w 125"/>
                  <a:gd name="T3" fmla="*/ 4 h 97"/>
                  <a:gd name="T4" fmla="*/ 112 w 125"/>
                  <a:gd name="T5" fmla="*/ 7 h 97"/>
                  <a:gd name="T6" fmla="*/ 107 w 125"/>
                  <a:gd name="T7" fmla="*/ 2 h 97"/>
                  <a:gd name="T8" fmla="*/ 95 w 125"/>
                  <a:gd name="T9" fmla="*/ 0 h 97"/>
                  <a:gd name="T10" fmla="*/ 61 w 125"/>
                  <a:gd name="T11" fmla="*/ 21 h 97"/>
                  <a:gd name="T12" fmla="*/ 46 w 125"/>
                  <a:gd name="T13" fmla="*/ 33 h 97"/>
                  <a:gd name="T14" fmla="*/ 33 w 125"/>
                  <a:gd name="T15" fmla="*/ 37 h 97"/>
                  <a:gd name="T16" fmla="*/ 32 w 125"/>
                  <a:gd name="T17" fmla="*/ 37 h 97"/>
                  <a:gd name="T18" fmla="*/ 32 w 125"/>
                  <a:gd name="T19" fmla="*/ 59 h 97"/>
                  <a:gd name="T20" fmla="*/ 29 w 125"/>
                  <a:gd name="T21" fmla="*/ 65 h 97"/>
                  <a:gd name="T22" fmla="*/ 24 w 125"/>
                  <a:gd name="T23" fmla="*/ 68 h 97"/>
                  <a:gd name="T24" fmla="*/ 12 w 125"/>
                  <a:gd name="T25" fmla="*/ 69 h 97"/>
                  <a:gd name="T26" fmla="*/ 5 w 125"/>
                  <a:gd name="T27" fmla="*/ 71 h 97"/>
                  <a:gd name="T28" fmla="*/ 0 w 125"/>
                  <a:gd name="T29" fmla="*/ 72 h 97"/>
                  <a:gd name="T30" fmla="*/ 0 w 125"/>
                  <a:gd name="T31" fmla="*/ 76 h 97"/>
                  <a:gd name="T32" fmla="*/ 3 w 125"/>
                  <a:gd name="T33" fmla="*/ 81 h 97"/>
                  <a:gd name="T34" fmla="*/ 7 w 125"/>
                  <a:gd name="T35" fmla="*/ 85 h 97"/>
                  <a:gd name="T36" fmla="*/ 8 w 125"/>
                  <a:gd name="T37" fmla="*/ 88 h 97"/>
                  <a:gd name="T38" fmla="*/ 11 w 125"/>
                  <a:gd name="T39" fmla="*/ 91 h 97"/>
                  <a:gd name="T40" fmla="*/ 15 w 125"/>
                  <a:gd name="T41" fmla="*/ 90 h 97"/>
                  <a:gd name="T42" fmla="*/ 16 w 125"/>
                  <a:gd name="T43" fmla="*/ 95 h 97"/>
                  <a:gd name="T44" fmla="*/ 19 w 125"/>
                  <a:gd name="T45" fmla="*/ 96 h 97"/>
                  <a:gd name="T46" fmla="*/ 22 w 125"/>
                  <a:gd name="T47" fmla="*/ 93 h 97"/>
                  <a:gd name="T48" fmla="*/ 25 w 125"/>
                  <a:gd name="T49" fmla="*/ 96 h 97"/>
                  <a:gd name="T50" fmla="*/ 28 w 125"/>
                  <a:gd name="T51" fmla="*/ 95 h 97"/>
                  <a:gd name="T52" fmla="*/ 31 w 125"/>
                  <a:gd name="T53" fmla="*/ 89 h 97"/>
                  <a:gd name="T54" fmla="*/ 33 w 125"/>
                  <a:gd name="T55" fmla="*/ 83 h 97"/>
                  <a:gd name="T56" fmla="*/ 41 w 125"/>
                  <a:gd name="T57" fmla="*/ 83 h 97"/>
                  <a:gd name="T58" fmla="*/ 45 w 125"/>
                  <a:gd name="T59" fmla="*/ 81 h 97"/>
                  <a:gd name="T60" fmla="*/ 52 w 125"/>
                  <a:gd name="T61" fmla="*/ 83 h 97"/>
                  <a:gd name="T62" fmla="*/ 56 w 125"/>
                  <a:gd name="T63" fmla="*/ 87 h 97"/>
                  <a:gd name="T64" fmla="*/ 63 w 125"/>
                  <a:gd name="T65" fmla="*/ 86 h 97"/>
                  <a:gd name="T66" fmla="*/ 69 w 125"/>
                  <a:gd name="T67" fmla="*/ 89 h 97"/>
                  <a:gd name="T68" fmla="*/ 77 w 125"/>
                  <a:gd name="T69" fmla="*/ 89 h 97"/>
                  <a:gd name="T70" fmla="*/ 83 w 125"/>
                  <a:gd name="T71" fmla="*/ 85 h 97"/>
                  <a:gd name="T72" fmla="*/ 93 w 125"/>
                  <a:gd name="T73" fmla="*/ 85 h 97"/>
                  <a:gd name="T74" fmla="*/ 100 w 125"/>
                  <a:gd name="T75" fmla="*/ 87 h 97"/>
                  <a:gd name="T76" fmla="*/ 106 w 125"/>
                  <a:gd name="T77" fmla="*/ 82 h 97"/>
                  <a:gd name="T78" fmla="*/ 107 w 125"/>
                  <a:gd name="T79" fmla="*/ 82 h 97"/>
                  <a:gd name="T80" fmla="*/ 107 w 125"/>
                  <a:gd name="T81" fmla="*/ 79 h 97"/>
                  <a:gd name="T82" fmla="*/ 108 w 125"/>
                  <a:gd name="T83" fmla="*/ 72 h 97"/>
                  <a:gd name="T84" fmla="*/ 121 w 125"/>
                  <a:gd name="T85" fmla="*/ 56 h 97"/>
                  <a:gd name="T86" fmla="*/ 122 w 125"/>
                  <a:gd name="T87" fmla="*/ 36 h 97"/>
                  <a:gd name="T88" fmla="*/ 124 w 125"/>
                  <a:gd name="T89" fmla="*/ 27 h 97"/>
                  <a:gd name="T90" fmla="*/ 122 w 125"/>
                  <a:gd name="T91" fmla="*/ 21 h 97"/>
                  <a:gd name="T92" fmla="*/ 119 w 125"/>
                  <a:gd name="T93" fmla="*/ 14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25" h="97">
                    <a:moveTo>
                      <a:pt x="119" y="14"/>
                    </a:moveTo>
                    <a:cubicBezTo>
                      <a:pt x="119" y="13"/>
                      <a:pt x="119" y="8"/>
                      <a:pt x="118" y="4"/>
                    </a:cubicBezTo>
                    <a:cubicBezTo>
                      <a:pt x="112" y="7"/>
                      <a:pt x="112" y="7"/>
                      <a:pt x="112" y="7"/>
                    </a:cubicBezTo>
                    <a:cubicBezTo>
                      <a:pt x="112" y="7"/>
                      <a:pt x="110" y="4"/>
                      <a:pt x="107" y="2"/>
                    </a:cubicBezTo>
                    <a:cubicBezTo>
                      <a:pt x="104" y="0"/>
                      <a:pt x="95" y="0"/>
                      <a:pt x="95" y="0"/>
                    </a:cubicBezTo>
                    <a:cubicBezTo>
                      <a:pt x="61" y="21"/>
                      <a:pt x="61" y="21"/>
                      <a:pt x="61" y="21"/>
                    </a:cubicBezTo>
                    <a:cubicBezTo>
                      <a:pt x="46" y="33"/>
                      <a:pt x="46" y="33"/>
                      <a:pt x="46" y="33"/>
                    </a:cubicBezTo>
                    <a:cubicBezTo>
                      <a:pt x="46" y="33"/>
                      <a:pt x="36" y="36"/>
                      <a:pt x="33" y="37"/>
                    </a:cubicBezTo>
                    <a:cubicBezTo>
                      <a:pt x="33" y="37"/>
                      <a:pt x="33" y="37"/>
                      <a:pt x="32" y="37"/>
                    </a:cubicBezTo>
                    <a:cubicBezTo>
                      <a:pt x="32" y="43"/>
                      <a:pt x="33" y="58"/>
                      <a:pt x="32" y="59"/>
                    </a:cubicBezTo>
                    <a:cubicBezTo>
                      <a:pt x="31" y="59"/>
                      <a:pt x="30" y="64"/>
                      <a:pt x="29" y="65"/>
                    </a:cubicBezTo>
                    <a:cubicBezTo>
                      <a:pt x="28" y="66"/>
                      <a:pt x="27" y="68"/>
                      <a:pt x="24" y="68"/>
                    </a:cubicBezTo>
                    <a:cubicBezTo>
                      <a:pt x="21" y="68"/>
                      <a:pt x="15" y="70"/>
                      <a:pt x="12" y="69"/>
                    </a:cubicBezTo>
                    <a:cubicBezTo>
                      <a:pt x="9" y="69"/>
                      <a:pt x="6" y="71"/>
                      <a:pt x="5" y="71"/>
                    </a:cubicBezTo>
                    <a:cubicBezTo>
                      <a:pt x="5" y="72"/>
                      <a:pt x="2" y="72"/>
                      <a:pt x="0" y="72"/>
                    </a:cubicBezTo>
                    <a:cubicBezTo>
                      <a:pt x="0" y="74"/>
                      <a:pt x="0" y="76"/>
                      <a:pt x="0" y="76"/>
                    </a:cubicBezTo>
                    <a:cubicBezTo>
                      <a:pt x="1" y="77"/>
                      <a:pt x="1" y="80"/>
                      <a:pt x="3" y="81"/>
                    </a:cubicBezTo>
                    <a:cubicBezTo>
                      <a:pt x="4" y="82"/>
                      <a:pt x="7" y="83"/>
                      <a:pt x="7" y="85"/>
                    </a:cubicBezTo>
                    <a:cubicBezTo>
                      <a:pt x="7" y="87"/>
                      <a:pt x="7" y="88"/>
                      <a:pt x="8" y="88"/>
                    </a:cubicBezTo>
                    <a:cubicBezTo>
                      <a:pt x="9" y="88"/>
                      <a:pt x="10" y="90"/>
                      <a:pt x="11" y="91"/>
                    </a:cubicBezTo>
                    <a:cubicBezTo>
                      <a:pt x="13" y="92"/>
                      <a:pt x="15" y="90"/>
                      <a:pt x="15" y="90"/>
                    </a:cubicBezTo>
                    <a:cubicBezTo>
                      <a:pt x="16" y="91"/>
                      <a:pt x="15" y="95"/>
                      <a:pt x="16" y="95"/>
                    </a:cubicBezTo>
                    <a:cubicBezTo>
                      <a:pt x="16" y="95"/>
                      <a:pt x="18" y="95"/>
                      <a:pt x="19" y="96"/>
                    </a:cubicBezTo>
                    <a:cubicBezTo>
                      <a:pt x="19" y="94"/>
                      <a:pt x="20" y="92"/>
                      <a:pt x="22" y="93"/>
                    </a:cubicBezTo>
                    <a:cubicBezTo>
                      <a:pt x="24" y="93"/>
                      <a:pt x="22" y="96"/>
                      <a:pt x="25" y="96"/>
                    </a:cubicBezTo>
                    <a:cubicBezTo>
                      <a:pt x="27" y="97"/>
                      <a:pt x="28" y="97"/>
                      <a:pt x="28" y="95"/>
                    </a:cubicBezTo>
                    <a:cubicBezTo>
                      <a:pt x="28" y="93"/>
                      <a:pt x="31" y="90"/>
                      <a:pt x="31" y="89"/>
                    </a:cubicBezTo>
                    <a:cubicBezTo>
                      <a:pt x="32" y="89"/>
                      <a:pt x="32" y="84"/>
                      <a:pt x="33" y="83"/>
                    </a:cubicBezTo>
                    <a:cubicBezTo>
                      <a:pt x="35" y="82"/>
                      <a:pt x="39" y="83"/>
                      <a:pt x="41" y="83"/>
                    </a:cubicBezTo>
                    <a:cubicBezTo>
                      <a:pt x="42" y="83"/>
                      <a:pt x="44" y="80"/>
                      <a:pt x="45" y="81"/>
                    </a:cubicBezTo>
                    <a:cubicBezTo>
                      <a:pt x="47" y="83"/>
                      <a:pt x="50" y="81"/>
                      <a:pt x="52" y="83"/>
                    </a:cubicBezTo>
                    <a:cubicBezTo>
                      <a:pt x="53" y="85"/>
                      <a:pt x="54" y="89"/>
                      <a:pt x="56" y="87"/>
                    </a:cubicBezTo>
                    <a:cubicBezTo>
                      <a:pt x="59" y="86"/>
                      <a:pt x="62" y="86"/>
                      <a:pt x="63" y="86"/>
                    </a:cubicBezTo>
                    <a:cubicBezTo>
                      <a:pt x="64" y="86"/>
                      <a:pt x="68" y="88"/>
                      <a:pt x="69" y="89"/>
                    </a:cubicBezTo>
                    <a:cubicBezTo>
                      <a:pt x="71" y="89"/>
                      <a:pt x="75" y="90"/>
                      <a:pt x="77" y="89"/>
                    </a:cubicBezTo>
                    <a:cubicBezTo>
                      <a:pt x="79" y="88"/>
                      <a:pt x="81" y="85"/>
                      <a:pt x="83" y="85"/>
                    </a:cubicBezTo>
                    <a:cubicBezTo>
                      <a:pt x="85" y="85"/>
                      <a:pt x="92" y="85"/>
                      <a:pt x="93" y="85"/>
                    </a:cubicBezTo>
                    <a:cubicBezTo>
                      <a:pt x="95" y="86"/>
                      <a:pt x="98" y="88"/>
                      <a:pt x="100" y="87"/>
                    </a:cubicBezTo>
                    <a:cubicBezTo>
                      <a:pt x="102" y="86"/>
                      <a:pt x="104" y="82"/>
                      <a:pt x="106" y="82"/>
                    </a:cubicBezTo>
                    <a:cubicBezTo>
                      <a:pt x="106" y="82"/>
                      <a:pt x="106" y="82"/>
                      <a:pt x="107" y="82"/>
                    </a:cubicBezTo>
                    <a:cubicBezTo>
                      <a:pt x="107" y="81"/>
                      <a:pt x="107" y="80"/>
                      <a:pt x="107" y="79"/>
                    </a:cubicBezTo>
                    <a:cubicBezTo>
                      <a:pt x="107" y="75"/>
                      <a:pt x="108" y="76"/>
                      <a:pt x="108" y="72"/>
                    </a:cubicBezTo>
                    <a:cubicBezTo>
                      <a:pt x="109" y="68"/>
                      <a:pt x="120" y="57"/>
                      <a:pt x="121" y="56"/>
                    </a:cubicBezTo>
                    <a:cubicBezTo>
                      <a:pt x="122" y="55"/>
                      <a:pt x="122" y="38"/>
                      <a:pt x="122" y="36"/>
                    </a:cubicBezTo>
                    <a:cubicBezTo>
                      <a:pt x="122" y="34"/>
                      <a:pt x="123" y="31"/>
                      <a:pt x="124" y="27"/>
                    </a:cubicBezTo>
                    <a:cubicBezTo>
                      <a:pt x="125" y="24"/>
                      <a:pt x="122" y="24"/>
                      <a:pt x="122" y="21"/>
                    </a:cubicBezTo>
                    <a:cubicBezTo>
                      <a:pt x="122" y="18"/>
                      <a:pt x="119" y="16"/>
                      <a:pt x="119" y="14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1" name="Freeform 37">
                <a:extLst>
                  <a:ext uri="{FF2B5EF4-FFF2-40B4-BE49-F238E27FC236}">
                    <a16:creationId xmlns:a16="http://schemas.microsoft.com/office/drawing/2014/main" id="{A3EACAFC-2BB1-4FAB-BA1D-D307DBEE4F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4424" y="3641861"/>
                <a:ext cx="186954" cy="308662"/>
              </a:xfrm>
              <a:custGeom>
                <a:avLst/>
                <a:gdLst>
                  <a:gd name="T0" fmla="*/ 80 w 81"/>
                  <a:gd name="T1" fmla="*/ 33 h 134"/>
                  <a:gd name="T2" fmla="*/ 19 w 81"/>
                  <a:gd name="T3" fmla="*/ 0 h 134"/>
                  <a:gd name="T4" fmla="*/ 11 w 81"/>
                  <a:gd name="T5" fmla="*/ 4 h 134"/>
                  <a:gd name="T6" fmla="*/ 12 w 81"/>
                  <a:gd name="T7" fmla="*/ 14 h 134"/>
                  <a:gd name="T8" fmla="*/ 15 w 81"/>
                  <a:gd name="T9" fmla="*/ 21 h 134"/>
                  <a:gd name="T10" fmla="*/ 17 w 81"/>
                  <a:gd name="T11" fmla="*/ 27 h 134"/>
                  <a:gd name="T12" fmla="*/ 15 w 81"/>
                  <a:gd name="T13" fmla="*/ 36 h 134"/>
                  <a:gd name="T14" fmla="*/ 14 w 81"/>
                  <a:gd name="T15" fmla="*/ 56 h 134"/>
                  <a:gd name="T16" fmla="*/ 1 w 81"/>
                  <a:gd name="T17" fmla="*/ 72 h 134"/>
                  <a:gd name="T18" fmla="*/ 0 w 81"/>
                  <a:gd name="T19" fmla="*/ 79 h 134"/>
                  <a:gd name="T20" fmla="*/ 0 w 81"/>
                  <a:gd name="T21" fmla="*/ 82 h 134"/>
                  <a:gd name="T22" fmla="*/ 1 w 81"/>
                  <a:gd name="T23" fmla="*/ 83 h 134"/>
                  <a:gd name="T24" fmla="*/ 5 w 81"/>
                  <a:gd name="T25" fmla="*/ 87 h 134"/>
                  <a:gd name="T26" fmla="*/ 10 w 81"/>
                  <a:gd name="T27" fmla="*/ 94 h 134"/>
                  <a:gd name="T28" fmla="*/ 11 w 81"/>
                  <a:gd name="T29" fmla="*/ 101 h 134"/>
                  <a:gd name="T30" fmla="*/ 14 w 81"/>
                  <a:gd name="T31" fmla="*/ 111 h 134"/>
                  <a:gd name="T32" fmla="*/ 11 w 81"/>
                  <a:gd name="T33" fmla="*/ 113 h 134"/>
                  <a:gd name="T34" fmla="*/ 4 w 81"/>
                  <a:gd name="T35" fmla="*/ 114 h 134"/>
                  <a:gd name="T36" fmla="*/ 6 w 81"/>
                  <a:gd name="T37" fmla="*/ 119 h 134"/>
                  <a:gd name="T38" fmla="*/ 13 w 81"/>
                  <a:gd name="T39" fmla="*/ 126 h 134"/>
                  <a:gd name="T40" fmla="*/ 16 w 81"/>
                  <a:gd name="T41" fmla="*/ 133 h 134"/>
                  <a:gd name="T42" fmla="*/ 20 w 81"/>
                  <a:gd name="T43" fmla="*/ 131 h 134"/>
                  <a:gd name="T44" fmla="*/ 25 w 81"/>
                  <a:gd name="T45" fmla="*/ 131 h 134"/>
                  <a:gd name="T46" fmla="*/ 34 w 81"/>
                  <a:gd name="T47" fmla="*/ 128 h 134"/>
                  <a:gd name="T48" fmla="*/ 41 w 81"/>
                  <a:gd name="T49" fmla="*/ 125 h 134"/>
                  <a:gd name="T50" fmla="*/ 42 w 81"/>
                  <a:gd name="T51" fmla="*/ 120 h 134"/>
                  <a:gd name="T52" fmla="*/ 53 w 81"/>
                  <a:gd name="T53" fmla="*/ 118 h 134"/>
                  <a:gd name="T54" fmla="*/ 61 w 81"/>
                  <a:gd name="T55" fmla="*/ 110 h 134"/>
                  <a:gd name="T56" fmla="*/ 63 w 81"/>
                  <a:gd name="T57" fmla="*/ 106 h 134"/>
                  <a:gd name="T58" fmla="*/ 69 w 81"/>
                  <a:gd name="T59" fmla="*/ 103 h 134"/>
                  <a:gd name="T60" fmla="*/ 71 w 81"/>
                  <a:gd name="T61" fmla="*/ 104 h 134"/>
                  <a:gd name="T62" fmla="*/ 71 w 81"/>
                  <a:gd name="T63" fmla="*/ 103 h 134"/>
                  <a:gd name="T64" fmla="*/ 72 w 81"/>
                  <a:gd name="T65" fmla="*/ 100 h 134"/>
                  <a:gd name="T66" fmla="*/ 68 w 81"/>
                  <a:gd name="T67" fmla="*/ 95 h 134"/>
                  <a:gd name="T68" fmla="*/ 66 w 81"/>
                  <a:gd name="T69" fmla="*/ 89 h 134"/>
                  <a:gd name="T70" fmla="*/ 65 w 81"/>
                  <a:gd name="T71" fmla="*/ 85 h 134"/>
                  <a:gd name="T72" fmla="*/ 66 w 81"/>
                  <a:gd name="T73" fmla="*/ 79 h 134"/>
                  <a:gd name="T74" fmla="*/ 69 w 81"/>
                  <a:gd name="T75" fmla="*/ 73 h 134"/>
                  <a:gd name="T76" fmla="*/ 72 w 81"/>
                  <a:gd name="T77" fmla="*/ 68 h 134"/>
                  <a:gd name="T78" fmla="*/ 79 w 81"/>
                  <a:gd name="T79" fmla="*/ 63 h 134"/>
                  <a:gd name="T80" fmla="*/ 80 w 81"/>
                  <a:gd name="T81" fmla="*/ 55 h 134"/>
                  <a:gd name="T82" fmla="*/ 80 w 81"/>
                  <a:gd name="T83" fmla="*/ 33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81" h="134">
                    <a:moveTo>
                      <a:pt x="80" y="33"/>
                    </a:moveTo>
                    <a:cubicBezTo>
                      <a:pt x="19" y="0"/>
                      <a:pt x="19" y="0"/>
                      <a:pt x="19" y="0"/>
                    </a:cubicBezTo>
                    <a:cubicBezTo>
                      <a:pt x="11" y="4"/>
                      <a:pt x="11" y="4"/>
                      <a:pt x="11" y="4"/>
                    </a:cubicBezTo>
                    <a:cubicBezTo>
                      <a:pt x="12" y="8"/>
                      <a:pt x="12" y="13"/>
                      <a:pt x="12" y="14"/>
                    </a:cubicBezTo>
                    <a:cubicBezTo>
                      <a:pt x="12" y="16"/>
                      <a:pt x="15" y="18"/>
                      <a:pt x="15" y="21"/>
                    </a:cubicBezTo>
                    <a:cubicBezTo>
                      <a:pt x="15" y="24"/>
                      <a:pt x="18" y="24"/>
                      <a:pt x="17" y="27"/>
                    </a:cubicBezTo>
                    <a:cubicBezTo>
                      <a:pt x="16" y="31"/>
                      <a:pt x="15" y="34"/>
                      <a:pt x="15" y="36"/>
                    </a:cubicBezTo>
                    <a:cubicBezTo>
                      <a:pt x="15" y="38"/>
                      <a:pt x="15" y="55"/>
                      <a:pt x="14" y="56"/>
                    </a:cubicBezTo>
                    <a:cubicBezTo>
                      <a:pt x="13" y="57"/>
                      <a:pt x="2" y="68"/>
                      <a:pt x="1" y="72"/>
                    </a:cubicBezTo>
                    <a:cubicBezTo>
                      <a:pt x="1" y="76"/>
                      <a:pt x="0" y="75"/>
                      <a:pt x="0" y="79"/>
                    </a:cubicBezTo>
                    <a:cubicBezTo>
                      <a:pt x="0" y="80"/>
                      <a:pt x="0" y="81"/>
                      <a:pt x="0" y="82"/>
                    </a:cubicBezTo>
                    <a:cubicBezTo>
                      <a:pt x="0" y="82"/>
                      <a:pt x="1" y="83"/>
                      <a:pt x="1" y="83"/>
                    </a:cubicBezTo>
                    <a:cubicBezTo>
                      <a:pt x="3" y="85"/>
                      <a:pt x="3" y="87"/>
                      <a:pt x="5" y="87"/>
                    </a:cubicBezTo>
                    <a:cubicBezTo>
                      <a:pt x="7" y="87"/>
                      <a:pt x="10" y="92"/>
                      <a:pt x="10" y="94"/>
                    </a:cubicBezTo>
                    <a:cubicBezTo>
                      <a:pt x="10" y="96"/>
                      <a:pt x="11" y="98"/>
                      <a:pt x="11" y="101"/>
                    </a:cubicBezTo>
                    <a:cubicBezTo>
                      <a:pt x="11" y="105"/>
                      <a:pt x="13" y="111"/>
                      <a:pt x="14" y="111"/>
                    </a:cubicBezTo>
                    <a:cubicBezTo>
                      <a:pt x="15" y="112"/>
                      <a:pt x="14" y="113"/>
                      <a:pt x="11" y="113"/>
                    </a:cubicBezTo>
                    <a:cubicBezTo>
                      <a:pt x="8" y="112"/>
                      <a:pt x="4" y="112"/>
                      <a:pt x="4" y="114"/>
                    </a:cubicBezTo>
                    <a:cubicBezTo>
                      <a:pt x="4" y="115"/>
                      <a:pt x="3" y="116"/>
                      <a:pt x="6" y="119"/>
                    </a:cubicBezTo>
                    <a:cubicBezTo>
                      <a:pt x="9" y="122"/>
                      <a:pt x="12" y="123"/>
                      <a:pt x="13" y="126"/>
                    </a:cubicBezTo>
                    <a:cubicBezTo>
                      <a:pt x="14" y="129"/>
                      <a:pt x="15" y="132"/>
                      <a:pt x="16" y="133"/>
                    </a:cubicBezTo>
                    <a:cubicBezTo>
                      <a:pt x="17" y="134"/>
                      <a:pt x="19" y="133"/>
                      <a:pt x="20" y="131"/>
                    </a:cubicBezTo>
                    <a:cubicBezTo>
                      <a:pt x="22" y="129"/>
                      <a:pt x="24" y="133"/>
                      <a:pt x="25" y="131"/>
                    </a:cubicBezTo>
                    <a:cubicBezTo>
                      <a:pt x="27" y="129"/>
                      <a:pt x="33" y="129"/>
                      <a:pt x="34" y="128"/>
                    </a:cubicBezTo>
                    <a:cubicBezTo>
                      <a:pt x="36" y="128"/>
                      <a:pt x="40" y="126"/>
                      <a:pt x="41" y="125"/>
                    </a:cubicBezTo>
                    <a:cubicBezTo>
                      <a:pt x="43" y="123"/>
                      <a:pt x="40" y="121"/>
                      <a:pt x="42" y="120"/>
                    </a:cubicBezTo>
                    <a:cubicBezTo>
                      <a:pt x="44" y="119"/>
                      <a:pt x="51" y="121"/>
                      <a:pt x="53" y="118"/>
                    </a:cubicBezTo>
                    <a:cubicBezTo>
                      <a:pt x="56" y="115"/>
                      <a:pt x="60" y="111"/>
                      <a:pt x="61" y="110"/>
                    </a:cubicBezTo>
                    <a:cubicBezTo>
                      <a:pt x="62" y="109"/>
                      <a:pt x="61" y="108"/>
                      <a:pt x="63" y="106"/>
                    </a:cubicBezTo>
                    <a:cubicBezTo>
                      <a:pt x="64" y="104"/>
                      <a:pt x="68" y="102"/>
                      <a:pt x="69" y="103"/>
                    </a:cubicBezTo>
                    <a:cubicBezTo>
                      <a:pt x="70" y="104"/>
                      <a:pt x="70" y="104"/>
                      <a:pt x="71" y="104"/>
                    </a:cubicBezTo>
                    <a:cubicBezTo>
                      <a:pt x="71" y="103"/>
                      <a:pt x="71" y="103"/>
                      <a:pt x="71" y="103"/>
                    </a:cubicBezTo>
                    <a:cubicBezTo>
                      <a:pt x="72" y="100"/>
                      <a:pt x="72" y="100"/>
                      <a:pt x="72" y="100"/>
                    </a:cubicBezTo>
                    <a:cubicBezTo>
                      <a:pt x="72" y="100"/>
                      <a:pt x="68" y="98"/>
                      <a:pt x="68" y="95"/>
                    </a:cubicBezTo>
                    <a:cubicBezTo>
                      <a:pt x="68" y="92"/>
                      <a:pt x="69" y="89"/>
                      <a:pt x="66" y="89"/>
                    </a:cubicBezTo>
                    <a:cubicBezTo>
                      <a:pt x="64" y="89"/>
                      <a:pt x="63" y="86"/>
                      <a:pt x="65" y="85"/>
                    </a:cubicBezTo>
                    <a:cubicBezTo>
                      <a:pt x="67" y="83"/>
                      <a:pt x="62" y="79"/>
                      <a:pt x="66" y="79"/>
                    </a:cubicBezTo>
                    <a:cubicBezTo>
                      <a:pt x="69" y="79"/>
                      <a:pt x="67" y="73"/>
                      <a:pt x="69" y="73"/>
                    </a:cubicBezTo>
                    <a:cubicBezTo>
                      <a:pt x="72" y="72"/>
                      <a:pt x="72" y="70"/>
                      <a:pt x="72" y="68"/>
                    </a:cubicBezTo>
                    <a:cubicBezTo>
                      <a:pt x="72" y="65"/>
                      <a:pt x="78" y="64"/>
                      <a:pt x="79" y="63"/>
                    </a:cubicBezTo>
                    <a:cubicBezTo>
                      <a:pt x="81" y="63"/>
                      <a:pt x="80" y="55"/>
                      <a:pt x="80" y="55"/>
                    </a:cubicBezTo>
                    <a:lnTo>
                      <a:pt x="80" y="33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2" name="Freeform 38">
                <a:extLst>
                  <a:ext uri="{FF2B5EF4-FFF2-40B4-BE49-F238E27FC236}">
                    <a16:creationId xmlns:a16="http://schemas.microsoft.com/office/drawing/2014/main" id="{2F1B6B63-AB0F-4CAF-B189-2A9A310105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0161" y="3471218"/>
                <a:ext cx="203266" cy="200756"/>
              </a:xfrm>
              <a:custGeom>
                <a:avLst/>
                <a:gdLst>
                  <a:gd name="T0" fmla="*/ 82 w 88"/>
                  <a:gd name="T1" fmla="*/ 19 h 87"/>
                  <a:gd name="T2" fmla="*/ 76 w 88"/>
                  <a:gd name="T3" fmla="*/ 5 h 87"/>
                  <a:gd name="T4" fmla="*/ 76 w 88"/>
                  <a:gd name="T5" fmla="*/ 6 h 87"/>
                  <a:gd name="T6" fmla="*/ 67 w 88"/>
                  <a:gd name="T7" fmla="*/ 5 h 87"/>
                  <a:gd name="T8" fmla="*/ 57 w 88"/>
                  <a:gd name="T9" fmla="*/ 3 h 87"/>
                  <a:gd name="T10" fmla="*/ 40 w 88"/>
                  <a:gd name="T11" fmla="*/ 6 h 87"/>
                  <a:gd name="T12" fmla="*/ 31 w 88"/>
                  <a:gd name="T13" fmla="*/ 7 h 87"/>
                  <a:gd name="T14" fmla="*/ 16 w 88"/>
                  <a:gd name="T15" fmla="*/ 3 h 87"/>
                  <a:gd name="T16" fmla="*/ 4 w 88"/>
                  <a:gd name="T17" fmla="*/ 0 h 87"/>
                  <a:gd name="T18" fmla="*/ 3 w 88"/>
                  <a:gd name="T19" fmla="*/ 2 h 87"/>
                  <a:gd name="T20" fmla="*/ 2 w 88"/>
                  <a:gd name="T21" fmla="*/ 12 h 87"/>
                  <a:gd name="T22" fmla="*/ 2 w 88"/>
                  <a:gd name="T23" fmla="*/ 24 h 87"/>
                  <a:gd name="T24" fmla="*/ 2 w 88"/>
                  <a:gd name="T25" fmla="*/ 86 h 87"/>
                  <a:gd name="T26" fmla="*/ 52 w 88"/>
                  <a:gd name="T27" fmla="*/ 86 h 87"/>
                  <a:gd name="T28" fmla="*/ 54 w 88"/>
                  <a:gd name="T29" fmla="*/ 84 h 87"/>
                  <a:gd name="T30" fmla="*/ 58 w 88"/>
                  <a:gd name="T31" fmla="*/ 85 h 87"/>
                  <a:gd name="T32" fmla="*/ 69 w 88"/>
                  <a:gd name="T33" fmla="*/ 85 h 87"/>
                  <a:gd name="T34" fmla="*/ 73 w 88"/>
                  <a:gd name="T35" fmla="*/ 87 h 87"/>
                  <a:gd name="T36" fmla="*/ 78 w 88"/>
                  <a:gd name="T37" fmla="*/ 84 h 87"/>
                  <a:gd name="T38" fmla="*/ 83 w 88"/>
                  <a:gd name="T39" fmla="*/ 78 h 87"/>
                  <a:gd name="T40" fmla="*/ 87 w 88"/>
                  <a:gd name="T41" fmla="*/ 75 h 87"/>
                  <a:gd name="T42" fmla="*/ 87 w 88"/>
                  <a:gd name="T43" fmla="*/ 75 h 87"/>
                  <a:gd name="T44" fmla="*/ 87 w 88"/>
                  <a:gd name="T45" fmla="*/ 72 h 87"/>
                  <a:gd name="T46" fmla="*/ 84 w 88"/>
                  <a:gd name="T47" fmla="*/ 63 h 87"/>
                  <a:gd name="T48" fmla="*/ 75 w 88"/>
                  <a:gd name="T49" fmla="*/ 46 h 87"/>
                  <a:gd name="T50" fmla="*/ 71 w 88"/>
                  <a:gd name="T51" fmla="*/ 38 h 87"/>
                  <a:gd name="T52" fmla="*/ 66 w 88"/>
                  <a:gd name="T53" fmla="*/ 29 h 87"/>
                  <a:gd name="T54" fmla="*/ 62 w 88"/>
                  <a:gd name="T55" fmla="*/ 14 h 87"/>
                  <a:gd name="T56" fmla="*/ 68 w 88"/>
                  <a:gd name="T57" fmla="*/ 25 h 87"/>
                  <a:gd name="T58" fmla="*/ 76 w 88"/>
                  <a:gd name="T59" fmla="*/ 35 h 87"/>
                  <a:gd name="T60" fmla="*/ 81 w 88"/>
                  <a:gd name="T61" fmla="*/ 24 h 87"/>
                  <a:gd name="T62" fmla="*/ 81 w 88"/>
                  <a:gd name="T63" fmla="*/ 24 h 87"/>
                  <a:gd name="T64" fmla="*/ 81 w 88"/>
                  <a:gd name="T65" fmla="*/ 22 h 87"/>
                  <a:gd name="T66" fmla="*/ 82 w 88"/>
                  <a:gd name="T67" fmla="*/ 19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8" h="87">
                    <a:moveTo>
                      <a:pt x="82" y="19"/>
                    </a:moveTo>
                    <a:cubicBezTo>
                      <a:pt x="76" y="5"/>
                      <a:pt x="76" y="5"/>
                      <a:pt x="76" y="5"/>
                    </a:cubicBezTo>
                    <a:cubicBezTo>
                      <a:pt x="76" y="5"/>
                      <a:pt x="76" y="6"/>
                      <a:pt x="76" y="6"/>
                    </a:cubicBezTo>
                    <a:cubicBezTo>
                      <a:pt x="75" y="7"/>
                      <a:pt x="71" y="4"/>
                      <a:pt x="67" y="5"/>
                    </a:cubicBezTo>
                    <a:cubicBezTo>
                      <a:pt x="63" y="6"/>
                      <a:pt x="60" y="5"/>
                      <a:pt x="57" y="3"/>
                    </a:cubicBezTo>
                    <a:cubicBezTo>
                      <a:pt x="53" y="2"/>
                      <a:pt x="42" y="4"/>
                      <a:pt x="40" y="6"/>
                    </a:cubicBezTo>
                    <a:cubicBezTo>
                      <a:pt x="39" y="8"/>
                      <a:pt x="35" y="8"/>
                      <a:pt x="31" y="7"/>
                    </a:cubicBezTo>
                    <a:cubicBezTo>
                      <a:pt x="28" y="5"/>
                      <a:pt x="23" y="3"/>
                      <a:pt x="16" y="3"/>
                    </a:cubicBezTo>
                    <a:cubicBezTo>
                      <a:pt x="10" y="2"/>
                      <a:pt x="5" y="1"/>
                      <a:pt x="4" y="0"/>
                    </a:cubicBezTo>
                    <a:cubicBezTo>
                      <a:pt x="4" y="0"/>
                      <a:pt x="4" y="1"/>
                      <a:pt x="3" y="2"/>
                    </a:cubicBezTo>
                    <a:cubicBezTo>
                      <a:pt x="1" y="7"/>
                      <a:pt x="5" y="9"/>
                      <a:pt x="2" y="12"/>
                    </a:cubicBezTo>
                    <a:cubicBezTo>
                      <a:pt x="0" y="15"/>
                      <a:pt x="2" y="18"/>
                      <a:pt x="2" y="24"/>
                    </a:cubicBezTo>
                    <a:cubicBezTo>
                      <a:pt x="2" y="27"/>
                      <a:pt x="2" y="64"/>
                      <a:pt x="2" y="86"/>
                    </a:cubicBezTo>
                    <a:cubicBezTo>
                      <a:pt x="52" y="86"/>
                      <a:pt x="52" y="86"/>
                      <a:pt x="52" y="86"/>
                    </a:cubicBezTo>
                    <a:cubicBezTo>
                      <a:pt x="52" y="86"/>
                      <a:pt x="53" y="85"/>
                      <a:pt x="54" y="84"/>
                    </a:cubicBezTo>
                    <a:cubicBezTo>
                      <a:pt x="56" y="83"/>
                      <a:pt x="58" y="85"/>
                      <a:pt x="58" y="85"/>
                    </a:cubicBezTo>
                    <a:cubicBezTo>
                      <a:pt x="69" y="85"/>
                      <a:pt x="69" y="85"/>
                      <a:pt x="69" y="85"/>
                    </a:cubicBezTo>
                    <a:cubicBezTo>
                      <a:pt x="69" y="85"/>
                      <a:pt x="71" y="87"/>
                      <a:pt x="73" y="87"/>
                    </a:cubicBezTo>
                    <a:cubicBezTo>
                      <a:pt x="75" y="87"/>
                      <a:pt x="74" y="84"/>
                      <a:pt x="78" y="84"/>
                    </a:cubicBezTo>
                    <a:cubicBezTo>
                      <a:pt x="81" y="84"/>
                      <a:pt x="81" y="78"/>
                      <a:pt x="83" y="78"/>
                    </a:cubicBezTo>
                    <a:cubicBezTo>
                      <a:pt x="85" y="78"/>
                      <a:pt x="85" y="78"/>
                      <a:pt x="87" y="75"/>
                    </a:cubicBezTo>
                    <a:cubicBezTo>
                      <a:pt x="87" y="75"/>
                      <a:pt x="87" y="75"/>
                      <a:pt x="87" y="75"/>
                    </a:cubicBezTo>
                    <a:cubicBezTo>
                      <a:pt x="87" y="74"/>
                      <a:pt x="87" y="73"/>
                      <a:pt x="87" y="72"/>
                    </a:cubicBezTo>
                    <a:cubicBezTo>
                      <a:pt x="88" y="68"/>
                      <a:pt x="85" y="68"/>
                      <a:pt x="84" y="63"/>
                    </a:cubicBezTo>
                    <a:cubicBezTo>
                      <a:pt x="82" y="57"/>
                      <a:pt x="75" y="49"/>
                      <a:pt x="75" y="46"/>
                    </a:cubicBezTo>
                    <a:cubicBezTo>
                      <a:pt x="75" y="43"/>
                      <a:pt x="71" y="41"/>
                      <a:pt x="71" y="38"/>
                    </a:cubicBezTo>
                    <a:cubicBezTo>
                      <a:pt x="71" y="35"/>
                      <a:pt x="70" y="34"/>
                      <a:pt x="66" y="29"/>
                    </a:cubicBezTo>
                    <a:cubicBezTo>
                      <a:pt x="62" y="24"/>
                      <a:pt x="61" y="15"/>
                      <a:pt x="62" y="14"/>
                    </a:cubicBezTo>
                    <a:cubicBezTo>
                      <a:pt x="63" y="14"/>
                      <a:pt x="66" y="22"/>
                      <a:pt x="68" y="25"/>
                    </a:cubicBezTo>
                    <a:cubicBezTo>
                      <a:pt x="69" y="27"/>
                      <a:pt x="73" y="35"/>
                      <a:pt x="76" y="35"/>
                    </a:cubicBezTo>
                    <a:cubicBezTo>
                      <a:pt x="79" y="35"/>
                      <a:pt x="80" y="23"/>
                      <a:pt x="81" y="24"/>
                    </a:cubicBezTo>
                    <a:cubicBezTo>
                      <a:pt x="81" y="24"/>
                      <a:pt x="81" y="24"/>
                      <a:pt x="81" y="24"/>
                    </a:cubicBezTo>
                    <a:cubicBezTo>
                      <a:pt x="81" y="22"/>
                      <a:pt x="81" y="22"/>
                      <a:pt x="81" y="22"/>
                    </a:cubicBezTo>
                    <a:lnTo>
                      <a:pt x="82" y="19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3" name="Freeform 39">
                <a:extLst>
                  <a:ext uri="{FF2B5EF4-FFF2-40B4-BE49-F238E27FC236}">
                    <a16:creationId xmlns:a16="http://schemas.microsoft.com/office/drawing/2014/main" id="{A80F478D-59A4-4753-A337-467FF719E4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6593" y="4044628"/>
                <a:ext cx="104142" cy="115435"/>
              </a:xfrm>
              <a:custGeom>
                <a:avLst/>
                <a:gdLst>
                  <a:gd name="T0" fmla="*/ 22 w 45"/>
                  <a:gd name="T1" fmla="*/ 48 h 50"/>
                  <a:gd name="T2" fmla="*/ 23 w 45"/>
                  <a:gd name="T3" fmla="*/ 41 h 50"/>
                  <a:gd name="T4" fmla="*/ 28 w 45"/>
                  <a:gd name="T5" fmla="*/ 38 h 50"/>
                  <a:gd name="T6" fmla="*/ 32 w 45"/>
                  <a:gd name="T7" fmla="*/ 33 h 50"/>
                  <a:gd name="T8" fmla="*/ 36 w 45"/>
                  <a:gd name="T9" fmla="*/ 38 h 50"/>
                  <a:gd name="T10" fmla="*/ 42 w 45"/>
                  <a:gd name="T11" fmla="*/ 39 h 50"/>
                  <a:gd name="T12" fmla="*/ 45 w 45"/>
                  <a:gd name="T13" fmla="*/ 30 h 50"/>
                  <a:gd name="T14" fmla="*/ 43 w 45"/>
                  <a:gd name="T15" fmla="*/ 21 h 50"/>
                  <a:gd name="T16" fmla="*/ 41 w 45"/>
                  <a:gd name="T17" fmla="*/ 15 h 50"/>
                  <a:gd name="T18" fmla="*/ 42 w 45"/>
                  <a:gd name="T19" fmla="*/ 9 h 50"/>
                  <a:gd name="T20" fmla="*/ 34 w 45"/>
                  <a:gd name="T21" fmla="*/ 9 h 50"/>
                  <a:gd name="T22" fmla="*/ 35 w 45"/>
                  <a:gd name="T23" fmla="*/ 0 h 50"/>
                  <a:gd name="T24" fmla="*/ 23 w 45"/>
                  <a:gd name="T25" fmla="*/ 0 h 50"/>
                  <a:gd name="T26" fmla="*/ 22 w 45"/>
                  <a:gd name="T27" fmla="*/ 0 h 50"/>
                  <a:gd name="T28" fmla="*/ 21 w 45"/>
                  <a:gd name="T29" fmla="*/ 11 h 50"/>
                  <a:gd name="T30" fmla="*/ 11 w 45"/>
                  <a:gd name="T31" fmla="*/ 11 h 50"/>
                  <a:gd name="T32" fmla="*/ 7 w 45"/>
                  <a:gd name="T33" fmla="*/ 12 h 50"/>
                  <a:gd name="T34" fmla="*/ 5 w 45"/>
                  <a:gd name="T35" fmla="*/ 13 h 50"/>
                  <a:gd name="T36" fmla="*/ 9 w 45"/>
                  <a:gd name="T37" fmla="*/ 17 h 50"/>
                  <a:gd name="T38" fmla="*/ 4 w 45"/>
                  <a:gd name="T39" fmla="*/ 21 h 50"/>
                  <a:gd name="T40" fmla="*/ 1 w 45"/>
                  <a:gd name="T41" fmla="*/ 26 h 50"/>
                  <a:gd name="T42" fmla="*/ 5 w 45"/>
                  <a:gd name="T43" fmla="*/ 33 h 50"/>
                  <a:gd name="T44" fmla="*/ 11 w 45"/>
                  <a:gd name="T45" fmla="*/ 40 h 50"/>
                  <a:gd name="T46" fmla="*/ 19 w 45"/>
                  <a:gd name="T47" fmla="*/ 50 h 50"/>
                  <a:gd name="T48" fmla="*/ 22 w 45"/>
                  <a:gd name="T49" fmla="*/ 48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5" h="50">
                    <a:moveTo>
                      <a:pt x="22" y="48"/>
                    </a:moveTo>
                    <a:cubicBezTo>
                      <a:pt x="26" y="48"/>
                      <a:pt x="25" y="45"/>
                      <a:pt x="23" y="41"/>
                    </a:cubicBezTo>
                    <a:cubicBezTo>
                      <a:pt x="22" y="37"/>
                      <a:pt x="26" y="38"/>
                      <a:pt x="28" y="38"/>
                    </a:cubicBezTo>
                    <a:cubicBezTo>
                      <a:pt x="31" y="38"/>
                      <a:pt x="30" y="33"/>
                      <a:pt x="32" y="33"/>
                    </a:cubicBezTo>
                    <a:cubicBezTo>
                      <a:pt x="34" y="33"/>
                      <a:pt x="34" y="39"/>
                      <a:pt x="36" y="38"/>
                    </a:cubicBezTo>
                    <a:cubicBezTo>
                      <a:pt x="38" y="38"/>
                      <a:pt x="40" y="40"/>
                      <a:pt x="42" y="39"/>
                    </a:cubicBezTo>
                    <a:cubicBezTo>
                      <a:pt x="45" y="39"/>
                      <a:pt x="45" y="34"/>
                      <a:pt x="45" y="30"/>
                    </a:cubicBezTo>
                    <a:cubicBezTo>
                      <a:pt x="45" y="26"/>
                      <a:pt x="45" y="23"/>
                      <a:pt x="43" y="21"/>
                    </a:cubicBezTo>
                    <a:cubicBezTo>
                      <a:pt x="40" y="20"/>
                      <a:pt x="38" y="17"/>
                      <a:pt x="41" y="15"/>
                    </a:cubicBezTo>
                    <a:cubicBezTo>
                      <a:pt x="44" y="14"/>
                      <a:pt x="45" y="11"/>
                      <a:pt x="42" y="9"/>
                    </a:cubicBezTo>
                    <a:cubicBezTo>
                      <a:pt x="40" y="7"/>
                      <a:pt x="34" y="11"/>
                      <a:pt x="34" y="9"/>
                    </a:cubicBezTo>
                    <a:cubicBezTo>
                      <a:pt x="34" y="7"/>
                      <a:pt x="35" y="4"/>
                      <a:pt x="35" y="0"/>
                    </a:cubicBezTo>
                    <a:cubicBezTo>
                      <a:pt x="29" y="0"/>
                      <a:pt x="23" y="0"/>
                      <a:pt x="23" y="0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22" y="6"/>
                      <a:pt x="21" y="11"/>
                      <a:pt x="21" y="11"/>
                    </a:cubicBezTo>
                    <a:cubicBezTo>
                      <a:pt x="21" y="11"/>
                      <a:pt x="13" y="11"/>
                      <a:pt x="11" y="11"/>
                    </a:cubicBezTo>
                    <a:cubicBezTo>
                      <a:pt x="10" y="11"/>
                      <a:pt x="9" y="11"/>
                      <a:pt x="7" y="12"/>
                    </a:cubicBezTo>
                    <a:cubicBezTo>
                      <a:pt x="6" y="12"/>
                      <a:pt x="6" y="13"/>
                      <a:pt x="5" y="13"/>
                    </a:cubicBezTo>
                    <a:cubicBezTo>
                      <a:pt x="4" y="14"/>
                      <a:pt x="8" y="16"/>
                      <a:pt x="9" y="17"/>
                    </a:cubicBezTo>
                    <a:cubicBezTo>
                      <a:pt x="9" y="19"/>
                      <a:pt x="4" y="18"/>
                      <a:pt x="4" y="21"/>
                    </a:cubicBezTo>
                    <a:cubicBezTo>
                      <a:pt x="4" y="23"/>
                      <a:pt x="2" y="25"/>
                      <a:pt x="1" y="26"/>
                    </a:cubicBezTo>
                    <a:cubicBezTo>
                      <a:pt x="0" y="27"/>
                      <a:pt x="5" y="31"/>
                      <a:pt x="5" y="33"/>
                    </a:cubicBezTo>
                    <a:cubicBezTo>
                      <a:pt x="5" y="34"/>
                      <a:pt x="6" y="36"/>
                      <a:pt x="11" y="40"/>
                    </a:cubicBezTo>
                    <a:cubicBezTo>
                      <a:pt x="15" y="44"/>
                      <a:pt x="13" y="46"/>
                      <a:pt x="19" y="50"/>
                    </a:cubicBezTo>
                    <a:cubicBezTo>
                      <a:pt x="19" y="49"/>
                      <a:pt x="21" y="48"/>
                      <a:pt x="22" y="48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4" name="Freeform 40">
                <a:extLst>
                  <a:ext uri="{FF2B5EF4-FFF2-40B4-BE49-F238E27FC236}">
                    <a16:creationId xmlns:a16="http://schemas.microsoft.com/office/drawing/2014/main" id="{D5010F8C-02F1-4F49-84B6-4CC769FC45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95376" y="4044628"/>
                <a:ext cx="41406" cy="27604"/>
              </a:xfrm>
              <a:custGeom>
                <a:avLst/>
                <a:gdLst>
                  <a:gd name="T0" fmla="*/ 17 w 18"/>
                  <a:gd name="T1" fmla="*/ 11 h 12"/>
                  <a:gd name="T2" fmla="*/ 18 w 18"/>
                  <a:gd name="T3" fmla="*/ 0 h 12"/>
                  <a:gd name="T4" fmla="*/ 16 w 18"/>
                  <a:gd name="T5" fmla="*/ 1 h 12"/>
                  <a:gd name="T6" fmla="*/ 5 w 18"/>
                  <a:gd name="T7" fmla="*/ 1 h 12"/>
                  <a:gd name="T8" fmla="*/ 5 w 18"/>
                  <a:gd name="T9" fmla="*/ 1 h 12"/>
                  <a:gd name="T10" fmla="*/ 3 w 18"/>
                  <a:gd name="T11" fmla="*/ 6 h 12"/>
                  <a:gd name="T12" fmla="*/ 3 w 18"/>
                  <a:gd name="T13" fmla="*/ 9 h 12"/>
                  <a:gd name="T14" fmla="*/ 3 w 18"/>
                  <a:gd name="T15" fmla="*/ 12 h 12"/>
                  <a:gd name="T16" fmla="*/ 7 w 18"/>
                  <a:gd name="T17" fmla="*/ 11 h 12"/>
                  <a:gd name="T18" fmla="*/ 17 w 18"/>
                  <a:gd name="T19" fmla="*/ 11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12">
                    <a:moveTo>
                      <a:pt x="17" y="11"/>
                    </a:moveTo>
                    <a:cubicBezTo>
                      <a:pt x="17" y="11"/>
                      <a:pt x="18" y="6"/>
                      <a:pt x="18" y="0"/>
                    </a:cubicBezTo>
                    <a:cubicBezTo>
                      <a:pt x="16" y="1"/>
                      <a:pt x="16" y="1"/>
                      <a:pt x="16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6" y="3"/>
                      <a:pt x="5" y="5"/>
                      <a:pt x="3" y="6"/>
                    </a:cubicBezTo>
                    <a:cubicBezTo>
                      <a:pt x="0" y="7"/>
                      <a:pt x="1" y="9"/>
                      <a:pt x="3" y="9"/>
                    </a:cubicBezTo>
                    <a:cubicBezTo>
                      <a:pt x="4" y="10"/>
                      <a:pt x="3" y="11"/>
                      <a:pt x="3" y="12"/>
                    </a:cubicBezTo>
                    <a:cubicBezTo>
                      <a:pt x="5" y="11"/>
                      <a:pt x="6" y="11"/>
                      <a:pt x="7" y="11"/>
                    </a:cubicBezTo>
                    <a:cubicBezTo>
                      <a:pt x="9" y="11"/>
                      <a:pt x="17" y="11"/>
                      <a:pt x="17" y="1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5" name="Freeform 41">
                <a:extLst>
                  <a:ext uri="{FF2B5EF4-FFF2-40B4-BE49-F238E27FC236}">
                    <a16:creationId xmlns:a16="http://schemas.microsoft.com/office/drawing/2014/main" id="{3B206DDF-3670-4A02-98B3-F5FEF43250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0508" y="4017024"/>
                <a:ext cx="129237" cy="164369"/>
              </a:xfrm>
              <a:custGeom>
                <a:avLst/>
                <a:gdLst>
                  <a:gd name="T0" fmla="*/ 15 w 56"/>
                  <a:gd name="T1" fmla="*/ 67 h 71"/>
                  <a:gd name="T2" fmla="*/ 20 w 56"/>
                  <a:gd name="T3" fmla="*/ 68 h 71"/>
                  <a:gd name="T4" fmla="*/ 27 w 56"/>
                  <a:gd name="T5" fmla="*/ 68 h 71"/>
                  <a:gd name="T6" fmla="*/ 30 w 56"/>
                  <a:gd name="T7" fmla="*/ 68 h 71"/>
                  <a:gd name="T8" fmla="*/ 35 w 56"/>
                  <a:gd name="T9" fmla="*/ 63 h 71"/>
                  <a:gd name="T10" fmla="*/ 38 w 56"/>
                  <a:gd name="T11" fmla="*/ 57 h 71"/>
                  <a:gd name="T12" fmla="*/ 39 w 56"/>
                  <a:gd name="T13" fmla="*/ 44 h 71"/>
                  <a:gd name="T14" fmla="*/ 46 w 56"/>
                  <a:gd name="T15" fmla="*/ 35 h 71"/>
                  <a:gd name="T16" fmla="*/ 52 w 56"/>
                  <a:gd name="T17" fmla="*/ 18 h 71"/>
                  <a:gd name="T18" fmla="*/ 55 w 56"/>
                  <a:gd name="T19" fmla="*/ 10 h 71"/>
                  <a:gd name="T20" fmla="*/ 56 w 56"/>
                  <a:gd name="T21" fmla="*/ 1 h 71"/>
                  <a:gd name="T22" fmla="*/ 56 w 56"/>
                  <a:gd name="T23" fmla="*/ 1 h 71"/>
                  <a:gd name="T24" fmla="*/ 49 w 56"/>
                  <a:gd name="T25" fmla="*/ 0 h 71"/>
                  <a:gd name="T26" fmla="*/ 45 w 56"/>
                  <a:gd name="T27" fmla="*/ 1 h 71"/>
                  <a:gd name="T28" fmla="*/ 41 w 56"/>
                  <a:gd name="T29" fmla="*/ 2 h 71"/>
                  <a:gd name="T30" fmla="*/ 40 w 56"/>
                  <a:gd name="T31" fmla="*/ 8 h 71"/>
                  <a:gd name="T32" fmla="*/ 37 w 56"/>
                  <a:gd name="T33" fmla="*/ 16 h 71"/>
                  <a:gd name="T34" fmla="*/ 26 w 56"/>
                  <a:gd name="T35" fmla="*/ 12 h 71"/>
                  <a:gd name="T36" fmla="*/ 16 w 56"/>
                  <a:gd name="T37" fmla="*/ 12 h 71"/>
                  <a:gd name="T38" fmla="*/ 15 w 56"/>
                  <a:gd name="T39" fmla="*/ 21 h 71"/>
                  <a:gd name="T40" fmla="*/ 23 w 56"/>
                  <a:gd name="T41" fmla="*/ 21 h 71"/>
                  <a:gd name="T42" fmla="*/ 22 w 56"/>
                  <a:gd name="T43" fmla="*/ 27 h 71"/>
                  <a:gd name="T44" fmla="*/ 24 w 56"/>
                  <a:gd name="T45" fmla="*/ 33 h 71"/>
                  <a:gd name="T46" fmla="*/ 26 w 56"/>
                  <a:gd name="T47" fmla="*/ 42 h 71"/>
                  <a:gd name="T48" fmla="*/ 23 w 56"/>
                  <a:gd name="T49" fmla="*/ 51 h 71"/>
                  <a:gd name="T50" fmla="*/ 17 w 56"/>
                  <a:gd name="T51" fmla="*/ 50 h 71"/>
                  <a:gd name="T52" fmla="*/ 13 w 56"/>
                  <a:gd name="T53" fmla="*/ 45 h 71"/>
                  <a:gd name="T54" fmla="*/ 9 w 56"/>
                  <a:gd name="T55" fmla="*/ 50 h 71"/>
                  <a:gd name="T56" fmla="*/ 4 w 56"/>
                  <a:gd name="T57" fmla="*/ 53 h 71"/>
                  <a:gd name="T58" fmla="*/ 3 w 56"/>
                  <a:gd name="T59" fmla="*/ 60 h 71"/>
                  <a:gd name="T60" fmla="*/ 0 w 56"/>
                  <a:gd name="T61" fmla="*/ 62 h 71"/>
                  <a:gd name="T62" fmla="*/ 0 w 56"/>
                  <a:gd name="T63" fmla="*/ 63 h 71"/>
                  <a:gd name="T64" fmla="*/ 7 w 56"/>
                  <a:gd name="T65" fmla="*/ 71 h 71"/>
                  <a:gd name="T66" fmla="*/ 15 w 56"/>
                  <a:gd name="T67" fmla="*/ 67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56" h="71">
                    <a:moveTo>
                      <a:pt x="15" y="67"/>
                    </a:moveTo>
                    <a:cubicBezTo>
                      <a:pt x="16" y="68"/>
                      <a:pt x="17" y="70"/>
                      <a:pt x="20" y="68"/>
                    </a:cubicBezTo>
                    <a:cubicBezTo>
                      <a:pt x="23" y="65"/>
                      <a:pt x="27" y="66"/>
                      <a:pt x="27" y="68"/>
                    </a:cubicBezTo>
                    <a:cubicBezTo>
                      <a:pt x="27" y="71"/>
                      <a:pt x="28" y="70"/>
                      <a:pt x="30" y="68"/>
                    </a:cubicBezTo>
                    <a:cubicBezTo>
                      <a:pt x="33" y="65"/>
                      <a:pt x="35" y="68"/>
                      <a:pt x="35" y="63"/>
                    </a:cubicBezTo>
                    <a:cubicBezTo>
                      <a:pt x="35" y="58"/>
                      <a:pt x="38" y="63"/>
                      <a:pt x="38" y="57"/>
                    </a:cubicBezTo>
                    <a:cubicBezTo>
                      <a:pt x="38" y="52"/>
                      <a:pt x="39" y="46"/>
                      <a:pt x="39" y="44"/>
                    </a:cubicBezTo>
                    <a:cubicBezTo>
                      <a:pt x="39" y="41"/>
                      <a:pt x="46" y="39"/>
                      <a:pt x="46" y="35"/>
                    </a:cubicBezTo>
                    <a:cubicBezTo>
                      <a:pt x="46" y="31"/>
                      <a:pt x="52" y="23"/>
                      <a:pt x="52" y="18"/>
                    </a:cubicBezTo>
                    <a:cubicBezTo>
                      <a:pt x="52" y="13"/>
                      <a:pt x="53" y="12"/>
                      <a:pt x="55" y="10"/>
                    </a:cubicBezTo>
                    <a:cubicBezTo>
                      <a:pt x="56" y="8"/>
                      <a:pt x="56" y="5"/>
                      <a:pt x="56" y="1"/>
                    </a:cubicBezTo>
                    <a:cubicBezTo>
                      <a:pt x="56" y="1"/>
                      <a:pt x="56" y="1"/>
                      <a:pt x="56" y="1"/>
                    </a:cubicBezTo>
                    <a:cubicBezTo>
                      <a:pt x="49" y="0"/>
                      <a:pt x="49" y="0"/>
                      <a:pt x="49" y="0"/>
                    </a:cubicBezTo>
                    <a:cubicBezTo>
                      <a:pt x="45" y="1"/>
                      <a:pt x="45" y="1"/>
                      <a:pt x="45" y="1"/>
                    </a:cubicBezTo>
                    <a:cubicBezTo>
                      <a:pt x="41" y="2"/>
                      <a:pt x="41" y="2"/>
                      <a:pt x="41" y="2"/>
                    </a:cubicBezTo>
                    <a:cubicBezTo>
                      <a:pt x="41" y="2"/>
                      <a:pt x="41" y="6"/>
                      <a:pt x="40" y="8"/>
                    </a:cubicBezTo>
                    <a:cubicBezTo>
                      <a:pt x="38" y="11"/>
                      <a:pt x="37" y="16"/>
                      <a:pt x="37" y="16"/>
                    </a:cubicBezTo>
                    <a:cubicBezTo>
                      <a:pt x="37" y="16"/>
                      <a:pt x="28" y="12"/>
                      <a:pt x="26" y="12"/>
                    </a:cubicBezTo>
                    <a:cubicBezTo>
                      <a:pt x="25" y="12"/>
                      <a:pt x="21" y="12"/>
                      <a:pt x="16" y="12"/>
                    </a:cubicBezTo>
                    <a:cubicBezTo>
                      <a:pt x="16" y="16"/>
                      <a:pt x="15" y="19"/>
                      <a:pt x="15" y="21"/>
                    </a:cubicBezTo>
                    <a:cubicBezTo>
                      <a:pt x="15" y="23"/>
                      <a:pt x="21" y="19"/>
                      <a:pt x="23" y="21"/>
                    </a:cubicBezTo>
                    <a:cubicBezTo>
                      <a:pt x="26" y="23"/>
                      <a:pt x="25" y="26"/>
                      <a:pt x="22" y="27"/>
                    </a:cubicBezTo>
                    <a:cubicBezTo>
                      <a:pt x="19" y="29"/>
                      <a:pt x="21" y="32"/>
                      <a:pt x="24" y="33"/>
                    </a:cubicBezTo>
                    <a:cubicBezTo>
                      <a:pt x="26" y="35"/>
                      <a:pt x="26" y="38"/>
                      <a:pt x="26" y="42"/>
                    </a:cubicBezTo>
                    <a:cubicBezTo>
                      <a:pt x="26" y="46"/>
                      <a:pt x="26" y="51"/>
                      <a:pt x="23" y="51"/>
                    </a:cubicBezTo>
                    <a:cubicBezTo>
                      <a:pt x="21" y="52"/>
                      <a:pt x="19" y="50"/>
                      <a:pt x="17" y="50"/>
                    </a:cubicBezTo>
                    <a:cubicBezTo>
                      <a:pt x="15" y="51"/>
                      <a:pt x="15" y="45"/>
                      <a:pt x="13" y="45"/>
                    </a:cubicBezTo>
                    <a:cubicBezTo>
                      <a:pt x="11" y="45"/>
                      <a:pt x="12" y="50"/>
                      <a:pt x="9" y="50"/>
                    </a:cubicBezTo>
                    <a:cubicBezTo>
                      <a:pt x="7" y="50"/>
                      <a:pt x="3" y="49"/>
                      <a:pt x="4" y="53"/>
                    </a:cubicBezTo>
                    <a:cubicBezTo>
                      <a:pt x="6" y="57"/>
                      <a:pt x="7" y="60"/>
                      <a:pt x="3" y="60"/>
                    </a:cubicBezTo>
                    <a:cubicBezTo>
                      <a:pt x="2" y="60"/>
                      <a:pt x="0" y="61"/>
                      <a:pt x="0" y="62"/>
                    </a:cubicBezTo>
                    <a:cubicBezTo>
                      <a:pt x="0" y="62"/>
                      <a:pt x="0" y="63"/>
                      <a:pt x="0" y="63"/>
                    </a:cubicBezTo>
                    <a:cubicBezTo>
                      <a:pt x="4" y="65"/>
                      <a:pt x="6" y="68"/>
                      <a:pt x="7" y="71"/>
                    </a:cubicBezTo>
                    <a:cubicBezTo>
                      <a:pt x="11" y="69"/>
                      <a:pt x="14" y="67"/>
                      <a:pt x="15" y="6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6" name="Freeform 42">
                <a:extLst>
                  <a:ext uri="{FF2B5EF4-FFF2-40B4-BE49-F238E27FC236}">
                    <a16:creationId xmlns:a16="http://schemas.microsoft.com/office/drawing/2014/main" id="{39A9E284-A783-4F82-B2E5-9EF38B6230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7463" y="3644371"/>
                <a:ext cx="308663" cy="377672"/>
              </a:xfrm>
              <a:custGeom>
                <a:avLst/>
                <a:gdLst>
                  <a:gd name="T0" fmla="*/ 101 w 134"/>
                  <a:gd name="T1" fmla="*/ 9 h 164"/>
                  <a:gd name="T2" fmla="*/ 92 w 134"/>
                  <a:gd name="T3" fmla="*/ 10 h 164"/>
                  <a:gd name="T4" fmla="*/ 77 w 134"/>
                  <a:gd name="T5" fmla="*/ 9 h 164"/>
                  <a:gd name="T6" fmla="*/ 25 w 134"/>
                  <a:gd name="T7" fmla="*/ 11 h 164"/>
                  <a:gd name="T8" fmla="*/ 18 w 134"/>
                  <a:gd name="T9" fmla="*/ 27 h 164"/>
                  <a:gd name="T10" fmla="*/ 17 w 134"/>
                  <a:gd name="T11" fmla="*/ 62 h 164"/>
                  <a:gd name="T12" fmla="*/ 7 w 134"/>
                  <a:gd name="T13" fmla="*/ 72 h 164"/>
                  <a:gd name="T14" fmla="*/ 3 w 134"/>
                  <a:gd name="T15" fmla="*/ 84 h 164"/>
                  <a:gd name="T16" fmla="*/ 6 w 134"/>
                  <a:gd name="T17" fmla="*/ 94 h 164"/>
                  <a:gd name="T18" fmla="*/ 9 w 134"/>
                  <a:gd name="T19" fmla="*/ 102 h 164"/>
                  <a:gd name="T20" fmla="*/ 15 w 134"/>
                  <a:gd name="T21" fmla="*/ 117 h 164"/>
                  <a:gd name="T22" fmla="*/ 18 w 134"/>
                  <a:gd name="T23" fmla="*/ 121 h 164"/>
                  <a:gd name="T24" fmla="*/ 25 w 134"/>
                  <a:gd name="T25" fmla="*/ 126 h 164"/>
                  <a:gd name="T26" fmla="*/ 33 w 134"/>
                  <a:gd name="T27" fmla="*/ 136 h 164"/>
                  <a:gd name="T28" fmla="*/ 42 w 134"/>
                  <a:gd name="T29" fmla="*/ 145 h 164"/>
                  <a:gd name="T30" fmla="*/ 46 w 134"/>
                  <a:gd name="T31" fmla="*/ 152 h 164"/>
                  <a:gd name="T32" fmla="*/ 54 w 134"/>
                  <a:gd name="T33" fmla="*/ 156 h 164"/>
                  <a:gd name="T34" fmla="*/ 63 w 134"/>
                  <a:gd name="T35" fmla="*/ 155 h 164"/>
                  <a:gd name="T36" fmla="*/ 78 w 134"/>
                  <a:gd name="T37" fmla="*/ 161 h 164"/>
                  <a:gd name="T38" fmla="*/ 89 w 134"/>
                  <a:gd name="T39" fmla="*/ 161 h 164"/>
                  <a:gd name="T40" fmla="*/ 97 w 134"/>
                  <a:gd name="T41" fmla="*/ 158 h 164"/>
                  <a:gd name="T42" fmla="*/ 104 w 134"/>
                  <a:gd name="T43" fmla="*/ 153 h 164"/>
                  <a:gd name="T44" fmla="*/ 111 w 134"/>
                  <a:gd name="T45" fmla="*/ 154 h 164"/>
                  <a:gd name="T46" fmla="*/ 103 w 134"/>
                  <a:gd name="T47" fmla="*/ 141 h 164"/>
                  <a:gd name="T48" fmla="*/ 89 w 134"/>
                  <a:gd name="T49" fmla="*/ 128 h 164"/>
                  <a:gd name="T50" fmla="*/ 97 w 134"/>
                  <a:gd name="T51" fmla="*/ 122 h 164"/>
                  <a:gd name="T52" fmla="*/ 100 w 134"/>
                  <a:gd name="T53" fmla="*/ 106 h 164"/>
                  <a:gd name="T54" fmla="*/ 106 w 134"/>
                  <a:gd name="T55" fmla="*/ 95 h 164"/>
                  <a:gd name="T56" fmla="*/ 115 w 134"/>
                  <a:gd name="T57" fmla="*/ 85 h 164"/>
                  <a:gd name="T58" fmla="*/ 118 w 134"/>
                  <a:gd name="T59" fmla="*/ 64 h 164"/>
                  <a:gd name="T60" fmla="*/ 126 w 134"/>
                  <a:gd name="T61" fmla="*/ 52 h 164"/>
                  <a:gd name="T62" fmla="*/ 129 w 134"/>
                  <a:gd name="T63" fmla="*/ 40 h 164"/>
                  <a:gd name="T64" fmla="*/ 122 w 134"/>
                  <a:gd name="T65" fmla="*/ 14 h 164"/>
                  <a:gd name="T66" fmla="*/ 110 w 134"/>
                  <a:gd name="T67" fmla="*/ 0 h 164"/>
                  <a:gd name="T68" fmla="*/ 106 w 134"/>
                  <a:gd name="T69" fmla="*/ 3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34" h="164">
                    <a:moveTo>
                      <a:pt x="106" y="3"/>
                    </a:moveTo>
                    <a:cubicBezTo>
                      <a:pt x="104" y="3"/>
                      <a:pt x="104" y="9"/>
                      <a:pt x="101" y="9"/>
                    </a:cubicBezTo>
                    <a:cubicBezTo>
                      <a:pt x="97" y="9"/>
                      <a:pt x="98" y="12"/>
                      <a:pt x="96" y="12"/>
                    </a:cubicBezTo>
                    <a:cubicBezTo>
                      <a:pt x="94" y="12"/>
                      <a:pt x="92" y="10"/>
                      <a:pt x="92" y="10"/>
                    </a:cubicBezTo>
                    <a:cubicBezTo>
                      <a:pt x="81" y="10"/>
                      <a:pt x="81" y="10"/>
                      <a:pt x="81" y="10"/>
                    </a:cubicBezTo>
                    <a:cubicBezTo>
                      <a:pt x="81" y="10"/>
                      <a:pt x="79" y="8"/>
                      <a:pt x="77" y="9"/>
                    </a:cubicBezTo>
                    <a:cubicBezTo>
                      <a:pt x="76" y="10"/>
                      <a:pt x="75" y="11"/>
                      <a:pt x="75" y="11"/>
                    </a:cubicBezTo>
                    <a:cubicBezTo>
                      <a:pt x="25" y="11"/>
                      <a:pt x="25" y="11"/>
                      <a:pt x="25" y="11"/>
                    </a:cubicBezTo>
                    <a:cubicBezTo>
                      <a:pt x="25" y="20"/>
                      <a:pt x="25" y="27"/>
                      <a:pt x="25" y="27"/>
                    </a:cubicBezTo>
                    <a:cubicBezTo>
                      <a:pt x="18" y="27"/>
                      <a:pt x="18" y="27"/>
                      <a:pt x="18" y="27"/>
                    </a:cubicBezTo>
                    <a:cubicBezTo>
                      <a:pt x="18" y="54"/>
                      <a:pt x="18" y="54"/>
                      <a:pt x="18" y="54"/>
                    </a:cubicBezTo>
                    <a:cubicBezTo>
                      <a:pt x="18" y="54"/>
                      <a:pt x="19" y="62"/>
                      <a:pt x="17" y="62"/>
                    </a:cubicBezTo>
                    <a:cubicBezTo>
                      <a:pt x="16" y="63"/>
                      <a:pt x="10" y="64"/>
                      <a:pt x="10" y="67"/>
                    </a:cubicBezTo>
                    <a:cubicBezTo>
                      <a:pt x="10" y="69"/>
                      <a:pt x="10" y="71"/>
                      <a:pt x="7" y="72"/>
                    </a:cubicBezTo>
                    <a:cubicBezTo>
                      <a:pt x="5" y="72"/>
                      <a:pt x="7" y="78"/>
                      <a:pt x="4" y="78"/>
                    </a:cubicBezTo>
                    <a:cubicBezTo>
                      <a:pt x="0" y="78"/>
                      <a:pt x="5" y="82"/>
                      <a:pt x="3" y="84"/>
                    </a:cubicBezTo>
                    <a:cubicBezTo>
                      <a:pt x="1" y="85"/>
                      <a:pt x="2" y="88"/>
                      <a:pt x="4" y="88"/>
                    </a:cubicBezTo>
                    <a:cubicBezTo>
                      <a:pt x="7" y="88"/>
                      <a:pt x="6" y="91"/>
                      <a:pt x="6" y="94"/>
                    </a:cubicBezTo>
                    <a:cubicBezTo>
                      <a:pt x="6" y="97"/>
                      <a:pt x="10" y="99"/>
                      <a:pt x="10" y="99"/>
                    </a:cubicBezTo>
                    <a:cubicBezTo>
                      <a:pt x="9" y="102"/>
                      <a:pt x="9" y="102"/>
                      <a:pt x="9" y="102"/>
                    </a:cubicBezTo>
                    <a:cubicBezTo>
                      <a:pt x="9" y="102"/>
                      <a:pt x="14" y="109"/>
                      <a:pt x="15" y="110"/>
                    </a:cubicBezTo>
                    <a:cubicBezTo>
                      <a:pt x="15" y="112"/>
                      <a:pt x="18" y="116"/>
                      <a:pt x="15" y="117"/>
                    </a:cubicBezTo>
                    <a:cubicBezTo>
                      <a:pt x="12" y="119"/>
                      <a:pt x="14" y="120"/>
                      <a:pt x="14" y="120"/>
                    </a:cubicBezTo>
                    <a:cubicBezTo>
                      <a:pt x="18" y="121"/>
                      <a:pt x="18" y="121"/>
                      <a:pt x="18" y="121"/>
                    </a:cubicBezTo>
                    <a:cubicBezTo>
                      <a:pt x="19" y="123"/>
                      <a:pt x="19" y="123"/>
                      <a:pt x="19" y="123"/>
                    </a:cubicBezTo>
                    <a:cubicBezTo>
                      <a:pt x="19" y="123"/>
                      <a:pt x="22" y="123"/>
                      <a:pt x="25" y="126"/>
                    </a:cubicBezTo>
                    <a:cubicBezTo>
                      <a:pt x="27" y="129"/>
                      <a:pt x="28" y="130"/>
                      <a:pt x="28" y="131"/>
                    </a:cubicBezTo>
                    <a:cubicBezTo>
                      <a:pt x="28" y="133"/>
                      <a:pt x="30" y="133"/>
                      <a:pt x="33" y="136"/>
                    </a:cubicBezTo>
                    <a:cubicBezTo>
                      <a:pt x="36" y="138"/>
                      <a:pt x="36" y="140"/>
                      <a:pt x="36" y="141"/>
                    </a:cubicBezTo>
                    <a:cubicBezTo>
                      <a:pt x="36" y="143"/>
                      <a:pt x="42" y="145"/>
                      <a:pt x="42" y="145"/>
                    </a:cubicBezTo>
                    <a:cubicBezTo>
                      <a:pt x="44" y="150"/>
                      <a:pt x="44" y="150"/>
                      <a:pt x="44" y="150"/>
                    </a:cubicBezTo>
                    <a:cubicBezTo>
                      <a:pt x="45" y="150"/>
                      <a:pt x="45" y="151"/>
                      <a:pt x="46" y="152"/>
                    </a:cubicBezTo>
                    <a:cubicBezTo>
                      <a:pt x="47" y="154"/>
                      <a:pt x="49" y="156"/>
                      <a:pt x="49" y="156"/>
                    </a:cubicBezTo>
                    <a:cubicBezTo>
                      <a:pt x="49" y="156"/>
                      <a:pt x="52" y="158"/>
                      <a:pt x="54" y="156"/>
                    </a:cubicBezTo>
                    <a:cubicBezTo>
                      <a:pt x="56" y="154"/>
                      <a:pt x="59" y="156"/>
                      <a:pt x="59" y="156"/>
                    </a:cubicBezTo>
                    <a:cubicBezTo>
                      <a:pt x="59" y="156"/>
                      <a:pt x="61" y="154"/>
                      <a:pt x="63" y="155"/>
                    </a:cubicBezTo>
                    <a:cubicBezTo>
                      <a:pt x="64" y="156"/>
                      <a:pt x="68" y="160"/>
                      <a:pt x="72" y="163"/>
                    </a:cubicBezTo>
                    <a:cubicBezTo>
                      <a:pt x="73" y="163"/>
                      <a:pt x="76" y="161"/>
                      <a:pt x="78" y="161"/>
                    </a:cubicBezTo>
                    <a:cubicBezTo>
                      <a:pt x="80" y="161"/>
                      <a:pt x="82" y="164"/>
                      <a:pt x="83" y="163"/>
                    </a:cubicBezTo>
                    <a:cubicBezTo>
                      <a:pt x="84" y="162"/>
                      <a:pt x="87" y="160"/>
                      <a:pt x="89" y="161"/>
                    </a:cubicBezTo>
                    <a:cubicBezTo>
                      <a:pt x="90" y="162"/>
                      <a:pt x="94" y="162"/>
                      <a:pt x="94" y="161"/>
                    </a:cubicBezTo>
                    <a:cubicBezTo>
                      <a:pt x="94" y="160"/>
                      <a:pt x="95" y="159"/>
                      <a:pt x="97" y="158"/>
                    </a:cubicBezTo>
                    <a:cubicBezTo>
                      <a:pt x="97" y="158"/>
                      <a:pt x="97" y="157"/>
                      <a:pt x="98" y="157"/>
                    </a:cubicBezTo>
                    <a:cubicBezTo>
                      <a:pt x="98" y="155"/>
                      <a:pt x="102" y="153"/>
                      <a:pt x="104" y="153"/>
                    </a:cubicBezTo>
                    <a:cubicBezTo>
                      <a:pt x="106" y="152"/>
                      <a:pt x="108" y="152"/>
                      <a:pt x="109" y="153"/>
                    </a:cubicBezTo>
                    <a:cubicBezTo>
                      <a:pt x="109" y="154"/>
                      <a:pt x="110" y="154"/>
                      <a:pt x="111" y="154"/>
                    </a:cubicBezTo>
                    <a:cubicBezTo>
                      <a:pt x="111" y="150"/>
                      <a:pt x="112" y="147"/>
                      <a:pt x="111" y="147"/>
                    </a:cubicBezTo>
                    <a:cubicBezTo>
                      <a:pt x="109" y="147"/>
                      <a:pt x="105" y="145"/>
                      <a:pt x="103" y="141"/>
                    </a:cubicBezTo>
                    <a:cubicBezTo>
                      <a:pt x="102" y="137"/>
                      <a:pt x="97" y="135"/>
                      <a:pt x="96" y="132"/>
                    </a:cubicBezTo>
                    <a:cubicBezTo>
                      <a:pt x="95" y="130"/>
                      <a:pt x="90" y="130"/>
                      <a:pt x="89" y="128"/>
                    </a:cubicBezTo>
                    <a:cubicBezTo>
                      <a:pt x="88" y="126"/>
                      <a:pt x="91" y="126"/>
                      <a:pt x="91" y="124"/>
                    </a:cubicBezTo>
                    <a:cubicBezTo>
                      <a:pt x="91" y="121"/>
                      <a:pt x="96" y="123"/>
                      <a:pt x="97" y="122"/>
                    </a:cubicBezTo>
                    <a:cubicBezTo>
                      <a:pt x="97" y="122"/>
                      <a:pt x="98" y="116"/>
                      <a:pt x="98" y="113"/>
                    </a:cubicBezTo>
                    <a:cubicBezTo>
                      <a:pt x="98" y="110"/>
                      <a:pt x="102" y="108"/>
                      <a:pt x="100" y="106"/>
                    </a:cubicBezTo>
                    <a:cubicBezTo>
                      <a:pt x="99" y="105"/>
                      <a:pt x="102" y="104"/>
                      <a:pt x="104" y="103"/>
                    </a:cubicBezTo>
                    <a:cubicBezTo>
                      <a:pt x="106" y="101"/>
                      <a:pt x="104" y="97"/>
                      <a:pt x="106" y="95"/>
                    </a:cubicBezTo>
                    <a:cubicBezTo>
                      <a:pt x="108" y="93"/>
                      <a:pt x="110" y="89"/>
                      <a:pt x="111" y="89"/>
                    </a:cubicBezTo>
                    <a:cubicBezTo>
                      <a:pt x="113" y="89"/>
                      <a:pt x="115" y="87"/>
                      <a:pt x="115" y="85"/>
                    </a:cubicBezTo>
                    <a:cubicBezTo>
                      <a:pt x="115" y="83"/>
                      <a:pt x="118" y="79"/>
                      <a:pt x="118" y="75"/>
                    </a:cubicBezTo>
                    <a:cubicBezTo>
                      <a:pt x="117" y="72"/>
                      <a:pt x="116" y="67"/>
                      <a:pt x="118" y="64"/>
                    </a:cubicBezTo>
                    <a:cubicBezTo>
                      <a:pt x="121" y="61"/>
                      <a:pt x="122" y="59"/>
                      <a:pt x="121" y="56"/>
                    </a:cubicBezTo>
                    <a:cubicBezTo>
                      <a:pt x="121" y="54"/>
                      <a:pt x="124" y="53"/>
                      <a:pt x="126" y="52"/>
                    </a:cubicBezTo>
                    <a:cubicBezTo>
                      <a:pt x="127" y="51"/>
                      <a:pt x="131" y="49"/>
                      <a:pt x="134" y="45"/>
                    </a:cubicBezTo>
                    <a:cubicBezTo>
                      <a:pt x="132" y="42"/>
                      <a:pt x="130" y="41"/>
                      <a:pt x="129" y="40"/>
                    </a:cubicBezTo>
                    <a:cubicBezTo>
                      <a:pt x="126" y="39"/>
                      <a:pt x="124" y="34"/>
                      <a:pt x="124" y="27"/>
                    </a:cubicBezTo>
                    <a:cubicBezTo>
                      <a:pt x="124" y="21"/>
                      <a:pt x="122" y="16"/>
                      <a:pt x="122" y="14"/>
                    </a:cubicBezTo>
                    <a:cubicBezTo>
                      <a:pt x="122" y="12"/>
                      <a:pt x="119" y="8"/>
                      <a:pt x="115" y="6"/>
                    </a:cubicBezTo>
                    <a:cubicBezTo>
                      <a:pt x="112" y="4"/>
                      <a:pt x="111" y="2"/>
                      <a:pt x="110" y="0"/>
                    </a:cubicBezTo>
                    <a:cubicBezTo>
                      <a:pt x="110" y="0"/>
                      <a:pt x="110" y="0"/>
                      <a:pt x="110" y="0"/>
                    </a:cubicBezTo>
                    <a:cubicBezTo>
                      <a:pt x="108" y="3"/>
                      <a:pt x="108" y="3"/>
                      <a:pt x="106" y="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7" name="Freeform 43">
                <a:extLst>
                  <a:ext uri="{FF2B5EF4-FFF2-40B4-BE49-F238E27FC236}">
                    <a16:creationId xmlns:a16="http://schemas.microsoft.com/office/drawing/2014/main" id="{F4D7AA82-BE90-40D2-BDA6-42017DACCE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83843" y="3848891"/>
                <a:ext cx="33878" cy="35132"/>
              </a:xfrm>
              <a:custGeom>
                <a:avLst/>
                <a:gdLst>
                  <a:gd name="T0" fmla="*/ 5 w 15"/>
                  <a:gd name="T1" fmla="*/ 2 h 15"/>
                  <a:gd name="T2" fmla="*/ 1 w 15"/>
                  <a:gd name="T3" fmla="*/ 7 h 15"/>
                  <a:gd name="T4" fmla="*/ 1 w 15"/>
                  <a:gd name="T5" fmla="*/ 14 h 15"/>
                  <a:gd name="T6" fmla="*/ 6 w 15"/>
                  <a:gd name="T7" fmla="*/ 14 h 15"/>
                  <a:gd name="T8" fmla="*/ 9 w 15"/>
                  <a:gd name="T9" fmla="*/ 15 h 15"/>
                  <a:gd name="T10" fmla="*/ 13 w 15"/>
                  <a:gd name="T11" fmla="*/ 11 h 15"/>
                  <a:gd name="T12" fmla="*/ 9 w 15"/>
                  <a:gd name="T13" fmla="*/ 9 h 15"/>
                  <a:gd name="T14" fmla="*/ 13 w 15"/>
                  <a:gd name="T15" fmla="*/ 6 h 15"/>
                  <a:gd name="T16" fmla="*/ 12 w 15"/>
                  <a:gd name="T17" fmla="*/ 1 h 15"/>
                  <a:gd name="T18" fmla="*/ 11 w 15"/>
                  <a:gd name="T19" fmla="*/ 0 h 15"/>
                  <a:gd name="T20" fmla="*/ 9 w 15"/>
                  <a:gd name="T21" fmla="*/ 1 h 15"/>
                  <a:gd name="T22" fmla="*/ 5 w 15"/>
                  <a:gd name="T23" fmla="*/ 2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" h="15">
                    <a:moveTo>
                      <a:pt x="5" y="2"/>
                    </a:moveTo>
                    <a:cubicBezTo>
                      <a:pt x="5" y="2"/>
                      <a:pt x="3" y="6"/>
                      <a:pt x="1" y="7"/>
                    </a:cubicBezTo>
                    <a:cubicBezTo>
                      <a:pt x="0" y="9"/>
                      <a:pt x="1" y="13"/>
                      <a:pt x="1" y="14"/>
                    </a:cubicBezTo>
                    <a:cubicBezTo>
                      <a:pt x="2" y="15"/>
                      <a:pt x="4" y="15"/>
                      <a:pt x="6" y="14"/>
                    </a:cubicBezTo>
                    <a:cubicBezTo>
                      <a:pt x="7" y="13"/>
                      <a:pt x="8" y="13"/>
                      <a:pt x="9" y="15"/>
                    </a:cubicBezTo>
                    <a:cubicBezTo>
                      <a:pt x="10" y="14"/>
                      <a:pt x="12" y="12"/>
                      <a:pt x="13" y="11"/>
                    </a:cubicBezTo>
                    <a:cubicBezTo>
                      <a:pt x="11" y="10"/>
                      <a:pt x="9" y="10"/>
                      <a:pt x="9" y="9"/>
                    </a:cubicBezTo>
                    <a:cubicBezTo>
                      <a:pt x="8" y="8"/>
                      <a:pt x="11" y="6"/>
                      <a:pt x="13" y="6"/>
                    </a:cubicBezTo>
                    <a:cubicBezTo>
                      <a:pt x="15" y="5"/>
                      <a:pt x="14" y="3"/>
                      <a:pt x="12" y="1"/>
                    </a:cubicBezTo>
                    <a:cubicBezTo>
                      <a:pt x="12" y="1"/>
                      <a:pt x="12" y="0"/>
                      <a:pt x="11" y="0"/>
                    </a:cubicBezTo>
                    <a:cubicBezTo>
                      <a:pt x="10" y="1"/>
                      <a:pt x="9" y="1"/>
                      <a:pt x="9" y="1"/>
                    </a:cubicBezTo>
                    <a:cubicBezTo>
                      <a:pt x="9" y="2"/>
                      <a:pt x="7" y="2"/>
                      <a:pt x="5" y="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8" name="Freeform 44">
                <a:extLst>
                  <a:ext uri="{FF2B5EF4-FFF2-40B4-BE49-F238E27FC236}">
                    <a16:creationId xmlns:a16="http://schemas.microsoft.com/office/drawing/2014/main" id="{AAD8FB33-12BF-4E0A-8311-5D3421690A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84719" y="3747258"/>
                <a:ext cx="124218" cy="106652"/>
              </a:xfrm>
              <a:custGeom>
                <a:avLst/>
                <a:gdLst>
                  <a:gd name="T0" fmla="*/ 10 w 54"/>
                  <a:gd name="T1" fmla="*/ 7 h 46"/>
                  <a:gd name="T2" fmla="*/ 5 w 54"/>
                  <a:gd name="T3" fmla="*/ 11 h 46"/>
                  <a:gd name="T4" fmla="*/ 2 w 54"/>
                  <a:gd name="T5" fmla="*/ 19 h 46"/>
                  <a:gd name="T6" fmla="*/ 2 w 54"/>
                  <a:gd name="T7" fmla="*/ 30 h 46"/>
                  <a:gd name="T8" fmla="*/ 9 w 54"/>
                  <a:gd name="T9" fmla="*/ 30 h 46"/>
                  <a:gd name="T10" fmla="*/ 11 w 54"/>
                  <a:gd name="T11" fmla="*/ 28 h 46"/>
                  <a:gd name="T12" fmla="*/ 15 w 54"/>
                  <a:gd name="T13" fmla="*/ 27 h 46"/>
                  <a:gd name="T14" fmla="*/ 20 w 54"/>
                  <a:gd name="T15" fmla="*/ 29 h 46"/>
                  <a:gd name="T16" fmla="*/ 23 w 54"/>
                  <a:gd name="T17" fmla="*/ 29 h 46"/>
                  <a:gd name="T18" fmla="*/ 31 w 54"/>
                  <a:gd name="T19" fmla="*/ 29 h 46"/>
                  <a:gd name="T20" fmla="*/ 48 w 54"/>
                  <a:gd name="T21" fmla="*/ 46 h 46"/>
                  <a:gd name="T22" fmla="*/ 48 w 54"/>
                  <a:gd name="T23" fmla="*/ 46 h 46"/>
                  <a:gd name="T24" fmla="*/ 52 w 54"/>
                  <a:gd name="T25" fmla="*/ 45 h 46"/>
                  <a:gd name="T26" fmla="*/ 54 w 54"/>
                  <a:gd name="T27" fmla="*/ 44 h 46"/>
                  <a:gd name="T28" fmla="*/ 46 w 54"/>
                  <a:gd name="T29" fmla="*/ 34 h 46"/>
                  <a:gd name="T30" fmla="*/ 33 w 54"/>
                  <a:gd name="T31" fmla="*/ 25 h 46"/>
                  <a:gd name="T32" fmla="*/ 28 w 54"/>
                  <a:gd name="T33" fmla="*/ 20 h 46"/>
                  <a:gd name="T34" fmla="*/ 22 w 54"/>
                  <a:gd name="T35" fmla="*/ 9 h 46"/>
                  <a:gd name="T36" fmla="*/ 18 w 54"/>
                  <a:gd name="T37" fmla="*/ 0 h 46"/>
                  <a:gd name="T38" fmla="*/ 10 w 54"/>
                  <a:gd name="T39" fmla="*/ 7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54" h="46">
                    <a:moveTo>
                      <a:pt x="10" y="7"/>
                    </a:moveTo>
                    <a:cubicBezTo>
                      <a:pt x="8" y="8"/>
                      <a:pt x="5" y="9"/>
                      <a:pt x="5" y="11"/>
                    </a:cubicBezTo>
                    <a:cubicBezTo>
                      <a:pt x="6" y="14"/>
                      <a:pt x="5" y="16"/>
                      <a:pt x="2" y="19"/>
                    </a:cubicBezTo>
                    <a:cubicBezTo>
                      <a:pt x="0" y="22"/>
                      <a:pt x="1" y="27"/>
                      <a:pt x="2" y="30"/>
                    </a:cubicBezTo>
                    <a:cubicBezTo>
                      <a:pt x="5" y="30"/>
                      <a:pt x="8" y="30"/>
                      <a:pt x="9" y="30"/>
                    </a:cubicBezTo>
                    <a:cubicBezTo>
                      <a:pt x="10" y="32"/>
                      <a:pt x="10" y="30"/>
                      <a:pt x="11" y="28"/>
                    </a:cubicBezTo>
                    <a:cubicBezTo>
                      <a:pt x="12" y="25"/>
                      <a:pt x="13" y="26"/>
                      <a:pt x="15" y="27"/>
                    </a:cubicBezTo>
                    <a:cubicBezTo>
                      <a:pt x="16" y="28"/>
                      <a:pt x="17" y="30"/>
                      <a:pt x="20" y="29"/>
                    </a:cubicBezTo>
                    <a:cubicBezTo>
                      <a:pt x="22" y="28"/>
                      <a:pt x="22" y="28"/>
                      <a:pt x="23" y="29"/>
                    </a:cubicBezTo>
                    <a:cubicBezTo>
                      <a:pt x="25" y="29"/>
                      <a:pt x="30" y="29"/>
                      <a:pt x="31" y="29"/>
                    </a:cubicBezTo>
                    <a:cubicBezTo>
                      <a:pt x="33" y="29"/>
                      <a:pt x="48" y="46"/>
                      <a:pt x="48" y="46"/>
                    </a:cubicBezTo>
                    <a:cubicBezTo>
                      <a:pt x="48" y="46"/>
                      <a:pt x="48" y="46"/>
                      <a:pt x="48" y="46"/>
                    </a:cubicBezTo>
                    <a:cubicBezTo>
                      <a:pt x="50" y="46"/>
                      <a:pt x="52" y="46"/>
                      <a:pt x="52" y="45"/>
                    </a:cubicBezTo>
                    <a:cubicBezTo>
                      <a:pt x="52" y="45"/>
                      <a:pt x="53" y="45"/>
                      <a:pt x="54" y="44"/>
                    </a:cubicBezTo>
                    <a:cubicBezTo>
                      <a:pt x="52" y="42"/>
                      <a:pt x="50" y="39"/>
                      <a:pt x="46" y="34"/>
                    </a:cubicBezTo>
                    <a:cubicBezTo>
                      <a:pt x="41" y="29"/>
                      <a:pt x="36" y="25"/>
                      <a:pt x="33" y="25"/>
                    </a:cubicBezTo>
                    <a:cubicBezTo>
                      <a:pt x="30" y="25"/>
                      <a:pt x="30" y="21"/>
                      <a:pt x="28" y="20"/>
                    </a:cubicBezTo>
                    <a:cubicBezTo>
                      <a:pt x="26" y="20"/>
                      <a:pt x="22" y="13"/>
                      <a:pt x="22" y="9"/>
                    </a:cubicBezTo>
                    <a:cubicBezTo>
                      <a:pt x="22" y="6"/>
                      <a:pt x="20" y="3"/>
                      <a:pt x="18" y="0"/>
                    </a:cubicBezTo>
                    <a:cubicBezTo>
                      <a:pt x="15" y="4"/>
                      <a:pt x="11" y="6"/>
                      <a:pt x="10" y="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9" name="Freeform 45">
                <a:extLst>
                  <a:ext uri="{FF2B5EF4-FFF2-40B4-BE49-F238E27FC236}">
                    <a16:creationId xmlns:a16="http://schemas.microsoft.com/office/drawing/2014/main" id="{98B96C6B-A698-4715-8B4F-5F313F2DA0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9473" y="3804975"/>
                <a:ext cx="279804" cy="219577"/>
              </a:xfrm>
              <a:custGeom>
                <a:avLst/>
                <a:gdLst>
                  <a:gd name="T0" fmla="*/ 8 w 121"/>
                  <a:gd name="T1" fmla="*/ 62 h 95"/>
                  <a:gd name="T2" fmla="*/ 15 w 121"/>
                  <a:gd name="T3" fmla="*/ 71 h 95"/>
                  <a:gd name="T4" fmla="*/ 23 w 121"/>
                  <a:gd name="T5" fmla="*/ 77 h 95"/>
                  <a:gd name="T6" fmla="*/ 23 w 121"/>
                  <a:gd name="T7" fmla="*/ 84 h 95"/>
                  <a:gd name="T8" fmla="*/ 25 w 121"/>
                  <a:gd name="T9" fmla="*/ 85 h 95"/>
                  <a:gd name="T10" fmla="*/ 34 w 121"/>
                  <a:gd name="T11" fmla="*/ 87 h 95"/>
                  <a:gd name="T12" fmla="*/ 43 w 121"/>
                  <a:gd name="T13" fmla="*/ 92 h 95"/>
                  <a:gd name="T14" fmla="*/ 52 w 121"/>
                  <a:gd name="T15" fmla="*/ 94 h 95"/>
                  <a:gd name="T16" fmla="*/ 58 w 121"/>
                  <a:gd name="T17" fmla="*/ 90 h 95"/>
                  <a:gd name="T18" fmla="*/ 64 w 121"/>
                  <a:gd name="T19" fmla="*/ 88 h 95"/>
                  <a:gd name="T20" fmla="*/ 68 w 121"/>
                  <a:gd name="T21" fmla="*/ 90 h 95"/>
                  <a:gd name="T22" fmla="*/ 72 w 121"/>
                  <a:gd name="T23" fmla="*/ 89 h 95"/>
                  <a:gd name="T24" fmla="*/ 79 w 121"/>
                  <a:gd name="T25" fmla="*/ 88 h 95"/>
                  <a:gd name="T26" fmla="*/ 89 w 121"/>
                  <a:gd name="T27" fmla="*/ 82 h 95"/>
                  <a:gd name="T28" fmla="*/ 98 w 121"/>
                  <a:gd name="T29" fmla="*/ 81 h 95"/>
                  <a:gd name="T30" fmla="*/ 120 w 121"/>
                  <a:gd name="T31" fmla="*/ 59 h 95"/>
                  <a:gd name="T32" fmla="*/ 117 w 121"/>
                  <a:gd name="T33" fmla="*/ 57 h 95"/>
                  <a:gd name="T34" fmla="*/ 106 w 121"/>
                  <a:gd name="T35" fmla="*/ 55 h 95"/>
                  <a:gd name="T36" fmla="*/ 90 w 121"/>
                  <a:gd name="T37" fmla="*/ 49 h 95"/>
                  <a:gd name="T38" fmla="*/ 84 w 121"/>
                  <a:gd name="T39" fmla="*/ 44 h 95"/>
                  <a:gd name="T40" fmla="*/ 79 w 121"/>
                  <a:gd name="T41" fmla="*/ 37 h 95"/>
                  <a:gd name="T42" fmla="*/ 80 w 121"/>
                  <a:gd name="T43" fmla="*/ 34 h 95"/>
                  <a:gd name="T44" fmla="*/ 77 w 121"/>
                  <a:gd name="T45" fmla="*/ 33 h 95"/>
                  <a:gd name="T46" fmla="*/ 72 w 121"/>
                  <a:gd name="T47" fmla="*/ 33 h 95"/>
                  <a:gd name="T48" fmla="*/ 72 w 121"/>
                  <a:gd name="T49" fmla="*/ 26 h 95"/>
                  <a:gd name="T50" fmla="*/ 76 w 121"/>
                  <a:gd name="T51" fmla="*/ 21 h 95"/>
                  <a:gd name="T52" fmla="*/ 59 w 121"/>
                  <a:gd name="T53" fmla="*/ 4 h 95"/>
                  <a:gd name="T54" fmla="*/ 51 w 121"/>
                  <a:gd name="T55" fmla="*/ 4 h 95"/>
                  <a:gd name="T56" fmla="*/ 48 w 121"/>
                  <a:gd name="T57" fmla="*/ 4 h 95"/>
                  <a:gd name="T58" fmla="*/ 43 w 121"/>
                  <a:gd name="T59" fmla="*/ 2 h 95"/>
                  <a:gd name="T60" fmla="*/ 39 w 121"/>
                  <a:gd name="T61" fmla="*/ 3 h 95"/>
                  <a:gd name="T62" fmla="*/ 37 w 121"/>
                  <a:gd name="T63" fmla="*/ 5 h 95"/>
                  <a:gd name="T64" fmla="*/ 30 w 121"/>
                  <a:gd name="T65" fmla="*/ 5 h 95"/>
                  <a:gd name="T66" fmla="*/ 30 w 121"/>
                  <a:gd name="T67" fmla="*/ 5 h 95"/>
                  <a:gd name="T68" fmla="*/ 27 w 121"/>
                  <a:gd name="T69" fmla="*/ 15 h 95"/>
                  <a:gd name="T70" fmla="*/ 23 w 121"/>
                  <a:gd name="T71" fmla="*/ 19 h 95"/>
                  <a:gd name="T72" fmla="*/ 18 w 121"/>
                  <a:gd name="T73" fmla="*/ 25 h 95"/>
                  <a:gd name="T74" fmla="*/ 16 w 121"/>
                  <a:gd name="T75" fmla="*/ 33 h 95"/>
                  <a:gd name="T76" fmla="*/ 12 w 121"/>
                  <a:gd name="T77" fmla="*/ 36 h 95"/>
                  <a:gd name="T78" fmla="*/ 10 w 121"/>
                  <a:gd name="T79" fmla="*/ 43 h 95"/>
                  <a:gd name="T80" fmla="*/ 9 w 121"/>
                  <a:gd name="T81" fmla="*/ 52 h 95"/>
                  <a:gd name="T82" fmla="*/ 3 w 121"/>
                  <a:gd name="T83" fmla="*/ 54 h 95"/>
                  <a:gd name="T84" fmla="*/ 1 w 121"/>
                  <a:gd name="T85" fmla="*/ 58 h 95"/>
                  <a:gd name="T86" fmla="*/ 8 w 121"/>
                  <a:gd name="T87" fmla="*/ 62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21" h="95">
                    <a:moveTo>
                      <a:pt x="8" y="62"/>
                    </a:moveTo>
                    <a:cubicBezTo>
                      <a:pt x="9" y="65"/>
                      <a:pt x="14" y="67"/>
                      <a:pt x="15" y="71"/>
                    </a:cubicBezTo>
                    <a:cubicBezTo>
                      <a:pt x="17" y="75"/>
                      <a:pt x="21" y="77"/>
                      <a:pt x="23" y="77"/>
                    </a:cubicBezTo>
                    <a:cubicBezTo>
                      <a:pt x="24" y="77"/>
                      <a:pt x="23" y="80"/>
                      <a:pt x="23" y="84"/>
                    </a:cubicBezTo>
                    <a:cubicBezTo>
                      <a:pt x="24" y="85"/>
                      <a:pt x="25" y="85"/>
                      <a:pt x="25" y="85"/>
                    </a:cubicBezTo>
                    <a:cubicBezTo>
                      <a:pt x="27" y="86"/>
                      <a:pt x="32" y="85"/>
                      <a:pt x="34" y="87"/>
                    </a:cubicBezTo>
                    <a:cubicBezTo>
                      <a:pt x="35" y="89"/>
                      <a:pt x="41" y="92"/>
                      <a:pt x="43" y="92"/>
                    </a:cubicBezTo>
                    <a:cubicBezTo>
                      <a:pt x="45" y="92"/>
                      <a:pt x="51" y="93"/>
                      <a:pt x="52" y="94"/>
                    </a:cubicBezTo>
                    <a:cubicBezTo>
                      <a:pt x="53" y="95"/>
                      <a:pt x="55" y="91"/>
                      <a:pt x="58" y="90"/>
                    </a:cubicBezTo>
                    <a:cubicBezTo>
                      <a:pt x="60" y="88"/>
                      <a:pt x="64" y="87"/>
                      <a:pt x="64" y="88"/>
                    </a:cubicBezTo>
                    <a:cubicBezTo>
                      <a:pt x="65" y="90"/>
                      <a:pt x="67" y="91"/>
                      <a:pt x="68" y="90"/>
                    </a:cubicBezTo>
                    <a:cubicBezTo>
                      <a:pt x="69" y="90"/>
                      <a:pt x="71" y="89"/>
                      <a:pt x="72" y="89"/>
                    </a:cubicBezTo>
                    <a:cubicBezTo>
                      <a:pt x="75" y="88"/>
                      <a:pt x="78" y="88"/>
                      <a:pt x="79" y="88"/>
                    </a:cubicBezTo>
                    <a:cubicBezTo>
                      <a:pt x="80" y="88"/>
                      <a:pt x="84" y="82"/>
                      <a:pt x="89" y="82"/>
                    </a:cubicBezTo>
                    <a:cubicBezTo>
                      <a:pt x="95" y="82"/>
                      <a:pt x="96" y="83"/>
                      <a:pt x="98" y="81"/>
                    </a:cubicBezTo>
                    <a:cubicBezTo>
                      <a:pt x="101" y="78"/>
                      <a:pt x="118" y="60"/>
                      <a:pt x="120" y="59"/>
                    </a:cubicBezTo>
                    <a:cubicBezTo>
                      <a:pt x="121" y="58"/>
                      <a:pt x="119" y="57"/>
                      <a:pt x="117" y="57"/>
                    </a:cubicBezTo>
                    <a:cubicBezTo>
                      <a:pt x="115" y="57"/>
                      <a:pt x="112" y="57"/>
                      <a:pt x="106" y="55"/>
                    </a:cubicBezTo>
                    <a:cubicBezTo>
                      <a:pt x="100" y="53"/>
                      <a:pt x="91" y="50"/>
                      <a:pt x="90" y="49"/>
                    </a:cubicBezTo>
                    <a:cubicBezTo>
                      <a:pt x="88" y="49"/>
                      <a:pt x="86" y="45"/>
                      <a:pt x="84" y="44"/>
                    </a:cubicBezTo>
                    <a:cubicBezTo>
                      <a:pt x="83" y="44"/>
                      <a:pt x="80" y="39"/>
                      <a:pt x="79" y="37"/>
                    </a:cubicBezTo>
                    <a:cubicBezTo>
                      <a:pt x="79" y="37"/>
                      <a:pt x="80" y="35"/>
                      <a:pt x="80" y="34"/>
                    </a:cubicBezTo>
                    <a:cubicBezTo>
                      <a:pt x="79" y="32"/>
                      <a:pt x="78" y="32"/>
                      <a:pt x="77" y="33"/>
                    </a:cubicBezTo>
                    <a:cubicBezTo>
                      <a:pt x="75" y="34"/>
                      <a:pt x="73" y="34"/>
                      <a:pt x="72" y="33"/>
                    </a:cubicBezTo>
                    <a:cubicBezTo>
                      <a:pt x="72" y="32"/>
                      <a:pt x="71" y="28"/>
                      <a:pt x="72" y="26"/>
                    </a:cubicBezTo>
                    <a:cubicBezTo>
                      <a:pt x="74" y="24"/>
                      <a:pt x="76" y="21"/>
                      <a:pt x="76" y="21"/>
                    </a:cubicBezTo>
                    <a:cubicBezTo>
                      <a:pt x="76" y="21"/>
                      <a:pt x="61" y="4"/>
                      <a:pt x="59" y="4"/>
                    </a:cubicBezTo>
                    <a:cubicBezTo>
                      <a:pt x="58" y="4"/>
                      <a:pt x="53" y="4"/>
                      <a:pt x="51" y="4"/>
                    </a:cubicBezTo>
                    <a:cubicBezTo>
                      <a:pt x="50" y="3"/>
                      <a:pt x="50" y="3"/>
                      <a:pt x="48" y="4"/>
                    </a:cubicBezTo>
                    <a:cubicBezTo>
                      <a:pt x="45" y="5"/>
                      <a:pt x="44" y="3"/>
                      <a:pt x="43" y="2"/>
                    </a:cubicBezTo>
                    <a:cubicBezTo>
                      <a:pt x="41" y="1"/>
                      <a:pt x="40" y="0"/>
                      <a:pt x="39" y="3"/>
                    </a:cubicBezTo>
                    <a:cubicBezTo>
                      <a:pt x="38" y="5"/>
                      <a:pt x="38" y="7"/>
                      <a:pt x="37" y="5"/>
                    </a:cubicBezTo>
                    <a:cubicBezTo>
                      <a:pt x="36" y="5"/>
                      <a:pt x="33" y="5"/>
                      <a:pt x="30" y="5"/>
                    </a:cubicBezTo>
                    <a:cubicBezTo>
                      <a:pt x="30" y="5"/>
                      <a:pt x="30" y="5"/>
                      <a:pt x="30" y="5"/>
                    </a:cubicBezTo>
                    <a:cubicBezTo>
                      <a:pt x="30" y="9"/>
                      <a:pt x="27" y="13"/>
                      <a:pt x="27" y="15"/>
                    </a:cubicBezTo>
                    <a:cubicBezTo>
                      <a:pt x="27" y="17"/>
                      <a:pt x="25" y="19"/>
                      <a:pt x="23" y="19"/>
                    </a:cubicBezTo>
                    <a:cubicBezTo>
                      <a:pt x="22" y="19"/>
                      <a:pt x="20" y="23"/>
                      <a:pt x="18" y="25"/>
                    </a:cubicBezTo>
                    <a:cubicBezTo>
                      <a:pt x="16" y="27"/>
                      <a:pt x="18" y="31"/>
                      <a:pt x="16" y="33"/>
                    </a:cubicBezTo>
                    <a:cubicBezTo>
                      <a:pt x="14" y="34"/>
                      <a:pt x="11" y="35"/>
                      <a:pt x="12" y="36"/>
                    </a:cubicBezTo>
                    <a:cubicBezTo>
                      <a:pt x="14" y="38"/>
                      <a:pt x="10" y="40"/>
                      <a:pt x="10" y="43"/>
                    </a:cubicBezTo>
                    <a:cubicBezTo>
                      <a:pt x="10" y="46"/>
                      <a:pt x="9" y="52"/>
                      <a:pt x="9" y="52"/>
                    </a:cubicBezTo>
                    <a:cubicBezTo>
                      <a:pt x="8" y="53"/>
                      <a:pt x="3" y="51"/>
                      <a:pt x="3" y="54"/>
                    </a:cubicBezTo>
                    <a:cubicBezTo>
                      <a:pt x="3" y="56"/>
                      <a:pt x="0" y="56"/>
                      <a:pt x="1" y="58"/>
                    </a:cubicBezTo>
                    <a:cubicBezTo>
                      <a:pt x="2" y="60"/>
                      <a:pt x="7" y="60"/>
                      <a:pt x="8" y="6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0" name="Freeform 46">
                <a:extLst>
                  <a:ext uri="{FF2B5EF4-FFF2-40B4-BE49-F238E27FC236}">
                    <a16:creationId xmlns:a16="http://schemas.microsoft.com/office/drawing/2014/main" id="{A6090E3A-43AE-4E03-9FB2-A622A4E572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63389" y="3408482"/>
                <a:ext cx="27604" cy="35132"/>
              </a:xfrm>
              <a:custGeom>
                <a:avLst/>
                <a:gdLst>
                  <a:gd name="T0" fmla="*/ 10 w 12"/>
                  <a:gd name="T1" fmla="*/ 7 h 15"/>
                  <a:gd name="T2" fmla="*/ 6 w 12"/>
                  <a:gd name="T3" fmla="*/ 0 h 15"/>
                  <a:gd name="T4" fmla="*/ 6 w 12"/>
                  <a:gd name="T5" fmla="*/ 2 h 15"/>
                  <a:gd name="T6" fmla="*/ 0 w 12"/>
                  <a:gd name="T7" fmla="*/ 14 h 15"/>
                  <a:gd name="T8" fmla="*/ 4 w 12"/>
                  <a:gd name="T9" fmla="*/ 15 h 15"/>
                  <a:gd name="T10" fmla="*/ 10 w 12"/>
                  <a:gd name="T11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" h="15">
                    <a:moveTo>
                      <a:pt x="10" y="7"/>
                    </a:moveTo>
                    <a:cubicBezTo>
                      <a:pt x="12" y="5"/>
                      <a:pt x="12" y="0"/>
                      <a:pt x="6" y="0"/>
                    </a:cubicBezTo>
                    <a:cubicBezTo>
                      <a:pt x="6" y="1"/>
                      <a:pt x="6" y="1"/>
                      <a:pt x="6" y="2"/>
                    </a:cubicBezTo>
                    <a:cubicBezTo>
                      <a:pt x="6" y="4"/>
                      <a:pt x="2" y="9"/>
                      <a:pt x="0" y="14"/>
                    </a:cubicBezTo>
                    <a:cubicBezTo>
                      <a:pt x="4" y="15"/>
                      <a:pt x="4" y="15"/>
                      <a:pt x="4" y="15"/>
                    </a:cubicBezTo>
                    <a:cubicBezTo>
                      <a:pt x="6" y="12"/>
                      <a:pt x="9" y="8"/>
                      <a:pt x="10" y="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1" name="Freeform 47">
                <a:extLst>
                  <a:ext uri="{FF2B5EF4-FFF2-40B4-BE49-F238E27FC236}">
                    <a16:creationId xmlns:a16="http://schemas.microsoft.com/office/drawing/2014/main" id="{7C81DFD2-D99E-4375-944B-7DB815B46D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73427" y="3358293"/>
                <a:ext cx="126727" cy="101633"/>
              </a:xfrm>
              <a:custGeom>
                <a:avLst/>
                <a:gdLst>
                  <a:gd name="T0" fmla="*/ 6 w 55"/>
                  <a:gd name="T1" fmla="*/ 29 h 44"/>
                  <a:gd name="T2" fmla="*/ 0 w 55"/>
                  <a:gd name="T3" fmla="*/ 37 h 44"/>
                  <a:gd name="T4" fmla="*/ 0 w 55"/>
                  <a:gd name="T5" fmla="*/ 37 h 44"/>
                  <a:gd name="T6" fmla="*/ 1 w 55"/>
                  <a:gd name="T7" fmla="*/ 40 h 44"/>
                  <a:gd name="T8" fmla="*/ 8 w 55"/>
                  <a:gd name="T9" fmla="*/ 44 h 44"/>
                  <a:gd name="T10" fmla="*/ 16 w 55"/>
                  <a:gd name="T11" fmla="*/ 40 h 44"/>
                  <a:gd name="T12" fmla="*/ 43 w 55"/>
                  <a:gd name="T13" fmla="*/ 26 h 44"/>
                  <a:gd name="T14" fmla="*/ 45 w 55"/>
                  <a:gd name="T15" fmla="*/ 21 h 44"/>
                  <a:gd name="T16" fmla="*/ 46 w 55"/>
                  <a:gd name="T17" fmla="*/ 15 h 44"/>
                  <a:gd name="T18" fmla="*/ 45 w 55"/>
                  <a:gd name="T19" fmla="*/ 8 h 44"/>
                  <a:gd name="T20" fmla="*/ 50 w 55"/>
                  <a:gd name="T21" fmla="*/ 4 h 44"/>
                  <a:gd name="T22" fmla="*/ 55 w 55"/>
                  <a:gd name="T23" fmla="*/ 1 h 44"/>
                  <a:gd name="T24" fmla="*/ 52 w 55"/>
                  <a:gd name="T25" fmla="*/ 0 h 44"/>
                  <a:gd name="T26" fmla="*/ 43 w 55"/>
                  <a:gd name="T27" fmla="*/ 1 h 44"/>
                  <a:gd name="T28" fmla="*/ 32 w 55"/>
                  <a:gd name="T29" fmla="*/ 4 h 44"/>
                  <a:gd name="T30" fmla="*/ 23 w 55"/>
                  <a:gd name="T31" fmla="*/ 4 h 44"/>
                  <a:gd name="T32" fmla="*/ 18 w 55"/>
                  <a:gd name="T33" fmla="*/ 5 h 44"/>
                  <a:gd name="T34" fmla="*/ 11 w 55"/>
                  <a:gd name="T35" fmla="*/ 5 h 44"/>
                  <a:gd name="T36" fmla="*/ 8 w 55"/>
                  <a:gd name="T37" fmla="*/ 7 h 44"/>
                  <a:gd name="T38" fmla="*/ 3 w 55"/>
                  <a:gd name="T39" fmla="*/ 12 h 44"/>
                  <a:gd name="T40" fmla="*/ 3 w 55"/>
                  <a:gd name="T41" fmla="*/ 16 h 44"/>
                  <a:gd name="T42" fmla="*/ 2 w 55"/>
                  <a:gd name="T43" fmla="*/ 22 h 44"/>
                  <a:gd name="T44" fmla="*/ 6 w 55"/>
                  <a:gd name="T45" fmla="*/ 29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55" h="44">
                    <a:moveTo>
                      <a:pt x="6" y="29"/>
                    </a:moveTo>
                    <a:cubicBezTo>
                      <a:pt x="5" y="30"/>
                      <a:pt x="2" y="34"/>
                      <a:pt x="0" y="37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1" y="40"/>
                      <a:pt x="1" y="40"/>
                      <a:pt x="1" y="40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8" y="44"/>
                      <a:pt x="14" y="40"/>
                      <a:pt x="16" y="40"/>
                    </a:cubicBezTo>
                    <a:cubicBezTo>
                      <a:pt x="18" y="40"/>
                      <a:pt x="43" y="26"/>
                      <a:pt x="43" y="26"/>
                    </a:cubicBezTo>
                    <a:cubicBezTo>
                      <a:pt x="43" y="26"/>
                      <a:pt x="46" y="22"/>
                      <a:pt x="45" y="21"/>
                    </a:cubicBezTo>
                    <a:cubicBezTo>
                      <a:pt x="45" y="20"/>
                      <a:pt x="45" y="16"/>
                      <a:pt x="46" y="15"/>
                    </a:cubicBezTo>
                    <a:cubicBezTo>
                      <a:pt x="47" y="13"/>
                      <a:pt x="44" y="11"/>
                      <a:pt x="45" y="8"/>
                    </a:cubicBezTo>
                    <a:cubicBezTo>
                      <a:pt x="46" y="6"/>
                      <a:pt x="50" y="4"/>
                      <a:pt x="50" y="4"/>
                    </a:cubicBezTo>
                    <a:cubicBezTo>
                      <a:pt x="55" y="1"/>
                      <a:pt x="55" y="1"/>
                      <a:pt x="55" y="1"/>
                    </a:cubicBezTo>
                    <a:cubicBezTo>
                      <a:pt x="52" y="0"/>
                      <a:pt x="52" y="0"/>
                      <a:pt x="52" y="0"/>
                    </a:cubicBezTo>
                    <a:cubicBezTo>
                      <a:pt x="52" y="0"/>
                      <a:pt x="48" y="1"/>
                      <a:pt x="43" y="1"/>
                    </a:cubicBezTo>
                    <a:cubicBezTo>
                      <a:pt x="38" y="1"/>
                      <a:pt x="37" y="4"/>
                      <a:pt x="32" y="4"/>
                    </a:cubicBezTo>
                    <a:cubicBezTo>
                      <a:pt x="27" y="4"/>
                      <a:pt x="24" y="6"/>
                      <a:pt x="23" y="4"/>
                    </a:cubicBezTo>
                    <a:cubicBezTo>
                      <a:pt x="22" y="2"/>
                      <a:pt x="22" y="3"/>
                      <a:pt x="18" y="5"/>
                    </a:cubicBezTo>
                    <a:cubicBezTo>
                      <a:pt x="15" y="7"/>
                      <a:pt x="12" y="6"/>
                      <a:pt x="11" y="5"/>
                    </a:cubicBezTo>
                    <a:cubicBezTo>
                      <a:pt x="9" y="4"/>
                      <a:pt x="8" y="5"/>
                      <a:pt x="8" y="7"/>
                    </a:cubicBezTo>
                    <a:cubicBezTo>
                      <a:pt x="7" y="8"/>
                      <a:pt x="8" y="12"/>
                      <a:pt x="3" y="12"/>
                    </a:cubicBezTo>
                    <a:cubicBezTo>
                      <a:pt x="2" y="14"/>
                      <a:pt x="2" y="15"/>
                      <a:pt x="3" y="16"/>
                    </a:cubicBezTo>
                    <a:cubicBezTo>
                      <a:pt x="4" y="18"/>
                      <a:pt x="3" y="20"/>
                      <a:pt x="2" y="22"/>
                    </a:cubicBezTo>
                    <a:cubicBezTo>
                      <a:pt x="8" y="22"/>
                      <a:pt x="8" y="27"/>
                      <a:pt x="6" y="2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2" name="Freeform 48">
                <a:extLst>
                  <a:ext uri="{FF2B5EF4-FFF2-40B4-BE49-F238E27FC236}">
                    <a16:creationId xmlns:a16="http://schemas.microsoft.com/office/drawing/2014/main" id="{55C546C5-5962-4B14-BDB2-44F92F7B4E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42212" y="3334453"/>
                <a:ext cx="69010" cy="87831"/>
              </a:xfrm>
              <a:custGeom>
                <a:avLst/>
                <a:gdLst>
                  <a:gd name="T0" fmla="*/ 7 w 30"/>
                  <a:gd name="T1" fmla="*/ 3 h 38"/>
                  <a:gd name="T2" fmla="*/ 2 w 30"/>
                  <a:gd name="T3" fmla="*/ 7 h 38"/>
                  <a:gd name="T4" fmla="*/ 5 w 30"/>
                  <a:gd name="T5" fmla="*/ 11 h 38"/>
                  <a:gd name="T6" fmla="*/ 5 w 30"/>
                  <a:gd name="T7" fmla="*/ 14 h 38"/>
                  <a:gd name="T8" fmla="*/ 4 w 30"/>
                  <a:gd name="T9" fmla="*/ 22 h 38"/>
                  <a:gd name="T10" fmla="*/ 2 w 30"/>
                  <a:gd name="T11" fmla="*/ 32 h 38"/>
                  <a:gd name="T12" fmla="*/ 3 w 30"/>
                  <a:gd name="T13" fmla="*/ 37 h 38"/>
                  <a:gd name="T14" fmla="*/ 18 w 30"/>
                  <a:gd name="T15" fmla="*/ 32 h 38"/>
                  <a:gd name="T16" fmla="*/ 26 w 30"/>
                  <a:gd name="T17" fmla="*/ 29 h 38"/>
                  <a:gd name="T18" fmla="*/ 29 w 30"/>
                  <a:gd name="T19" fmla="*/ 25 h 38"/>
                  <a:gd name="T20" fmla="*/ 27 w 30"/>
                  <a:gd name="T21" fmla="*/ 14 h 38"/>
                  <a:gd name="T22" fmla="*/ 19 w 30"/>
                  <a:gd name="T23" fmla="*/ 0 h 38"/>
                  <a:gd name="T24" fmla="*/ 15 w 30"/>
                  <a:gd name="T25" fmla="*/ 2 h 38"/>
                  <a:gd name="T26" fmla="*/ 7 w 30"/>
                  <a:gd name="T27" fmla="*/ 3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0" h="38">
                    <a:moveTo>
                      <a:pt x="7" y="3"/>
                    </a:moveTo>
                    <a:cubicBezTo>
                      <a:pt x="6" y="4"/>
                      <a:pt x="4" y="5"/>
                      <a:pt x="2" y="7"/>
                    </a:cubicBezTo>
                    <a:cubicBezTo>
                      <a:pt x="3" y="8"/>
                      <a:pt x="3" y="11"/>
                      <a:pt x="5" y="11"/>
                    </a:cubicBezTo>
                    <a:cubicBezTo>
                      <a:pt x="7" y="11"/>
                      <a:pt x="7" y="15"/>
                      <a:pt x="5" y="14"/>
                    </a:cubicBezTo>
                    <a:cubicBezTo>
                      <a:pt x="2" y="14"/>
                      <a:pt x="2" y="18"/>
                      <a:pt x="4" y="22"/>
                    </a:cubicBezTo>
                    <a:cubicBezTo>
                      <a:pt x="7" y="26"/>
                      <a:pt x="0" y="30"/>
                      <a:pt x="2" y="32"/>
                    </a:cubicBezTo>
                    <a:cubicBezTo>
                      <a:pt x="3" y="34"/>
                      <a:pt x="2" y="36"/>
                      <a:pt x="3" y="37"/>
                    </a:cubicBezTo>
                    <a:cubicBezTo>
                      <a:pt x="4" y="38"/>
                      <a:pt x="14" y="36"/>
                      <a:pt x="18" y="32"/>
                    </a:cubicBezTo>
                    <a:cubicBezTo>
                      <a:pt x="22" y="27"/>
                      <a:pt x="24" y="28"/>
                      <a:pt x="26" y="29"/>
                    </a:cubicBezTo>
                    <a:cubicBezTo>
                      <a:pt x="28" y="29"/>
                      <a:pt x="30" y="27"/>
                      <a:pt x="29" y="25"/>
                    </a:cubicBezTo>
                    <a:cubicBezTo>
                      <a:pt x="28" y="23"/>
                      <a:pt x="27" y="19"/>
                      <a:pt x="27" y="14"/>
                    </a:cubicBezTo>
                    <a:cubicBezTo>
                      <a:pt x="27" y="10"/>
                      <a:pt x="23" y="5"/>
                      <a:pt x="19" y="0"/>
                    </a:cubicBezTo>
                    <a:cubicBezTo>
                      <a:pt x="17" y="1"/>
                      <a:pt x="16" y="2"/>
                      <a:pt x="15" y="2"/>
                    </a:cubicBezTo>
                    <a:cubicBezTo>
                      <a:pt x="12" y="2"/>
                      <a:pt x="8" y="2"/>
                      <a:pt x="7" y="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3" name="Freeform 49">
                <a:extLst>
                  <a:ext uri="{FF2B5EF4-FFF2-40B4-BE49-F238E27FC236}">
                    <a16:creationId xmlns:a16="http://schemas.microsoft.com/office/drawing/2014/main" id="{13D6A0AA-CB35-43E0-8E21-0BCD410036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43330" y="3584144"/>
                <a:ext cx="82812" cy="107906"/>
              </a:xfrm>
              <a:custGeom>
                <a:avLst/>
                <a:gdLst>
                  <a:gd name="T0" fmla="*/ 36 w 36"/>
                  <a:gd name="T1" fmla="*/ 39 h 47"/>
                  <a:gd name="T2" fmla="*/ 33 w 36"/>
                  <a:gd name="T3" fmla="*/ 24 h 47"/>
                  <a:gd name="T4" fmla="*/ 27 w 36"/>
                  <a:gd name="T5" fmla="*/ 30 h 47"/>
                  <a:gd name="T6" fmla="*/ 27 w 36"/>
                  <a:gd name="T7" fmla="*/ 21 h 47"/>
                  <a:gd name="T8" fmla="*/ 34 w 36"/>
                  <a:gd name="T9" fmla="*/ 13 h 47"/>
                  <a:gd name="T10" fmla="*/ 28 w 36"/>
                  <a:gd name="T11" fmla="*/ 11 h 47"/>
                  <a:gd name="T12" fmla="*/ 19 w 36"/>
                  <a:gd name="T13" fmla="*/ 12 h 47"/>
                  <a:gd name="T14" fmla="*/ 15 w 36"/>
                  <a:gd name="T15" fmla="*/ 8 h 47"/>
                  <a:gd name="T16" fmla="*/ 10 w 36"/>
                  <a:gd name="T17" fmla="*/ 3 h 47"/>
                  <a:gd name="T18" fmla="*/ 3 w 36"/>
                  <a:gd name="T19" fmla="*/ 3 h 47"/>
                  <a:gd name="T20" fmla="*/ 8 w 36"/>
                  <a:gd name="T21" fmla="*/ 10 h 47"/>
                  <a:gd name="T22" fmla="*/ 4 w 36"/>
                  <a:gd name="T23" fmla="*/ 14 h 47"/>
                  <a:gd name="T24" fmla="*/ 6 w 36"/>
                  <a:gd name="T25" fmla="*/ 26 h 47"/>
                  <a:gd name="T26" fmla="*/ 9 w 36"/>
                  <a:gd name="T27" fmla="*/ 40 h 47"/>
                  <a:gd name="T28" fmla="*/ 14 w 36"/>
                  <a:gd name="T29" fmla="*/ 39 h 47"/>
                  <a:gd name="T30" fmla="*/ 20 w 36"/>
                  <a:gd name="T31" fmla="*/ 36 h 47"/>
                  <a:gd name="T32" fmla="*/ 25 w 36"/>
                  <a:gd name="T33" fmla="*/ 32 h 47"/>
                  <a:gd name="T34" fmla="*/ 30 w 36"/>
                  <a:gd name="T35" fmla="*/ 43 h 47"/>
                  <a:gd name="T36" fmla="*/ 31 w 36"/>
                  <a:gd name="T37" fmla="*/ 47 h 47"/>
                  <a:gd name="T38" fmla="*/ 34 w 36"/>
                  <a:gd name="T39" fmla="*/ 44 h 47"/>
                  <a:gd name="T40" fmla="*/ 36 w 36"/>
                  <a:gd name="T41" fmla="*/ 39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6" h="47">
                    <a:moveTo>
                      <a:pt x="36" y="39"/>
                    </a:moveTo>
                    <a:cubicBezTo>
                      <a:pt x="35" y="31"/>
                      <a:pt x="34" y="24"/>
                      <a:pt x="33" y="24"/>
                    </a:cubicBezTo>
                    <a:cubicBezTo>
                      <a:pt x="31" y="24"/>
                      <a:pt x="29" y="30"/>
                      <a:pt x="27" y="30"/>
                    </a:cubicBezTo>
                    <a:cubicBezTo>
                      <a:pt x="25" y="29"/>
                      <a:pt x="25" y="21"/>
                      <a:pt x="27" y="21"/>
                    </a:cubicBezTo>
                    <a:cubicBezTo>
                      <a:pt x="30" y="21"/>
                      <a:pt x="34" y="15"/>
                      <a:pt x="34" y="13"/>
                    </a:cubicBezTo>
                    <a:cubicBezTo>
                      <a:pt x="34" y="11"/>
                      <a:pt x="31" y="11"/>
                      <a:pt x="28" y="11"/>
                    </a:cubicBezTo>
                    <a:cubicBezTo>
                      <a:pt x="25" y="11"/>
                      <a:pt x="19" y="12"/>
                      <a:pt x="19" y="12"/>
                    </a:cubicBezTo>
                    <a:cubicBezTo>
                      <a:pt x="19" y="12"/>
                      <a:pt x="15" y="10"/>
                      <a:pt x="15" y="8"/>
                    </a:cubicBezTo>
                    <a:cubicBezTo>
                      <a:pt x="15" y="5"/>
                      <a:pt x="13" y="3"/>
                      <a:pt x="10" y="3"/>
                    </a:cubicBezTo>
                    <a:cubicBezTo>
                      <a:pt x="6" y="3"/>
                      <a:pt x="6" y="0"/>
                      <a:pt x="3" y="3"/>
                    </a:cubicBezTo>
                    <a:cubicBezTo>
                      <a:pt x="0" y="7"/>
                      <a:pt x="9" y="7"/>
                      <a:pt x="8" y="10"/>
                    </a:cubicBezTo>
                    <a:cubicBezTo>
                      <a:pt x="7" y="13"/>
                      <a:pt x="4" y="11"/>
                      <a:pt x="4" y="14"/>
                    </a:cubicBezTo>
                    <a:cubicBezTo>
                      <a:pt x="3" y="16"/>
                      <a:pt x="4" y="22"/>
                      <a:pt x="6" y="26"/>
                    </a:cubicBezTo>
                    <a:cubicBezTo>
                      <a:pt x="7" y="28"/>
                      <a:pt x="9" y="35"/>
                      <a:pt x="9" y="40"/>
                    </a:cubicBezTo>
                    <a:cubicBezTo>
                      <a:pt x="11" y="40"/>
                      <a:pt x="12" y="39"/>
                      <a:pt x="14" y="39"/>
                    </a:cubicBezTo>
                    <a:cubicBezTo>
                      <a:pt x="17" y="39"/>
                      <a:pt x="20" y="38"/>
                      <a:pt x="20" y="36"/>
                    </a:cubicBezTo>
                    <a:cubicBezTo>
                      <a:pt x="21" y="33"/>
                      <a:pt x="24" y="31"/>
                      <a:pt x="25" y="32"/>
                    </a:cubicBezTo>
                    <a:cubicBezTo>
                      <a:pt x="27" y="33"/>
                      <a:pt x="29" y="39"/>
                      <a:pt x="30" y="43"/>
                    </a:cubicBezTo>
                    <a:cubicBezTo>
                      <a:pt x="30" y="44"/>
                      <a:pt x="30" y="45"/>
                      <a:pt x="31" y="47"/>
                    </a:cubicBezTo>
                    <a:cubicBezTo>
                      <a:pt x="32" y="45"/>
                      <a:pt x="34" y="44"/>
                      <a:pt x="34" y="44"/>
                    </a:cubicBezTo>
                    <a:cubicBezTo>
                      <a:pt x="34" y="44"/>
                      <a:pt x="35" y="41"/>
                      <a:pt x="36" y="3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4" name="Freeform 50">
                <a:extLst>
                  <a:ext uri="{FF2B5EF4-FFF2-40B4-BE49-F238E27FC236}">
                    <a16:creationId xmlns:a16="http://schemas.microsoft.com/office/drawing/2014/main" id="{0B98670D-9916-499F-92AD-70CBDFD68E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88242" y="3397190"/>
                <a:ext cx="516947" cy="545806"/>
              </a:xfrm>
              <a:custGeom>
                <a:avLst/>
                <a:gdLst>
                  <a:gd name="T0" fmla="*/ 158 w 224"/>
                  <a:gd name="T1" fmla="*/ 95 h 237"/>
                  <a:gd name="T2" fmla="*/ 157 w 224"/>
                  <a:gd name="T3" fmla="*/ 84 h 237"/>
                  <a:gd name="T4" fmla="*/ 169 w 224"/>
                  <a:gd name="T5" fmla="*/ 89 h 237"/>
                  <a:gd name="T6" fmla="*/ 182 w 224"/>
                  <a:gd name="T7" fmla="*/ 92 h 237"/>
                  <a:gd name="T8" fmla="*/ 181 w 224"/>
                  <a:gd name="T9" fmla="*/ 102 h 237"/>
                  <a:gd name="T10" fmla="*/ 187 w 224"/>
                  <a:gd name="T11" fmla="*/ 105 h 237"/>
                  <a:gd name="T12" fmla="*/ 191 w 224"/>
                  <a:gd name="T13" fmla="*/ 119 h 237"/>
                  <a:gd name="T14" fmla="*/ 195 w 224"/>
                  <a:gd name="T15" fmla="*/ 103 h 237"/>
                  <a:gd name="T16" fmla="*/ 204 w 224"/>
                  <a:gd name="T17" fmla="*/ 93 h 237"/>
                  <a:gd name="T18" fmla="*/ 212 w 224"/>
                  <a:gd name="T19" fmla="*/ 77 h 237"/>
                  <a:gd name="T20" fmla="*/ 222 w 224"/>
                  <a:gd name="T21" fmla="*/ 74 h 237"/>
                  <a:gd name="T22" fmla="*/ 223 w 224"/>
                  <a:gd name="T23" fmla="*/ 65 h 237"/>
                  <a:gd name="T24" fmla="*/ 215 w 224"/>
                  <a:gd name="T25" fmla="*/ 57 h 237"/>
                  <a:gd name="T26" fmla="*/ 202 w 224"/>
                  <a:gd name="T27" fmla="*/ 58 h 237"/>
                  <a:gd name="T28" fmla="*/ 191 w 224"/>
                  <a:gd name="T29" fmla="*/ 66 h 237"/>
                  <a:gd name="T30" fmla="*/ 184 w 224"/>
                  <a:gd name="T31" fmla="*/ 71 h 237"/>
                  <a:gd name="T32" fmla="*/ 177 w 224"/>
                  <a:gd name="T33" fmla="*/ 79 h 237"/>
                  <a:gd name="T34" fmla="*/ 164 w 224"/>
                  <a:gd name="T35" fmla="*/ 77 h 237"/>
                  <a:gd name="T36" fmla="*/ 158 w 224"/>
                  <a:gd name="T37" fmla="*/ 67 h 237"/>
                  <a:gd name="T38" fmla="*/ 155 w 224"/>
                  <a:gd name="T39" fmla="*/ 79 h 237"/>
                  <a:gd name="T40" fmla="*/ 131 w 224"/>
                  <a:gd name="T41" fmla="*/ 77 h 237"/>
                  <a:gd name="T42" fmla="*/ 118 w 224"/>
                  <a:gd name="T43" fmla="*/ 73 h 237"/>
                  <a:gd name="T44" fmla="*/ 106 w 224"/>
                  <a:gd name="T45" fmla="*/ 66 h 237"/>
                  <a:gd name="T46" fmla="*/ 95 w 224"/>
                  <a:gd name="T47" fmla="*/ 60 h 237"/>
                  <a:gd name="T48" fmla="*/ 100 w 224"/>
                  <a:gd name="T49" fmla="*/ 49 h 237"/>
                  <a:gd name="T50" fmla="*/ 92 w 224"/>
                  <a:gd name="T51" fmla="*/ 41 h 237"/>
                  <a:gd name="T52" fmla="*/ 83 w 224"/>
                  <a:gd name="T53" fmla="*/ 30 h 237"/>
                  <a:gd name="T54" fmla="*/ 89 w 224"/>
                  <a:gd name="T55" fmla="*/ 24 h 237"/>
                  <a:gd name="T56" fmla="*/ 84 w 224"/>
                  <a:gd name="T57" fmla="*/ 9 h 237"/>
                  <a:gd name="T58" fmla="*/ 77 w 224"/>
                  <a:gd name="T59" fmla="*/ 0 h 237"/>
                  <a:gd name="T60" fmla="*/ 70 w 224"/>
                  <a:gd name="T61" fmla="*/ 6 h 237"/>
                  <a:gd name="T62" fmla="*/ 50 w 224"/>
                  <a:gd name="T63" fmla="*/ 7 h 237"/>
                  <a:gd name="T64" fmla="*/ 47 w 224"/>
                  <a:gd name="T65" fmla="*/ 19 h 237"/>
                  <a:gd name="T66" fmla="*/ 56 w 224"/>
                  <a:gd name="T67" fmla="*/ 30 h 237"/>
                  <a:gd name="T68" fmla="*/ 50 w 224"/>
                  <a:gd name="T69" fmla="*/ 42 h 237"/>
                  <a:gd name="T70" fmla="*/ 42 w 224"/>
                  <a:gd name="T71" fmla="*/ 51 h 237"/>
                  <a:gd name="T72" fmla="*/ 32 w 224"/>
                  <a:gd name="T73" fmla="*/ 63 h 237"/>
                  <a:gd name="T74" fmla="*/ 22 w 224"/>
                  <a:gd name="T75" fmla="*/ 70 h 237"/>
                  <a:gd name="T76" fmla="*/ 10 w 224"/>
                  <a:gd name="T77" fmla="*/ 77 h 237"/>
                  <a:gd name="T78" fmla="*/ 18 w 224"/>
                  <a:gd name="T79" fmla="*/ 91 h 237"/>
                  <a:gd name="T80" fmla="*/ 15 w 224"/>
                  <a:gd name="T81" fmla="*/ 99 h 237"/>
                  <a:gd name="T82" fmla="*/ 0 w 224"/>
                  <a:gd name="T83" fmla="*/ 105 h 237"/>
                  <a:gd name="T84" fmla="*/ 7 w 224"/>
                  <a:gd name="T85" fmla="*/ 112 h 237"/>
                  <a:gd name="T86" fmla="*/ 5 w 224"/>
                  <a:gd name="T87" fmla="*/ 116 h 237"/>
                  <a:gd name="T88" fmla="*/ 30 w 224"/>
                  <a:gd name="T89" fmla="*/ 122 h 237"/>
                  <a:gd name="T90" fmla="*/ 35 w 224"/>
                  <a:gd name="T91" fmla="*/ 126 h 237"/>
                  <a:gd name="T92" fmla="*/ 36 w 224"/>
                  <a:gd name="T93" fmla="*/ 147 h 237"/>
                  <a:gd name="T94" fmla="*/ 48 w 224"/>
                  <a:gd name="T95" fmla="*/ 183 h 237"/>
                  <a:gd name="T96" fmla="*/ 63 w 224"/>
                  <a:gd name="T97" fmla="*/ 221 h 237"/>
                  <a:gd name="T98" fmla="*/ 78 w 224"/>
                  <a:gd name="T99" fmla="*/ 230 h 237"/>
                  <a:gd name="T100" fmla="*/ 89 w 224"/>
                  <a:gd name="T101" fmla="*/ 217 h 237"/>
                  <a:gd name="T102" fmla="*/ 94 w 224"/>
                  <a:gd name="T103" fmla="*/ 201 h 237"/>
                  <a:gd name="T104" fmla="*/ 95 w 224"/>
                  <a:gd name="T105" fmla="*/ 178 h 237"/>
                  <a:gd name="T106" fmla="*/ 106 w 224"/>
                  <a:gd name="T107" fmla="*/ 166 h 237"/>
                  <a:gd name="T108" fmla="*/ 131 w 224"/>
                  <a:gd name="T109" fmla="*/ 143 h 237"/>
                  <a:gd name="T110" fmla="*/ 146 w 224"/>
                  <a:gd name="T111" fmla="*/ 126 h 237"/>
                  <a:gd name="T112" fmla="*/ 163 w 224"/>
                  <a:gd name="T113" fmla="*/ 121 h 2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224" h="237">
                    <a:moveTo>
                      <a:pt x="160" y="107"/>
                    </a:moveTo>
                    <a:cubicBezTo>
                      <a:pt x="158" y="103"/>
                      <a:pt x="157" y="97"/>
                      <a:pt x="158" y="95"/>
                    </a:cubicBezTo>
                    <a:cubicBezTo>
                      <a:pt x="158" y="92"/>
                      <a:pt x="161" y="94"/>
                      <a:pt x="162" y="91"/>
                    </a:cubicBezTo>
                    <a:cubicBezTo>
                      <a:pt x="163" y="88"/>
                      <a:pt x="154" y="88"/>
                      <a:pt x="157" y="84"/>
                    </a:cubicBezTo>
                    <a:cubicBezTo>
                      <a:pt x="160" y="81"/>
                      <a:pt x="160" y="84"/>
                      <a:pt x="164" y="84"/>
                    </a:cubicBezTo>
                    <a:cubicBezTo>
                      <a:pt x="167" y="84"/>
                      <a:pt x="169" y="86"/>
                      <a:pt x="169" y="89"/>
                    </a:cubicBezTo>
                    <a:cubicBezTo>
                      <a:pt x="169" y="91"/>
                      <a:pt x="173" y="93"/>
                      <a:pt x="173" y="93"/>
                    </a:cubicBezTo>
                    <a:cubicBezTo>
                      <a:pt x="173" y="93"/>
                      <a:pt x="179" y="92"/>
                      <a:pt x="182" y="92"/>
                    </a:cubicBezTo>
                    <a:cubicBezTo>
                      <a:pt x="185" y="92"/>
                      <a:pt x="188" y="92"/>
                      <a:pt x="188" y="94"/>
                    </a:cubicBezTo>
                    <a:cubicBezTo>
                      <a:pt x="188" y="96"/>
                      <a:pt x="184" y="102"/>
                      <a:pt x="181" y="102"/>
                    </a:cubicBezTo>
                    <a:cubicBezTo>
                      <a:pt x="179" y="102"/>
                      <a:pt x="179" y="110"/>
                      <a:pt x="181" y="111"/>
                    </a:cubicBezTo>
                    <a:cubicBezTo>
                      <a:pt x="183" y="111"/>
                      <a:pt x="185" y="105"/>
                      <a:pt x="187" y="105"/>
                    </a:cubicBezTo>
                    <a:cubicBezTo>
                      <a:pt x="188" y="105"/>
                      <a:pt x="189" y="112"/>
                      <a:pt x="190" y="120"/>
                    </a:cubicBezTo>
                    <a:cubicBezTo>
                      <a:pt x="190" y="120"/>
                      <a:pt x="191" y="119"/>
                      <a:pt x="191" y="119"/>
                    </a:cubicBezTo>
                    <a:cubicBezTo>
                      <a:pt x="193" y="119"/>
                      <a:pt x="192" y="113"/>
                      <a:pt x="193" y="111"/>
                    </a:cubicBezTo>
                    <a:cubicBezTo>
                      <a:pt x="195" y="109"/>
                      <a:pt x="194" y="103"/>
                      <a:pt x="195" y="103"/>
                    </a:cubicBezTo>
                    <a:cubicBezTo>
                      <a:pt x="196" y="103"/>
                      <a:pt x="202" y="105"/>
                      <a:pt x="201" y="103"/>
                    </a:cubicBezTo>
                    <a:cubicBezTo>
                      <a:pt x="201" y="102"/>
                      <a:pt x="205" y="96"/>
                      <a:pt x="204" y="93"/>
                    </a:cubicBezTo>
                    <a:cubicBezTo>
                      <a:pt x="204" y="91"/>
                      <a:pt x="206" y="87"/>
                      <a:pt x="206" y="84"/>
                    </a:cubicBezTo>
                    <a:cubicBezTo>
                      <a:pt x="206" y="80"/>
                      <a:pt x="210" y="79"/>
                      <a:pt x="212" y="77"/>
                    </a:cubicBezTo>
                    <a:cubicBezTo>
                      <a:pt x="214" y="75"/>
                      <a:pt x="218" y="73"/>
                      <a:pt x="218" y="74"/>
                    </a:cubicBezTo>
                    <a:cubicBezTo>
                      <a:pt x="219" y="76"/>
                      <a:pt x="224" y="77"/>
                      <a:pt x="222" y="74"/>
                    </a:cubicBezTo>
                    <a:cubicBezTo>
                      <a:pt x="220" y="71"/>
                      <a:pt x="220" y="70"/>
                      <a:pt x="221" y="69"/>
                    </a:cubicBezTo>
                    <a:cubicBezTo>
                      <a:pt x="223" y="68"/>
                      <a:pt x="223" y="65"/>
                      <a:pt x="223" y="65"/>
                    </a:cubicBezTo>
                    <a:cubicBezTo>
                      <a:pt x="223" y="65"/>
                      <a:pt x="219" y="64"/>
                      <a:pt x="218" y="63"/>
                    </a:cubicBezTo>
                    <a:cubicBezTo>
                      <a:pt x="218" y="61"/>
                      <a:pt x="215" y="59"/>
                      <a:pt x="215" y="57"/>
                    </a:cubicBezTo>
                    <a:cubicBezTo>
                      <a:pt x="215" y="56"/>
                      <a:pt x="213" y="56"/>
                      <a:pt x="211" y="58"/>
                    </a:cubicBezTo>
                    <a:cubicBezTo>
                      <a:pt x="209" y="59"/>
                      <a:pt x="206" y="56"/>
                      <a:pt x="202" y="58"/>
                    </a:cubicBezTo>
                    <a:cubicBezTo>
                      <a:pt x="198" y="60"/>
                      <a:pt x="197" y="63"/>
                      <a:pt x="195" y="63"/>
                    </a:cubicBezTo>
                    <a:cubicBezTo>
                      <a:pt x="193" y="62"/>
                      <a:pt x="193" y="64"/>
                      <a:pt x="191" y="66"/>
                    </a:cubicBezTo>
                    <a:cubicBezTo>
                      <a:pt x="190" y="67"/>
                      <a:pt x="189" y="69"/>
                      <a:pt x="188" y="69"/>
                    </a:cubicBezTo>
                    <a:cubicBezTo>
                      <a:pt x="187" y="69"/>
                      <a:pt x="184" y="71"/>
                      <a:pt x="184" y="71"/>
                    </a:cubicBezTo>
                    <a:cubicBezTo>
                      <a:pt x="184" y="71"/>
                      <a:pt x="186" y="76"/>
                      <a:pt x="184" y="78"/>
                    </a:cubicBezTo>
                    <a:cubicBezTo>
                      <a:pt x="183" y="80"/>
                      <a:pt x="180" y="78"/>
                      <a:pt x="177" y="79"/>
                    </a:cubicBezTo>
                    <a:cubicBezTo>
                      <a:pt x="173" y="80"/>
                      <a:pt x="171" y="78"/>
                      <a:pt x="169" y="78"/>
                    </a:cubicBezTo>
                    <a:cubicBezTo>
                      <a:pt x="166" y="79"/>
                      <a:pt x="165" y="77"/>
                      <a:pt x="164" y="77"/>
                    </a:cubicBezTo>
                    <a:cubicBezTo>
                      <a:pt x="162" y="77"/>
                      <a:pt x="160" y="74"/>
                      <a:pt x="161" y="71"/>
                    </a:cubicBezTo>
                    <a:cubicBezTo>
                      <a:pt x="162" y="69"/>
                      <a:pt x="160" y="65"/>
                      <a:pt x="158" y="67"/>
                    </a:cubicBezTo>
                    <a:cubicBezTo>
                      <a:pt x="157" y="69"/>
                      <a:pt x="155" y="68"/>
                      <a:pt x="155" y="71"/>
                    </a:cubicBezTo>
                    <a:cubicBezTo>
                      <a:pt x="155" y="74"/>
                      <a:pt x="157" y="78"/>
                      <a:pt x="155" y="79"/>
                    </a:cubicBezTo>
                    <a:cubicBezTo>
                      <a:pt x="153" y="81"/>
                      <a:pt x="143" y="82"/>
                      <a:pt x="141" y="81"/>
                    </a:cubicBezTo>
                    <a:cubicBezTo>
                      <a:pt x="139" y="79"/>
                      <a:pt x="131" y="78"/>
                      <a:pt x="131" y="77"/>
                    </a:cubicBezTo>
                    <a:cubicBezTo>
                      <a:pt x="130" y="75"/>
                      <a:pt x="128" y="72"/>
                      <a:pt x="126" y="72"/>
                    </a:cubicBezTo>
                    <a:cubicBezTo>
                      <a:pt x="124" y="72"/>
                      <a:pt x="120" y="74"/>
                      <a:pt x="118" y="73"/>
                    </a:cubicBezTo>
                    <a:cubicBezTo>
                      <a:pt x="117" y="72"/>
                      <a:pt x="114" y="70"/>
                      <a:pt x="112" y="70"/>
                    </a:cubicBezTo>
                    <a:cubicBezTo>
                      <a:pt x="110" y="69"/>
                      <a:pt x="106" y="68"/>
                      <a:pt x="106" y="66"/>
                    </a:cubicBezTo>
                    <a:cubicBezTo>
                      <a:pt x="105" y="65"/>
                      <a:pt x="100" y="64"/>
                      <a:pt x="99" y="63"/>
                    </a:cubicBezTo>
                    <a:cubicBezTo>
                      <a:pt x="98" y="62"/>
                      <a:pt x="95" y="62"/>
                      <a:pt x="95" y="60"/>
                    </a:cubicBezTo>
                    <a:cubicBezTo>
                      <a:pt x="95" y="58"/>
                      <a:pt x="97" y="56"/>
                      <a:pt x="97" y="54"/>
                    </a:cubicBezTo>
                    <a:cubicBezTo>
                      <a:pt x="97" y="52"/>
                      <a:pt x="100" y="50"/>
                      <a:pt x="100" y="49"/>
                    </a:cubicBezTo>
                    <a:cubicBezTo>
                      <a:pt x="100" y="48"/>
                      <a:pt x="97" y="45"/>
                      <a:pt x="97" y="45"/>
                    </a:cubicBezTo>
                    <a:cubicBezTo>
                      <a:pt x="97" y="45"/>
                      <a:pt x="95" y="41"/>
                      <a:pt x="92" y="41"/>
                    </a:cubicBezTo>
                    <a:cubicBezTo>
                      <a:pt x="90" y="41"/>
                      <a:pt x="88" y="37"/>
                      <a:pt x="85" y="37"/>
                    </a:cubicBezTo>
                    <a:cubicBezTo>
                      <a:pt x="83" y="36"/>
                      <a:pt x="84" y="32"/>
                      <a:pt x="83" y="30"/>
                    </a:cubicBezTo>
                    <a:cubicBezTo>
                      <a:pt x="81" y="29"/>
                      <a:pt x="82" y="25"/>
                      <a:pt x="84" y="27"/>
                    </a:cubicBezTo>
                    <a:cubicBezTo>
                      <a:pt x="87" y="29"/>
                      <a:pt x="91" y="27"/>
                      <a:pt x="89" y="24"/>
                    </a:cubicBezTo>
                    <a:cubicBezTo>
                      <a:pt x="88" y="21"/>
                      <a:pt x="85" y="18"/>
                      <a:pt x="85" y="17"/>
                    </a:cubicBezTo>
                    <a:cubicBezTo>
                      <a:pt x="85" y="15"/>
                      <a:pt x="87" y="11"/>
                      <a:pt x="84" y="9"/>
                    </a:cubicBezTo>
                    <a:cubicBezTo>
                      <a:pt x="82" y="8"/>
                      <a:pt x="80" y="6"/>
                      <a:pt x="80" y="4"/>
                    </a:cubicBezTo>
                    <a:cubicBezTo>
                      <a:pt x="79" y="2"/>
                      <a:pt x="77" y="0"/>
                      <a:pt x="77" y="0"/>
                    </a:cubicBezTo>
                    <a:cubicBezTo>
                      <a:pt x="73" y="0"/>
                      <a:pt x="73" y="0"/>
                      <a:pt x="73" y="0"/>
                    </a:cubicBezTo>
                    <a:cubicBezTo>
                      <a:pt x="73" y="0"/>
                      <a:pt x="71" y="5"/>
                      <a:pt x="70" y="6"/>
                    </a:cubicBezTo>
                    <a:cubicBezTo>
                      <a:pt x="69" y="7"/>
                      <a:pt x="64" y="8"/>
                      <a:pt x="62" y="9"/>
                    </a:cubicBezTo>
                    <a:cubicBezTo>
                      <a:pt x="60" y="11"/>
                      <a:pt x="54" y="7"/>
                      <a:pt x="50" y="7"/>
                    </a:cubicBezTo>
                    <a:cubicBezTo>
                      <a:pt x="47" y="7"/>
                      <a:pt x="44" y="11"/>
                      <a:pt x="46" y="11"/>
                    </a:cubicBezTo>
                    <a:cubicBezTo>
                      <a:pt x="48" y="12"/>
                      <a:pt x="47" y="19"/>
                      <a:pt x="47" y="19"/>
                    </a:cubicBezTo>
                    <a:cubicBezTo>
                      <a:pt x="47" y="19"/>
                      <a:pt x="49" y="27"/>
                      <a:pt x="52" y="27"/>
                    </a:cubicBezTo>
                    <a:cubicBezTo>
                      <a:pt x="55" y="26"/>
                      <a:pt x="58" y="30"/>
                      <a:pt x="56" y="30"/>
                    </a:cubicBezTo>
                    <a:cubicBezTo>
                      <a:pt x="53" y="31"/>
                      <a:pt x="52" y="34"/>
                      <a:pt x="52" y="36"/>
                    </a:cubicBezTo>
                    <a:cubicBezTo>
                      <a:pt x="51" y="39"/>
                      <a:pt x="52" y="42"/>
                      <a:pt x="50" y="42"/>
                    </a:cubicBezTo>
                    <a:cubicBezTo>
                      <a:pt x="48" y="43"/>
                      <a:pt x="46" y="43"/>
                      <a:pt x="46" y="47"/>
                    </a:cubicBezTo>
                    <a:cubicBezTo>
                      <a:pt x="46" y="50"/>
                      <a:pt x="42" y="49"/>
                      <a:pt x="42" y="51"/>
                    </a:cubicBezTo>
                    <a:cubicBezTo>
                      <a:pt x="41" y="52"/>
                      <a:pt x="39" y="58"/>
                      <a:pt x="38" y="59"/>
                    </a:cubicBezTo>
                    <a:cubicBezTo>
                      <a:pt x="37" y="60"/>
                      <a:pt x="32" y="60"/>
                      <a:pt x="32" y="63"/>
                    </a:cubicBezTo>
                    <a:cubicBezTo>
                      <a:pt x="31" y="66"/>
                      <a:pt x="29" y="70"/>
                      <a:pt x="27" y="69"/>
                    </a:cubicBezTo>
                    <a:cubicBezTo>
                      <a:pt x="26" y="69"/>
                      <a:pt x="23" y="68"/>
                      <a:pt x="22" y="70"/>
                    </a:cubicBezTo>
                    <a:cubicBezTo>
                      <a:pt x="21" y="71"/>
                      <a:pt x="17" y="68"/>
                      <a:pt x="16" y="69"/>
                    </a:cubicBezTo>
                    <a:cubicBezTo>
                      <a:pt x="15" y="70"/>
                      <a:pt x="10" y="74"/>
                      <a:pt x="10" y="77"/>
                    </a:cubicBezTo>
                    <a:cubicBezTo>
                      <a:pt x="10" y="79"/>
                      <a:pt x="15" y="79"/>
                      <a:pt x="15" y="82"/>
                    </a:cubicBezTo>
                    <a:cubicBezTo>
                      <a:pt x="15" y="85"/>
                      <a:pt x="17" y="89"/>
                      <a:pt x="18" y="91"/>
                    </a:cubicBezTo>
                    <a:cubicBezTo>
                      <a:pt x="20" y="92"/>
                      <a:pt x="23" y="96"/>
                      <a:pt x="21" y="98"/>
                    </a:cubicBezTo>
                    <a:cubicBezTo>
                      <a:pt x="20" y="100"/>
                      <a:pt x="18" y="100"/>
                      <a:pt x="15" y="99"/>
                    </a:cubicBezTo>
                    <a:cubicBezTo>
                      <a:pt x="12" y="99"/>
                      <a:pt x="13" y="101"/>
                      <a:pt x="8" y="100"/>
                    </a:cubicBezTo>
                    <a:cubicBezTo>
                      <a:pt x="3" y="99"/>
                      <a:pt x="2" y="103"/>
                      <a:pt x="0" y="105"/>
                    </a:cubicBezTo>
                    <a:cubicBezTo>
                      <a:pt x="0" y="105"/>
                      <a:pt x="0" y="105"/>
                      <a:pt x="0" y="105"/>
                    </a:cubicBezTo>
                    <a:cubicBezTo>
                      <a:pt x="2" y="107"/>
                      <a:pt x="3" y="111"/>
                      <a:pt x="7" y="112"/>
                    </a:cubicBezTo>
                    <a:cubicBezTo>
                      <a:pt x="12" y="114"/>
                      <a:pt x="16" y="109"/>
                      <a:pt x="16" y="113"/>
                    </a:cubicBezTo>
                    <a:cubicBezTo>
                      <a:pt x="16" y="116"/>
                      <a:pt x="5" y="115"/>
                      <a:pt x="5" y="116"/>
                    </a:cubicBezTo>
                    <a:cubicBezTo>
                      <a:pt x="5" y="118"/>
                      <a:pt x="16" y="131"/>
                      <a:pt x="22" y="130"/>
                    </a:cubicBezTo>
                    <a:cubicBezTo>
                      <a:pt x="28" y="129"/>
                      <a:pt x="32" y="123"/>
                      <a:pt x="30" y="122"/>
                    </a:cubicBezTo>
                    <a:cubicBezTo>
                      <a:pt x="29" y="121"/>
                      <a:pt x="31" y="117"/>
                      <a:pt x="33" y="118"/>
                    </a:cubicBezTo>
                    <a:cubicBezTo>
                      <a:pt x="34" y="119"/>
                      <a:pt x="33" y="125"/>
                      <a:pt x="35" y="126"/>
                    </a:cubicBezTo>
                    <a:cubicBezTo>
                      <a:pt x="37" y="128"/>
                      <a:pt x="36" y="130"/>
                      <a:pt x="35" y="134"/>
                    </a:cubicBezTo>
                    <a:cubicBezTo>
                      <a:pt x="34" y="137"/>
                      <a:pt x="36" y="143"/>
                      <a:pt x="36" y="147"/>
                    </a:cubicBezTo>
                    <a:cubicBezTo>
                      <a:pt x="37" y="151"/>
                      <a:pt x="39" y="156"/>
                      <a:pt x="40" y="162"/>
                    </a:cubicBezTo>
                    <a:cubicBezTo>
                      <a:pt x="41" y="167"/>
                      <a:pt x="44" y="177"/>
                      <a:pt x="48" y="183"/>
                    </a:cubicBezTo>
                    <a:cubicBezTo>
                      <a:pt x="51" y="189"/>
                      <a:pt x="53" y="201"/>
                      <a:pt x="55" y="204"/>
                    </a:cubicBezTo>
                    <a:cubicBezTo>
                      <a:pt x="58" y="207"/>
                      <a:pt x="63" y="216"/>
                      <a:pt x="63" y="221"/>
                    </a:cubicBezTo>
                    <a:cubicBezTo>
                      <a:pt x="63" y="226"/>
                      <a:pt x="69" y="234"/>
                      <a:pt x="71" y="235"/>
                    </a:cubicBezTo>
                    <a:cubicBezTo>
                      <a:pt x="73" y="237"/>
                      <a:pt x="77" y="233"/>
                      <a:pt x="78" y="230"/>
                    </a:cubicBezTo>
                    <a:cubicBezTo>
                      <a:pt x="79" y="227"/>
                      <a:pt x="86" y="226"/>
                      <a:pt x="86" y="223"/>
                    </a:cubicBezTo>
                    <a:cubicBezTo>
                      <a:pt x="86" y="220"/>
                      <a:pt x="87" y="218"/>
                      <a:pt x="89" y="217"/>
                    </a:cubicBezTo>
                    <a:cubicBezTo>
                      <a:pt x="91" y="217"/>
                      <a:pt x="91" y="215"/>
                      <a:pt x="91" y="211"/>
                    </a:cubicBezTo>
                    <a:cubicBezTo>
                      <a:pt x="91" y="208"/>
                      <a:pt x="91" y="204"/>
                      <a:pt x="94" y="201"/>
                    </a:cubicBezTo>
                    <a:cubicBezTo>
                      <a:pt x="96" y="199"/>
                      <a:pt x="96" y="191"/>
                      <a:pt x="95" y="188"/>
                    </a:cubicBezTo>
                    <a:cubicBezTo>
                      <a:pt x="93" y="185"/>
                      <a:pt x="94" y="181"/>
                      <a:pt x="95" y="178"/>
                    </a:cubicBezTo>
                    <a:cubicBezTo>
                      <a:pt x="96" y="175"/>
                      <a:pt x="96" y="172"/>
                      <a:pt x="98" y="171"/>
                    </a:cubicBezTo>
                    <a:cubicBezTo>
                      <a:pt x="101" y="171"/>
                      <a:pt x="104" y="169"/>
                      <a:pt x="106" y="166"/>
                    </a:cubicBezTo>
                    <a:cubicBezTo>
                      <a:pt x="109" y="163"/>
                      <a:pt x="116" y="158"/>
                      <a:pt x="118" y="156"/>
                    </a:cubicBezTo>
                    <a:cubicBezTo>
                      <a:pt x="121" y="154"/>
                      <a:pt x="129" y="147"/>
                      <a:pt x="131" y="143"/>
                    </a:cubicBezTo>
                    <a:cubicBezTo>
                      <a:pt x="134" y="139"/>
                      <a:pt x="141" y="138"/>
                      <a:pt x="144" y="135"/>
                    </a:cubicBezTo>
                    <a:cubicBezTo>
                      <a:pt x="147" y="131"/>
                      <a:pt x="146" y="130"/>
                      <a:pt x="146" y="126"/>
                    </a:cubicBezTo>
                    <a:cubicBezTo>
                      <a:pt x="147" y="123"/>
                      <a:pt x="157" y="121"/>
                      <a:pt x="161" y="121"/>
                    </a:cubicBezTo>
                    <a:cubicBezTo>
                      <a:pt x="161" y="121"/>
                      <a:pt x="162" y="121"/>
                      <a:pt x="163" y="121"/>
                    </a:cubicBezTo>
                    <a:cubicBezTo>
                      <a:pt x="163" y="116"/>
                      <a:pt x="161" y="109"/>
                      <a:pt x="160" y="10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5" name="Freeform 51">
                <a:extLst>
                  <a:ext uri="{FF2B5EF4-FFF2-40B4-BE49-F238E27FC236}">
                    <a16:creationId xmlns:a16="http://schemas.microsoft.com/office/drawing/2014/main" id="{E898C675-070C-43CF-8607-6578E83B80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43330" y="3017008"/>
                <a:ext cx="583448" cy="250945"/>
              </a:xfrm>
              <a:custGeom>
                <a:avLst/>
                <a:gdLst>
                  <a:gd name="T0" fmla="*/ 235 w 253"/>
                  <a:gd name="T1" fmla="*/ 47 h 109"/>
                  <a:gd name="T2" fmla="*/ 219 w 253"/>
                  <a:gd name="T3" fmla="*/ 45 h 109"/>
                  <a:gd name="T4" fmla="*/ 220 w 253"/>
                  <a:gd name="T5" fmla="*/ 37 h 109"/>
                  <a:gd name="T6" fmla="*/ 221 w 253"/>
                  <a:gd name="T7" fmla="*/ 23 h 109"/>
                  <a:gd name="T8" fmla="*/ 204 w 253"/>
                  <a:gd name="T9" fmla="*/ 21 h 109"/>
                  <a:gd name="T10" fmla="*/ 191 w 253"/>
                  <a:gd name="T11" fmla="*/ 28 h 109"/>
                  <a:gd name="T12" fmla="*/ 170 w 253"/>
                  <a:gd name="T13" fmla="*/ 31 h 109"/>
                  <a:gd name="T14" fmla="*/ 156 w 253"/>
                  <a:gd name="T15" fmla="*/ 24 h 109"/>
                  <a:gd name="T16" fmla="*/ 143 w 253"/>
                  <a:gd name="T17" fmla="*/ 20 h 109"/>
                  <a:gd name="T18" fmla="*/ 128 w 253"/>
                  <a:gd name="T19" fmla="*/ 19 h 109"/>
                  <a:gd name="T20" fmla="*/ 115 w 253"/>
                  <a:gd name="T21" fmla="*/ 20 h 109"/>
                  <a:gd name="T22" fmla="*/ 109 w 253"/>
                  <a:gd name="T23" fmla="*/ 9 h 109"/>
                  <a:gd name="T24" fmla="*/ 95 w 253"/>
                  <a:gd name="T25" fmla="*/ 4 h 109"/>
                  <a:gd name="T26" fmla="*/ 84 w 253"/>
                  <a:gd name="T27" fmla="*/ 1 h 109"/>
                  <a:gd name="T28" fmla="*/ 77 w 253"/>
                  <a:gd name="T29" fmla="*/ 6 h 109"/>
                  <a:gd name="T30" fmla="*/ 77 w 253"/>
                  <a:gd name="T31" fmla="*/ 17 h 109"/>
                  <a:gd name="T32" fmla="*/ 70 w 253"/>
                  <a:gd name="T33" fmla="*/ 25 h 109"/>
                  <a:gd name="T34" fmla="*/ 58 w 253"/>
                  <a:gd name="T35" fmla="*/ 24 h 109"/>
                  <a:gd name="T36" fmla="*/ 49 w 253"/>
                  <a:gd name="T37" fmla="*/ 16 h 109"/>
                  <a:gd name="T38" fmla="*/ 32 w 253"/>
                  <a:gd name="T39" fmla="*/ 16 h 109"/>
                  <a:gd name="T40" fmla="*/ 21 w 253"/>
                  <a:gd name="T41" fmla="*/ 21 h 109"/>
                  <a:gd name="T42" fmla="*/ 7 w 253"/>
                  <a:gd name="T43" fmla="*/ 28 h 109"/>
                  <a:gd name="T44" fmla="*/ 0 w 253"/>
                  <a:gd name="T45" fmla="*/ 31 h 109"/>
                  <a:gd name="T46" fmla="*/ 7 w 253"/>
                  <a:gd name="T47" fmla="*/ 39 h 109"/>
                  <a:gd name="T48" fmla="*/ 21 w 253"/>
                  <a:gd name="T49" fmla="*/ 49 h 109"/>
                  <a:gd name="T50" fmla="*/ 24 w 253"/>
                  <a:gd name="T51" fmla="*/ 63 h 109"/>
                  <a:gd name="T52" fmla="*/ 41 w 253"/>
                  <a:gd name="T53" fmla="*/ 74 h 109"/>
                  <a:gd name="T54" fmla="*/ 52 w 253"/>
                  <a:gd name="T55" fmla="*/ 81 h 109"/>
                  <a:gd name="T56" fmla="*/ 63 w 253"/>
                  <a:gd name="T57" fmla="*/ 96 h 109"/>
                  <a:gd name="T58" fmla="*/ 92 w 253"/>
                  <a:gd name="T59" fmla="*/ 98 h 109"/>
                  <a:gd name="T60" fmla="*/ 116 w 253"/>
                  <a:gd name="T61" fmla="*/ 103 h 109"/>
                  <a:gd name="T62" fmla="*/ 130 w 253"/>
                  <a:gd name="T63" fmla="*/ 108 h 109"/>
                  <a:gd name="T64" fmla="*/ 162 w 253"/>
                  <a:gd name="T65" fmla="*/ 101 h 109"/>
                  <a:gd name="T66" fmla="*/ 187 w 253"/>
                  <a:gd name="T67" fmla="*/ 87 h 109"/>
                  <a:gd name="T68" fmla="*/ 192 w 253"/>
                  <a:gd name="T69" fmla="*/ 75 h 109"/>
                  <a:gd name="T70" fmla="*/ 217 w 253"/>
                  <a:gd name="T71" fmla="*/ 70 h 109"/>
                  <a:gd name="T72" fmla="*/ 234 w 253"/>
                  <a:gd name="T73" fmla="*/ 60 h 109"/>
                  <a:gd name="T74" fmla="*/ 253 w 253"/>
                  <a:gd name="T75" fmla="*/ 56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253" h="109">
                    <a:moveTo>
                      <a:pt x="243" y="46"/>
                    </a:moveTo>
                    <a:cubicBezTo>
                      <a:pt x="240" y="42"/>
                      <a:pt x="236" y="44"/>
                      <a:pt x="235" y="47"/>
                    </a:cubicBezTo>
                    <a:cubicBezTo>
                      <a:pt x="234" y="49"/>
                      <a:pt x="232" y="46"/>
                      <a:pt x="227" y="46"/>
                    </a:cubicBezTo>
                    <a:cubicBezTo>
                      <a:pt x="222" y="46"/>
                      <a:pt x="222" y="48"/>
                      <a:pt x="219" y="45"/>
                    </a:cubicBezTo>
                    <a:cubicBezTo>
                      <a:pt x="216" y="42"/>
                      <a:pt x="220" y="41"/>
                      <a:pt x="220" y="41"/>
                    </a:cubicBezTo>
                    <a:cubicBezTo>
                      <a:pt x="220" y="37"/>
                      <a:pt x="220" y="37"/>
                      <a:pt x="220" y="37"/>
                    </a:cubicBezTo>
                    <a:cubicBezTo>
                      <a:pt x="227" y="24"/>
                      <a:pt x="227" y="24"/>
                      <a:pt x="227" y="24"/>
                    </a:cubicBezTo>
                    <a:cubicBezTo>
                      <a:pt x="225" y="23"/>
                      <a:pt x="222" y="23"/>
                      <a:pt x="221" y="23"/>
                    </a:cubicBezTo>
                    <a:cubicBezTo>
                      <a:pt x="219" y="24"/>
                      <a:pt x="215" y="24"/>
                      <a:pt x="214" y="22"/>
                    </a:cubicBezTo>
                    <a:cubicBezTo>
                      <a:pt x="214" y="20"/>
                      <a:pt x="206" y="20"/>
                      <a:pt x="204" y="21"/>
                    </a:cubicBezTo>
                    <a:cubicBezTo>
                      <a:pt x="202" y="23"/>
                      <a:pt x="198" y="24"/>
                      <a:pt x="198" y="26"/>
                    </a:cubicBezTo>
                    <a:cubicBezTo>
                      <a:pt x="197" y="27"/>
                      <a:pt x="193" y="27"/>
                      <a:pt x="191" y="28"/>
                    </a:cubicBezTo>
                    <a:cubicBezTo>
                      <a:pt x="190" y="29"/>
                      <a:pt x="181" y="30"/>
                      <a:pt x="181" y="31"/>
                    </a:cubicBezTo>
                    <a:cubicBezTo>
                      <a:pt x="181" y="32"/>
                      <a:pt x="171" y="32"/>
                      <a:pt x="170" y="31"/>
                    </a:cubicBezTo>
                    <a:cubicBezTo>
                      <a:pt x="169" y="30"/>
                      <a:pt x="161" y="31"/>
                      <a:pt x="160" y="29"/>
                    </a:cubicBezTo>
                    <a:cubicBezTo>
                      <a:pt x="159" y="27"/>
                      <a:pt x="156" y="26"/>
                      <a:pt x="156" y="24"/>
                    </a:cubicBezTo>
                    <a:cubicBezTo>
                      <a:pt x="156" y="23"/>
                      <a:pt x="150" y="23"/>
                      <a:pt x="149" y="21"/>
                    </a:cubicBezTo>
                    <a:cubicBezTo>
                      <a:pt x="148" y="20"/>
                      <a:pt x="143" y="19"/>
                      <a:pt x="143" y="20"/>
                    </a:cubicBezTo>
                    <a:cubicBezTo>
                      <a:pt x="142" y="20"/>
                      <a:pt x="137" y="18"/>
                      <a:pt x="135" y="18"/>
                    </a:cubicBezTo>
                    <a:cubicBezTo>
                      <a:pt x="134" y="18"/>
                      <a:pt x="129" y="19"/>
                      <a:pt x="128" y="19"/>
                    </a:cubicBezTo>
                    <a:cubicBezTo>
                      <a:pt x="127" y="19"/>
                      <a:pt x="124" y="21"/>
                      <a:pt x="122" y="22"/>
                    </a:cubicBezTo>
                    <a:cubicBezTo>
                      <a:pt x="121" y="22"/>
                      <a:pt x="116" y="19"/>
                      <a:pt x="115" y="20"/>
                    </a:cubicBezTo>
                    <a:cubicBezTo>
                      <a:pt x="114" y="20"/>
                      <a:pt x="111" y="17"/>
                      <a:pt x="110" y="16"/>
                    </a:cubicBezTo>
                    <a:cubicBezTo>
                      <a:pt x="109" y="14"/>
                      <a:pt x="110" y="10"/>
                      <a:pt x="109" y="9"/>
                    </a:cubicBezTo>
                    <a:cubicBezTo>
                      <a:pt x="108" y="7"/>
                      <a:pt x="103" y="7"/>
                      <a:pt x="101" y="6"/>
                    </a:cubicBezTo>
                    <a:cubicBezTo>
                      <a:pt x="100" y="6"/>
                      <a:pt x="97" y="4"/>
                      <a:pt x="95" y="4"/>
                    </a:cubicBezTo>
                    <a:cubicBezTo>
                      <a:pt x="94" y="4"/>
                      <a:pt x="91" y="4"/>
                      <a:pt x="90" y="3"/>
                    </a:cubicBezTo>
                    <a:cubicBezTo>
                      <a:pt x="90" y="2"/>
                      <a:pt x="86" y="1"/>
                      <a:pt x="84" y="1"/>
                    </a:cubicBezTo>
                    <a:cubicBezTo>
                      <a:pt x="83" y="0"/>
                      <a:pt x="83" y="2"/>
                      <a:pt x="82" y="3"/>
                    </a:cubicBezTo>
                    <a:cubicBezTo>
                      <a:pt x="81" y="4"/>
                      <a:pt x="78" y="4"/>
                      <a:pt x="77" y="6"/>
                    </a:cubicBezTo>
                    <a:cubicBezTo>
                      <a:pt x="77" y="8"/>
                      <a:pt x="74" y="8"/>
                      <a:pt x="74" y="10"/>
                    </a:cubicBezTo>
                    <a:cubicBezTo>
                      <a:pt x="74" y="12"/>
                      <a:pt x="76" y="16"/>
                      <a:pt x="77" y="17"/>
                    </a:cubicBezTo>
                    <a:cubicBezTo>
                      <a:pt x="78" y="18"/>
                      <a:pt x="77" y="21"/>
                      <a:pt x="77" y="21"/>
                    </a:cubicBezTo>
                    <a:cubicBezTo>
                      <a:pt x="76" y="22"/>
                      <a:pt x="71" y="23"/>
                      <a:pt x="70" y="25"/>
                    </a:cubicBezTo>
                    <a:cubicBezTo>
                      <a:pt x="69" y="26"/>
                      <a:pt x="67" y="25"/>
                      <a:pt x="64" y="23"/>
                    </a:cubicBezTo>
                    <a:cubicBezTo>
                      <a:pt x="62" y="22"/>
                      <a:pt x="59" y="23"/>
                      <a:pt x="58" y="24"/>
                    </a:cubicBezTo>
                    <a:cubicBezTo>
                      <a:pt x="57" y="25"/>
                      <a:pt x="52" y="21"/>
                      <a:pt x="51" y="21"/>
                    </a:cubicBezTo>
                    <a:cubicBezTo>
                      <a:pt x="50" y="21"/>
                      <a:pt x="50" y="16"/>
                      <a:pt x="49" y="16"/>
                    </a:cubicBezTo>
                    <a:cubicBezTo>
                      <a:pt x="47" y="17"/>
                      <a:pt x="39" y="15"/>
                      <a:pt x="37" y="15"/>
                    </a:cubicBezTo>
                    <a:cubicBezTo>
                      <a:pt x="36" y="14"/>
                      <a:pt x="32" y="14"/>
                      <a:pt x="32" y="16"/>
                    </a:cubicBezTo>
                    <a:cubicBezTo>
                      <a:pt x="31" y="17"/>
                      <a:pt x="27" y="16"/>
                      <a:pt x="26" y="18"/>
                    </a:cubicBezTo>
                    <a:cubicBezTo>
                      <a:pt x="25" y="19"/>
                      <a:pt x="22" y="20"/>
                      <a:pt x="21" y="21"/>
                    </a:cubicBezTo>
                    <a:cubicBezTo>
                      <a:pt x="20" y="23"/>
                      <a:pt x="16" y="23"/>
                      <a:pt x="15" y="25"/>
                    </a:cubicBezTo>
                    <a:cubicBezTo>
                      <a:pt x="14" y="27"/>
                      <a:pt x="9" y="28"/>
                      <a:pt x="7" y="28"/>
                    </a:cubicBezTo>
                    <a:cubicBezTo>
                      <a:pt x="6" y="29"/>
                      <a:pt x="2" y="29"/>
                      <a:pt x="2" y="30"/>
                    </a:cubicBezTo>
                    <a:cubicBezTo>
                      <a:pt x="2" y="31"/>
                      <a:pt x="1" y="31"/>
                      <a:pt x="0" y="31"/>
                    </a:cubicBezTo>
                    <a:cubicBezTo>
                      <a:pt x="1" y="31"/>
                      <a:pt x="1" y="32"/>
                      <a:pt x="1" y="32"/>
                    </a:cubicBezTo>
                    <a:cubicBezTo>
                      <a:pt x="2" y="37"/>
                      <a:pt x="4" y="37"/>
                      <a:pt x="7" y="39"/>
                    </a:cubicBezTo>
                    <a:cubicBezTo>
                      <a:pt x="9" y="41"/>
                      <a:pt x="11" y="43"/>
                      <a:pt x="14" y="43"/>
                    </a:cubicBezTo>
                    <a:cubicBezTo>
                      <a:pt x="16" y="43"/>
                      <a:pt x="20" y="47"/>
                      <a:pt x="21" y="49"/>
                    </a:cubicBezTo>
                    <a:cubicBezTo>
                      <a:pt x="21" y="51"/>
                      <a:pt x="23" y="54"/>
                      <a:pt x="25" y="55"/>
                    </a:cubicBezTo>
                    <a:cubicBezTo>
                      <a:pt x="26" y="56"/>
                      <a:pt x="24" y="60"/>
                      <a:pt x="24" y="63"/>
                    </a:cubicBezTo>
                    <a:cubicBezTo>
                      <a:pt x="24" y="66"/>
                      <a:pt x="21" y="67"/>
                      <a:pt x="23" y="70"/>
                    </a:cubicBezTo>
                    <a:cubicBezTo>
                      <a:pt x="24" y="73"/>
                      <a:pt x="37" y="74"/>
                      <a:pt x="41" y="74"/>
                    </a:cubicBezTo>
                    <a:cubicBezTo>
                      <a:pt x="44" y="74"/>
                      <a:pt x="46" y="78"/>
                      <a:pt x="47" y="78"/>
                    </a:cubicBezTo>
                    <a:cubicBezTo>
                      <a:pt x="49" y="78"/>
                      <a:pt x="49" y="81"/>
                      <a:pt x="52" y="81"/>
                    </a:cubicBezTo>
                    <a:cubicBezTo>
                      <a:pt x="55" y="82"/>
                      <a:pt x="57" y="83"/>
                      <a:pt x="58" y="88"/>
                    </a:cubicBezTo>
                    <a:cubicBezTo>
                      <a:pt x="59" y="93"/>
                      <a:pt x="62" y="94"/>
                      <a:pt x="63" y="96"/>
                    </a:cubicBezTo>
                    <a:cubicBezTo>
                      <a:pt x="63" y="98"/>
                      <a:pt x="69" y="97"/>
                      <a:pt x="73" y="97"/>
                    </a:cubicBezTo>
                    <a:cubicBezTo>
                      <a:pt x="77" y="98"/>
                      <a:pt x="89" y="97"/>
                      <a:pt x="92" y="98"/>
                    </a:cubicBezTo>
                    <a:cubicBezTo>
                      <a:pt x="95" y="98"/>
                      <a:pt x="103" y="98"/>
                      <a:pt x="107" y="101"/>
                    </a:cubicBezTo>
                    <a:cubicBezTo>
                      <a:pt x="111" y="104"/>
                      <a:pt x="113" y="102"/>
                      <a:pt x="116" y="103"/>
                    </a:cubicBezTo>
                    <a:cubicBezTo>
                      <a:pt x="118" y="105"/>
                      <a:pt x="120" y="106"/>
                      <a:pt x="124" y="105"/>
                    </a:cubicBezTo>
                    <a:cubicBezTo>
                      <a:pt x="128" y="105"/>
                      <a:pt x="128" y="108"/>
                      <a:pt x="130" y="108"/>
                    </a:cubicBezTo>
                    <a:cubicBezTo>
                      <a:pt x="133" y="109"/>
                      <a:pt x="137" y="104"/>
                      <a:pt x="144" y="101"/>
                    </a:cubicBezTo>
                    <a:cubicBezTo>
                      <a:pt x="151" y="98"/>
                      <a:pt x="159" y="100"/>
                      <a:pt x="162" y="101"/>
                    </a:cubicBezTo>
                    <a:cubicBezTo>
                      <a:pt x="166" y="101"/>
                      <a:pt x="173" y="99"/>
                      <a:pt x="177" y="94"/>
                    </a:cubicBezTo>
                    <a:cubicBezTo>
                      <a:pt x="181" y="90"/>
                      <a:pt x="186" y="91"/>
                      <a:pt x="187" y="87"/>
                    </a:cubicBezTo>
                    <a:cubicBezTo>
                      <a:pt x="187" y="82"/>
                      <a:pt x="183" y="81"/>
                      <a:pt x="185" y="77"/>
                    </a:cubicBezTo>
                    <a:cubicBezTo>
                      <a:pt x="187" y="74"/>
                      <a:pt x="190" y="74"/>
                      <a:pt x="192" y="75"/>
                    </a:cubicBezTo>
                    <a:cubicBezTo>
                      <a:pt x="194" y="76"/>
                      <a:pt x="200" y="78"/>
                      <a:pt x="205" y="74"/>
                    </a:cubicBezTo>
                    <a:cubicBezTo>
                      <a:pt x="210" y="70"/>
                      <a:pt x="213" y="71"/>
                      <a:pt x="217" y="70"/>
                    </a:cubicBezTo>
                    <a:cubicBezTo>
                      <a:pt x="222" y="70"/>
                      <a:pt x="221" y="67"/>
                      <a:pt x="224" y="64"/>
                    </a:cubicBezTo>
                    <a:cubicBezTo>
                      <a:pt x="228" y="61"/>
                      <a:pt x="231" y="60"/>
                      <a:pt x="234" y="60"/>
                    </a:cubicBezTo>
                    <a:cubicBezTo>
                      <a:pt x="237" y="60"/>
                      <a:pt x="242" y="56"/>
                      <a:pt x="245" y="58"/>
                    </a:cubicBezTo>
                    <a:cubicBezTo>
                      <a:pt x="248" y="59"/>
                      <a:pt x="252" y="59"/>
                      <a:pt x="253" y="56"/>
                    </a:cubicBezTo>
                    <a:cubicBezTo>
                      <a:pt x="253" y="54"/>
                      <a:pt x="245" y="49"/>
                      <a:pt x="243" y="46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6" name="Freeform 52">
                <a:extLst>
                  <a:ext uri="{FF2B5EF4-FFF2-40B4-BE49-F238E27FC236}">
                    <a16:creationId xmlns:a16="http://schemas.microsoft.com/office/drawing/2014/main" id="{E4DCD4BC-3A75-4B90-9281-A1D0DB1FD1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60879" y="3457416"/>
                <a:ext cx="10038" cy="25095"/>
              </a:xfrm>
              <a:custGeom>
                <a:avLst/>
                <a:gdLst>
                  <a:gd name="T0" fmla="*/ 2 w 4"/>
                  <a:gd name="T1" fmla="*/ 0 h 11"/>
                  <a:gd name="T2" fmla="*/ 0 w 4"/>
                  <a:gd name="T3" fmla="*/ 6 h 11"/>
                  <a:gd name="T4" fmla="*/ 3 w 4"/>
                  <a:gd name="T5" fmla="*/ 11 h 11"/>
                  <a:gd name="T6" fmla="*/ 4 w 4"/>
                  <a:gd name="T7" fmla="*/ 1 h 11"/>
                  <a:gd name="T8" fmla="*/ 4 w 4"/>
                  <a:gd name="T9" fmla="*/ 0 h 11"/>
                  <a:gd name="T10" fmla="*/ 2 w 4"/>
                  <a:gd name="T11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11">
                    <a:moveTo>
                      <a:pt x="2" y="0"/>
                    </a:moveTo>
                    <a:cubicBezTo>
                      <a:pt x="1" y="0"/>
                      <a:pt x="0" y="5"/>
                      <a:pt x="0" y="6"/>
                    </a:cubicBezTo>
                    <a:cubicBezTo>
                      <a:pt x="0" y="6"/>
                      <a:pt x="1" y="8"/>
                      <a:pt x="3" y="11"/>
                    </a:cubicBezTo>
                    <a:cubicBezTo>
                      <a:pt x="4" y="7"/>
                      <a:pt x="4" y="2"/>
                      <a:pt x="4" y="1"/>
                    </a:cubicBezTo>
                    <a:cubicBezTo>
                      <a:pt x="4" y="1"/>
                      <a:pt x="4" y="0"/>
                      <a:pt x="4" y="0"/>
                    </a:cubicBezTo>
                    <a:cubicBezTo>
                      <a:pt x="3" y="0"/>
                      <a:pt x="2" y="0"/>
                      <a:pt x="2" y="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7" name="Freeform 53">
                <a:extLst>
                  <a:ext uri="{FF2B5EF4-FFF2-40B4-BE49-F238E27FC236}">
                    <a16:creationId xmlns:a16="http://schemas.microsoft.com/office/drawing/2014/main" id="{43057A79-9A5B-4FDA-B309-765AB68A86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45823" y="3441105"/>
                <a:ext cx="27604" cy="75284"/>
              </a:xfrm>
              <a:custGeom>
                <a:avLst/>
                <a:gdLst>
                  <a:gd name="T0" fmla="*/ 6 w 12"/>
                  <a:gd name="T1" fmla="*/ 33 h 33"/>
                  <a:gd name="T2" fmla="*/ 7 w 12"/>
                  <a:gd name="T3" fmla="*/ 33 h 33"/>
                  <a:gd name="T4" fmla="*/ 9 w 12"/>
                  <a:gd name="T5" fmla="*/ 22 h 33"/>
                  <a:gd name="T6" fmla="*/ 10 w 12"/>
                  <a:gd name="T7" fmla="*/ 18 h 33"/>
                  <a:gd name="T8" fmla="*/ 7 w 12"/>
                  <a:gd name="T9" fmla="*/ 13 h 33"/>
                  <a:gd name="T10" fmla="*/ 9 w 12"/>
                  <a:gd name="T11" fmla="*/ 7 h 33"/>
                  <a:gd name="T12" fmla="*/ 11 w 12"/>
                  <a:gd name="T13" fmla="*/ 7 h 33"/>
                  <a:gd name="T14" fmla="*/ 12 w 12"/>
                  <a:gd name="T15" fmla="*/ 1 h 33"/>
                  <a:gd name="T16" fmla="*/ 8 w 12"/>
                  <a:gd name="T17" fmla="*/ 0 h 33"/>
                  <a:gd name="T18" fmla="*/ 7 w 12"/>
                  <a:gd name="T19" fmla="*/ 3 h 33"/>
                  <a:gd name="T20" fmla="*/ 0 w 12"/>
                  <a:gd name="T21" fmla="*/ 18 h 33"/>
                  <a:gd name="T22" fmla="*/ 6 w 12"/>
                  <a:gd name="T23" fmla="*/ 32 h 33"/>
                  <a:gd name="T24" fmla="*/ 6 w 12"/>
                  <a:gd name="T25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" h="33">
                    <a:moveTo>
                      <a:pt x="6" y="33"/>
                    </a:moveTo>
                    <a:cubicBezTo>
                      <a:pt x="6" y="33"/>
                      <a:pt x="6" y="33"/>
                      <a:pt x="7" y="33"/>
                    </a:cubicBezTo>
                    <a:cubicBezTo>
                      <a:pt x="7" y="28"/>
                      <a:pt x="8" y="23"/>
                      <a:pt x="9" y="22"/>
                    </a:cubicBezTo>
                    <a:cubicBezTo>
                      <a:pt x="10" y="21"/>
                      <a:pt x="10" y="19"/>
                      <a:pt x="10" y="18"/>
                    </a:cubicBezTo>
                    <a:cubicBezTo>
                      <a:pt x="8" y="15"/>
                      <a:pt x="7" y="13"/>
                      <a:pt x="7" y="13"/>
                    </a:cubicBezTo>
                    <a:cubicBezTo>
                      <a:pt x="7" y="12"/>
                      <a:pt x="8" y="7"/>
                      <a:pt x="9" y="7"/>
                    </a:cubicBezTo>
                    <a:cubicBezTo>
                      <a:pt x="9" y="7"/>
                      <a:pt x="10" y="7"/>
                      <a:pt x="11" y="7"/>
                    </a:cubicBezTo>
                    <a:cubicBezTo>
                      <a:pt x="12" y="5"/>
                      <a:pt x="12" y="3"/>
                      <a:pt x="12" y="1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1"/>
                      <a:pt x="7" y="2"/>
                      <a:pt x="7" y="3"/>
                    </a:cubicBezTo>
                    <a:cubicBezTo>
                      <a:pt x="6" y="8"/>
                      <a:pt x="2" y="15"/>
                      <a:pt x="0" y="18"/>
                    </a:cubicBezTo>
                    <a:cubicBezTo>
                      <a:pt x="6" y="32"/>
                      <a:pt x="6" y="32"/>
                      <a:pt x="6" y="32"/>
                    </a:cubicBezTo>
                    <a:lnTo>
                      <a:pt x="6" y="33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8" name="Freeform 54">
                <a:extLst>
                  <a:ext uri="{FF2B5EF4-FFF2-40B4-BE49-F238E27FC236}">
                    <a16:creationId xmlns:a16="http://schemas.microsoft.com/office/drawing/2014/main" id="{20BABA54-239B-42B8-BA6A-A96F6921FA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60879" y="3438596"/>
                <a:ext cx="79048" cy="87831"/>
              </a:xfrm>
              <a:custGeom>
                <a:avLst/>
                <a:gdLst>
                  <a:gd name="T0" fmla="*/ 31 w 34"/>
                  <a:gd name="T1" fmla="*/ 0 h 38"/>
                  <a:gd name="T2" fmla="*/ 21 w 34"/>
                  <a:gd name="T3" fmla="*/ 5 h 38"/>
                  <a:gd name="T4" fmla="*/ 13 w 34"/>
                  <a:gd name="T5" fmla="*/ 9 h 38"/>
                  <a:gd name="T6" fmla="*/ 6 w 34"/>
                  <a:gd name="T7" fmla="*/ 5 h 38"/>
                  <a:gd name="T8" fmla="*/ 5 w 34"/>
                  <a:gd name="T9" fmla="*/ 2 h 38"/>
                  <a:gd name="T10" fmla="*/ 5 w 34"/>
                  <a:gd name="T11" fmla="*/ 2 h 38"/>
                  <a:gd name="T12" fmla="*/ 4 w 34"/>
                  <a:gd name="T13" fmla="*/ 9 h 38"/>
                  <a:gd name="T14" fmla="*/ 2 w 34"/>
                  <a:gd name="T15" fmla="*/ 23 h 38"/>
                  <a:gd name="T16" fmla="*/ 0 w 34"/>
                  <a:gd name="T17" fmla="*/ 34 h 38"/>
                  <a:gd name="T18" fmla="*/ 7 w 34"/>
                  <a:gd name="T19" fmla="*/ 37 h 38"/>
                  <a:gd name="T20" fmla="*/ 13 w 34"/>
                  <a:gd name="T21" fmla="*/ 33 h 38"/>
                  <a:gd name="T22" fmla="*/ 18 w 34"/>
                  <a:gd name="T23" fmla="*/ 30 h 38"/>
                  <a:gd name="T24" fmla="*/ 23 w 34"/>
                  <a:gd name="T25" fmla="*/ 26 h 38"/>
                  <a:gd name="T26" fmla="*/ 17 w 34"/>
                  <a:gd name="T27" fmla="*/ 19 h 38"/>
                  <a:gd name="T28" fmla="*/ 25 w 34"/>
                  <a:gd name="T29" fmla="*/ 14 h 38"/>
                  <a:gd name="T30" fmla="*/ 33 w 34"/>
                  <a:gd name="T31" fmla="*/ 12 h 38"/>
                  <a:gd name="T32" fmla="*/ 34 w 34"/>
                  <a:gd name="T33" fmla="*/ 12 h 38"/>
                  <a:gd name="T34" fmla="*/ 32 w 34"/>
                  <a:gd name="T35" fmla="*/ 4 h 38"/>
                  <a:gd name="T36" fmla="*/ 31 w 34"/>
                  <a:gd name="T37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4" h="38">
                    <a:moveTo>
                      <a:pt x="31" y="0"/>
                    </a:moveTo>
                    <a:cubicBezTo>
                      <a:pt x="26" y="3"/>
                      <a:pt x="22" y="5"/>
                      <a:pt x="21" y="5"/>
                    </a:cubicBezTo>
                    <a:cubicBezTo>
                      <a:pt x="19" y="5"/>
                      <a:pt x="13" y="9"/>
                      <a:pt x="13" y="9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5"/>
                      <a:pt x="4" y="8"/>
                      <a:pt x="4" y="9"/>
                    </a:cubicBezTo>
                    <a:cubicBezTo>
                      <a:pt x="4" y="11"/>
                      <a:pt x="4" y="21"/>
                      <a:pt x="2" y="23"/>
                    </a:cubicBezTo>
                    <a:cubicBezTo>
                      <a:pt x="1" y="24"/>
                      <a:pt x="0" y="29"/>
                      <a:pt x="0" y="34"/>
                    </a:cubicBezTo>
                    <a:cubicBezTo>
                      <a:pt x="2" y="36"/>
                      <a:pt x="5" y="37"/>
                      <a:pt x="7" y="37"/>
                    </a:cubicBezTo>
                    <a:cubicBezTo>
                      <a:pt x="10" y="38"/>
                      <a:pt x="13" y="34"/>
                      <a:pt x="13" y="33"/>
                    </a:cubicBezTo>
                    <a:cubicBezTo>
                      <a:pt x="13" y="31"/>
                      <a:pt x="16" y="30"/>
                      <a:pt x="18" y="30"/>
                    </a:cubicBezTo>
                    <a:cubicBezTo>
                      <a:pt x="21" y="30"/>
                      <a:pt x="21" y="27"/>
                      <a:pt x="23" y="26"/>
                    </a:cubicBezTo>
                    <a:cubicBezTo>
                      <a:pt x="25" y="26"/>
                      <a:pt x="19" y="20"/>
                      <a:pt x="17" y="19"/>
                    </a:cubicBezTo>
                    <a:cubicBezTo>
                      <a:pt x="15" y="19"/>
                      <a:pt x="19" y="15"/>
                      <a:pt x="25" y="14"/>
                    </a:cubicBezTo>
                    <a:cubicBezTo>
                      <a:pt x="31" y="14"/>
                      <a:pt x="30" y="12"/>
                      <a:pt x="33" y="12"/>
                    </a:cubicBezTo>
                    <a:cubicBezTo>
                      <a:pt x="33" y="12"/>
                      <a:pt x="34" y="12"/>
                      <a:pt x="34" y="12"/>
                    </a:cubicBezTo>
                    <a:cubicBezTo>
                      <a:pt x="33" y="9"/>
                      <a:pt x="32" y="6"/>
                      <a:pt x="32" y="4"/>
                    </a:cubicBezTo>
                    <a:cubicBezTo>
                      <a:pt x="31" y="3"/>
                      <a:pt x="31" y="1"/>
                      <a:pt x="31" y="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9" name="Freeform 55">
                <a:extLst>
                  <a:ext uri="{FF2B5EF4-FFF2-40B4-BE49-F238E27FC236}">
                    <a16:creationId xmlns:a16="http://schemas.microsoft.com/office/drawing/2014/main" id="{0CF4CECE-1445-4497-9D66-595B14CACB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9573" y="3226547"/>
                <a:ext cx="202011" cy="87831"/>
              </a:xfrm>
              <a:custGeom>
                <a:avLst/>
                <a:gdLst>
                  <a:gd name="T0" fmla="*/ 81 w 88"/>
                  <a:gd name="T1" fmla="*/ 8 h 38"/>
                  <a:gd name="T2" fmla="*/ 73 w 88"/>
                  <a:gd name="T3" fmla="*/ 5 h 38"/>
                  <a:gd name="T4" fmla="*/ 53 w 88"/>
                  <a:gd name="T5" fmla="*/ 4 h 38"/>
                  <a:gd name="T6" fmla="*/ 42 w 88"/>
                  <a:gd name="T7" fmla="*/ 1 h 38"/>
                  <a:gd name="T8" fmla="*/ 34 w 88"/>
                  <a:gd name="T9" fmla="*/ 4 h 38"/>
                  <a:gd name="T10" fmla="*/ 26 w 88"/>
                  <a:gd name="T11" fmla="*/ 6 h 38"/>
                  <a:gd name="T12" fmla="*/ 15 w 88"/>
                  <a:gd name="T13" fmla="*/ 6 h 38"/>
                  <a:gd name="T14" fmla="*/ 10 w 88"/>
                  <a:gd name="T15" fmla="*/ 11 h 38"/>
                  <a:gd name="T16" fmla="*/ 8 w 88"/>
                  <a:gd name="T17" fmla="*/ 16 h 38"/>
                  <a:gd name="T18" fmla="*/ 11 w 88"/>
                  <a:gd name="T19" fmla="*/ 18 h 38"/>
                  <a:gd name="T20" fmla="*/ 17 w 88"/>
                  <a:gd name="T21" fmla="*/ 18 h 38"/>
                  <a:gd name="T22" fmla="*/ 28 w 88"/>
                  <a:gd name="T23" fmla="*/ 23 h 38"/>
                  <a:gd name="T24" fmla="*/ 25 w 88"/>
                  <a:gd name="T25" fmla="*/ 27 h 38"/>
                  <a:gd name="T26" fmla="*/ 17 w 88"/>
                  <a:gd name="T27" fmla="*/ 29 h 38"/>
                  <a:gd name="T28" fmla="*/ 6 w 88"/>
                  <a:gd name="T29" fmla="*/ 30 h 38"/>
                  <a:gd name="T30" fmla="*/ 0 w 88"/>
                  <a:gd name="T31" fmla="*/ 35 h 38"/>
                  <a:gd name="T32" fmla="*/ 11 w 88"/>
                  <a:gd name="T33" fmla="*/ 36 h 38"/>
                  <a:gd name="T34" fmla="*/ 19 w 88"/>
                  <a:gd name="T35" fmla="*/ 36 h 38"/>
                  <a:gd name="T36" fmla="*/ 25 w 88"/>
                  <a:gd name="T37" fmla="*/ 38 h 38"/>
                  <a:gd name="T38" fmla="*/ 36 w 88"/>
                  <a:gd name="T39" fmla="*/ 37 h 38"/>
                  <a:gd name="T40" fmla="*/ 37 w 88"/>
                  <a:gd name="T41" fmla="*/ 33 h 38"/>
                  <a:gd name="T42" fmla="*/ 41 w 88"/>
                  <a:gd name="T43" fmla="*/ 31 h 38"/>
                  <a:gd name="T44" fmla="*/ 45 w 88"/>
                  <a:gd name="T45" fmla="*/ 28 h 38"/>
                  <a:gd name="T46" fmla="*/ 50 w 88"/>
                  <a:gd name="T47" fmla="*/ 26 h 38"/>
                  <a:gd name="T48" fmla="*/ 55 w 88"/>
                  <a:gd name="T49" fmla="*/ 28 h 38"/>
                  <a:gd name="T50" fmla="*/ 60 w 88"/>
                  <a:gd name="T51" fmla="*/ 25 h 38"/>
                  <a:gd name="T52" fmla="*/ 67 w 88"/>
                  <a:gd name="T53" fmla="*/ 23 h 38"/>
                  <a:gd name="T54" fmla="*/ 73 w 88"/>
                  <a:gd name="T55" fmla="*/ 19 h 38"/>
                  <a:gd name="T56" fmla="*/ 80 w 88"/>
                  <a:gd name="T57" fmla="*/ 15 h 38"/>
                  <a:gd name="T58" fmla="*/ 87 w 88"/>
                  <a:gd name="T59" fmla="*/ 12 h 38"/>
                  <a:gd name="T60" fmla="*/ 88 w 88"/>
                  <a:gd name="T61" fmla="*/ 10 h 38"/>
                  <a:gd name="T62" fmla="*/ 81 w 88"/>
                  <a:gd name="T63" fmla="*/ 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88" h="38">
                    <a:moveTo>
                      <a:pt x="81" y="8"/>
                    </a:moveTo>
                    <a:cubicBezTo>
                      <a:pt x="78" y="4"/>
                      <a:pt x="77" y="6"/>
                      <a:pt x="73" y="5"/>
                    </a:cubicBezTo>
                    <a:cubicBezTo>
                      <a:pt x="70" y="4"/>
                      <a:pt x="55" y="3"/>
                      <a:pt x="53" y="4"/>
                    </a:cubicBezTo>
                    <a:cubicBezTo>
                      <a:pt x="50" y="5"/>
                      <a:pt x="44" y="2"/>
                      <a:pt x="42" y="1"/>
                    </a:cubicBezTo>
                    <a:cubicBezTo>
                      <a:pt x="40" y="0"/>
                      <a:pt x="34" y="1"/>
                      <a:pt x="34" y="4"/>
                    </a:cubicBezTo>
                    <a:cubicBezTo>
                      <a:pt x="33" y="8"/>
                      <a:pt x="31" y="8"/>
                      <a:pt x="26" y="6"/>
                    </a:cubicBezTo>
                    <a:cubicBezTo>
                      <a:pt x="22" y="3"/>
                      <a:pt x="16" y="3"/>
                      <a:pt x="15" y="6"/>
                    </a:cubicBezTo>
                    <a:cubicBezTo>
                      <a:pt x="15" y="8"/>
                      <a:pt x="12" y="11"/>
                      <a:pt x="10" y="11"/>
                    </a:cubicBezTo>
                    <a:cubicBezTo>
                      <a:pt x="10" y="12"/>
                      <a:pt x="9" y="14"/>
                      <a:pt x="8" y="16"/>
                    </a:cubicBezTo>
                    <a:cubicBezTo>
                      <a:pt x="9" y="16"/>
                      <a:pt x="10" y="17"/>
                      <a:pt x="11" y="18"/>
                    </a:cubicBezTo>
                    <a:cubicBezTo>
                      <a:pt x="13" y="20"/>
                      <a:pt x="17" y="20"/>
                      <a:pt x="17" y="18"/>
                    </a:cubicBezTo>
                    <a:cubicBezTo>
                      <a:pt x="18" y="16"/>
                      <a:pt x="25" y="20"/>
                      <a:pt x="28" y="23"/>
                    </a:cubicBezTo>
                    <a:cubicBezTo>
                      <a:pt x="32" y="26"/>
                      <a:pt x="27" y="24"/>
                      <a:pt x="25" y="27"/>
                    </a:cubicBezTo>
                    <a:cubicBezTo>
                      <a:pt x="23" y="31"/>
                      <a:pt x="19" y="27"/>
                      <a:pt x="17" y="29"/>
                    </a:cubicBezTo>
                    <a:cubicBezTo>
                      <a:pt x="16" y="30"/>
                      <a:pt x="8" y="31"/>
                      <a:pt x="6" y="30"/>
                    </a:cubicBezTo>
                    <a:cubicBezTo>
                      <a:pt x="3" y="30"/>
                      <a:pt x="0" y="33"/>
                      <a:pt x="0" y="35"/>
                    </a:cubicBezTo>
                    <a:cubicBezTo>
                      <a:pt x="0" y="37"/>
                      <a:pt x="8" y="34"/>
                      <a:pt x="11" y="36"/>
                    </a:cubicBezTo>
                    <a:cubicBezTo>
                      <a:pt x="14" y="38"/>
                      <a:pt x="17" y="34"/>
                      <a:pt x="19" y="36"/>
                    </a:cubicBezTo>
                    <a:cubicBezTo>
                      <a:pt x="20" y="38"/>
                      <a:pt x="24" y="37"/>
                      <a:pt x="25" y="38"/>
                    </a:cubicBezTo>
                    <a:cubicBezTo>
                      <a:pt x="27" y="38"/>
                      <a:pt x="36" y="37"/>
                      <a:pt x="36" y="37"/>
                    </a:cubicBezTo>
                    <a:cubicBezTo>
                      <a:pt x="37" y="36"/>
                      <a:pt x="37" y="34"/>
                      <a:pt x="37" y="33"/>
                    </a:cubicBezTo>
                    <a:cubicBezTo>
                      <a:pt x="37" y="31"/>
                      <a:pt x="39" y="31"/>
                      <a:pt x="41" y="31"/>
                    </a:cubicBezTo>
                    <a:cubicBezTo>
                      <a:pt x="42" y="30"/>
                      <a:pt x="44" y="28"/>
                      <a:pt x="45" y="28"/>
                    </a:cubicBezTo>
                    <a:cubicBezTo>
                      <a:pt x="47" y="28"/>
                      <a:pt x="48" y="26"/>
                      <a:pt x="50" y="26"/>
                    </a:cubicBezTo>
                    <a:cubicBezTo>
                      <a:pt x="51" y="27"/>
                      <a:pt x="53" y="29"/>
                      <a:pt x="55" y="28"/>
                    </a:cubicBezTo>
                    <a:cubicBezTo>
                      <a:pt x="57" y="26"/>
                      <a:pt x="57" y="28"/>
                      <a:pt x="60" y="25"/>
                    </a:cubicBezTo>
                    <a:cubicBezTo>
                      <a:pt x="62" y="22"/>
                      <a:pt x="64" y="22"/>
                      <a:pt x="67" y="23"/>
                    </a:cubicBezTo>
                    <a:cubicBezTo>
                      <a:pt x="71" y="23"/>
                      <a:pt x="72" y="21"/>
                      <a:pt x="73" y="19"/>
                    </a:cubicBezTo>
                    <a:cubicBezTo>
                      <a:pt x="75" y="17"/>
                      <a:pt x="78" y="17"/>
                      <a:pt x="80" y="15"/>
                    </a:cubicBezTo>
                    <a:cubicBezTo>
                      <a:pt x="82" y="14"/>
                      <a:pt x="86" y="12"/>
                      <a:pt x="87" y="12"/>
                    </a:cubicBezTo>
                    <a:cubicBezTo>
                      <a:pt x="87" y="12"/>
                      <a:pt x="88" y="11"/>
                      <a:pt x="88" y="10"/>
                    </a:cubicBezTo>
                    <a:cubicBezTo>
                      <a:pt x="85" y="8"/>
                      <a:pt x="83" y="11"/>
                      <a:pt x="81" y="8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0" name="Freeform 56">
                <a:extLst>
                  <a:ext uri="{FF2B5EF4-FFF2-40B4-BE49-F238E27FC236}">
                    <a16:creationId xmlns:a16="http://schemas.microsoft.com/office/drawing/2014/main" id="{167C9983-CE57-4F8C-A492-E713F060F6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53729" y="3217764"/>
                <a:ext cx="129237" cy="57717"/>
              </a:xfrm>
              <a:custGeom>
                <a:avLst/>
                <a:gdLst>
                  <a:gd name="T0" fmla="*/ 22 w 56"/>
                  <a:gd name="T1" fmla="*/ 19 h 25"/>
                  <a:gd name="T2" fmla="*/ 27 w 56"/>
                  <a:gd name="T3" fmla="*/ 24 h 25"/>
                  <a:gd name="T4" fmla="*/ 28 w 56"/>
                  <a:gd name="T5" fmla="*/ 24 h 25"/>
                  <a:gd name="T6" fmla="*/ 36 w 56"/>
                  <a:gd name="T7" fmla="*/ 23 h 25"/>
                  <a:gd name="T8" fmla="*/ 43 w 56"/>
                  <a:gd name="T9" fmla="*/ 23 h 25"/>
                  <a:gd name="T10" fmla="*/ 43 w 56"/>
                  <a:gd name="T11" fmla="*/ 21 h 25"/>
                  <a:gd name="T12" fmla="*/ 48 w 56"/>
                  <a:gd name="T13" fmla="*/ 23 h 25"/>
                  <a:gd name="T14" fmla="*/ 54 w 56"/>
                  <a:gd name="T15" fmla="*/ 24 h 25"/>
                  <a:gd name="T16" fmla="*/ 52 w 56"/>
                  <a:gd name="T17" fmla="*/ 20 h 25"/>
                  <a:gd name="T18" fmla="*/ 53 w 56"/>
                  <a:gd name="T19" fmla="*/ 17 h 25"/>
                  <a:gd name="T20" fmla="*/ 48 w 56"/>
                  <a:gd name="T21" fmla="*/ 15 h 25"/>
                  <a:gd name="T22" fmla="*/ 46 w 56"/>
                  <a:gd name="T23" fmla="*/ 10 h 25"/>
                  <a:gd name="T24" fmla="*/ 43 w 56"/>
                  <a:gd name="T25" fmla="*/ 9 h 25"/>
                  <a:gd name="T26" fmla="*/ 35 w 56"/>
                  <a:gd name="T27" fmla="*/ 10 h 25"/>
                  <a:gd name="T28" fmla="*/ 30 w 56"/>
                  <a:gd name="T29" fmla="*/ 7 h 25"/>
                  <a:gd name="T30" fmla="*/ 25 w 56"/>
                  <a:gd name="T31" fmla="*/ 4 h 25"/>
                  <a:gd name="T32" fmla="*/ 12 w 56"/>
                  <a:gd name="T33" fmla="*/ 3 h 25"/>
                  <a:gd name="T34" fmla="*/ 3 w 56"/>
                  <a:gd name="T35" fmla="*/ 0 h 25"/>
                  <a:gd name="T36" fmla="*/ 0 w 56"/>
                  <a:gd name="T37" fmla="*/ 1 h 25"/>
                  <a:gd name="T38" fmla="*/ 12 w 56"/>
                  <a:gd name="T39" fmla="*/ 8 h 25"/>
                  <a:gd name="T40" fmla="*/ 15 w 56"/>
                  <a:gd name="T41" fmla="*/ 17 h 25"/>
                  <a:gd name="T42" fmla="*/ 13 w 56"/>
                  <a:gd name="T43" fmla="*/ 19 h 25"/>
                  <a:gd name="T44" fmla="*/ 22 w 56"/>
                  <a:gd name="T45" fmla="*/ 19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56" h="25">
                    <a:moveTo>
                      <a:pt x="22" y="19"/>
                    </a:moveTo>
                    <a:cubicBezTo>
                      <a:pt x="24" y="18"/>
                      <a:pt x="25" y="21"/>
                      <a:pt x="27" y="24"/>
                    </a:cubicBezTo>
                    <a:cubicBezTo>
                      <a:pt x="28" y="24"/>
                      <a:pt x="28" y="24"/>
                      <a:pt x="28" y="24"/>
                    </a:cubicBezTo>
                    <a:cubicBezTo>
                      <a:pt x="31" y="24"/>
                      <a:pt x="33" y="23"/>
                      <a:pt x="36" y="23"/>
                    </a:cubicBezTo>
                    <a:cubicBezTo>
                      <a:pt x="38" y="22"/>
                      <a:pt x="41" y="23"/>
                      <a:pt x="43" y="23"/>
                    </a:cubicBezTo>
                    <a:cubicBezTo>
                      <a:pt x="43" y="23"/>
                      <a:pt x="42" y="22"/>
                      <a:pt x="43" y="21"/>
                    </a:cubicBezTo>
                    <a:cubicBezTo>
                      <a:pt x="43" y="20"/>
                      <a:pt x="47" y="22"/>
                      <a:pt x="48" y="23"/>
                    </a:cubicBezTo>
                    <a:cubicBezTo>
                      <a:pt x="49" y="24"/>
                      <a:pt x="53" y="25"/>
                      <a:pt x="54" y="24"/>
                    </a:cubicBezTo>
                    <a:cubicBezTo>
                      <a:pt x="56" y="22"/>
                      <a:pt x="52" y="21"/>
                      <a:pt x="52" y="20"/>
                    </a:cubicBezTo>
                    <a:cubicBezTo>
                      <a:pt x="51" y="19"/>
                      <a:pt x="52" y="18"/>
                      <a:pt x="53" y="17"/>
                    </a:cubicBezTo>
                    <a:cubicBezTo>
                      <a:pt x="51" y="16"/>
                      <a:pt x="49" y="14"/>
                      <a:pt x="48" y="15"/>
                    </a:cubicBezTo>
                    <a:cubicBezTo>
                      <a:pt x="47" y="15"/>
                      <a:pt x="47" y="10"/>
                      <a:pt x="46" y="10"/>
                    </a:cubicBezTo>
                    <a:cubicBezTo>
                      <a:pt x="44" y="10"/>
                      <a:pt x="44" y="9"/>
                      <a:pt x="43" y="9"/>
                    </a:cubicBezTo>
                    <a:cubicBezTo>
                      <a:pt x="42" y="9"/>
                      <a:pt x="36" y="9"/>
                      <a:pt x="35" y="10"/>
                    </a:cubicBezTo>
                    <a:cubicBezTo>
                      <a:pt x="33" y="11"/>
                      <a:pt x="32" y="7"/>
                      <a:pt x="30" y="7"/>
                    </a:cubicBezTo>
                    <a:cubicBezTo>
                      <a:pt x="28" y="7"/>
                      <a:pt x="26" y="5"/>
                      <a:pt x="25" y="4"/>
                    </a:cubicBezTo>
                    <a:cubicBezTo>
                      <a:pt x="24" y="2"/>
                      <a:pt x="15" y="5"/>
                      <a:pt x="12" y="3"/>
                    </a:cubicBezTo>
                    <a:cubicBezTo>
                      <a:pt x="10" y="1"/>
                      <a:pt x="5" y="0"/>
                      <a:pt x="3" y="0"/>
                    </a:cubicBezTo>
                    <a:cubicBezTo>
                      <a:pt x="2" y="0"/>
                      <a:pt x="1" y="1"/>
                      <a:pt x="0" y="1"/>
                    </a:cubicBezTo>
                    <a:cubicBezTo>
                      <a:pt x="4" y="4"/>
                      <a:pt x="11" y="3"/>
                      <a:pt x="12" y="8"/>
                    </a:cubicBezTo>
                    <a:cubicBezTo>
                      <a:pt x="13" y="14"/>
                      <a:pt x="16" y="12"/>
                      <a:pt x="15" y="17"/>
                    </a:cubicBezTo>
                    <a:cubicBezTo>
                      <a:pt x="15" y="18"/>
                      <a:pt x="14" y="19"/>
                      <a:pt x="13" y="19"/>
                    </a:cubicBezTo>
                    <a:cubicBezTo>
                      <a:pt x="17" y="20"/>
                      <a:pt x="21" y="20"/>
                      <a:pt x="22" y="1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1" name="Freeform 57">
                <a:extLst>
                  <a:ext uri="{FF2B5EF4-FFF2-40B4-BE49-F238E27FC236}">
                    <a16:creationId xmlns:a16="http://schemas.microsoft.com/office/drawing/2014/main" id="{1FEF9A44-D5E5-4FCD-B0EA-25B748A2A1C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95256" y="3249132"/>
                <a:ext cx="350069" cy="136765"/>
              </a:xfrm>
              <a:custGeom>
                <a:avLst/>
                <a:gdLst>
                  <a:gd name="T0" fmla="*/ 147 w 152"/>
                  <a:gd name="T1" fmla="*/ 41 h 59"/>
                  <a:gd name="T2" fmla="*/ 147 w 152"/>
                  <a:gd name="T3" fmla="*/ 33 h 59"/>
                  <a:gd name="T4" fmla="*/ 147 w 152"/>
                  <a:gd name="T5" fmla="*/ 26 h 59"/>
                  <a:gd name="T6" fmla="*/ 149 w 152"/>
                  <a:gd name="T7" fmla="*/ 22 h 59"/>
                  <a:gd name="T8" fmla="*/ 148 w 152"/>
                  <a:gd name="T9" fmla="*/ 19 h 59"/>
                  <a:gd name="T10" fmla="*/ 142 w 152"/>
                  <a:gd name="T11" fmla="*/ 17 h 59"/>
                  <a:gd name="T12" fmla="*/ 139 w 152"/>
                  <a:gd name="T13" fmla="*/ 10 h 59"/>
                  <a:gd name="T14" fmla="*/ 134 w 152"/>
                  <a:gd name="T15" fmla="*/ 5 h 59"/>
                  <a:gd name="T16" fmla="*/ 125 w 152"/>
                  <a:gd name="T17" fmla="*/ 5 h 59"/>
                  <a:gd name="T18" fmla="*/ 110 w 152"/>
                  <a:gd name="T19" fmla="*/ 10 h 59"/>
                  <a:gd name="T20" fmla="*/ 96 w 152"/>
                  <a:gd name="T21" fmla="*/ 11 h 59"/>
                  <a:gd name="T22" fmla="*/ 87 w 152"/>
                  <a:gd name="T23" fmla="*/ 8 h 59"/>
                  <a:gd name="T24" fmla="*/ 80 w 152"/>
                  <a:gd name="T25" fmla="*/ 4 h 59"/>
                  <a:gd name="T26" fmla="*/ 68 w 152"/>
                  <a:gd name="T27" fmla="*/ 1 h 59"/>
                  <a:gd name="T28" fmla="*/ 43 w 152"/>
                  <a:gd name="T29" fmla="*/ 9 h 59"/>
                  <a:gd name="T30" fmla="*/ 26 w 152"/>
                  <a:gd name="T31" fmla="*/ 10 h 59"/>
                  <a:gd name="T32" fmla="*/ 22 w 152"/>
                  <a:gd name="T33" fmla="*/ 16 h 59"/>
                  <a:gd name="T34" fmla="*/ 5 w 152"/>
                  <a:gd name="T35" fmla="*/ 17 h 59"/>
                  <a:gd name="T36" fmla="*/ 3 w 152"/>
                  <a:gd name="T37" fmla="*/ 23 h 59"/>
                  <a:gd name="T38" fmla="*/ 7 w 152"/>
                  <a:gd name="T39" fmla="*/ 25 h 59"/>
                  <a:gd name="T40" fmla="*/ 7 w 152"/>
                  <a:gd name="T41" fmla="*/ 31 h 59"/>
                  <a:gd name="T42" fmla="*/ 7 w 152"/>
                  <a:gd name="T43" fmla="*/ 37 h 59"/>
                  <a:gd name="T44" fmla="*/ 7 w 152"/>
                  <a:gd name="T45" fmla="*/ 41 h 59"/>
                  <a:gd name="T46" fmla="*/ 12 w 152"/>
                  <a:gd name="T47" fmla="*/ 46 h 59"/>
                  <a:gd name="T48" fmla="*/ 17 w 152"/>
                  <a:gd name="T49" fmla="*/ 49 h 59"/>
                  <a:gd name="T50" fmla="*/ 21 w 152"/>
                  <a:gd name="T51" fmla="*/ 50 h 59"/>
                  <a:gd name="T52" fmla="*/ 26 w 152"/>
                  <a:gd name="T53" fmla="*/ 55 h 59"/>
                  <a:gd name="T54" fmla="*/ 36 w 152"/>
                  <a:gd name="T55" fmla="*/ 53 h 59"/>
                  <a:gd name="T56" fmla="*/ 43 w 152"/>
                  <a:gd name="T57" fmla="*/ 50 h 59"/>
                  <a:gd name="T58" fmla="*/ 54 w 152"/>
                  <a:gd name="T59" fmla="*/ 57 h 59"/>
                  <a:gd name="T60" fmla="*/ 62 w 152"/>
                  <a:gd name="T61" fmla="*/ 55 h 59"/>
                  <a:gd name="T62" fmla="*/ 69 w 152"/>
                  <a:gd name="T63" fmla="*/ 50 h 59"/>
                  <a:gd name="T64" fmla="*/ 76 w 152"/>
                  <a:gd name="T65" fmla="*/ 52 h 59"/>
                  <a:gd name="T66" fmla="*/ 82 w 152"/>
                  <a:gd name="T67" fmla="*/ 50 h 59"/>
                  <a:gd name="T68" fmla="*/ 80 w 152"/>
                  <a:gd name="T69" fmla="*/ 57 h 59"/>
                  <a:gd name="T70" fmla="*/ 80 w 152"/>
                  <a:gd name="T71" fmla="*/ 59 h 59"/>
                  <a:gd name="T72" fmla="*/ 85 w 152"/>
                  <a:gd name="T73" fmla="*/ 54 h 59"/>
                  <a:gd name="T74" fmla="*/ 88 w 152"/>
                  <a:gd name="T75" fmla="*/ 52 h 59"/>
                  <a:gd name="T76" fmla="*/ 95 w 152"/>
                  <a:gd name="T77" fmla="*/ 52 h 59"/>
                  <a:gd name="T78" fmla="*/ 100 w 152"/>
                  <a:gd name="T79" fmla="*/ 51 h 59"/>
                  <a:gd name="T80" fmla="*/ 109 w 152"/>
                  <a:gd name="T81" fmla="*/ 51 h 59"/>
                  <a:gd name="T82" fmla="*/ 120 w 152"/>
                  <a:gd name="T83" fmla="*/ 48 h 59"/>
                  <a:gd name="T84" fmla="*/ 129 w 152"/>
                  <a:gd name="T85" fmla="*/ 47 h 59"/>
                  <a:gd name="T86" fmla="*/ 132 w 152"/>
                  <a:gd name="T87" fmla="*/ 48 h 59"/>
                  <a:gd name="T88" fmla="*/ 136 w 152"/>
                  <a:gd name="T89" fmla="*/ 45 h 59"/>
                  <a:gd name="T90" fmla="*/ 143 w 152"/>
                  <a:gd name="T91" fmla="*/ 46 h 59"/>
                  <a:gd name="T92" fmla="*/ 151 w 152"/>
                  <a:gd name="T93" fmla="*/ 48 h 59"/>
                  <a:gd name="T94" fmla="*/ 147 w 152"/>
                  <a:gd name="T95" fmla="*/ 41 h 59"/>
                  <a:gd name="T96" fmla="*/ 14 w 152"/>
                  <a:gd name="T97" fmla="*/ 11 h 59"/>
                  <a:gd name="T98" fmla="*/ 24 w 152"/>
                  <a:gd name="T99" fmla="*/ 10 h 59"/>
                  <a:gd name="T100" fmla="*/ 18 w 152"/>
                  <a:gd name="T101" fmla="*/ 5 h 59"/>
                  <a:gd name="T102" fmla="*/ 16 w 152"/>
                  <a:gd name="T103" fmla="*/ 1 h 59"/>
                  <a:gd name="T104" fmla="*/ 13 w 152"/>
                  <a:gd name="T105" fmla="*/ 1 h 59"/>
                  <a:gd name="T106" fmla="*/ 5 w 152"/>
                  <a:gd name="T107" fmla="*/ 1 h 59"/>
                  <a:gd name="T108" fmla="*/ 6 w 152"/>
                  <a:gd name="T109" fmla="*/ 7 h 59"/>
                  <a:gd name="T110" fmla="*/ 3 w 152"/>
                  <a:gd name="T111" fmla="*/ 10 h 59"/>
                  <a:gd name="T112" fmla="*/ 1 w 152"/>
                  <a:gd name="T113" fmla="*/ 13 h 59"/>
                  <a:gd name="T114" fmla="*/ 6 w 152"/>
                  <a:gd name="T115" fmla="*/ 15 h 59"/>
                  <a:gd name="T116" fmla="*/ 14 w 152"/>
                  <a:gd name="T117" fmla="*/ 11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52" h="59">
                    <a:moveTo>
                      <a:pt x="147" y="41"/>
                    </a:moveTo>
                    <a:cubicBezTo>
                      <a:pt x="146" y="41"/>
                      <a:pt x="148" y="34"/>
                      <a:pt x="147" y="33"/>
                    </a:cubicBezTo>
                    <a:cubicBezTo>
                      <a:pt x="147" y="32"/>
                      <a:pt x="145" y="26"/>
                      <a:pt x="147" y="26"/>
                    </a:cubicBezTo>
                    <a:cubicBezTo>
                      <a:pt x="149" y="26"/>
                      <a:pt x="147" y="22"/>
                      <a:pt x="149" y="22"/>
                    </a:cubicBezTo>
                    <a:cubicBezTo>
                      <a:pt x="149" y="21"/>
                      <a:pt x="148" y="20"/>
                      <a:pt x="148" y="19"/>
                    </a:cubicBezTo>
                    <a:cubicBezTo>
                      <a:pt x="147" y="18"/>
                      <a:pt x="143" y="20"/>
                      <a:pt x="142" y="17"/>
                    </a:cubicBezTo>
                    <a:cubicBezTo>
                      <a:pt x="140" y="13"/>
                      <a:pt x="142" y="12"/>
                      <a:pt x="139" y="10"/>
                    </a:cubicBezTo>
                    <a:cubicBezTo>
                      <a:pt x="137" y="7"/>
                      <a:pt x="136" y="4"/>
                      <a:pt x="134" y="5"/>
                    </a:cubicBezTo>
                    <a:cubicBezTo>
                      <a:pt x="133" y="6"/>
                      <a:pt x="129" y="6"/>
                      <a:pt x="125" y="5"/>
                    </a:cubicBezTo>
                    <a:cubicBezTo>
                      <a:pt x="121" y="9"/>
                      <a:pt x="113" y="11"/>
                      <a:pt x="110" y="10"/>
                    </a:cubicBezTo>
                    <a:cubicBezTo>
                      <a:pt x="107" y="9"/>
                      <a:pt x="101" y="11"/>
                      <a:pt x="96" y="11"/>
                    </a:cubicBezTo>
                    <a:cubicBezTo>
                      <a:pt x="92" y="11"/>
                      <a:pt x="90" y="7"/>
                      <a:pt x="87" y="8"/>
                    </a:cubicBezTo>
                    <a:cubicBezTo>
                      <a:pt x="83" y="8"/>
                      <a:pt x="83" y="4"/>
                      <a:pt x="80" y="4"/>
                    </a:cubicBezTo>
                    <a:cubicBezTo>
                      <a:pt x="76" y="4"/>
                      <a:pt x="79" y="3"/>
                      <a:pt x="68" y="1"/>
                    </a:cubicBezTo>
                    <a:cubicBezTo>
                      <a:pt x="57" y="0"/>
                      <a:pt x="47" y="6"/>
                      <a:pt x="43" y="9"/>
                    </a:cubicBezTo>
                    <a:cubicBezTo>
                      <a:pt x="40" y="12"/>
                      <a:pt x="27" y="9"/>
                      <a:pt x="26" y="10"/>
                    </a:cubicBezTo>
                    <a:cubicBezTo>
                      <a:pt x="25" y="10"/>
                      <a:pt x="26" y="14"/>
                      <a:pt x="22" y="16"/>
                    </a:cubicBezTo>
                    <a:cubicBezTo>
                      <a:pt x="17" y="17"/>
                      <a:pt x="8" y="16"/>
                      <a:pt x="5" y="17"/>
                    </a:cubicBezTo>
                    <a:cubicBezTo>
                      <a:pt x="2" y="19"/>
                      <a:pt x="0" y="23"/>
                      <a:pt x="3" y="23"/>
                    </a:cubicBezTo>
                    <a:cubicBezTo>
                      <a:pt x="6" y="23"/>
                      <a:pt x="7" y="24"/>
                      <a:pt x="7" y="25"/>
                    </a:cubicBezTo>
                    <a:cubicBezTo>
                      <a:pt x="6" y="27"/>
                      <a:pt x="9" y="30"/>
                      <a:pt x="7" y="31"/>
                    </a:cubicBezTo>
                    <a:cubicBezTo>
                      <a:pt x="6" y="33"/>
                      <a:pt x="6" y="36"/>
                      <a:pt x="7" y="37"/>
                    </a:cubicBezTo>
                    <a:cubicBezTo>
                      <a:pt x="9" y="38"/>
                      <a:pt x="10" y="41"/>
                      <a:pt x="7" y="41"/>
                    </a:cubicBezTo>
                    <a:cubicBezTo>
                      <a:pt x="5" y="42"/>
                      <a:pt x="11" y="44"/>
                      <a:pt x="12" y="46"/>
                    </a:cubicBezTo>
                    <a:cubicBezTo>
                      <a:pt x="12" y="47"/>
                      <a:pt x="17" y="47"/>
                      <a:pt x="17" y="49"/>
                    </a:cubicBezTo>
                    <a:cubicBezTo>
                      <a:pt x="17" y="50"/>
                      <a:pt x="18" y="51"/>
                      <a:pt x="21" y="50"/>
                    </a:cubicBezTo>
                    <a:cubicBezTo>
                      <a:pt x="23" y="49"/>
                      <a:pt x="24" y="53"/>
                      <a:pt x="26" y="55"/>
                    </a:cubicBezTo>
                    <a:cubicBezTo>
                      <a:pt x="27" y="57"/>
                      <a:pt x="36" y="56"/>
                      <a:pt x="36" y="53"/>
                    </a:cubicBezTo>
                    <a:cubicBezTo>
                      <a:pt x="36" y="51"/>
                      <a:pt x="39" y="50"/>
                      <a:pt x="43" y="50"/>
                    </a:cubicBezTo>
                    <a:cubicBezTo>
                      <a:pt x="47" y="51"/>
                      <a:pt x="52" y="56"/>
                      <a:pt x="54" y="57"/>
                    </a:cubicBezTo>
                    <a:cubicBezTo>
                      <a:pt x="56" y="57"/>
                      <a:pt x="59" y="55"/>
                      <a:pt x="62" y="55"/>
                    </a:cubicBezTo>
                    <a:cubicBezTo>
                      <a:pt x="64" y="55"/>
                      <a:pt x="68" y="51"/>
                      <a:pt x="69" y="50"/>
                    </a:cubicBezTo>
                    <a:cubicBezTo>
                      <a:pt x="71" y="50"/>
                      <a:pt x="73" y="53"/>
                      <a:pt x="76" y="52"/>
                    </a:cubicBezTo>
                    <a:cubicBezTo>
                      <a:pt x="78" y="51"/>
                      <a:pt x="80" y="49"/>
                      <a:pt x="82" y="50"/>
                    </a:cubicBezTo>
                    <a:cubicBezTo>
                      <a:pt x="83" y="51"/>
                      <a:pt x="78" y="55"/>
                      <a:pt x="80" y="57"/>
                    </a:cubicBezTo>
                    <a:cubicBezTo>
                      <a:pt x="80" y="57"/>
                      <a:pt x="80" y="58"/>
                      <a:pt x="80" y="59"/>
                    </a:cubicBezTo>
                    <a:cubicBezTo>
                      <a:pt x="85" y="59"/>
                      <a:pt x="84" y="55"/>
                      <a:pt x="85" y="54"/>
                    </a:cubicBezTo>
                    <a:cubicBezTo>
                      <a:pt x="85" y="52"/>
                      <a:pt x="86" y="51"/>
                      <a:pt x="88" y="52"/>
                    </a:cubicBezTo>
                    <a:cubicBezTo>
                      <a:pt x="89" y="53"/>
                      <a:pt x="92" y="54"/>
                      <a:pt x="95" y="52"/>
                    </a:cubicBezTo>
                    <a:cubicBezTo>
                      <a:pt x="99" y="50"/>
                      <a:pt x="99" y="49"/>
                      <a:pt x="100" y="51"/>
                    </a:cubicBezTo>
                    <a:cubicBezTo>
                      <a:pt x="101" y="53"/>
                      <a:pt x="104" y="51"/>
                      <a:pt x="109" y="51"/>
                    </a:cubicBezTo>
                    <a:cubicBezTo>
                      <a:pt x="114" y="51"/>
                      <a:pt x="115" y="48"/>
                      <a:pt x="120" y="48"/>
                    </a:cubicBezTo>
                    <a:cubicBezTo>
                      <a:pt x="125" y="48"/>
                      <a:pt x="129" y="47"/>
                      <a:pt x="129" y="47"/>
                    </a:cubicBezTo>
                    <a:cubicBezTo>
                      <a:pt x="132" y="48"/>
                      <a:pt x="132" y="48"/>
                      <a:pt x="132" y="48"/>
                    </a:cubicBezTo>
                    <a:cubicBezTo>
                      <a:pt x="133" y="47"/>
                      <a:pt x="133" y="45"/>
                      <a:pt x="136" y="45"/>
                    </a:cubicBezTo>
                    <a:cubicBezTo>
                      <a:pt x="139" y="45"/>
                      <a:pt x="141" y="47"/>
                      <a:pt x="143" y="46"/>
                    </a:cubicBezTo>
                    <a:cubicBezTo>
                      <a:pt x="145" y="46"/>
                      <a:pt x="151" y="52"/>
                      <a:pt x="151" y="48"/>
                    </a:cubicBezTo>
                    <a:cubicBezTo>
                      <a:pt x="152" y="47"/>
                      <a:pt x="149" y="42"/>
                      <a:pt x="147" y="41"/>
                    </a:cubicBezTo>
                    <a:close/>
                    <a:moveTo>
                      <a:pt x="14" y="11"/>
                    </a:moveTo>
                    <a:cubicBezTo>
                      <a:pt x="16" y="10"/>
                      <a:pt x="23" y="11"/>
                      <a:pt x="24" y="10"/>
                    </a:cubicBezTo>
                    <a:cubicBezTo>
                      <a:pt x="26" y="8"/>
                      <a:pt x="20" y="7"/>
                      <a:pt x="18" y="5"/>
                    </a:cubicBezTo>
                    <a:cubicBezTo>
                      <a:pt x="17" y="4"/>
                      <a:pt x="17" y="2"/>
                      <a:pt x="16" y="1"/>
                    </a:cubicBezTo>
                    <a:cubicBezTo>
                      <a:pt x="15" y="1"/>
                      <a:pt x="14" y="2"/>
                      <a:pt x="13" y="1"/>
                    </a:cubicBezTo>
                    <a:cubicBezTo>
                      <a:pt x="11" y="0"/>
                      <a:pt x="6" y="1"/>
                      <a:pt x="5" y="1"/>
                    </a:cubicBezTo>
                    <a:cubicBezTo>
                      <a:pt x="4" y="2"/>
                      <a:pt x="6" y="5"/>
                      <a:pt x="6" y="7"/>
                    </a:cubicBezTo>
                    <a:cubicBezTo>
                      <a:pt x="6" y="9"/>
                      <a:pt x="3" y="9"/>
                      <a:pt x="3" y="10"/>
                    </a:cubicBezTo>
                    <a:cubicBezTo>
                      <a:pt x="3" y="11"/>
                      <a:pt x="2" y="12"/>
                      <a:pt x="1" y="13"/>
                    </a:cubicBezTo>
                    <a:cubicBezTo>
                      <a:pt x="3" y="14"/>
                      <a:pt x="4" y="15"/>
                      <a:pt x="6" y="15"/>
                    </a:cubicBezTo>
                    <a:cubicBezTo>
                      <a:pt x="9" y="15"/>
                      <a:pt x="11" y="12"/>
                      <a:pt x="14" y="1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2" name="Freeform 58">
                <a:extLst>
                  <a:ext uri="{FF2B5EF4-FFF2-40B4-BE49-F238E27FC236}">
                    <a16:creationId xmlns:a16="http://schemas.microsoft.com/office/drawing/2014/main" id="{27941950-983A-460E-8858-110F525BB7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67668" y="3388407"/>
                <a:ext cx="43915" cy="41406"/>
              </a:xfrm>
              <a:custGeom>
                <a:avLst/>
                <a:gdLst>
                  <a:gd name="T0" fmla="*/ 9 w 19"/>
                  <a:gd name="T1" fmla="*/ 0 h 18"/>
                  <a:gd name="T2" fmla="*/ 0 w 19"/>
                  <a:gd name="T3" fmla="*/ 6 h 18"/>
                  <a:gd name="T4" fmla="*/ 2 w 19"/>
                  <a:gd name="T5" fmla="*/ 8 h 18"/>
                  <a:gd name="T6" fmla="*/ 6 w 19"/>
                  <a:gd name="T7" fmla="*/ 13 h 18"/>
                  <a:gd name="T8" fmla="*/ 7 w 19"/>
                  <a:gd name="T9" fmla="*/ 18 h 18"/>
                  <a:gd name="T10" fmla="*/ 11 w 19"/>
                  <a:gd name="T11" fmla="*/ 18 h 18"/>
                  <a:gd name="T12" fmla="*/ 19 w 19"/>
                  <a:gd name="T13" fmla="*/ 8 h 18"/>
                  <a:gd name="T14" fmla="*/ 9 w 19"/>
                  <a:gd name="T15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" h="18">
                    <a:moveTo>
                      <a:pt x="9" y="0"/>
                    </a:moveTo>
                    <a:cubicBezTo>
                      <a:pt x="7" y="0"/>
                      <a:pt x="1" y="3"/>
                      <a:pt x="0" y="6"/>
                    </a:cubicBezTo>
                    <a:cubicBezTo>
                      <a:pt x="1" y="6"/>
                      <a:pt x="1" y="7"/>
                      <a:pt x="2" y="8"/>
                    </a:cubicBezTo>
                    <a:cubicBezTo>
                      <a:pt x="2" y="10"/>
                      <a:pt x="4" y="12"/>
                      <a:pt x="6" y="13"/>
                    </a:cubicBezTo>
                    <a:cubicBezTo>
                      <a:pt x="8" y="14"/>
                      <a:pt x="8" y="16"/>
                      <a:pt x="7" y="18"/>
                    </a:cubicBezTo>
                    <a:cubicBezTo>
                      <a:pt x="9" y="18"/>
                      <a:pt x="10" y="18"/>
                      <a:pt x="11" y="18"/>
                    </a:cubicBezTo>
                    <a:cubicBezTo>
                      <a:pt x="13" y="17"/>
                      <a:pt x="18" y="10"/>
                      <a:pt x="19" y="8"/>
                    </a:cubicBezTo>
                    <a:cubicBezTo>
                      <a:pt x="19" y="6"/>
                      <a:pt x="12" y="1"/>
                      <a:pt x="9" y="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3" name="Freeform 59">
                <a:extLst>
                  <a:ext uri="{FF2B5EF4-FFF2-40B4-BE49-F238E27FC236}">
                    <a16:creationId xmlns:a16="http://schemas.microsoft.com/office/drawing/2014/main" id="{56ABC612-EB28-40AB-83E8-5A93413A6A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04570" y="3232821"/>
                <a:ext cx="129237" cy="122963"/>
              </a:xfrm>
              <a:custGeom>
                <a:avLst/>
                <a:gdLst>
                  <a:gd name="T0" fmla="*/ 54 w 56"/>
                  <a:gd name="T1" fmla="*/ 3 h 53"/>
                  <a:gd name="T2" fmla="*/ 47 w 56"/>
                  <a:gd name="T3" fmla="*/ 0 h 53"/>
                  <a:gd name="T4" fmla="*/ 42 w 56"/>
                  <a:gd name="T5" fmla="*/ 7 h 53"/>
                  <a:gd name="T6" fmla="*/ 36 w 56"/>
                  <a:gd name="T7" fmla="*/ 11 h 53"/>
                  <a:gd name="T8" fmla="*/ 33 w 56"/>
                  <a:gd name="T9" fmla="*/ 14 h 53"/>
                  <a:gd name="T10" fmla="*/ 28 w 56"/>
                  <a:gd name="T11" fmla="*/ 15 h 53"/>
                  <a:gd name="T12" fmla="*/ 23 w 56"/>
                  <a:gd name="T13" fmla="*/ 13 h 53"/>
                  <a:gd name="T14" fmla="*/ 18 w 56"/>
                  <a:gd name="T15" fmla="*/ 19 h 53"/>
                  <a:gd name="T16" fmla="*/ 3 w 56"/>
                  <a:gd name="T17" fmla="*/ 27 h 53"/>
                  <a:gd name="T18" fmla="*/ 0 w 56"/>
                  <a:gd name="T19" fmla="*/ 31 h 53"/>
                  <a:gd name="T20" fmla="*/ 10 w 56"/>
                  <a:gd name="T21" fmla="*/ 35 h 53"/>
                  <a:gd name="T22" fmla="*/ 5 w 56"/>
                  <a:gd name="T23" fmla="*/ 44 h 53"/>
                  <a:gd name="T24" fmla="*/ 6 w 56"/>
                  <a:gd name="T25" fmla="*/ 49 h 53"/>
                  <a:gd name="T26" fmla="*/ 10 w 56"/>
                  <a:gd name="T27" fmla="*/ 51 h 53"/>
                  <a:gd name="T28" fmla="*/ 17 w 56"/>
                  <a:gd name="T29" fmla="*/ 50 h 53"/>
                  <a:gd name="T30" fmla="*/ 18 w 56"/>
                  <a:gd name="T31" fmla="*/ 51 h 53"/>
                  <a:gd name="T32" fmla="*/ 23 w 56"/>
                  <a:gd name="T33" fmla="*/ 47 h 53"/>
                  <a:gd name="T34" fmla="*/ 31 w 56"/>
                  <a:gd name="T35" fmla="*/ 46 h 53"/>
                  <a:gd name="T36" fmla="*/ 35 w 56"/>
                  <a:gd name="T37" fmla="*/ 44 h 53"/>
                  <a:gd name="T38" fmla="*/ 28 w 56"/>
                  <a:gd name="T39" fmla="*/ 37 h 53"/>
                  <a:gd name="T40" fmla="*/ 30 w 56"/>
                  <a:gd name="T41" fmla="*/ 30 h 53"/>
                  <a:gd name="T42" fmla="*/ 44 w 56"/>
                  <a:gd name="T43" fmla="*/ 22 h 53"/>
                  <a:gd name="T44" fmla="*/ 47 w 56"/>
                  <a:gd name="T45" fmla="*/ 12 h 53"/>
                  <a:gd name="T46" fmla="*/ 56 w 56"/>
                  <a:gd name="T47" fmla="*/ 3 h 53"/>
                  <a:gd name="T48" fmla="*/ 54 w 56"/>
                  <a:gd name="T49" fmla="*/ 3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6" h="53">
                    <a:moveTo>
                      <a:pt x="54" y="3"/>
                    </a:moveTo>
                    <a:cubicBezTo>
                      <a:pt x="50" y="4"/>
                      <a:pt x="49" y="0"/>
                      <a:pt x="47" y="0"/>
                    </a:cubicBezTo>
                    <a:cubicBezTo>
                      <a:pt x="44" y="0"/>
                      <a:pt x="45" y="7"/>
                      <a:pt x="42" y="7"/>
                    </a:cubicBezTo>
                    <a:cubicBezTo>
                      <a:pt x="40" y="7"/>
                      <a:pt x="40" y="10"/>
                      <a:pt x="36" y="11"/>
                    </a:cubicBezTo>
                    <a:cubicBezTo>
                      <a:pt x="33" y="11"/>
                      <a:pt x="32" y="11"/>
                      <a:pt x="33" y="14"/>
                    </a:cubicBezTo>
                    <a:cubicBezTo>
                      <a:pt x="35" y="16"/>
                      <a:pt x="31" y="15"/>
                      <a:pt x="28" y="15"/>
                    </a:cubicBezTo>
                    <a:cubicBezTo>
                      <a:pt x="25" y="15"/>
                      <a:pt x="25" y="13"/>
                      <a:pt x="23" y="13"/>
                    </a:cubicBezTo>
                    <a:cubicBezTo>
                      <a:pt x="21" y="13"/>
                      <a:pt x="19" y="17"/>
                      <a:pt x="18" y="19"/>
                    </a:cubicBezTo>
                    <a:cubicBezTo>
                      <a:pt x="16" y="21"/>
                      <a:pt x="6" y="26"/>
                      <a:pt x="3" y="27"/>
                    </a:cubicBezTo>
                    <a:cubicBezTo>
                      <a:pt x="2" y="28"/>
                      <a:pt x="1" y="29"/>
                      <a:pt x="0" y="31"/>
                    </a:cubicBezTo>
                    <a:cubicBezTo>
                      <a:pt x="4" y="31"/>
                      <a:pt x="8" y="33"/>
                      <a:pt x="10" y="35"/>
                    </a:cubicBezTo>
                    <a:cubicBezTo>
                      <a:pt x="12" y="38"/>
                      <a:pt x="7" y="41"/>
                      <a:pt x="5" y="44"/>
                    </a:cubicBezTo>
                    <a:cubicBezTo>
                      <a:pt x="3" y="47"/>
                      <a:pt x="6" y="47"/>
                      <a:pt x="6" y="49"/>
                    </a:cubicBezTo>
                    <a:cubicBezTo>
                      <a:pt x="6" y="51"/>
                      <a:pt x="9" y="53"/>
                      <a:pt x="10" y="51"/>
                    </a:cubicBezTo>
                    <a:cubicBezTo>
                      <a:pt x="11" y="49"/>
                      <a:pt x="13" y="50"/>
                      <a:pt x="17" y="50"/>
                    </a:cubicBezTo>
                    <a:cubicBezTo>
                      <a:pt x="18" y="50"/>
                      <a:pt x="18" y="50"/>
                      <a:pt x="18" y="51"/>
                    </a:cubicBezTo>
                    <a:cubicBezTo>
                      <a:pt x="20" y="49"/>
                      <a:pt x="22" y="48"/>
                      <a:pt x="23" y="47"/>
                    </a:cubicBezTo>
                    <a:cubicBezTo>
                      <a:pt x="24" y="46"/>
                      <a:pt x="28" y="46"/>
                      <a:pt x="31" y="46"/>
                    </a:cubicBezTo>
                    <a:cubicBezTo>
                      <a:pt x="32" y="46"/>
                      <a:pt x="33" y="45"/>
                      <a:pt x="35" y="44"/>
                    </a:cubicBezTo>
                    <a:cubicBezTo>
                      <a:pt x="32" y="41"/>
                      <a:pt x="29" y="38"/>
                      <a:pt x="28" y="37"/>
                    </a:cubicBezTo>
                    <a:cubicBezTo>
                      <a:pt x="25" y="36"/>
                      <a:pt x="27" y="31"/>
                      <a:pt x="30" y="30"/>
                    </a:cubicBezTo>
                    <a:cubicBezTo>
                      <a:pt x="33" y="29"/>
                      <a:pt x="41" y="23"/>
                      <a:pt x="44" y="22"/>
                    </a:cubicBezTo>
                    <a:cubicBezTo>
                      <a:pt x="46" y="20"/>
                      <a:pt x="45" y="16"/>
                      <a:pt x="47" y="12"/>
                    </a:cubicBezTo>
                    <a:cubicBezTo>
                      <a:pt x="48" y="10"/>
                      <a:pt x="52" y="6"/>
                      <a:pt x="56" y="3"/>
                    </a:cubicBezTo>
                    <a:cubicBezTo>
                      <a:pt x="55" y="3"/>
                      <a:pt x="54" y="3"/>
                      <a:pt x="54" y="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4" name="Freeform 60">
                <a:extLst>
                  <a:ext uri="{FF2B5EF4-FFF2-40B4-BE49-F238E27FC236}">
                    <a16:creationId xmlns:a16="http://schemas.microsoft.com/office/drawing/2014/main" id="{7C6D609B-DCC4-48CF-B71A-247DB10805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07819" y="3505096"/>
                <a:ext cx="143039" cy="81557"/>
              </a:xfrm>
              <a:custGeom>
                <a:avLst/>
                <a:gdLst>
                  <a:gd name="T0" fmla="*/ 61 w 62"/>
                  <a:gd name="T1" fmla="*/ 22 h 35"/>
                  <a:gd name="T2" fmla="*/ 59 w 62"/>
                  <a:gd name="T3" fmla="*/ 22 h 35"/>
                  <a:gd name="T4" fmla="*/ 48 w 62"/>
                  <a:gd name="T5" fmla="*/ 20 h 35"/>
                  <a:gd name="T6" fmla="*/ 33 w 62"/>
                  <a:gd name="T7" fmla="*/ 14 h 35"/>
                  <a:gd name="T8" fmla="*/ 17 w 62"/>
                  <a:gd name="T9" fmla="*/ 2 h 35"/>
                  <a:gd name="T10" fmla="*/ 10 w 62"/>
                  <a:gd name="T11" fmla="*/ 1 h 35"/>
                  <a:gd name="T12" fmla="*/ 5 w 62"/>
                  <a:gd name="T13" fmla="*/ 2 h 35"/>
                  <a:gd name="T14" fmla="*/ 2 w 62"/>
                  <a:gd name="T15" fmla="*/ 7 h 35"/>
                  <a:gd name="T16" fmla="*/ 0 w 62"/>
                  <a:gd name="T17" fmla="*/ 13 h 35"/>
                  <a:gd name="T18" fmla="*/ 4 w 62"/>
                  <a:gd name="T19" fmla="*/ 16 h 35"/>
                  <a:gd name="T20" fmla="*/ 11 w 62"/>
                  <a:gd name="T21" fmla="*/ 19 h 35"/>
                  <a:gd name="T22" fmla="*/ 17 w 62"/>
                  <a:gd name="T23" fmla="*/ 23 h 35"/>
                  <a:gd name="T24" fmla="*/ 23 w 62"/>
                  <a:gd name="T25" fmla="*/ 26 h 35"/>
                  <a:gd name="T26" fmla="*/ 31 w 62"/>
                  <a:gd name="T27" fmla="*/ 25 h 35"/>
                  <a:gd name="T28" fmla="*/ 36 w 62"/>
                  <a:gd name="T29" fmla="*/ 30 h 35"/>
                  <a:gd name="T30" fmla="*/ 46 w 62"/>
                  <a:gd name="T31" fmla="*/ 34 h 35"/>
                  <a:gd name="T32" fmla="*/ 60 w 62"/>
                  <a:gd name="T33" fmla="*/ 32 h 35"/>
                  <a:gd name="T34" fmla="*/ 60 w 62"/>
                  <a:gd name="T35" fmla="*/ 24 h 35"/>
                  <a:gd name="T36" fmla="*/ 61 w 62"/>
                  <a:gd name="T37" fmla="*/ 22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2" h="35">
                    <a:moveTo>
                      <a:pt x="61" y="22"/>
                    </a:moveTo>
                    <a:cubicBezTo>
                      <a:pt x="60" y="22"/>
                      <a:pt x="60" y="22"/>
                      <a:pt x="59" y="22"/>
                    </a:cubicBezTo>
                    <a:cubicBezTo>
                      <a:pt x="54" y="22"/>
                      <a:pt x="51" y="20"/>
                      <a:pt x="48" y="20"/>
                    </a:cubicBezTo>
                    <a:cubicBezTo>
                      <a:pt x="45" y="21"/>
                      <a:pt x="37" y="17"/>
                      <a:pt x="33" y="14"/>
                    </a:cubicBezTo>
                    <a:cubicBezTo>
                      <a:pt x="29" y="11"/>
                      <a:pt x="19" y="5"/>
                      <a:pt x="17" y="2"/>
                    </a:cubicBezTo>
                    <a:cubicBezTo>
                      <a:pt x="14" y="0"/>
                      <a:pt x="10" y="0"/>
                      <a:pt x="10" y="1"/>
                    </a:cubicBezTo>
                    <a:cubicBezTo>
                      <a:pt x="10" y="2"/>
                      <a:pt x="8" y="2"/>
                      <a:pt x="5" y="2"/>
                    </a:cubicBezTo>
                    <a:cubicBezTo>
                      <a:pt x="4" y="4"/>
                      <a:pt x="2" y="5"/>
                      <a:pt x="2" y="7"/>
                    </a:cubicBezTo>
                    <a:cubicBezTo>
                      <a:pt x="2" y="9"/>
                      <a:pt x="0" y="11"/>
                      <a:pt x="0" y="13"/>
                    </a:cubicBezTo>
                    <a:cubicBezTo>
                      <a:pt x="0" y="15"/>
                      <a:pt x="3" y="15"/>
                      <a:pt x="4" y="16"/>
                    </a:cubicBezTo>
                    <a:cubicBezTo>
                      <a:pt x="5" y="17"/>
                      <a:pt x="10" y="18"/>
                      <a:pt x="11" y="19"/>
                    </a:cubicBezTo>
                    <a:cubicBezTo>
                      <a:pt x="11" y="21"/>
                      <a:pt x="15" y="22"/>
                      <a:pt x="17" y="23"/>
                    </a:cubicBezTo>
                    <a:cubicBezTo>
                      <a:pt x="19" y="23"/>
                      <a:pt x="22" y="25"/>
                      <a:pt x="23" y="26"/>
                    </a:cubicBezTo>
                    <a:cubicBezTo>
                      <a:pt x="25" y="27"/>
                      <a:pt x="29" y="25"/>
                      <a:pt x="31" y="25"/>
                    </a:cubicBezTo>
                    <a:cubicBezTo>
                      <a:pt x="33" y="25"/>
                      <a:pt x="35" y="28"/>
                      <a:pt x="36" y="30"/>
                    </a:cubicBezTo>
                    <a:cubicBezTo>
                      <a:pt x="36" y="31"/>
                      <a:pt x="44" y="32"/>
                      <a:pt x="46" y="34"/>
                    </a:cubicBezTo>
                    <a:cubicBezTo>
                      <a:pt x="48" y="35"/>
                      <a:pt x="58" y="34"/>
                      <a:pt x="60" y="32"/>
                    </a:cubicBezTo>
                    <a:cubicBezTo>
                      <a:pt x="62" y="31"/>
                      <a:pt x="60" y="27"/>
                      <a:pt x="60" y="24"/>
                    </a:cubicBezTo>
                    <a:cubicBezTo>
                      <a:pt x="60" y="23"/>
                      <a:pt x="60" y="23"/>
                      <a:pt x="61" y="2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5" name="Freeform 61">
                <a:extLst>
                  <a:ext uri="{FF2B5EF4-FFF2-40B4-BE49-F238E27FC236}">
                    <a16:creationId xmlns:a16="http://schemas.microsoft.com/office/drawing/2014/main" id="{CCF8698C-9111-440A-9B10-E709585977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14849" y="3542738"/>
                <a:ext cx="159350" cy="350068"/>
              </a:xfrm>
              <a:custGeom>
                <a:avLst/>
                <a:gdLst>
                  <a:gd name="T0" fmla="*/ 55 w 69"/>
                  <a:gd name="T1" fmla="*/ 138 h 152"/>
                  <a:gd name="T2" fmla="*/ 53 w 69"/>
                  <a:gd name="T3" fmla="*/ 132 h 152"/>
                  <a:gd name="T4" fmla="*/ 50 w 69"/>
                  <a:gd name="T5" fmla="*/ 122 h 152"/>
                  <a:gd name="T6" fmla="*/ 47 w 69"/>
                  <a:gd name="T7" fmla="*/ 114 h 152"/>
                  <a:gd name="T8" fmla="*/ 48 w 69"/>
                  <a:gd name="T9" fmla="*/ 108 h 152"/>
                  <a:gd name="T10" fmla="*/ 48 w 69"/>
                  <a:gd name="T11" fmla="*/ 104 h 152"/>
                  <a:gd name="T12" fmla="*/ 47 w 69"/>
                  <a:gd name="T13" fmla="*/ 99 h 152"/>
                  <a:gd name="T14" fmla="*/ 41 w 69"/>
                  <a:gd name="T15" fmla="*/ 91 h 152"/>
                  <a:gd name="T16" fmla="*/ 42 w 69"/>
                  <a:gd name="T17" fmla="*/ 79 h 152"/>
                  <a:gd name="T18" fmla="*/ 47 w 69"/>
                  <a:gd name="T19" fmla="*/ 76 h 152"/>
                  <a:gd name="T20" fmla="*/ 53 w 69"/>
                  <a:gd name="T21" fmla="*/ 74 h 152"/>
                  <a:gd name="T22" fmla="*/ 60 w 69"/>
                  <a:gd name="T23" fmla="*/ 70 h 152"/>
                  <a:gd name="T24" fmla="*/ 64 w 69"/>
                  <a:gd name="T25" fmla="*/ 67 h 152"/>
                  <a:gd name="T26" fmla="*/ 68 w 69"/>
                  <a:gd name="T27" fmla="*/ 60 h 152"/>
                  <a:gd name="T28" fmla="*/ 69 w 69"/>
                  <a:gd name="T29" fmla="*/ 60 h 152"/>
                  <a:gd name="T30" fmla="*/ 65 w 69"/>
                  <a:gd name="T31" fmla="*/ 61 h 152"/>
                  <a:gd name="T32" fmla="*/ 60 w 69"/>
                  <a:gd name="T33" fmla="*/ 58 h 152"/>
                  <a:gd name="T34" fmla="*/ 55 w 69"/>
                  <a:gd name="T35" fmla="*/ 56 h 152"/>
                  <a:gd name="T36" fmla="*/ 55 w 69"/>
                  <a:gd name="T37" fmla="*/ 51 h 152"/>
                  <a:gd name="T38" fmla="*/ 52 w 69"/>
                  <a:gd name="T39" fmla="*/ 47 h 152"/>
                  <a:gd name="T40" fmla="*/ 50 w 69"/>
                  <a:gd name="T41" fmla="*/ 40 h 152"/>
                  <a:gd name="T42" fmla="*/ 43 w 69"/>
                  <a:gd name="T43" fmla="*/ 39 h 152"/>
                  <a:gd name="T44" fmla="*/ 41 w 69"/>
                  <a:gd name="T45" fmla="*/ 35 h 152"/>
                  <a:gd name="T46" fmla="*/ 48 w 69"/>
                  <a:gd name="T47" fmla="*/ 24 h 152"/>
                  <a:gd name="T48" fmla="*/ 50 w 69"/>
                  <a:gd name="T49" fmla="*/ 12 h 152"/>
                  <a:gd name="T50" fmla="*/ 47 w 69"/>
                  <a:gd name="T51" fmla="*/ 8 h 152"/>
                  <a:gd name="T52" fmla="*/ 45 w 69"/>
                  <a:gd name="T53" fmla="*/ 4 h 152"/>
                  <a:gd name="T54" fmla="*/ 39 w 69"/>
                  <a:gd name="T55" fmla="*/ 1 h 152"/>
                  <a:gd name="T56" fmla="*/ 38 w 69"/>
                  <a:gd name="T57" fmla="*/ 2 h 152"/>
                  <a:gd name="T58" fmla="*/ 38 w 69"/>
                  <a:gd name="T59" fmla="*/ 2 h 152"/>
                  <a:gd name="T60" fmla="*/ 36 w 69"/>
                  <a:gd name="T61" fmla="*/ 6 h 152"/>
                  <a:gd name="T62" fmla="*/ 37 w 69"/>
                  <a:gd name="T63" fmla="*/ 11 h 152"/>
                  <a:gd name="T64" fmla="*/ 33 w 69"/>
                  <a:gd name="T65" fmla="*/ 11 h 152"/>
                  <a:gd name="T66" fmla="*/ 27 w 69"/>
                  <a:gd name="T67" fmla="*/ 14 h 152"/>
                  <a:gd name="T68" fmla="*/ 21 w 69"/>
                  <a:gd name="T69" fmla="*/ 21 h 152"/>
                  <a:gd name="T70" fmla="*/ 19 w 69"/>
                  <a:gd name="T71" fmla="*/ 30 h 152"/>
                  <a:gd name="T72" fmla="*/ 16 w 69"/>
                  <a:gd name="T73" fmla="*/ 40 h 152"/>
                  <a:gd name="T74" fmla="*/ 10 w 69"/>
                  <a:gd name="T75" fmla="*/ 40 h 152"/>
                  <a:gd name="T76" fmla="*/ 8 w 69"/>
                  <a:gd name="T77" fmla="*/ 48 h 152"/>
                  <a:gd name="T78" fmla="*/ 6 w 69"/>
                  <a:gd name="T79" fmla="*/ 56 h 152"/>
                  <a:gd name="T80" fmla="*/ 3 w 69"/>
                  <a:gd name="T81" fmla="*/ 62 h 152"/>
                  <a:gd name="T82" fmla="*/ 0 w 69"/>
                  <a:gd name="T83" fmla="*/ 65 h 152"/>
                  <a:gd name="T84" fmla="*/ 7 w 69"/>
                  <a:gd name="T85" fmla="*/ 73 h 152"/>
                  <a:gd name="T86" fmla="*/ 16 w 69"/>
                  <a:gd name="T87" fmla="*/ 89 h 152"/>
                  <a:gd name="T88" fmla="*/ 15 w 69"/>
                  <a:gd name="T89" fmla="*/ 102 h 152"/>
                  <a:gd name="T90" fmla="*/ 19 w 69"/>
                  <a:gd name="T91" fmla="*/ 106 h 152"/>
                  <a:gd name="T92" fmla="*/ 26 w 69"/>
                  <a:gd name="T93" fmla="*/ 105 h 152"/>
                  <a:gd name="T94" fmla="*/ 33 w 69"/>
                  <a:gd name="T95" fmla="*/ 97 h 152"/>
                  <a:gd name="T96" fmla="*/ 37 w 69"/>
                  <a:gd name="T97" fmla="*/ 101 h 152"/>
                  <a:gd name="T98" fmla="*/ 41 w 69"/>
                  <a:gd name="T99" fmla="*/ 109 h 152"/>
                  <a:gd name="T100" fmla="*/ 45 w 69"/>
                  <a:gd name="T101" fmla="*/ 127 h 152"/>
                  <a:gd name="T102" fmla="*/ 48 w 69"/>
                  <a:gd name="T103" fmla="*/ 140 h 152"/>
                  <a:gd name="T104" fmla="*/ 49 w 69"/>
                  <a:gd name="T105" fmla="*/ 149 h 152"/>
                  <a:gd name="T106" fmla="*/ 48 w 69"/>
                  <a:gd name="T107" fmla="*/ 151 h 152"/>
                  <a:gd name="T108" fmla="*/ 55 w 69"/>
                  <a:gd name="T109" fmla="*/ 138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69" h="152">
                    <a:moveTo>
                      <a:pt x="55" y="138"/>
                    </a:moveTo>
                    <a:cubicBezTo>
                      <a:pt x="55" y="135"/>
                      <a:pt x="53" y="135"/>
                      <a:pt x="53" y="132"/>
                    </a:cubicBezTo>
                    <a:cubicBezTo>
                      <a:pt x="53" y="129"/>
                      <a:pt x="53" y="125"/>
                      <a:pt x="50" y="122"/>
                    </a:cubicBezTo>
                    <a:cubicBezTo>
                      <a:pt x="46" y="119"/>
                      <a:pt x="45" y="115"/>
                      <a:pt x="47" y="114"/>
                    </a:cubicBezTo>
                    <a:cubicBezTo>
                      <a:pt x="49" y="112"/>
                      <a:pt x="47" y="108"/>
                      <a:pt x="48" y="108"/>
                    </a:cubicBezTo>
                    <a:cubicBezTo>
                      <a:pt x="49" y="108"/>
                      <a:pt x="50" y="105"/>
                      <a:pt x="48" y="104"/>
                    </a:cubicBezTo>
                    <a:cubicBezTo>
                      <a:pt x="46" y="103"/>
                      <a:pt x="48" y="99"/>
                      <a:pt x="47" y="99"/>
                    </a:cubicBezTo>
                    <a:cubicBezTo>
                      <a:pt x="45" y="98"/>
                      <a:pt x="41" y="93"/>
                      <a:pt x="41" y="91"/>
                    </a:cubicBezTo>
                    <a:cubicBezTo>
                      <a:pt x="41" y="90"/>
                      <a:pt x="42" y="81"/>
                      <a:pt x="42" y="79"/>
                    </a:cubicBezTo>
                    <a:cubicBezTo>
                      <a:pt x="43" y="76"/>
                      <a:pt x="46" y="76"/>
                      <a:pt x="47" y="76"/>
                    </a:cubicBezTo>
                    <a:cubicBezTo>
                      <a:pt x="48" y="76"/>
                      <a:pt x="52" y="76"/>
                      <a:pt x="53" y="74"/>
                    </a:cubicBezTo>
                    <a:cubicBezTo>
                      <a:pt x="54" y="72"/>
                      <a:pt x="59" y="72"/>
                      <a:pt x="60" y="70"/>
                    </a:cubicBezTo>
                    <a:cubicBezTo>
                      <a:pt x="61" y="68"/>
                      <a:pt x="64" y="68"/>
                      <a:pt x="64" y="67"/>
                    </a:cubicBezTo>
                    <a:cubicBezTo>
                      <a:pt x="64" y="65"/>
                      <a:pt x="68" y="60"/>
                      <a:pt x="68" y="60"/>
                    </a:cubicBezTo>
                    <a:cubicBezTo>
                      <a:pt x="68" y="60"/>
                      <a:pt x="68" y="60"/>
                      <a:pt x="69" y="60"/>
                    </a:cubicBezTo>
                    <a:cubicBezTo>
                      <a:pt x="68" y="59"/>
                      <a:pt x="67" y="60"/>
                      <a:pt x="65" y="61"/>
                    </a:cubicBezTo>
                    <a:cubicBezTo>
                      <a:pt x="61" y="62"/>
                      <a:pt x="60" y="60"/>
                      <a:pt x="60" y="58"/>
                    </a:cubicBezTo>
                    <a:cubicBezTo>
                      <a:pt x="60" y="56"/>
                      <a:pt x="57" y="56"/>
                      <a:pt x="55" y="56"/>
                    </a:cubicBezTo>
                    <a:cubicBezTo>
                      <a:pt x="54" y="56"/>
                      <a:pt x="55" y="53"/>
                      <a:pt x="55" y="51"/>
                    </a:cubicBezTo>
                    <a:cubicBezTo>
                      <a:pt x="56" y="48"/>
                      <a:pt x="55" y="47"/>
                      <a:pt x="52" y="47"/>
                    </a:cubicBezTo>
                    <a:cubicBezTo>
                      <a:pt x="50" y="47"/>
                      <a:pt x="49" y="42"/>
                      <a:pt x="50" y="40"/>
                    </a:cubicBezTo>
                    <a:cubicBezTo>
                      <a:pt x="51" y="39"/>
                      <a:pt x="45" y="38"/>
                      <a:pt x="43" y="39"/>
                    </a:cubicBezTo>
                    <a:cubicBezTo>
                      <a:pt x="40" y="40"/>
                      <a:pt x="42" y="37"/>
                      <a:pt x="41" y="35"/>
                    </a:cubicBezTo>
                    <a:cubicBezTo>
                      <a:pt x="40" y="33"/>
                      <a:pt x="44" y="27"/>
                      <a:pt x="48" y="24"/>
                    </a:cubicBezTo>
                    <a:cubicBezTo>
                      <a:pt x="51" y="20"/>
                      <a:pt x="50" y="16"/>
                      <a:pt x="50" y="12"/>
                    </a:cubicBezTo>
                    <a:cubicBezTo>
                      <a:pt x="50" y="8"/>
                      <a:pt x="48" y="8"/>
                      <a:pt x="47" y="8"/>
                    </a:cubicBezTo>
                    <a:cubicBezTo>
                      <a:pt x="45" y="8"/>
                      <a:pt x="45" y="6"/>
                      <a:pt x="45" y="4"/>
                    </a:cubicBezTo>
                    <a:cubicBezTo>
                      <a:pt x="45" y="1"/>
                      <a:pt x="41" y="0"/>
                      <a:pt x="39" y="1"/>
                    </a:cubicBezTo>
                    <a:cubicBezTo>
                      <a:pt x="39" y="1"/>
                      <a:pt x="39" y="2"/>
                      <a:pt x="38" y="2"/>
                    </a:cubicBezTo>
                    <a:cubicBezTo>
                      <a:pt x="38" y="2"/>
                      <a:pt x="38" y="2"/>
                      <a:pt x="38" y="2"/>
                    </a:cubicBezTo>
                    <a:cubicBezTo>
                      <a:pt x="38" y="2"/>
                      <a:pt x="38" y="5"/>
                      <a:pt x="36" y="6"/>
                    </a:cubicBezTo>
                    <a:cubicBezTo>
                      <a:pt x="35" y="7"/>
                      <a:pt x="35" y="8"/>
                      <a:pt x="37" y="11"/>
                    </a:cubicBezTo>
                    <a:cubicBezTo>
                      <a:pt x="39" y="14"/>
                      <a:pt x="34" y="13"/>
                      <a:pt x="33" y="11"/>
                    </a:cubicBezTo>
                    <a:cubicBezTo>
                      <a:pt x="33" y="10"/>
                      <a:pt x="29" y="12"/>
                      <a:pt x="27" y="14"/>
                    </a:cubicBezTo>
                    <a:cubicBezTo>
                      <a:pt x="25" y="16"/>
                      <a:pt x="21" y="17"/>
                      <a:pt x="21" y="21"/>
                    </a:cubicBezTo>
                    <a:cubicBezTo>
                      <a:pt x="21" y="24"/>
                      <a:pt x="19" y="28"/>
                      <a:pt x="19" y="30"/>
                    </a:cubicBezTo>
                    <a:cubicBezTo>
                      <a:pt x="20" y="33"/>
                      <a:pt x="16" y="39"/>
                      <a:pt x="16" y="40"/>
                    </a:cubicBezTo>
                    <a:cubicBezTo>
                      <a:pt x="17" y="42"/>
                      <a:pt x="11" y="40"/>
                      <a:pt x="10" y="40"/>
                    </a:cubicBezTo>
                    <a:cubicBezTo>
                      <a:pt x="9" y="40"/>
                      <a:pt x="10" y="46"/>
                      <a:pt x="8" y="48"/>
                    </a:cubicBezTo>
                    <a:cubicBezTo>
                      <a:pt x="7" y="50"/>
                      <a:pt x="8" y="56"/>
                      <a:pt x="6" y="56"/>
                    </a:cubicBezTo>
                    <a:cubicBezTo>
                      <a:pt x="4" y="56"/>
                      <a:pt x="3" y="62"/>
                      <a:pt x="3" y="62"/>
                    </a:cubicBezTo>
                    <a:cubicBezTo>
                      <a:pt x="3" y="62"/>
                      <a:pt x="1" y="63"/>
                      <a:pt x="0" y="65"/>
                    </a:cubicBezTo>
                    <a:cubicBezTo>
                      <a:pt x="1" y="68"/>
                      <a:pt x="4" y="71"/>
                      <a:pt x="7" y="73"/>
                    </a:cubicBezTo>
                    <a:cubicBezTo>
                      <a:pt x="12" y="75"/>
                      <a:pt x="15" y="84"/>
                      <a:pt x="16" y="89"/>
                    </a:cubicBezTo>
                    <a:cubicBezTo>
                      <a:pt x="18" y="94"/>
                      <a:pt x="17" y="99"/>
                      <a:pt x="15" y="102"/>
                    </a:cubicBezTo>
                    <a:cubicBezTo>
                      <a:pt x="14" y="105"/>
                      <a:pt x="16" y="105"/>
                      <a:pt x="19" y="106"/>
                    </a:cubicBezTo>
                    <a:cubicBezTo>
                      <a:pt x="21" y="108"/>
                      <a:pt x="24" y="108"/>
                      <a:pt x="26" y="105"/>
                    </a:cubicBezTo>
                    <a:cubicBezTo>
                      <a:pt x="28" y="103"/>
                      <a:pt x="33" y="101"/>
                      <a:pt x="33" y="97"/>
                    </a:cubicBezTo>
                    <a:cubicBezTo>
                      <a:pt x="34" y="94"/>
                      <a:pt x="36" y="99"/>
                      <a:pt x="37" y="101"/>
                    </a:cubicBezTo>
                    <a:cubicBezTo>
                      <a:pt x="39" y="102"/>
                      <a:pt x="40" y="105"/>
                      <a:pt x="41" y="109"/>
                    </a:cubicBezTo>
                    <a:cubicBezTo>
                      <a:pt x="41" y="114"/>
                      <a:pt x="41" y="124"/>
                      <a:pt x="45" y="127"/>
                    </a:cubicBezTo>
                    <a:cubicBezTo>
                      <a:pt x="48" y="130"/>
                      <a:pt x="49" y="137"/>
                      <a:pt x="48" y="140"/>
                    </a:cubicBezTo>
                    <a:cubicBezTo>
                      <a:pt x="47" y="142"/>
                      <a:pt x="50" y="146"/>
                      <a:pt x="49" y="149"/>
                    </a:cubicBezTo>
                    <a:cubicBezTo>
                      <a:pt x="49" y="150"/>
                      <a:pt x="49" y="150"/>
                      <a:pt x="48" y="151"/>
                    </a:cubicBezTo>
                    <a:cubicBezTo>
                      <a:pt x="52" y="152"/>
                      <a:pt x="55" y="138"/>
                      <a:pt x="55" y="138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6" name="Freeform 62">
                <a:extLst>
                  <a:ext uri="{FF2B5EF4-FFF2-40B4-BE49-F238E27FC236}">
                    <a16:creationId xmlns:a16="http://schemas.microsoft.com/office/drawing/2014/main" id="{7678E276-C32B-4902-BB3C-706A4D640A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59641" y="3546502"/>
                <a:ext cx="57717" cy="35132"/>
              </a:xfrm>
              <a:custGeom>
                <a:avLst/>
                <a:gdLst>
                  <a:gd name="T0" fmla="*/ 24 w 25"/>
                  <a:gd name="T1" fmla="*/ 5 h 15"/>
                  <a:gd name="T2" fmla="*/ 15 w 25"/>
                  <a:gd name="T3" fmla="*/ 3 h 15"/>
                  <a:gd name="T4" fmla="*/ 8 w 25"/>
                  <a:gd name="T5" fmla="*/ 2 h 15"/>
                  <a:gd name="T6" fmla="*/ 2 w 25"/>
                  <a:gd name="T7" fmla="*/ 7 h 15"/>
                  <a:gd name="T8" fmla="*/ 0 w 25"/>
                  <a:gd name="T9" fmla="*/ 10 h 15"/>
                  <a:gd name="T10" fmla="*/ 3 w 25"/>
                  <a:gd name="T11" fmla="*/ 12 h 15"/>
                  <a:gd name="T12" fmla="*/ 8 w 25"/>
                  <a:gd name="T13" fmla="*/ 13 h 15"/>
                  <a:gd name="T14" fmla="*/ 16 w 25"/>
                  <a:gd name="T15" fmla="*/ 14 h 15"/>
                  <a:gd name="T16" fmla="*/ 23 w 25"/>
                  <a:gd name="T17" fmla="*/ 13 h 15"/>
                  <a:gd name="T18" fmla="*/ 23 w 25"/>
                  <a:gd name="T19" fmla="*/ 6 h 15"/>
                  <a:gd name="T20" fmla="*/ 24 w 25"/>
                  <a:gd name="T21" fmla="*/ 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" h="15">
                    <a:moveTo>
                      <a:pt x="24" y="5"/>
                    </a:moveTo>
                    <a:cubicBezTo>
                      <a:pt x="19" y="1"/>
                      <a:pt x="18" y="4"/>
                      <a:pt x="15" y="3"/>
                    </a:cubicBezTo>
                    <a:cubicBezTo>
                      <a:pt x="11" y="1"/>
                      <a:pt x="10" y="0"/>
                      <a:pt x="8" y="2"/>
                    </a:cubicBezTo>
                    <a:cubicBezTo>
                      <a:pt x="6" y="3"/>
                      <a:pt x="4" y="3"/>
                      <a:pt x="2" y="7"/>
                    </a:cubicBezTo>
                    <a:cubicBezTo>
                      <a:pt x="2" y="8"/>
                      <a:pt x="1" y="9"/>
                      <a:pt x="0" y="10"/>
                    </a:cubicBezTo>
                    <a:cubicBezTo>
                      <a:pt x="1" y="11"/>
                      <a:pt x="2" y="12"/>
                      <a:pt x="3" y="12"/>
                    </a:cubicBezTo>
                    <a:cubicBezTo>
                      <a:pt x="4" y="12"/>
                      <a:pt x="5" y="14"/>
                      <a:pt x="8" y="13"/>
                    </a:cubicBezTo>
                    <a:cubicBezTo>
                      <a:pt x="10" y="13"/>
                      <a:pt x="12" y="15"/>
                      <a:pt x="16" y="14"/>
                    </a:cubicBezTo>
                    <a:cubicBezTo>
                      <a:pt x="19" y="13"/>
                      <a:pt x="22" y="15"/>
                      <a:pt x="23" y="13"/>
                    </a:cubicBezTo>
                    <a:cubicBezTo>
                      <a:pt x="25" y="11"/>
                      <a:pt x="23" y="6"/>
                      <a:pt x="23" y="6"/>
                    </a:cubicBezTo>
                    <a:cubicBezTo>
                      <a:pt x="23" y="6"/>
                      <a:pt x="23" y="6"/>
                      <a:pt x="24" y="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7" name="Freeform 63">
                <a:extLst>
                  <a:ext uri="{FF2B5EF4-FFF2-40B4-BE49-F238E27FC236}">
                    <a16:creationId xmlns:a16="http://schemas.microsoft.com/office/drawing/2014/main" id="{5AFF8436-0D27-47C6-8A60-72E9E02279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91766" y="3645625"/>
                <a:ext cx="139275" cy="283568"/>
              </a:xfrm>
              <a:custGeom>
                <a:avLst/>
                <a:gdLst>
                  <a:gd name="T0" fmla="*/ 44 w 60"/>
                  <a:gd name="T1" fmla="*/ 15 h 123"/>
                  <a:gd name="T2" fmla="*/ 36 w 60"/>
                  <a:gd name="T3" fmla="*/ 9 h 123"/>
                  <a:gd name="T4" fmla="*/ 34 w 60"/>
                  <a:gd name="T5" fmla="*/ 4 h 123"/>
                  <a:gd name="T6" fmla="*/ 27 w 60"/>
                  <a:gd name="T7" fmla="*/ 1 h 123"/>
                  <a:gd name="T8" fmla="*/ 21 w 60"/>
                  <a:gd name="T9" fmla="*/ 5 h 123"/>
                  <a:gd name="T10" fmla="*/ 16 w 60"/>
                  <a:gd name="T11" fmla="*/ 6 h 123"/>
                  <a:gd name="T12" fmla="*/ 9 w 60"/>
                  <a:gd name="T13" fmla="*/ 6 h 123"/>
                  <a:gd name="T14" fmla="*/ 2 w 60"/>
                  <a:gd name="T15" fmla="*/ 6 h 123"/>
                  <a:gd name="T16" fmla="*/ 0 w 60"/>
                  <a:gd name="T17" fmla="*/ 8 h 123"/>
                  <a:gd name="T18" fmla="*/ 3 w 60"/>
                  <a:gd name="T19" fmla="*/ 12 h 123"/>
                  <a:gd name="T20" fmla="*/ 7 w 60"/>
                  <a:gd name="T21" fmla="*/ 18 h 123"/>
                  <a:gd name="T22" fmla="*/ 14 w 60"/>
                  <a:gd name="T23" fmla="*/ 22 h 123"/>
                  <a:gd name="T24" fmla="*/ 20 w 60"/>
                  <a:gd name="T25" fmla="*/ 23 h 123"/>
                  <a:gd name="T26" fmla="*/ 22 w 60"/>
                  <a:gd name="T27" fmla="*/ 30 h 123"/>
                  <a:gd name="T28" fmla="*/ 16 w 60"/>
                  <a:gd name="T29" fmla="*/ 33 h 123"/>
                  <a:gd name="T30" fmla="*/ 25 w 60"/>
                  <a:gd name="T31" fmla="*/ 41 h 123"/>
                  <a:gd name="T32" fmla="*/ 29 w 60"/>
                  <a:gd name="T33" fmla="*/ 48 h 123"/>
                  <a:gd name="T34" fmla="*/ 35 w 60"/>
                  <a:gd name="T35" fmla="*/ 57 h 123"/>
                  <a:gd name="T36" fmla="*/ 42 w 60"/>
                  <a:gd name="T37" fmla="*/ 63 h 123"/>
                  <a:gd name="T38" fmla="*/ 43 w 60"/>
                  <a:gd name="T39" fmla="*/ 71 h 123"/>
                  <a:gd name="T40" fmla="*/ 46 w 60"/>
                  <a:gd name="T41" fmla="*/ 84 h 123"/>
                  <a:gd name="T42" fmla="*/ 40 w 60"/>
                  <a:gd name="T43" fmla="*/ 93 h 123"/>
                  <a:gd name="T44" fmla="*/ 33 w 60"/>
                  <a:gd name="T45" fmla="*/ 98 h 123"/>
                  <a:gd name="T46" fmla="*/ 33 w 60"/>
                  <a:gd name="T47" fmla="*/ 105 h 123"/>
                  <a:gd name="T48" fmla="*/ 24 w 60"/>
                  <a:gd name="T49" fmla="*/ 105 h 123"/>
                  <a:gd name="T50" fmla="*/ 19 w 60"/>
                  <a:gd name="T51" fmla="*/ 109 h 123"/>
                  <a:gd name="T52" fmla="*/ 23 w 60"/>
                  <a:gd name="T53" fmla="*/ 112 h 123"/>
                  <a:gd name="T54" fmla="*/ 20 w 60"/>
                  <a:gd name="T55" fmla="*/ 119 h 123"/>
                  <a:gd name="T56" fmla="*/ 24 w 60"/>
                  <a:gd name="T57" fmla="*/ 122 h 123"/>
                  <a:gd name="T58" fmla="*/ 32 w 60"/>
                  <a:gd name="T59" fmla="*/ 116 h 123"/>
                  <a:gd name="T60" fmla="*/ 34 w 60"/>
                  <a:gd name="T61" fmla="*/ 113 h 123"/>
                  <a:gd name="T62" fmla="*/ 36 w 60"/>
                  <a:gd name="T63" fmla="*/ 109 h 123"/>
                  <a:gd name="T64" fmla="*/ 41 w 60"/>
                  <a:gd name="T65" fmla="*/ 108 h 123"/>
                  <a:gd name="T66" fmla="*/ 52 w 60"/>
                  <a:gd name="T67" fmla="*/ 103 h 123"/>
                  <a:gd name="T68" fmla="*/ 58 w 60"/>
                  <a:gd name="T69" fmla="*/ 92 h 123"/>
                  <a:gd name="T70" fmla="*/ 56 w 60"/>
                  <a:gd name="T71" fmla="*/ 73 h 123"/>
                  <a:gd name="T72" fmla="*/ 49 w 60"/>
                  <a:gd name="T73" fmla="*/ 61 h 123"/>
                  <a:gd name="T74" fmla="*/ 36 w 60"/>
                  <a:gd name="T75" fmla="*/ 50 h 123"/>
                  <a:gd name="T76" fmla="*/ 32 w 60"/>
                  <a:gd name="T77" fmla="*/ 44 h 123"/>
                  <a:gd name="T78" fmla="*/ 30 w 60"/>
                  <a:gd name="T79" fmla="*/ 33 h 123"/>
                  <a:gd name="T80" fmla="*/ 36 w 60"/>
                  <a:gd name="T81" fmla="*/ 26 h 123"/>
                  <a:gd name="T82" fmla="*/ 39 w 60"/>
                  <a:gd name="T83" fmla="*/ 21 h 123"/>
                  <a:gd name="T84" fmla="*/ 45 w 60"/>
                  <a:gd name="T85" fmla="*/ 17 h 123"/>
                  <a:gd name="T86" fmla="*/ 46 w 60"/>
                  <a:gd name="T87" fmla="*/ 16 h 123"/>
                  <a:gd name="T88" fmla="*/ 44 w 60"/>
                  <a:gd name="T89" fmla="*/ 15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60" h="123">
                    <a:moveTo>
                      <a:pt x="44" y="15"/>
                    </a:moveTo>
                    <a:cubicBezTo>
                      <a:pt x="42" y="15"/>
                      <a:pt x="36" y="10"/>
                      <a:pt x="36" y="9"/>
                    </a:cubicBezTo>
                    <a:cubicBezTo>
                      <a:pt x="36" y="7"/>
                      <a:pt x="39" y="5"/>
                      <a:pt x="34" y="4"/>
                    </a:cubicBezTo>
                    <a:cubicBezTo>
                      <a:pt x="29" y="3"/>
                      <a:pt x="28" y="2"/>
                      <a:pt x="27" y="1"/>
                    </a:cubicBezTo>
                    <a:cubicBezTo>
                      <a:pt x="26" y="0"/>
                      <a:pt x="22" y="3"/>
                      <a:pt x="21" y="5"/>
                    </a:cubicBezTo>
                    <a:cubicBezTo>
                      <a:pt x="20" y="7"/>
                      <a:pt x="18" y="4"/>
                      <a:pt x="16" y="6"/>
                    </a:cubicBezTo>
                    <a:cubicBezTo>
                      <a:pt x="13" y="7"/>
                      <a:pt x="10" y="3"/>
                      <a:pt x="9" y="6"/>
                    </a:cubicBezTo>
                    <a:cubicBezTo>
                      <a:pt x="7" y="8"/>
                      <a:pt x="4" y="4"/>
                      <a:pt x="2" y="6"/>
                    </a:cubicBezTo>
                    <a:cubicBezTo>
                      <a:pt x="2" y="7"/>
                      <a:pt x="1" y="8"/>
                      <a:pt x="0" y="8"/>
                    </a:cubicBezTo>
                    <a:cubicBezTo>
                      <a:pt x="2" y="10"/>
                      <a:pt x="3" y="11"/>
                      <a:pt x="3" y="12"/>
                    </a:cubicBezTo>
                    <a:cubicBezTo>
                      <a:pt x="3" y="14"/>
                      <a:pt x="7" y="16"/>
                      <a:pt x="7" y="18"/>
                    </a:cubicBezTo>
                    <a:cubicBezTo>
                      <a:pt x="7" y="21"/>
                      <a:pt x="12" y="23"/>
                      <a:pt x="14" y="22"/>
                    </a:cubicBezTo>
                    <a:cubicBezTo>
                      <a:pt x="15" y="21"/>
                      <a:pt x="19" y="20"/>
                      <a:pt x="20" y="23"/>
                    </a:cubicBezTo>
                    <a:cubicBezTo>
                      <a:pt x="20" y="27"/>
                      <a:pt x="22" y="27"/>
                      <a:pt x="22" y="30"/>
                    </a:cubicBezTo>
                    <a:cubicBezTo>
                      <a:pt x="22" y="32"/>
                      <a:pt x="17" y="31"/>
                      <a:pt x="16" y="33"/>
                    </a:cubicBezTo>
                    <a:cubicBezTo>
                      <a:pt x="15" y="36"/>
                      <a:pt x="25" y="39"/>
                      <a:pt x="25" y="41"/>
                    </a:cubicBezTo>
                    <a:cubicBezTo>
                      <a:pt x="25" y="43"/>
                      <a:pt x="28" y="45"/>
                      <a:pt x="29" y="48"/>
                    </a:cubicBezTo>
                    <a:cubicBezTo>
                      <a:pt x="30" y="50"/>
                      <a:pt x="34" y="54"/>
                      <a:pt x="35" y="57"/>
                    </a:cubicBezTo>
                    <a:cubicBezTo>
                      <a:pt x="36" y="60"/>
                      <a:pt x="40" y="61"/>
                      <a:pt x="42" y="63"/>
                    </a:cubicBezTo>
                    <a:cubicBezTo>
                      <a:pt x="43" y="64"/>
                      <a:pt x="44" y="68"/>
                      <a:pt x="43" y="71"/>
                    </a:cubicBezTo>
                    <a:cubicBezTo>
                      <a:pt x="43" y="74"/>
                      <a:pt x="43" y="80"/>
                      <a:pt x="46" y="84"/>
                    </a:cubicBezTo>
                    <a:cubicBezTo>
                      <a:pt x="49" y="89"/>
                      <a:pt x="42" y="91"/>
                      <a:pt x="40" y="93"/>
                    </a:cubicBezTo>
                    <a:cubicBezTo>
                      <a:pt x="38" y="96"/>
                      <a:pt x="39" y="99"/>
                      <a:pt x="33" y="98"/>
                    </a:cubicBezTo>
                    <a:cubicBezTo>
                      <a:pt x="27" y="96"/>
                      <a:pt x="34" y="103"/>
                      <a:pt x="33" y="105"/>
                    </a:cubicBezTo>
                    <a:cubicBezTo>
                      <a:pt x="32" y="107"/>
                      <a:pt x="24" y="103"/>
                      <a:pt x="24" y="105"/>
                    </a:cubicBezTo>
                    <a:cubicBezTo>
                      <a:pt x="24" y="106"/>
                      <a:pt x="21" y="108"/>
                      <a:pt x="19" y="109"/>
                    </a:cubicBezTo>
                    <a:cubicBezTo>
                      <a:pt x="20" y="110"/>
                      <a:pt x="21" y="111"/>
                      <a:pt x="23" y="112"/>
                    </a:cubicBezTo>
                    <a:cubicBezTo>
                      <a:pt x="25" y="113"/>
                      <a:pt x="20" y="115"/>
                      <a:pt x="20" y="119"/>
                    </a:cubicBezTo>
                    <a:cubicBezTo>
                      <a:pt x="21" y="122"/>
                      <a:pt x="23" y="123"/>
                      <a:pt x="24" y="122"/>
                    </a:cubicBezTo>
                    <a:cubicBezTo>
                      <a:pt x="26" y="120"/>
                      <a:pt x="30" y="117"/>
                      <a:pt x="32" y="116"/>
                    </a:cubicBezTo>
                    <a:cubicBezTo>
                      <a:pt x="34" y="116"/>
                      <a:pt x="32" y="113"/>
                      <a:pt x="34" y="113"/>
                    </a:cubicBezTo>
                    <a:cubicBezTo>
                      <a:pt x="36" y="113"/>
                      <a:pt x="35" y="110"/>
                      <a:pt x="36" y="109"/>
                    </a:cubicBezTo>
                    <a:cubicBezTo>
                      <a:pt x="37" y="107"/>
                      <a:pt x="38" y="108"/>
                      <a:pt x="41" y="108"/>
                    </a:cubicBezTo>
                    <a:cubicBezTo>
                      <a:pt x="44" y="108"/>
                      <a:pt x="48" y="105"/>
                      <a:pt x="52" y="103"/>
                    </a:cubicBezTo>
                    <a:cubicBezTo>
                      <a:pt x="56" y="100"/>
                      <a:pt x="56" y="100"/>
                      <a:pt x="58" y="92"/>
                    </a:cubicBezTo>
                    <a:cubicBezTo>
                      <a:pt x="60" y="85"/>
                      <a:pt x="56" y="76"/>
                      <a:pt x="56" y="73"/>
                    </a:cubicBezTo>
                    <a:cubicBezTo>
                      <a:pt x="56" y="71"/>
                      <a:pt x="51" y="61"/>
                      <a:pt x="49" y="61"/>
                    </a:cubicBezTo>
                    <a:cubicBezTo>
                      <a:pt x="46" y="61"/>
                      <a:pt x="37" y="51"/>
                      <a:pt x="36" y="50"/>
                    </a:cubicBezTo>
                    <a:cubicBezTo>
                      <a:pt x="34" y="48"/>
                      <a:pt x="34" y="46"/>
                      <a:pt x="32" y="44"/>
                    </a:cubicBezTo>
                    <a:cubicBezTo>
                      <a:pt x="30" y="42"/>
                      <a:pt x="29" y="36"/>
                      <a:pt x="30" y="33"/>
                    </a:cubicBezTo>
                    <a:cubicBezTo>
                      <a:pt x="31" y="29"/>
                      <a:pt x="36" y="28"/>
                      <a:pt x="36" y="26"/>
                    </a:cubicBezTo>
                    <a:cubicBezTo>
                      <a:pt x="36" y="23"/>
                      <a:pt x="36" y="21"/>
                      <a:pt x="39" y="21"/>
                    </a:cubicBezTo>
                    <a:cubicBezTo>
                      <a:pt x="41" y="21"/>
                      <a:pt x="44" y="19"/>
                      <a:pt x="45" y="17"/>
                    </a:cubicBezTo>
                    <a:cubicBezTo>
                      <a:pt x="45" y="17"/>
                      <a:pt x="45" y="16"/>
                      <a:pt x="46" y="16"/>
                    </a:cubicBezTo>
                    <a:cubicBezTo>
                      <a:pt x="45" y="15"/>
                      <a:pt x="45" y="15"/>
                      <a:pt x="44" y="1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8" name="Freeform 64">
                <a:extLst>
                  <a:ext uri="{FF2B5EF4-FFF2-40B4-BE49-F238E27FC236}">
                    <a16:creationId xmlns:a16="http://schemas.microsoft.com/office/drawing/2014/main" id="{78E698BF-5E47-4047-90E5-CF8E6A186B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91766" y="3816268"/>
                <a:ext cx="112925" cy="81557"/>
              </a:xfrm>
              <a:custGeom>
                <a:avLst/>
                <a:gdLst>
                  <a:gd name="T0" fmla="*/ 24 w 49"/>
                  <a:gd name="T1" fmla="*/ 31 h 35"/>
                  <a:gd name="T2" fmla="*/ 33 w 49"/>
                  <a:gd name="T3" fmla="*/ 31 h 35"/>
                  <a:gd name="T4" fmla="*/ 33 w 49"/>
                  <a:gd name="T5" fmla="*/ 24 h 35"/>
                  <a:gd name="T6" fmla="*/ 40 w 49"/>
                  <a:gd name="T7" fmla="*/ 19 h 35"/>
                  <a:gd name="T8" fmla="*/ 46 w 49"/>
                  <a:gd name="T9" fmla="*/ 10 h 35"/>
                  <a:gd name="T10" fmla="*/ 43 w 49"/>
                  <a:gd name="T11" fmla="*/ 0 h 35"/>
                  <a:gd name="T12" fmla="*/ 38 w 49"/>
                  <a:gd name="T13" fmla="*/ 1 h 35"/>
                  <a:gd name="T14" fmla="*/ 32 w 49"/>
                  <a:gd name="T15" fmla="*/ 3 h 35"/>
                  <a:gd name="T16" fmla="*/ 30 w 49"/>
                  <a:gd name="T17" fmla="*/ 5 h 35"/>
                  <a:gd name="T18" fmla="*/ 25 w 49"/>
                  <a:gd name="T19" fmla="*/ 2 h 35"/>
                  <a:gd name="T20" fmla="*/ 14 w 49"/>
                  <a:gd name="T21" fmla="*/ 2 h 35"/>
                  <a:gd name="T22" fmla="*/ 3 w 49"/>
                  <a:gd name="T23" fmla="*/ 7 h 35"/>
                  <a:gd name="T24" fmla="*/ 4 w 49"/>
                  <a:gd name="T25" fmla="*/ 14 h 35"/>
                  <a:gd name="T26" fmla="*/ 5 w 49"/>
                  <a:gd name="T27" fmla="*/ 20 h 35"/>
                  <a:gd name="T28" fmla="*/ 4 w 49"/>
                  <a:gd name="T29" fmla="*/ 21 h 35"/>
                  <a:gd name="T30" fmla="*/ 7 w 49"/>
                  <a:gd name="T31" fmla="*/ 28 h 35"/>
                  <a:gd name="T32" fmla="*/ 12 w 49"/>
                  <a:gd name="T33" fmla="*/ 29 h 35"/>
                  <a:gd name="T34" fmla="*/ 12 w 49"/>
                  <a:gd name="T35" fmla="*/ 33 h 35"/>
                  <a:gd name="T36" fmla="*/ 18 w 49"/>
                  <a:gd name="T37" fmla="*/ 34 h 35"/>
                  <a:gd name="T38" fmla="*/ 19 w 49"/>
                  <a:gd name="T39" fmla="*/ 35 h 35"/>
                  <a:gd name="T40" fmla="*/ 24 w 49"/>
                  <a:gd name="T41" fmla="*/ 31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9" h="35">
                    <a:moveTo>
                      <a:pt x="24" y="31"/>
                    </a:moveTo>
                    <a:cubicBezTo>
                      <a:pt x="24" y="29"/>
                      <a:pt x="32" y="33"/>
                      <a:pt x="33" y="31"/>
                    </a:cubicBezTo>
                    <a:cubicBezTo>
                      <a:pt x="34" y="29"/>
                      <a:pt x="27" y="22"/>
                      <a:pt x="33" y="24"/>
                    </a:cubicBezTo>
                    <a:cubicBezTo>
                      <a:pt x="39" y="25"/>
                      <a:pt x="38" y="22"/>
                      <a:pt x="40" y="19"/>
                    </a:cubicBezTo>
                    <a:cubicBezTo>
                      <a:pt x="42" y="17"/>
                      <a:pt x="49" y="15"/>
                      <a:pt x="46" y="10"/>
                    </a:cubicBezTo>
                    <a:cubicBezTo>
                      <a:pt x="44" y="7"/>
                      <a:pt x="43" y="3"/>
                      <a:pt x="43" y="0"/>
                    </a:cubicBezTo>
                    <a:cubicBezTo>
                      <a:pt x="41" y="2"/>
                      <a:pt x="39" y="2"/>
                      <a:pt x="38" y="1"/>
                    </a:cubicBezTo>
                    <a:cubicBezTo>
                      <a:pt x="36" y="1"/>
                      <a:pt x="32" y="0"/>
                      <a:pt x="32" y="3"/>
                    </a:cubicBezTo>
                    <a:cubicBezTo>
                      <a:pt x="32" y="6"/>
                      <a:pt x="29" y="6"/>
                      <a:pt x="30" y="5"/>
                    </a:cubicBezTo>
                    <a:cubicBezTo>
                      <a:pt x="30" y="4"/>
                      <a:pt x="27" y="4"/>
                      <a:pt x="25" y="2"/>
                    </a:cubicBezTo>
                    <a:cubicBezTo>
                      <a:pt x="23" y="0"/>
                      <a:pt x="17" y="3"/>
                      <a:pt x="14" y="2"/>
                    </a:cubicBezTo>
                    <a:cubicBezTo>
                      <a:pt x="11" y="1"/>
                      <a:pt x="6" y="3"/>
                      <a:pt x="3" y="7"/>
                    </a:cubicBezTo>
                    <a:cubicBezTo>
                      <a:pt x="0" y="11"/>
                      <a:pt x="4" y="11"/>
                      <a:pt x="4" y="14"/>
                    </a:cubicBezTo>
                    <a:cubicBezTo>
                      <a:pt x="4" y="18"/>
                      <a:pt x="6" y="18"/>
                      <a:pt x="5" y="20"/>
                    </a:cubicBezTo>
                    <a:cubicBezTo>
                      <a:pt x="5" y="21"/>
                      <a:pt x="5" y="21"/>
                      <a:pt x="4" y="21"/>
                    </a:cubicBezTo>
                    <a:cubicBezTo>
                      <a:pt x="8" y="22"/>
                      <a:pt x="6" y="26"/>
                      <a:pt x="7" y="28"/>
                    </a:cubicBezTo>
                    <a:cubicBezTo>
                      <a:pt x="7" y="30"/>
                      <a:pt x="10" y="29"/>
                      <a:pt x="12" y="29"/>
                    </a:cubicBezTo>
                    <a:cubicBezTo>
                      <a:pt x="13" y="29"/>
                      <a:pt x="11" y="31"/>
                      <a:pt x="12" y="33"/>
                    </a:cubicBezTo>
                    <a:cubicBezTo>
                      <a:pt x="13" y="35"/>
                      <a:pt x="18" y="32"/>
                      <a:pt x="18" y="34"/>
                    </a:cubicBezTo>
                    <a:cubicBezTo>
                      <a:pt x="19" y="34"/>
                      <a:pt x="19" y="35"/>
                      <a:pt x="19" y="35"/>
                    </a:cubicBezTo>
                    <a:cubicBezTo>
                      <a:pt x="21" y="34"/>
                      <a:pt x="24" y="32"/>
                      <a:pt x="24" y="3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9" name="Freeform 65">
                <a:extLst>
                  <a:ext uri="{FF2B5EF4-FFF2-40B4-BE49-F238E27FC236}">
                    <a16:creationId xmlns:a16="http://schemas.microsoft.com/office/drawing/2014/main" id="{B580E777-9096-4DF8-8EFA-F10045F6DF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55379" y="3661937"/>
                <a:ext cx="138020" cy="168133"/>
              </a:xfrm>
              <a:custGeom>
                <a:avLst/>
                <a:gdLst>
                  <a:gd name="T0" fmla="*/ 41 w 60"/>
                  <a:gd name="T1" fmla="*/ 34 h 73"/>
                  <a:gd name="T2" fmla="*/ 32 w 60"/>
                  <a:gd name="T3" fmla="*/ 26 h 73"/>
                  <a:gd name="T4" fmla="*/ 38 w 60"/>
                  <a:gd name="T5" fmla="*/ 23 h 73"/>
                  <a:gd name="T6" fmla="*/ 36 w 60"/>
                  <a:gd name="T7" fmla="*/ 16 h 73"/>
                  <a:gd name="T8" fmla="*/ 30 w 60"/>
                  <a:gd name="T9" fmla="*/ 15 h 73"/>
                  <a:gd name="T10" fmla="*/ 23 w 60"/>
                  <a:gd name="T11" fmla="*/ 11 h 73"/>
                  <a:gd name="T12" fmla="*/ 19 w 60"/>
                  <a:gd name="T13" fmla="*/ 5 h 73"/>
                  <a:gd name="T14" fmla="*/ 16 w 60"/>
                  <a:gd name="T15" fmla="*/ 1 h 73"/>
                  <a:gd name="T16" fmla="*/ 13 w 60"/>
                  <a:gd name="T17" fmla="*/ 1 h 73"/>
                  <a:gd name="T18" fmla="*/ 12 w 60"/>
                  <a:gd name="T19" fmla="*/ 5 h 73"/>
                  <a:gd name="T20" fmla="*/ 12 w 60"/>
                  <a:gd name="T21" fmla="*/ 12 h 73"/>
                  <a:gd name="T22" fmla="*/ 7 w 60"/>
                  <a:gd name="T23" fmla="*/ 8 h 73"/>
                  <a:gd name="T24" fmla="*/ 3 w 60"/>
                  <a:gd name="T25" fmla="*/ 15 h 73"/>
                  <a:gd name="T26" fmla="*/ 0 w 60"/>
                  <a:gd name="T27" fmla="*/ 17 h 73"/>
                  <a:gd name="T28" fmla="*/ 2 w 60"/>
                  <a:gd name="T29" fmla="*/ 18 h 73"/>
                  <a:gd name="T30" fmla="*/ 3 w 60"/>
                  <a:gd name="T31" fmla="*/ 25 h 73"/>
                  <a:gd name="T32" fmla="*/ 8 w 60"/>
                  <a:gd name="T33" fmla="*/ 27 h 73"/>
                  <a:gd name="T34" fmla="*/ 8 w 60"/>
                  <a:gd name="T35" fmla="*/ 35 h 73"/>
                  <a:gd name="T36" fmla="*/ 5 w 60"/>
                  <a:gd name="T37" fmla="*/ 41 h 73"/>
                  <a:gd name="T38" fmla="*/ 13 w 60"/>
                  <a:gd name="T39" fmla="*/ 39 h 73"/>
                  <a:gd name="T40" fmla="*/ 18 w 60"/>
                  <a:gd name="T41" fmla="*/ 38 h 73"/>
                  <a:gd name="T42" fmla="*/ 24 w 60"/>
                  <a:gd name="T43" fmla="*/ 37 h 73"/>
                  <a:gd name="T44" fmla="*/ 31 w 60"/>
                  <a:gd name="T45" fmla="*/ 37 h 73"/>
                  <a:gd name="T46" fmla="*/ 37 w 60"/>
                  <a:gd name="T47" fmla="*/ 43 h 73"/>
                  <a:gd name="T48" fmla="*/ 38 w 60"/>
                  <a:gd name="T49" fmla="*/ 52 h 73"/>
                  <a:gd name="T50" fmla="*/ 43 w 60"/>
                  <a:gd name="T51" fmla="*/ 61 h 73"/>
                  <a:gd name="T52" fmla="*/ 42 w 60"/>
                  <a:gd name="T53" fmla="*/ 70 h 73"/>
                  <a:gd name="T54" fmla="*/ 46 w 60"/>
                  <a:gd name="T55" fmla="*/ 72 h 73"/>
                  <a:gd name="T56" fmla="*/ 48 w 60"/>
                  <a:gd name="T57" fmla="*/ 70 h 73"/>
                  <a:gd name="T58" fmla="*/ 54 w 60"/>
                  <a:gd name="T59" fmla="*/ 68 h 73"/>
                  <a:gd name="T60" fmla="*/ 59 w 60"/>
                  <a:gd name="T61" fmla="*/ 67 h 73"/>
                  <a:gd name="T62" fmla="*/ 59 w 60"/>
                  <a:gd name="T63" fmla="*/ 64 h 73"/>
                  <a:gd name="T64" fmla="*/ 58 w 60"/>
                  <a:gd name="T65" fmla="*/ 56 h 73"/>
                  <a:gd name="T66" fmla="*/ 51 w 60"/>
                  <a:gd name="T67" fmla="*/ 50 h 73"/>
                  <a:gd name="T68" fmla="*/ 45 w 60"/>
                  <a:gd name="T69" fmla="*/ 41 h 73"/>
                  <a:gd name="T70" fmla="*/ 41 w 60"/>
                  <a:gd name="T71" fmla="*/ 3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60" h="73">
                    <a:moveTo>
                      <a:pt x="41" y="34"/>
                    </a:moveTo>
                    <a:cubicBezTo>
                      <a:pt x="41" y="32"/>
                      <a:pt x="31" y="29"/>
                      <a:pt x="32" y="26"/>
                    </a:cubicBezTo>
                    <a:cubicBezTo>
                      <a:pt x="33" y="24"/>
                      <a:pt x="38" y="25"/>
                      <a:pt x="38" y="23"/>
                    </a:cubicBezTo>
                    <a:cubicBezTo>
                      <a:pt x="38" y="20"/>
                      <a:pt x="36" y="20"/>
                      <a:pt x="36" y="16"/>
                    </a:cubicBezTo>
                    <a:cubicBezTo>
                      <a:pt x="35" y="13"/>
                      <a:pt x="31" y="14"/>
                      <a:pt x="30" y="15"/>
                    </a:cubicBezTo>
                    <a:cubicBezTo>
                      <a:pt x="28" y="16"/>
                      <a:pt x="23" y="14"/>
                      <a:pt x="23" y="11"/>
                    </a:cubicBezTo>
                    <a:cubicBezTo>
                      <a:pt x="23" y="9"/>
                      <a:pt x="19" y="7"/>
                      <a:pt x="19" y="5"/>
                    </a:cubicBezTo>
                    <a:cubicBezTo>
                      <a:pt x="19" y="4"/>
                      <a:pt x="18" y="3"/>
                      <a:pt x="16" y="1"/>
                    </a:cubicBezTo>
                    <a:cubicBezTo>
                      <a:pt x="15" y="2"/>
                      <a:pt x="14" y="2"/>
                      <a:pt x="13" y="1"/>
                    </a:cubicBezTo>
                    <a:cubicBezTo>
                      <a:pt x="12" y="0"/>
                      <a:pt x="11" y="4"/>
                      <a:pt x="12" y="5"/>
                    </a:cubicBezTo>
                    <a:cubicBezTo>
                      <a:pt x="13" y="6"/>
                      <a:pt x="14" y="12"/>
                      <a:pt x="12" y="12"/>
                    </a:cubicBezTo>
                    <a:cubicBezTo>
                      <a:pt x="9" y="11"/>
                      <a:pt x="9" y="8"/>
                      <a:pt x="7" y="8"/>
                    </a:cubicBezTo>
                    <a:cubicBezTo>
                      <a:pt x="7" y="8"/>
                      <a:pt x="3" y="13"/>
                      <a:pt x="3" y="15"/>
                    </a:cubicBezTo>
                    <a:cubicBezTo>
                      <a:pt x="3" y="16"/>
                      <a:pt x="2" y="16"/>
                      <a:pt x="0" y="17"/>
                    </a:cubicBezTo>
                    <a:cubicBezTo>
                      <a:pt x="1" y="18"/>
                      <a:pt x="2" y="18"/>
                      <a:pt x="2" y="18"/>
                    </a:cubicBezTo>
                    <a:cubicBezTo>
                      <a:pt x="3" y="20"/>
                      <a:pt x="2" y="22"/>
                      <a:pt x="3" y="25"/>
                    </a:cubicBezTo>
                    <a:cubicBezTo>
                      <a:pt x="4" y="27"/>
                      <a:pt x="7" y="23"/>
                      <a:pt x="8" y="27"/>
                    </a:cubicBezTo>
                    <a:cubicBezTo>
                      <a:pt x="9" y="30"/>
                      <a:pt x="8" y="32"/>
                      <a:pt x="8" y="35"/>
                    </a:cubicBezTo>
                    <a:cubicBezTo>
                      <a:pt x="8" y="39"/>
                      <a:pt x="5" y="38"/>
                      <a:pt x="5" y="41"/>
                    </a:cubicBezTo>
                    <a:cubicBezTo>
                      <a:pt x="6" y="45"/>
                      <a:pt x="10" y="41"/>
                      <a:pt x="13" y="39"/>
                    </a:cubicBezTo>
                    <a:cubicBezTo>
                      <a:pt x="15" y="37"/>
                      <a:pt x="17" y="37"/>
                      <a:pt x="18" y="38"/>
                    </a:cubicBezTo>
                    <a:cubicBezTo>
                      <a:pt x="20" y="40"/>
                      <a:pt x="23" y="39"/>
                      <a:pt x="24" y="37"/>
                    </a:cubicBezTo>
                    <a:cubicBezTo>
                      <a:pt x="24" y="35"/>
                      <a:pt x="29" y="35"/>
                      <a:pt x="31" y="37"/>
                    </a:cubicBezTo>
                    <a:cubicBezTo>
                      <a:pt x="33" y="39"/>
                      <a:pt x="35" y="41"/>
                      <a:pt x="37" y="43"/>
                    </a:cubicBezTo>
                    <a:cubicBezTo>
                      <a:pt x="39" y="44"/>
                      <a:pt x="35" y="51"/>
                      <a:pt x="38" y="52"/>
                    </a:cubicBezTo>
                    <a:cubicBezTo>
                      <a:pt x="40" y="53"/>
                      <a:pt x="44" y="57"/>
                      <a:pt x="43" y="61"/>
                    </a:cubicBezTo>
                    <a:cubicBezTo>
                      <a:pt x="43" y="64"/>
                      <a:pt x="45" y="67"/>
                      <a:pt x="42" y="70"/>
                    </a:cubicBezTo>
                    <a:cubicBezTo>
                      <a:pt x="44" y="71"/>
                      <a:pt x="46" y="71"/>
                      <a:pt x="46" y="72"/>
                    </a:cubicBezTo>
                    <a:cubicBezTo>
                      <a:pt x="45" y="73"/>
                      <a:pt x="48" y="73"/>
                      <a:pt x="48" y="70"/>
                    </a:cubicBezTo>
                    <a:cubicBezTo>
                      <a:pt x="48" y="67"/>
                      <a:pt x="52" y="68"/>
                      <a:pt x="54" y="68"/>
                    </a:cubicBezTo>
                    <a:cubicBezTo>
                      <a:pt x="55" y="69"/>
                      <a:pt x="57" y="69"/>
                      <a:pt x="59" y="67"/>
                    </a:cubicBezTo>
                    <a:cubicBezTo>
                      <a:pt x="59" y="66"/>
                      <a:pt x="59" y="65"/>
                      <a:pt x="59" y="64"/>
                    </a:cubicBezTo>
                    <a:cubicBezTo>
                      <a:pt x="60" y="61"/>
                      <a:pt x="59" y="57"/>
                      <a:pt x="58" y="56"/>
                    </a:cubicBezTo>
                    <a:cubicBezTo>
                      <a:pt x="56" y="54"/>
                      <a:pt x="52" y="53"/>
                      <a:pt x="51" y="50"/>
                    </a:cubicBezTo>
                    <a:cubicBezTo>
                      <a:pt x="50" y="47"/>
                      <a:pt x="46" y="43"/>
                      <a:pt x="45" y="41"/>
                    </a:cubicBezTo>
                    <a:cubicBezTo>
                      <a:pt x="44" y="38"/>
                      <a:pt x="41" y="36"/>
                      <a:pt x="41" y="34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0" name="Freeform 66">
                <a:extLst>
                  <a:ext uri="{FF2B5EF4-FFF2-40B4-BE49-F238E27FC236}">
                    <a16:creationId xmlns:a16="http://schemas.microsoft.com/office/drawing/2014/main" id="{193A8D87-778C-4AD1-A14C-347200D592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08954" y="3702088"/>
                <a:ext cx="150567" cy="281058"/>
              </a:xfrm>
              <a:custGeom>
                <a:avLst/>
                <a:gdLst>
                  <a:gd name="T0" fmla="*/ 40 w 65"/>
                  <a:gd name="T1" fmla="*/ 64 h 122"/>
                  <a:gd name="T2" fmla="*/ 39 w 65"/>
                  <a:gd name="T3" fmla="*/ 57 h 122"/>
                  <a:gd name="T4" fmla="*/ 50 w 65"/>
                  <a:gd name="T5" fmla="*/ 52 h 122"/>
                  <a:gd name="T6" fmla="*/ 61 w 65"/>
                  <a:gd name="T7" fmla="*/ 52 h 122"/>
                  <a:gd name="T8" fmla="*/ 62 w 65"/>
                  <a:gd name="T9" fmla="*/ 53 h 122"/>
                  <a:gd name="T10" fmla="*/ 63 w 65"/>
                  <a:gd name="T11" fmla="*/ 44 h 122"/>
                  <a:gd name="T12" fmla="*/ 58 w 65"/>
                  <a:gd name="T13" fmla="*/ 35 h 122"/>
                  <a:gd name="T14" fmla="*/ 57 w 65"/>
                  <a:gd name="T15" fmla="*/ 26 h 122"/>
                  <a:gd name="T16" fmla="*/ 51 w 65"/>
                  <a:gd name="T17" fmla="*/ 20 h 122"/>
                  <a:gd name="T18" fmla="*/ 44 w 65"/>
                  <a:gd name="T19" fmla="*/ 20 h 122"/>
                  <a:gd name="T20" fmla="*/ 38 w 65"/>
                  <a:gd name="T21" fmla="*/ 21 h 122"/>
                  <a:gd name="T22" fmla="*/ 33 w 65"/>
                  <a:gd name="T23" fmla="*/ 22 h 122"/>
                  <a:gd name="T24" fmla="*/ 25 w 65"/>
                  <a:gd name="T25" fmla="*/ 24 h 122"/>
                  <a:gd name="T26" fmla="*/ 28 w 65"/>
                  <a:gd name="T27" fmla="*/ 18 h 122"/>
                  <a:gd name="T28" fmla="*/ 28 w 65"/>
                  <a:gd name="T29" fmla="*/ 10 h 122"/>
                  <a:gd name="T30" fmla="*/ 23 w 65"/>
                  <a:gd name="T31" fmla="*/ 8 h 122"/>
                  <a:gd name="T32" fmla="*/ 22 w 65"/>
                  <a:gd name="T33" fmla="*/ 1 h 122"/>
                  <a:gd name="T34" fmla="*/ 20 w 65"/>
                  <a:gd name="T35" fmla="*/ 0 h 122"/>
                  <a:gd name="T36" fmla="*/ 19 w 65"/>
                  <a:gd name="T37" fmla="*/ 1 h 122"/>
                  <a:gd name="T38" fmla="*/ 12 w 65"/>
                  <a:gd name="T39" fmla="*/ 5 h 122"/>
                  <a:gd name="T40" fmla="*/ 6 w 65"/>
                  <a:gd name="T41" fmla="*/ 7 h 122"/>
                  <a:gd name="T42" fmla="*/ 1 w 65"/>
                  <a:gd name="T43" fmla="*/ 10 h 122"/>
                  <a:gd name="T44" fmla="*/ 0 w 65"/>
                  <a:gd name="T45" fmla="*/ 22 h 122"/>
                  <a:gd name="T46" fmla="*/ 6 w 65"/>
                  <a:gd name="T47" fmla="*/ 30 h 122"/>
                  <a:gd name="T48" fmla="*/ 7 w 65"/>
                  <a:gd name="T49" fmla="*/ 35 h 122"/>
                  <a:gd name="T50" fmla="*/ 7 w 65"/>
                  <a:gd name="T51" fmla="*/ 39 h 122"/>
                  <a:gd name="T52" fmla="*/ 6 w 65"/>
                  <a:gd name="T53" fmla="*/ 45 h 122"/>
                  <a:gd name="T54" fmla="*/ 9 w 65"/>
                  <a:gd name="T55" fmla="*/ 53 h 122"/>
                  <a:gd name="T56" fmla="*/ 12 w 65"/>
                  <a:gd name="T57" fmla="*/ 63 h 122"/>
                  <a:gd name="T58" fmla="*/ 14 w 65"/>
                  <a:gd name="T59" fmla="*/ 69 h 122"/>
                  <a:gd name="T60" fmla="*/ 7 w 65"/>
                  <a:gd name="T61" fmla="*/ 82 h 122"/>
                  <a:gd name="T62" fmla="*/ 5 w 65"/>
                  <a:gd name="T63" fmla="*/ 94 h 122"/>
                  <a:gd name="T64" fmla="*/ 6 w 65"/>
                  <a:gd name="T65" fmla="*/ 101 h 122"/>
                  <a:gd name="T66" fmla="*/ 16 w 65"/>
                  <a:gd name="T67" fmla="*/ 112 h 122"/>
                  <a:gd name="T68" fmla="*/ 19 w 65"/>
                  <a:gd name="T69" fmla="*/ 116 h 122"/>
                  <a:gd name="T70" fmla="*/ 23 w 65"/>
                  <a:gd name="T71" fmla="*/ 116 h 122"/>
                  <a:gd name="T72" fmla="*/ 27 w 65"/>
                  <a:gd name="T73" fmla="*/ 121 h 122"/>
                  <a:gd name="T74" fmla="*/ 34 w 65"/>
                  <a:gd name="T75" fmla="*/ 121 h 122"/>
                  <a:gd name="T76" fmla="*/ 36 w 65"/>
                  <a:gd name="T77" fmla="*/ 118 h 122"/>
                  <a:gd name="T78" fmla="*/ 27 w 65"/>
                  <a:gd name="T79" fmla="*/ 113 h 122"/>
                  <a:gd name="T80" fmla="*/ 21 w 65"/>
                  <a:gd name="T81" fmla="*/ 104 h 122"/>
                  <a:gd name="T82" fmla="*/ 18 w 65"/>
                  <a:gd name="T83" fmla="*/ 96 h 122"/>
                  <a:gd name="T84" fmla="*/ 13 w 65"/>
                  <a:gd name="T85" fmla="*/ 92 h 122"/>
                  <a:gd name="T86" fmla="*/ 14 w 65"/>
                  <a:gd name="T87" fmla="*/ 79 h 122"/>
                  <a:gd name="T88" fmla="*/ 19 w 65"/>
                  <a:gd name="T89" fmla="*/ 63 h 122"/>
                  <a:gd name="T90" fmla="*/ 25 w 65"/>
                  <a:gd name="T91" fmla="*/ 61 h 122"/>
                  <a:gd name="T92" fmla="*/ 31 w 65"/>
                  <a:gd name="T93" fmla="*/ 66 h 122"/>
                  <a:gd name="T94" fmla="*/ 40 w 65"/>
                  <a:gd name="T95" fmla="*/ 70 h 122"/>
                  <a:gd name="T96" fmla="*/ 40 w 65"/>
                  <a:gd name="T97" fmla="*/ 71 h 122"/>
                  <a:gd name="T98" fmla="*/ 41 w 65"/>
                  <a:gd name="T99" fmla="*/ 70 h 122"/>
                  <a:gd name="T100" fmla="*/ 40 w 65"/>
                  <a:gd name="T101" fmla="*/ 64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65" h="122">
                    <a:moveTo>
                      <a:pt x="40" y="64"/>
                    </a:moveTo>
                    <a:cubicBezTo>
                      <a:pt x="40" y="61"/>
                      <a:pt x="36" y="61"/>
                      <a:pt x="39" y="57"/>
                    </a:cubicBezTo>
                    <a:cubicBezTo>
                      <a:pt x="42" y="53"/>
                      <a:pt x="47" y="51"/>
                      <a:pt x="50" y="52"/>
                    </a:cubicBezTo>
                    <a:cubicBezTo>
                      <a:pt x="53" y="53"/>
                      <a:pt x="59" y="50"/>
                      <a:pt x="61" y="52"/>
                    </a:cubicBezTo>
                    <a:cubicBezTo>
                      <a:pt x="61" y="52"/>
                      <a:pt x="62" y="53"/>
                      <a:pt x="62" y="53"/>
                    </a:cubicBezTo>
                    <a:cubicBezTo>
                      <a:pt x="65" y="50"/>
                      <a:pt x="63" y="47"/>
                      <a:pt x="63" y="44"/>
                    </a:cubicBezTo>
                    <a:cubicBezTo>
                      <a:pt x="64" y="40"/>
                      <a:pt x="60" y="36"/>
                      <a:pt x="58" y="35"/>
                    </a:cubicBezTo>
                    <a:cubicBezTo>
                      <a:pt x="55" y="34"/>
                      <a:pt x="59" y="27"/>
                      <a:pt x="57" y="26"/>
                    </a:cubicBezTo>
                    <a:cubicBezTo>
                      <a:pt x="55" y="24"/>
                      <a:pt x="53" y="22"/>
                      <a:pt x="51" y="20"/>
                    </a:cubicBezTo>
                    <a:cubicBezTo>
                      <a:pt x="49" y="18"/>
                      <a:pt x="44" y="18"/>
                      <a:pt x="44" y="20"/>
                    </a:cubicBezTo>
                    <a:cubicBezTo>
                      <a:pt x="43" y="22"/>
                      <a:pt x="40" y="23"/>
                      <a:pt x="38" y="21"/>
                    </a:cubicBezTo>
                    <a:cubicBezTo>
                      <a:pt x="37" y="20"/>
                      <a:pt x="35" y="20"/>
                      <a:pt x="33" y="22"/>
                    </a:cubicBezTo>
                    <a:cubicBezTo>
                      <a:pt x="30" y="24"/>
                      <a:pt x="26" y="28"/>
                      <a:pt x="25" y="24"/>
                    </a:cubicBezTo>
                    <a:cubicBezTo>
                      <a:pt x="25" y="21"/>
                      <a:pt x="28" y="22"/>
                      <a:pt x="28" y="18"/>
                    </a:cubicBezTo>
                    <a:cubicBezTo>
                      <a:pt x="28" y="15"/>
                      <a:pt x="29" y="13"/>
                      <a:pt x="28" y="10"/>
                    </a:cubicBezTo>
                    <a:cubicBezTo>
                      <a:pt x="27" y="6"/>
                      <a:pt x="24" y="10"/>
                      <a:pt x="23" y="8"/>
                    </a:cubicBezTo>
                    <a:cubicBezTo>
                      <a:pt x="22" y="5"/>
                      <a:pt x="23" y="3"/>
                      <a:pt x="22" y="1"/>
                    </a:cubicBezTo>
                    <a:cubicBezTo>
                      <a:pt x="22" y="1"/>
                      <a:pt x="21" y="1"/>
                      <a:pt x="20" y="0"/>
                    </a:cubicBezTo>
                    <a:cubicBezTo>
                      <a:pt x="20" y="0"/>
                      <a:pt x="19" y="1"/>
                      <a:pt x="19" y="1"/>
                    </a:cubicBezTo>
                    <a:cubicBezTo>
                      <a:pt x="18" y="3"/>
                      <a:pt x="13" y="3"/>
                      <a:pt x="12" y="5"/>
                    </a:cubicBezTo>
                    <a:cubicBezTo>
                      <a:pt x="11" y="7"/>
                      <a:pt x="7" y="7"/>
                      <a:pt x="6" y="7"/>
                    </a:cubicBezTo>
                    <a:cubicBezTo>
                      <a:pt x="5" y="7"/>
                      <a:pt x="2" y="7"/>
                      <a:pt x="1" y="10"/>
                    </a:cubicBezTo>
                    <a:cubicBezTo>
                      <a:pt x="1" y="12"/>
                      <a:pt x="0" y="21"/>
                      <a:pt x="0" y="22"/>
                    </a:cubicBezTo>
                    <a:cubicBezTo>
                      <a:pt x="0" y="24"/>
                      <a:pt x="4" y="29"/>
                      <a:pt x="6" y="30"/>
                    </a:cubicBezTo>
                    <a:cubicBezTo>
                      <a:pt x="7" y="30"/>
                      <a:pt x="5" y="34"/>
                      <a:pt x="7" y="35"/>
                    </a:cubicBezTo>
                    <a:cubicBezTo>
                      <a:pt x="9" y="36"/>
                      <a:pt x="8" y="39"/>
                      <a:pt x="7" y="39"/>
                    </a:cubicBezTo>
                    <a:cubicBezTo>
                      <a:pt x="6" y="39"/>
                      <a:pt x="8" y="43"/>
                      <a:pt x="6" y="45"/>
                    </a:cubicBezTo>
                    <a:cubicBezTo>
                      <a:pt x="4" y="46"/>
                      <a:pt x="5" y="50"/>
                      <a:pt x="9" y="53"/>
                    </a:cubicBezTo>
                    <a:cubicBezTo>
                      <a:pt x="12" y="56"/>
                      <a:pt x="12" y="60"/>
                      <a:pt x="12" y="63"/>
                    </a:cubicBezTo>
                    <a:cubicBezTo>
                      <a:pt x="12" y="66"/>
                      <a:pt x="14" y="66"/>
                      <a:pt x="14" y="69"/>
                    </a:cubicBezTo>
                    <a:cubicBezTo>
                      <a:pt x="14" y="69"/>
                      <a:pt x="11" y="83"/>
                      <a:pt x="7" y="82"/>
                    </a:cubicBezTo>
                    <a:cubicBezTo>
                      <a:pt x="7" y="86"/>
                      <a:pt x="6" y="91"/>
                      <a:pt x="5" y="94"/>
                    </a:cubicBezTo>
                    <a:cubicBezTo>
                      <a:pt x="4" y="98"/>
                      <a:pt x="4" y="101"/>
                      <a:pt x="6" y="101"/>
                    </a:cubicBezTo>
                    <a:cubicBezTo>
                      <a:pt x="8" y="101"/>
                      <a:pt x="12" y="106"/>
                      <a:pt x="16" y="112"/>
                    </a:cubicBezTo>
                    <a:cubicBezTo>
                      <a:pt x="17" y="113"/>
                      <a:pt x="18" y="114"/>
                      <a:pt x="19" y="116"/>
                    </a:cubicBezTo>
                    <a:cubicBezTo>
                      <a:pt x="20" y="115"/>
                      <a:pt x="22" y="116"/>
                      <a:pt x="23" y="116"/>
                    </a:cubicBezTo>
                    <a:cubicBezTo>
                      <a:pt x="26" y="116"/>
                      <a:pt x="27" y="119"/>
                      <a:pt x="27" y="121"/>
                    </a:cubicBezTo>
                    <a:cubicBezTo>
                      <a:pt x="27" y="122"/>
                      <a:pt x="33" y="122"/>
                      <a:pt x="34" y="121"/>
                    </a:cubicBezTo>
                    <a:cubicBezTo>
                      <a:pt x="34" y="121"/>
                      <a:pt x="33" y="119"/>
                      <a:pt x="36" y="118"/>
                    </a:cubicBezTo>
                    <a:cubicBezTo>
                      <a:pt x="34" y="116"/>
                      <a:pt x="30" y="113"/>
                      <a:pt x="27" y="113"/>
                    </a:cubicBezTo>
                    <a:cubicBezTo>
                      <a:pt x="23" y="112"/>
                      <a:pt x="21" y="106"/>
                      <a:pt x="21" y="104"/>
                    </a:cubicBezTo>
                    <a:cubicBezTo>
                      <a:pt x="22" y="101"/>
                      <a:pt x="18" y="99"/>
                      <a:pt x="18" y="96"/>
                    </a:cubicBezTo>
                    <a:cubicBezTo>
                      <a:pt x="18" y="94"/>
                      <a:pt x="16" y="94"/>
                      <a:pt x="13" y="92"/>
                    </a:cubicBezTo>
                    <a:cubicBezTo>
                      <a:pt x="10" y="91"/>
                      <a:pt x="14" y="83"/>
                      <a:pt x="14" y="79"/>
                    </a:cubicBezTo>
                    <a:cubicBezTo>
                      <a:pt x="14" y="76"/>
                      <a:pt x="20" y="66"/>
                      <a:pt x="19" y="63"/>
                    </a:cubicBezTo>
                    <a:cubicBezTo>
                      <a:pt x="17" y="60"/>
                      <a:pt x="24" y="58"/>
                      <a:pt x="25" y="61"/>
                    </a:cubicBezTo>
                    <a:cubicBezTo>
                      <a:pt x="26" y="65"/>
                      <a:pt x="27" y="66"/>
                      <a:pt x="31" y="66"/>
                    </a:cubicBezTo>
                    <a:cubicBezTo>
                      <a:pt x="36" y="66"/>
                      <a:pt x="36" y="69"/>
                      <a:pt x="40" y="70"/>
                    </a:cubicBezTo>
                    <a:cubicBezTo>
                      <a:pt x="40" y="71"/>
                      <a:pt x="40" y="71"/>
                      <a:pt x="40" y="71"/>
                    </a:cubicBezTo>
                    <a:cubicBezTo>
                      <a:pt x="41" y="71"/>
                      <a:pt x="41" y="71"/>
                      <a:pt x="41" y="70"/>
                    </a:cubicBezTo>
                    <a:cubicBezTo>
                      <a:pt x="42" y="68"/>
                      <a:pt x="40" y="68"/>
                      <a:pt x="40" y="64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1" name="Freeform 67">
                <a:extLst>
                  <a:ext uri="{FF2B5EF4-FFF2-40B4-BE49-F238E27FC236}">
                    <a16:creationId xmlns:a16="http://schemas.microsoft.com/office/drawing/2014/main" id="{6EB773F2-971F-406F-9498-FCA24DFB0F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5716" y="2940470"/>
                <a:ext cx="176916" cy="145548"/>
              </a:xfrm>
              <a:custGeom>
                <a:avLst/>
                <a:gdLst>
                  <a:gd name="T0" fmla="*/ 1 w 77"/>
                  <a:gd name="T1" fmla="*/ 13 h 63"/>
                  <a:gd name="T2" fmla="*/ 1 w 77"/>
                  <a:gd name="T3" fmla="*/ 22 h 63"/>
                  <a:gd name="T4" fmla="*/ 1 w 77"/>
                  <a:gd name="T5" fmla="*/ 25 h 63"/>
                  <a:gd name="T6" fmla="*/ 3 w 77"/>
                  <a:gd name="T7" fmla="*/ 29 h 63"/>
                  <a:gd name="T8" fmla="*/ 4 w 77"/>
                  <a:gd name="T9" fmla="*/ 33 h 63"/>
                  <a:gd name="T10" fmla="*/ 6 w 77"/>
                  <a:gd name="T11" fmla="*/ 39 h 63"/>
                  <a:gd name="T12" fmla="*/ 6 w 77"/>
                  <a:gd name="T13" fmla="*/ 43 h 63"/>
                  <a:gd name="T14" fmla="*/ 11 w 77"/>
                  <a:gd name="T15" fmla="*/ 46 h 63"/>
                  <a:gd name="T16" fmla="*/ 16 w 77"/>
                  <a:gd name="T17" fmla="*/ 49 h 63"/>
                  <a:gd name="T18" fmla="*/ 21 w 77"/>
                  <a:gd name="T19" fmla="*/ 51 h 63"/>
                  <a:gd name="T20" fmla="*/ 25 w 77"/>
                  <a:gd name="T21" fmla="*/ 50 h 63"/>
                  <a:gd name="T22" fmla="*/ 27 w 77"/>
                  <a:gd name="T23" fmla="*/ 53 h 63"/>
                  <a:gd name="T24" fmla="*/ 33 w 77"/>
                  <a:gd name="T25" fmla="*/ 55 h 63"/>
                  <a:gd name="T26" fmla="*/ 36 w 77"/>
                  <a:gd name="T27" fmla="*/ 59 h 63"/>
                  <a:gd name="T28" fmla="*/ 41 w 77"/>
                  <a:gd name="T29" fmla="*/ 59 h 63"/>
                  <a:gd name="T30" fmla="*/ 48 w 77"/>
                  <a:gd name="T31" fmla="*/ 60 h 63"/>
                  <a:gd name="T32" fmla="*/ 54 w 77"/>
                  <a:gd name="T33" fmla="*/ 60 h 63"/>
                  <a:gd name="T34" fmla="*/ 61 w 77"/>
                  <a:gd name="T35" fmla="*/ 62 h 63"/>
                  <a:gd name="T36" fmla="*/ 66 w 77"/>
                  <a:gd name="T37" fmla="*/ 63 h 63"/>
                  <a:gd name="T38" fmla="*/ 65 w 77"/>
                  <a:gd name="T39" fmla="*/ 58 h 63"/>
                  <a:gd name="T40" fmla="*/ 73 w 77"/>
                  <a:gd name="T41" fmla="*/ 50 h 63"/>
                  <a:gd name="T42" fmla="*/ 76 w 77"/>
                  <a:gd name="T43" fmla="*/ 47 h 63"/>
                  <a:gd name="T44" fmla="*/ 73 w 77"/>
                  <a:gd name="T45" fmla="*/ 39 h 63"/>
                  <a:gd name="T46" fmla="*/ 73 w 77"/>
                  <a:gd name="T47" fmla="*/ 32 h 63"/>
                  <a:gd name="T48" fmla="*/ 70 w 77"/>
                  <a:gd name="T49" fmla="*/ 28 h 63"/>
                  <a:gd name="T50" fmla="*/ 75 w 77"/>
                  <a:gd name="T51" fmla="*/ 24 h 63"/>
                  <a:gd name="T52" fmla="*/ 74 w 77"/>
                  <a:gd name="T53" fmla="*/ 17 h 63"/>
                  <a:gd name="T54" fmla="*/ 73 w 77"/>
                  <a:gd name="T55" fmla="*/ 11 h 63"/>
                  <a:gd name="T56" fmla="*/ 67 w 77"/>
                  <a:gd name="T57" fmla="*/ 7 h 63"/>
                  <a:gd name="T58" fmla="*/ 66 w 77"/>
                  <a:gd name="T59" fmla="*/ 6 h 63"/>
                  <a:gd name="T60" fmla="*/ 46 w 77"/>
                  <a:gd name="T61" fmla="*/ 5 h 63"/>
                  <a:gd name="T62" fmla="*/ 42 w 77"/>
                  <a:gd name="T63" fmla="*/ 4 h 63"/>
                  <a:gd name="T64" fmla="*/ 37 w 77"/>
                  <a:gd name="T65" fmla="*/ 6 h 63"/>
                  <a:gd name="T66" fmla="*/ 33 w 77"/>
                  <a:gd name="T67" fmla="*/ 1 h 63"/>
                  <a:gd name="T68" fmla="*/ 16 w 77"/>
                  <a:gd name="T69" fmla="*/ 6 h 63"/>
                  <a:gd name="T70" fmla="*/ 3 w 77"/>
                  <a:gd name="T71" fmla="*/ 10 h 63"/>
                  <a:gd name="T72" fmla="*/ 1 w 77"/>
                  <a:gd name="T73" fmla="*/ 12 h 63"/>
                  <a:gd name="T74" fmla="*/ 1 w 77"/>
                  <a:gd name="T75" fmla="*/ 13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7" h="63">
                    <a:moveTo>
                      <a:pt x="1" y="13"/>
                    </a:moveTo>
                    <a:cubicBezTo>
                      <a:pt x="2" y="15"/>
                      <a:pt x="2" y="20"/>
                      <a:pt x="1" y="22"/>
                    </a:cubicBezTo>
                    <a:cubicBezTo>
                      <a:pt x="0" y="23"/>
                      <a:pt x="0" y="24"/>
                      <a:pt x="1" y="25"/>
                    </a:cubicBezTo>
                    <a:cubicBezTo>
                      <a:pt x="3" y="25"/>
                      <a:pt x="3" y="27"/>
                      <a:pt x="3" y="29"/>
                    </a:cubicBezTo>
                    <a:cubicBezTo>
                      <a:pt x="3" y="30"/>
                      <a:pt x="4" y="30"/>
                      <a:pt x="4" y="33"/>
                    </a:cubicBezTo>
                    <a:cubicBezTo>
                      <a:pt x="4" y="36"/>
                      <a:pt x="5" y="38"/>
                      <a:pt x="6" y="39"/>
                    </a:cubicBezTo>
                    <a:cubicBezTo>
                      <a:pt x="7" y="40"/>
                      <a:pt x="7" y="42"/>
                      <a:pt x="6" y="43"/>
                    </a:cubicBezTo>
                    <a:cubicBezTo>
                      <a:pt x="8" y="44"/>
                      <a:pt x="10" y="45"/>
                      <a:pt x="11" y="46"/>
                    </a:cubicBezTo>
                    <a:cubicBezTo>
                      <a:pt x="15" y="47"/>
                      <a:pt x="16" y="48"/>
                      <a:pt x="16" y="49"/>
                    </a:cubicBezTo>
                    <a:cubicBezTo>
                      <a:pt x="17" y="51"/>
                      <a:pt x="20" y="53"/>
                      <a:pt x="21" y="51"/>
                    </a:cubicBezTo>
                    <a:cubicBezTo>
                      <a:pt x="21" y="49"/>
                      <a:pt x="24" y="50"/>
                      <a:pt x="25" y="50"/>
                    </a:cubicBezTo>
                    <a:cubicBezTo>
                      <a:pt x="27" y="50"/>
                      <a:pt x="27" y="52"/>
                      <a:pt x="27" y="53"/>
                    </a:cubicBezTo>
                    <a:cubicBezTo>
                      <a:pt x="28" y="54"/>
                      <a:pt x="31" y="54"/>
                      <a:pt x="33" y="55"/>
                    </a:cubicBezTo>
                    <a:cubicBezTo>
                      <a:pt x="34" y="55"/>
                      <a:pt x="34" y="58"/>
                      <a:pt x="36" y="59"/>
                    </a:cubicBezTo>
                    <a:cubicBezTo>
                      <a:pt x="38" y="61"/>
                      <a:pt x="40" y="58"/>
                      <a:pt x="41" y="59"/>
                    </a:cubicBezTo>
                    <a:cubicBezTo>
                      <a:pt x="42" y="60"/>
                      <a:pt x="46" y="61"/>
                      <a:pt x="48" y="60"/>
                    </a:cubicBezTo>
                    <a:cubicBezTo>
                      <a:pt x="50" y="59"/>
                      <a:pt x="51" y="61"/>
                      <a:pt x="54" y="60"/>
                    </a:cubicBezTo>
                    <a:cubicBezTo>
                      <a:pt x="57" y="60"/>
                      <a:pt x="60" y="61"/>
                      <a:pt x="61" y="62"/>
                    </a:cubicBezTo>
                    <a:cubicBezTo>
                      <a:pt x="61" y="62"/>
                      <a:pt x="64" y="63"/>
                      <a:pt x="66" y="63"/>
                    </a:cubicBezTo>
                    <a:cubicBezTo>
                      <a:pt x="66" y="62"/>
                      <a:pt x="65" y="59"/>
                      <a:pt x="65" y="58"/>
                    </a:cubicBezTo>
                    <a:cubicBezTo>
                      <a:pt x="66" y="57"/>
                      <a:pt x="72" y="51"/>
                      <a:pt x="73" y="50"/>
                    </a:cubicBezTo>
                    <a:cubicBezTo>
                      <a:pt x="74" y="49"/>
                      <a:pt x="76" y="49"/>
                      <a:pt x="76" y="47"/>
                    </a:cubicBezTo>
                    <a:cubicBezTo>
                      <a:pt x="77" y="46"/>
                      <a:pt x="74" y="40"/>
                      <a:pt x="73" y="39"/>
                    </a:cubicBezTo>
                    <a:cubicBezTo>
                      <a:pt x="72" y="38"/>
                      <a:pt x="72" y="34"/>
                      <a:pt x="73" y="32"/>
                    </a:cubicBezTo>
                    <a:cubicBezTo>
                      <a:pt x="73" y="30"/>
                      <a:pt x="70" y="29"/>
                      <a:pt x="70" y="28"/>
                    </a:cubicBezTo>
                    <a:cubicBezTo>
                      <a:pt x="70" y="27"/>
                      <a:pt x="73" y="25"/>
                      <a:pt x="75" y="24"/>
                    </a:cubicBezTo>
                    <a:cubicBezTo>
                      <a:pt x="76" y="23"/>
                      <a:pt x="76" y="18"/>
                      <a:pt x="74" y="17"/>
                    </a:cubicBezTo>
                    <a:cubicBezTo>
                      <a:pt x="73" y="16"/>
                      <a:pt x="72" y="14"/>
                      <a:pt x="73" y="11"/>
                    </a:cubicBezTo>
                    <a:cubicBezTo>
                      <a:pt x="74" y="9"/>
                      <a:pt x="68" y="7"/>
                      <a:pt x="67" y="7"/>
                    </a:cubicBezTo>
                    <a:cubicBezTo>
                      <a:pt x="67" y="7"/>
                      <a:pt x="67" y="6"/>
                      <a:pt x="66" y="6"/>
                    </a:cubicBezTo>
                    <a:cubicBezTo>
                      <a:pt x="61" y="7"/>
                      <a:pt x="47" y="6"/>
                      <a:pt x="46" y="5"/>
                    </a:cubicBezTo>
                    <a:cubicBezTo>
                      <a:pt x="45" y="5"/>
                      <a:pt x="43" y="4"/>
                      <a:pt x="42" y="4"/>
                    </a:cubicBezTo>
                    <a:cubicBezTo>
                      <a:pt x="41" y="5"/>
                      <a:pt x="39" y="6"/>
                      <a:pt x="37" y="6"/>
                    </a:cubicBezTo>
                    <a:cubicBezTo>
                      <a:pt x="34" y="6"/>
                      <a:pt x="33" y="3"/>
                      <a:pt x="33" y="1"/>
                    </a:cubicBezTo>
                    <a:cubicBezTo>
                      <a:pt x="33" y="0"/>
                      <a:pt x="19" y="2"/>
                      <a:pt x="16" y="6"/>
                    </a:cubicBezTo>
                    <a:cubicBezTo>
                      <a:pt x="12" y="10"/>
                      <a:pt x="3" y="8"/>
                      <a:pt x="3" y="10"/>
                    </a:cubicBezTo>
                    <a:cubicBezTo>
                      <a:pt x="3" y="12"/>
                      <a:pt x="2" y="13"/>
                      <a:pt x="1" y="12"/>
                    </a:cubicBezTo>
                    <a:cubicBezTo>
                      <a:pt x="1" y="13"/>
                      <a:pt x="1" y="13"/>
                      <a:pt x="1" y="1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2" name="Freeform 68">
                <a:extLst>
                  <a:ext uri="{FF2B5EF4-FFF2-40B4-BE49-F238E27FC236}">
                    <a16:creationId xmlns:a16="http://schemas.microsoft.com/office/drawing/2014/main" id="{88B3C971-3E3A-440F-9366-053A7B334D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10811" y="3177613"/>
                <a:ext cx="66500" cy="62736"/>
              </a:xfrm>
              <a:custGeom>
                <a:avLst/>
                <a:gdLst>
                  <a:gd name="T0" fmla="*/ 21 w 29"/>
                  <a:gd name="T1" fmla="*/ 25 h 27"/>
                  <a:gd name="T2" fmla="*/ 28 w 29"/>
                  <a:gd name="T3" fmla="*/ 16 h 27"/>
                  <a:gd name="T4" fmla="*/ 29 w 29"/>
                  <a:gd name="T5" fmla="*/ 5 h 27"/>
                  <a:gd name="T6" fmla="*/ 21 w 29"/>
                  <a:gd name="T7" fmla="*/ 2 h 27"/>
                  <a:gd name="T8" fmla="*/ 9 w 29"/>
                  <a:gd name="T9" fmla="*/ 0 h 27"/>
                  <a:gd name="T10" fmla="*/ 4 w 29"/>
                  <a:gd name="T11" fmla="*/ 1 h 27"/>
                  <a:gd name="T12" fmla="*/ 0 w 29"/>
                  <a:gd name="T13" fmla="*/ 3 h 27"/>
                  <a:gd name="T14" fmla="*/ 4 w 29"/>
                  <a:gd name="T15" fmla="*/ 9 h 27"/>
                  <a:gd name="T16" fmla="*/ 10 w 29"/>
                  <a:gd name="T17" fmla="*/ 17 h 27"/>
                  <a:gd name="T18" fmla="*/ 17 w 29"/>
                  <a:gd name="T19" fmla="*/ 24 h 27"/>
                  <a:gd name="T20" fmla="*/ 21 w 29"/>
                  <a:gd name="T21" fmla="*/ 27 h 27"/>
                  <a:gd name="T22" fmla="*/ 21 w 29"/>
                  <a:gd name="T23" fmla="*/ 25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9" h="27">
                    <a:moveTo>
                      <a:pt x="21" y="25"/>
                    </a:moveTo>
                    <a:cubicBezTo>
                      <a:pt x="21" y="23"/>
                      <a:pt x="26" y="16"/>
                      <a:pt x="28" y="16"/>
                    </a:cubicBezTo>
                    <a:cubicBezTo>
                      <a:pt x="29" y="16"/>
                      <a:pt x="29" y="9"/>
                      <a:pt x="29" y="5"/>
                    </a:cubicBezTo>
                    <a:cubicBezTo>
                      <a:pt x="25" y="2"/>
                      <a:pt x="21" y="2"/>
                      <a:pt x="21" y="2"/>
                    </a:cubicBezTo>
                    <a:cubicBezTo>
                      <a:pt x="21" y="2"/>
                      <a:pt x="11" y="1"/>
                      <a:pt x="9" y="0"/>
                    </a:cubicBezTo>
                    <a:cubicBezTo>
                      <a:pt x="7" y="0"/>
                      <a:pt x="5" y="3"/>
                      <a:pt x="4" y="1"/>
                    </a:cubicBezTo>
                    <a:cubicBezTo>
                      <a:pt x="2" y="0"/>
                      <a:pt x="0" y="2"/>
                      <a:pt x="0" y="3"/>
                    </a:cubicBezTo>
                    <a:cubicBezTo>
                      <a:pt x="1" y="5"/>
                      <a:pt x="4" y="6"/>
                      <a:pt x="4" y="9"/>
                    </a:cubicBezTo>
                    <a:cubicBezTo>
                      <a:pt x="4" y="12"/>
                      <a:pt x="11" y="16"/>
                      <a:pt x="10" y="17"/>
                    </a:cubicBezTo>
                    <a:cubicBezTo>
                      <a:pt x="10" y="18"/>
                      <a:pt x="15" y="21"/>
                      <a:pt x="17" y="24"/>
                    </a:cubicBezTo>
                    <a:cubicBezTo>
                      <a:pt x="18" y="25"/>
                      <a:pt x="20" y="26"/>
                      <a:pt x="21" y="27"/>
                    </a:cubicBezTo>
                    <a:cubicBezTo>
                      <a:pt x="21" y="26"/>
                      <a:pt x="22" y="25"/>
                      <a:pt x="21" y="2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3" name="Freeform 69">
                <a:extLst>
                  <a:ext uri="{FF2B5EF4-FFF2-40B4-BE49-F238E27FC236}">
                    <a16:creationId xmlns:a16="http://schemas.microsoft.com/office/drawing/2014/main" id="{50A48F5A-2A5F-4B3F-A3AE-A7F8446341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8188" y="3147499"/>
                <a:ext cx="99123" cy="85321"/>
              </a:xfrm>
              <a:custGeom>
                <a:avLst/>
                <a:gdLst>
                  <a:gd name="T0" fmla="*/ 24 w 43"/>
                  <a:gd name="T1" fmla="*/ 30 h 37"/>
                  <a:gd name="T2" fmla="*/ 18 w 43"/>
                  <a:gd name="T3" fmla="*/ 22 h 37"/>
                  <a:gd name="T4" fmla="*/ 14 w 43"/>
                  <a:gd name="T5" fmla="*/ 16 h 37"/>
                  <a:gd name="T6" fmla="*/ 18 w 43"/>
                  <a:gd name="T7" fmla="*/ 14 h 37"/>
                  <a:gd name="T8" fmla="*/ 23 w 43"/>
                  <a:gd name="T9" fmla="*/ 13 h 37"/>
                  <a:gd name="T10" fmla="*/ 35 w 43"/>
                  <a:gd name="T11" fmla="*/ 15 h 37"/>
                  <a:gd name="T12" fmla="*/ 43 w 43"/>
                  <a:gd name="T13" fmla="*/ 18 h 37"/>
                  <a:gd name="T14" fmla="*/ 42 w 43"/>
                  <a:gd name="T15" fmla="*/ 16 h 37"/>
                  <a:gd name="T16" fmla="*/ 40 w 43"/>
                  <a:gd name="T17" fmla="*/ 11 h 37"/>
                  <a:gd name="T18" fmla="*/ 38 w 43"/>
                  <a:gd name="T19" fmla="*/ 6 h 37"/>
                  <a:gd name="T20" fmla="*/ 35 w 43"/>
                  <a:gd name="T21" fmla="*/ 7 h 37"/>
                  <a:gd name="T22" fmla="*/ 27 w 43"/>
                  <a:gd name="T23" fmla="*/ 5 h 37"/>
                  <a:gd name="T24" fmla="*/ 20 w 43"/>
                  <a:gd name="T25" fmla="*/ 0 h 37"/>
                  <a:gd name="T26" fmla="*/ 15 w 43"/>
                  <a:gd name="T27" fmla="*/ 3 h 37"/>
                  <a:gd name="T28" fmla="*/ 13 w 43"/>
                  <a:gd name="T29" fmla="*/ 7 h 37"/>
                  <a:gd name="T30" fmla="*/ 10 w 43"/>
                  <a:gd name="T31" fmla="*/ 11 h 37"/>
                  <a:gd name="T32" fmla="*/ 5 w 43"/>
                  <a:gd name="T33" fmla="*/ 10 h 37"/>
                  <a:gd name="T34" fmla="*/ 0 w 43"/>
                  <a:gd name="T35" fmla="*/ 11 h 37"/>
                  <a:gd name="T36" fmla="*/ 1 w 43"/>
                  <a:gd name="T37" fmla="*/ 15 h 37"/>
                  <a:gd name="T38" fmla="*/ 7 w 43"/>
                  <a:gd name="T39" fmla="*/ 17 h 37"/>
                  <a:gd name="T40" fmla="*/ 14 w 43"/>
                  <a:gd name="T41" fmla="*/ 29 h 37"/>
                  <a:gd name="T42" fmla="*/ 21 w 43"/>
                  <a:gd name="T43" fmla="*/ 32 h 37"/>
                  <a:gd name="T44" fmla="*/ 28 w 43"/>
                  <a:gd name="T45" fmla="*/ 36 h 37"/>
                  <a:gd name="T46" fmla="*/ 31 w 43"/>
                  <a:gd name="T47" fmla="*/ 37 h 37"/>
                  <a:gd name="T48" fmla="*/ 24 w 43"/>
                  <a:gd name="T49" fmla="*/ 3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3" h="37">
                    <a:moveTo>
                      <a:pt x="24" y="30"/>
                    </a:moveTo>
                    <a:cubicBezTo>
                      <a:pt x="25" y="29"/>
                      <a:pt x="18" y="25"/>
                      <a:pt x="18" y="22"/>
                    </a:cubicBezTo>
                    <a:cubicBezTo>
                      <a:pt x="18" y="19"/>
                      <a:pt x="15" y="18"/>
                      <a:pt x="14" y="16"/>
                    </a:cubicBezTo>
                    <a:cubicBezTo>
                      <a:pt x="14" y="15"/>
                      <a:pt x="16" y="13"/>
                      <a:pt x="18" y="14"/>
                    </a:cubicBezTo>
                    <a:cubicBezTo>
                      <a:pt x="19" y="16"/>
                      <a:pt x="21" y="13"/>
                      <a:pt x="23" y="13"/>
                    </a:cubicBezTo>
                    <a:cubicBezTo>
                      <a:pt x="25" y="14"/>
                      <a:pt x="35" y="15"/>
                      <a:pt x="35" y="15"/>
                    </a:cubicBezTo>
                    <a:cubicBezTo>
                      <a:pt x="35" y="15"/>
                      <a:pt x="39" y="15"/>
                      <a:pt x="43" y="18"/>
                    </a:cubicBezTo>
                    <a:cubicBezTo>
                      <a:pt x="42" y="17"/>
                      <a:pt x="42" y="17"/>
                      <a:pt x="42" y="16"/>
                    </a:cubicBezTo>
                    <a:cubicBezTo>
                      <a:pt x="41" y="14"/>
                      <a:pt x="42" y="12"/>
                      <a:pt x="40" y="11"/>
                    </a:cubicBezTo>
                    <a:cubicBezTo>
                      <a:pt x="38" y="10"/>
                      <a:pt x="38" y="8"/>
                      <a:pt x="38" y="6"/>
                    </a:cubicBezTo>
                    <a:cubicBezTo>
                      <a:pt x="36" y="6"/>
                      <a:pt x="35" y="7"/>
                      <a:pt x="35" y="7"/>
                    </a:cubicBezTo>
                    <a:cubicBezTo>
                      <a:pt x="33" y="7"/>
                      <a:pt x="28" y="7"/>
                      <a:pt x="27" y="5"/>
                    </a:cubicBezTo>
                    <a:cubicBezTo>
                      <a:pt x="25" y="3"/>
                      <a:pt x="22" y="1"/>
                      <a:pt x="20" y="0"/>
                    </a:cubicBezTo>
                    <a:cubicBezTo>
                      <a:pt x="19" y="0"/>
                      <a:pt x="16" y="3"/>
                      <a:pt x="15" y="3"/>
                    </a:cubicBezTo>
                    <a:cubicBezTo>
                      <a:pt x="14" y="3"/>
                      <a:pt x="14" y="7"/>
                      <a:pt x="13" y="7"/>
                    </a:cubicBezTo>
                    <a:cubicBezTo>
                      <a:pt x="12" y="7"/>
                      <a:pt x="11" y="9"/>
                      <a:pt x="10" y="11"/>
                    </a:cubicBezTo>
                    <a:cubicBezTo>
                      <a:pt x="10" y="12"/>
                      <a:pt x="7" y="10"/>
                      <a:pt x="5" y="10"/>
                    </a:cubicBezTo>
                    <a:cubicBezTo>
                      <a:pt x="4" y="11"/>
                      <a:pt x="1" y="11"/>
                      <a:pt x="0" y="11"/>
                    </a:cubicBezTo>
                    <a:cubicBezTo>
                      <a:pt x="0" y="13"/>
                      <a:pt x="0" y="15"/>
                      <a:pt x="1" y="15"/>
                    </a:cubicBezTo>
                    <a:cubicBezTo>
                      <a:pt x="3" y="15"/>
                      <a:pt x="7" y="15"/>
                      <a:pt x="7" y="17"/>
                    </a:cubicBezTo>
                    <a:cubicBezTo>
                      <a:pt x="7" y="20"/>
                      <a:pt x="12" y="27"/>
                      <a:pt x="14" y="29"/>
                    </a:cubicBezTo>
                    <a:cubicBezTo>
                      <a:pt x="16" y="31"/>
                      <a:pt x="21" y="30"/>
                      <a:pt x="21" y="32"/>
                    </a:cubicBezTo>
                    <a:cubicBezTo>
                      <a:pt x="21" y="34"/>
                      <a:pt x="24" y="36"/>
                      <a:pt x="28" y="36"/>
                    </a:cubicBezTo>
                    <a:cubicBezTo>
                      <a:pt x="29" y="36"/>
                      <a:pt x="30" y="37"/>
                      <a:pt x="31" y="37"/>
                    </a:cubicBezTo>
                    <a:cubicBezTo>
                      <a:pt x="29" y="34"/>
                      <a:pt x="24" y="31"/>
                      <a:pt x="24" y="3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4" name="Freeform 70">
                <a:extLst>
                  <a:ext uri="{FF2B5EF4-FFF2-40B4-BE49-F238E27FC236}">
                    <a16:creationId xmlns:a16="http://schemas.microsoft.com/office/drawing/2014/main" id="{20264324-39B7-4822-A538-3484AC548A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3547" y="3237839"/>
                <a:ext cx="33878" cy="69010"/>
              </a:xfrm>
              <a:custGeom>
                <a:avLst/>
                <a:gdLst>
                  <a:gd name="T0" fmla="*/ 10 w 15"/>
                  <a:gd name="T1" fmla="*/ 25 h 30"/>
                  <a:gd name="T2" fmla="*/ 12 w 15"/>
                  <a:gd name="T3" fmla="*/ 22 h 30"/>
                  <a:gd name="T4" fmla="*/ 15 w 15"/>
                  <a:gd name="T5" fmla="*/ 18 h 30"/>
                  <a:gd name="T6" fmla="*/ 15 w 15"/>
                  <a:gd name="T7" fmla="*/ 17 h 30"/>
                  <a:gd name="T8" fmla="*/ 10 w 15"/>
                  <a:gd name="T9" fmla="*/ 12 h 30"/>
                  <a:gd name="T10" fmla="*/ 11 w 15"/>
                  <a:gd name="T11" fmla="*/ 4 h 30"/>
                  <a:gd name="T12" fmla="*/ 4 w 15"/>
                  <a:gd name="T13" fmla="*/ 0 h 30"/>
                  <a:gd name="T14" fmla="*/ 0 w 15"/>
                  <a:gd name="T15" fmla="*/ 6 h 30"/>
                  <a:gd name="T16" fmla="*/ 2 w 15"/>
                  <a:gd name="T17" fmla="*/ 11 h 30"/>
                  <a:gd name="T18" fmla="*/ 2 w 15"/>
                  <a:gd name="T19" fmla="*/ 23 h 30"/>
                  <a:gd name="T20" fmla="*/ 8 w 15"/>
                  <a:gd name="T21" fmla="*/ 30 h 30"/>
                  <a:gd name="T22" fmla="*/ 10 w 15"/>
                  <a:gd name="T23" fmla="*/ 2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" h="30">
                    <a:moveTo>
                      <a:pt x="10" y="25"/>
                    </a:moveTo>
                    <a:cubicBezTo>
                      <a:pt x="12" y="25"/>
                      <a:pt x="11" y="23"/>
                      <a:pt x="12" y="22"/>
                    </a:cubicBezTo>
                    <a:cubicBezTo>
                      <a:pt x="13" y="21"/>
                      <a:pt x="15" y="18"/>
                      <a:pt x="15" y="18"/>
                    </a:cubicBezTo>
                    <a:cubicBezTo>
                      <a:pt x="15" y="17"/>
                      <a:pt x="15" y="17"/>
                      <a:pt x="15" y="17"/>
                    </a:cubicBezTo>
                    <a:cubicBezTo>
                      <a:pt x="12" y="16"/>
                      <a:pt x="11" y="14"/>
                      <a:pt x="10" y="12"/>
                    </a:cubicBezTo>
                    <a:cubicBezTo>
                      <a:pt x="10" y="10"/>
                      <a:pt x="10" y="7"/>
                      <a:pt x="11" y="4"/>
                    </a:cubicBezTo>
                    <a:cubicBezTo>
                      <a:pt x="10" y="3"/>
                      <a:pt x="5" y="0"/>
                      <a:pt x="4" y="0"/>
                    </a:cubicBezTo>
                    <a:cubicBezTo>
                      <a:pt x="3" y="0"/>
                      <a:pt x="1" y="3"/>
                      <a:pt x="0" y="6"/>
                    </a:cubicBezTo>
                    <a:cubicBezTo>
                      <a:pt x="3" y="7"/>
                      <a:pt x="5" y="9"/>
                      <a:pt x="2" y="11"/>
                    </a:cubicBezTo>
                    <a:cubicBezTo>
                      <a:pt x="0" y="13"/>
                      <a:pt x="0" y="21"/>
                      <a:pt x="2" y="23"/>
                    </a:cubicBezTo>
                    <a:cubicBezTo>
                      <a:pt x="5" y="25"/>
                      <a:pt x="5" y="28"/>
                      <a:pt x="8" y="30"/>
                    </a:cubicBezTo>
                    <a:cubicBezTo>
                      <a:pt x="8" y="28"/>
                      <a:pt x="9" y="25"/>
                      <a:pt x="10" y="2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5" name="Freeform 71">
                <a:extLst>
                  <a:ext uri="{FF2B5EF4-FFF2-40B4-BE49-F238E27FC236}">
                    <a16:creationId xmlns:a16="http://schemas.microsoft.com/office/drawing/2014/main" id="{3596EB34-E1FE-44D4-9843-5C02EBDCE0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02904" y="3088527"/>
                <a:ext cx="135510" cy="61482"/>
              </a:xfrm>
              <a:custGeom>
                <a:avLst/>
                <a:gdLst>
                  <a:gd name="T0" fmla="*/ 50 w 59"/>
                  <a:gd name="T1" fmla="*/ 2 h 27"/>
                  <a:gd name="T2" fmla="*/ 43 w 59"/>
                  <a:gd name="T3" fmla="*/ 0 h 27"/>
                  <a:gd name="T4" fmla="*/ 41 w 59"/>
                  <a:gd name="T5" fmla="*/ 4 h 27"/>
                  <a:gd name="T6" fmla="*/ 34 w 59"/>
                  <a:gd name="T7" fmla="*/ 4 h 27"/>
                  <a:gd name="T8" fmla="*/ 30 w 59"/>
                  <a:gd name="T9" fmla="*/ 7 h 27"/>
                  <a:gd name="T10" fmla="*/ 27 w 59"/>
                  <a:gd name="T11" fmla="*/ 12 h 27"/>
                  <a:gd name="T12" fmla="*/ 23 w 59"/>
                  <a:gd name="T13" fmla="*/ 14 h 27"/>
                  <a:gd name="T14" fmla="*/ 15 w 59"/>
                  <a:gd name="T15" fmla="*/ 16 h 27"/>
                  <a:gd name="T16" fmla="*/ 11 w 59"/>
                  <a:gd name="T17" fmla="*/ 16 h 27"/>
                  <a:gd name="T18" fmla="*/ 6 w 59"/>
                  <a:gd name="T19" fmla="*/ 17 h 27"/>
                  <a:gd name="T20" fmla="*/ 1 w 59"/>
                  <a:gd name="T21" fmla="*/ 16 h 27"/>
                  <a:gd name="T22" fmla="*/ 0 w 59"/>
                  <a:gd name="T23" fmla="*/ 20 h 27"/>
                  <a:gd name="T24" fmla="*/ 4 w 59"/>
                  <a:gd name="T25" fmla="*/ 22 h 27"/>
                  <a:gd name="T26" fmla="*/ 9 w 59"/>
                  <a:gd name="T27" fmla="*/ 23 h 27"/>
                  <a:gd name="T28" fmla="*/ 14 w 59"/>
                  <a:gd name="T29" fmla="*/ 22 h 27"/>
                  <a:gd name="T30" fmla="*/ 21 w 59"/>
                  <a:gd name="T31" fmla="*/ 21 h 27"/>
                  <a:gd name="T32" fmla="*/ 22 w 59"/>
                  <a:gd name="T33" fmla="*/ 24 h 27"/>
                  <a:gd name="T34" fmla="*/ 30 w 59"/>
                  <a:gd name="T35" fmla="*/ 25 h 27"/>
                  <a:gd name="T36" fmla="*/ 39 w 59"/>
                  <a:gd name="T37" fmla="*/ 27 h 27"/>
                  <a:gd name="T38" fmla="*/ 46 w 59"/>
                  <a:gd name="T39" fmla="*/ 24 h 27"/>
                  <a:gd name="T40" fmla="*/ 51 w 59"/>
                  <a:gd name="T41" fmla="*/ 23 h 27"/>
                  <a:gd name="T42" fmla="*/ 51 w 59"/>
                  <a:gd name="T43" fmla="*/ 23 h 27"/>
                  <a:gd name="T44" fmla="*/ 52 w 59"/>
                  <a:gd name="T45" fmla="*/ 21 h 27"/>
                  <a:gd name="T46" fmla="*/ 54 w 59"/>
                  <a:gd name="T47" fmla="*/ 17 h 27"/>
                  <a:gd name="T48" fmla="*/ 55 w 59"/>
                  <a:gd name="T49" fmla="*/ 14 h 27"/>
                  <a:gd name="T50" fmla="*/ 58 w 59"/>
                  <a:gd name="T51" fmla="*/ 12 h 27"/>
                  <a:gd name="T52" fmla="*/ 59 w 59"/>
                  <a:gd name="T53" fmla="*/ 10 h 27"/>
                  <a:gd name="T54" fmla="*/ 56 w 59"/>
                  <a:gd name="T55" fmla="*/ 3 h 27"/>
                  <a:gd name="T56" fmla="*/ 50 w 59"/>
                  <a:gd name="T57" fmla="*/ 2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59" h="27">
                    <a:moveTo>
                      <a:pt x="50" y="2"/>
                    </a:moveTo>
                    <a:cubicBezTo>
                      <a:pt x="48" y="0"/>
                      <a:pt x="43" y="0"/>
                      <a:pt x="43" y="0"/>
                    </a:cubicBezTo>
                    <a:cubicBezTo>
                      <a:pt x="43" y="0"/>
                      <a:pt x="42" y="2"/>
                      <a:pt x="41" y="4"/>
                    </a:cubicBezTo>
                    <a:cubicBezTo>
                      <a:pt x="41" y="5"/>
                      <a:pt x="37" y="5"/>
                      <a:pt x="34" y="4"/>
                    </a:cubicBezTo>
                    <a:cubicBezTo>
                      <a:pt x="33" y="5"/>
                      <a:pt x="30" y="6"/>
                      <a:pt x="30" y="7"/>
                    </a:cubicBezTo>
                    <a:cubicBezTo>
                      <a:pt x="29" y="9"/>
                      <a:pt x="25" y="8"/>
                      <a:pt x="27" y="12"/>
                    </a:cubicBezTo>
                    <a:cubicBezTo>
                      <a:pt x="28" y="16"/>
                      <a:pt x="25" y="15"/>
                      <a:pt x="23" y="14"/>
                    </a:cubicBezTo>
                    <a:cubicBezTo>
                      <a:pt x="22" y="14"/>
                      <a:pt x="17" y="15"/>
                      <a:pt x="15" y="16"/>
                    </a:cubicBezTo>
                    <a:cubicBezTo>
                      <a:pt x="14" y="17"/>
                      <a:pt x="12" y="17"/>
                      <a:pt x="11" y="16"/>
                    </a:cubicBezTo>
                    <a:cubicBezTo>
                      <a:pt x="9" y="16"/>
                      <a:pt x="7" y="15"/>
                      <a:pt x="6" y="17"/>
                    </a:cubicBezTo>
                    <a:cubicBezTo>
                      <a:pt x="5" y="19"/>
                      <a:pt x="3" y="16"/>
                      <a:pt x="1" y="16"/>
                    </a:cubicBezTo>
                    <a:cubicBezTo>
                      <a:pt x="0" y="16"/>
                      <a:pt x="0" y="19"/>
                      <a:pt x="0" y="20"/>
                    </a:cubicBezTo>
                    <a:cubicBezTo>
                      <a:pt x="0" y="21"/>
                      <a:pt x="3" y="23"/>
                      <a:pt x="4" y="22"/>
                    </a:cubicBezTo>
                    <a:cubicBezTo>
                      <a:pt x="6" y="22"/>
                      <a:pt x="8" y="22"/>
                      <a:pt x="9" y="23"/>
                    </a:cubicBezTo>
                    <a:cubicBezTo>
                      <a:pt x="11" y="24"/>
                      <a:pt x="13" y="23"/>
                      <a:pt x="14" y="22"/>
                    </a:cubicBezTo>
                    <a:cubicBezTo>
                      <a:pt x="15" y="21"/>
                      <a:pt x="20" y="21"/>
                      <a:pt x="21" y="21"/>
                    </a:cubicBezTo>
                    <a:cubicBezTo>
                      <a:pt x="21" y="21"/>
                      <a:pt x="21" y="24"/>
                      <a:pt x="22" y="24"/>
                    </a:cubicBezTo>
                    <a:cubicBezTo>
                      <a:pt x="23" y="25"/>
                      <a:pt x="27" y="25"/>
                      <a:pt x="30" y="25"/>
                    </a:cubicBezTo>
                    <a:cubicBezTo>
                      <a:pt x="33" y="25"/>
                      <a:pt x="37" y="27"/>
                      <a:pt x="39" y="27"/>
                    </a:cubicBezTo>
                    <a:cubicBezTo>
                      <a:pt x="40" y="27"/>
                      <a:pt x="42" y="24"/>
                      <a:pt x="46" y="24"/>
                    </a:cubicBezTo>
                    <a:cubicBezTo>
                      <a:pt x="49" y="24"/>
                      <a:pt x="51" y="22"/>
                      <a:pt x="51" y="23"/>
                    </a:cubicBezTo>
                    <a:cubicBezTo>
                      <a:pt x="51" y="23"/>
                      <a:pt x="51" y="23"/>
                      <a:pt x="51" y="23"/>
                    </a:cubicBezTo>
                    <a:cubicBezTo>
                      <a:pt x="51" y="22"/>
                      <a:pt x="52" y="21"/>
                      <a:pt x="52" y="21"/>
                    </a:cubicBezTo>
                    <a:cubicBezTo>
                      <a:pt x="54" y="21"/>
                      <a:pt x="53" y="18"/>
                      <a:pt x="54" y="17"/>
                    </a:cubicBezTo>
                    <a:cubicBezTo>
                      <a:pt x="55" y="16"/>
                      <a:pt x="53" y="14"/>
                      <a:pt x="55" y="14"/>
                    </a:cubicBezTo>
                    <a:cubicBezTo>
                      <a:pt x="56" y="14"/>
                      <a:pt x="58" y="14"/>
                      <a:pt x="58" y="12"/>
                    </a:cubicBezTo>
                    <a:cubicBezTo>
                      <a:pt x="58" y="11"/>
                      <a:pt x="59" y="10"/>
                      <a:pt x="59" y="10"/>
                    </a:cubicBezTo>
                    <a:cubicBezTo>
                      <a:pt x="57" y="7"/>
                      <a:pt x="56" y="3"/>
                      <a:pt x="56" y="3"/>
                    </a:cubicBezTo>
                    <a:cubicBezTo>
                      <a:pt x="56" y="3"/>
                      <a:pt x="52" y="5"/>
                      <a:pt x="50" y="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6" name="Freeform 72">
                <a:extLst>
                  <a:ext uri="{FF2B5EF4-FFF2-40B4-BE49-F238E27FC236}">
                    <a16:creationId xmlns:a16="http://schemas.microsoft.com/office/drawing/2014/main" id="{E5F81B6F-AC58-40B7-8698-856EB1A973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20849" y="3094801"/>
                <a:ext cx="119199" cy="69010"/>
              </a:xfrm>
              <a:custGeom>
                <a:avLst/>
                <a:gdLst>
                  <a:gd name="T0" fmla="*/ 51 w 52"/>
                  <a:gd name="T1" fmla="*/ 6 h 30"/>
                  <a:gd name="T2" fmla="*/ 49 w 52"/>
                  <a:gd name="T3" fmla="*/ 5 h 30"/>
                  <a:gd name="T4" fmla="*/ 44 w 52"/>
                  <a:gd name="T5" fmla="*/ 3 h 30"/>
                  <a:gd name="T6" fmla="*/ 36 w 52"/>
                  <a:gd name="T7" fmla="*/ 1 h 30"/>
                  <a:gd name="T8" fmla="*/ 29 w 52"/>
                  <a:gd name="T9" fmla="*/ 5 h 30"/>
                  <a:gd name="T10" fmla="*/ 20 w 52"/>
                  <a:gd name="T11" fmla="*/ 8 h 30"/>
                  <a:gd name="T12" fmla="*/ 9 w 52"/>
                  <a:gd name="T13" fmla="*/ 8 h 30"/>
                  <a:gd name="T14" fmla="*/ 8 w 52"/>
                  <a:gd name="T15" fmla="*/ 7 h 30"/>
                  <a:gd name="T16" fmla="*/ 7 w 52"/>
                  <a:gd name="T17" fmla="*/ 9 h 30"/>
                  <a:gd name="T18" fmla="*/ 4 w 52"/>
                  <a:gd name="T19" fmla="*/ 11 h 30"/>
                  <a:gd name="T20" fmla="*/ 3 w 52"/>
                  <a:gd name="T21" fmla="*/ 14 h 30"/>
                  <a:gd name="T22" fmla="*/ 1 w 52"/>
                  <a:gd name="T23" fmla="*/ 18 h 30"/>
                  <a:gd name="T24" fmla="*/ 0 w 52"/>
                  <a:gd name="T25" fmla="*/ 20 h 30"/>
                  <a:gd name="T26" fmla="*/ 2 w 52"/>
                  <a:gd name="T27" fmla="*/ 23 h 30"/>
                  <a:gd name="T28" fmla="*/ 2 w 52"/>
                  <a:gd name="T29" fmla="*/ 23 h 30"/>
                  <a:gd name="T30" fmla="*/ 9 w 52"/>
                  <a:gd name="T31" fmla="*/ 28 h 30"/>
                  <a:gd name="T32" fmla="*/ 17 w 52"/>
                  <a:gd name="T33" fmla="*/ 30 h 30"/>
                  <a:gd name="T34" fmla="*/ 28 w 52"/>
                  <a:gd name="T35" fmla="*/ 26 h 30"/>
                  <a:gd name="T36" fmla="*/ 31 w 52"/>
                  <a:gd name="T37" fmla="*/ 27 h 30"/>
                  <a:gd name="T38" fmla="*/ 34 w 52"/>
                  <a:gd name="T39" fmla="*/ 28 h 30"/>
                  <a:gd name="T40" fmla="*/ 38 w 52"/>
                  <a:gd name="T41" fmla="*/ 24 h 30"/>
                  <a:gd name="T42" fmla="*/ 46 w 52"/>
                  <a:gd name="T43" fmla="*/ 12 h 30"/>
                  <a:gd name="T44" fmla="*/ 51 w 52"/>
                  <a:gd name="T45" fmla="*/ 9 h 30"/>
                  <a:gd name="T46" fmla="*/ 51 w 52"/>
                  <a:gd name="T47" fmla="*/ 6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2" h="30">
                    <a:moveTo>
                      <a:pt x="51" y="6"/>
                    </a:moveTo>
                    <a:cubicBezTo>
                      <a:pt x="50" y="6"/>
                      <a:pt x="49" y="5"/>
                      <a:pt x="49" y="5"/>
                    </a:cubicBezTo>
                    <a:cubicBezTo>
                      <a:pt x="46" y="4"/>
                      <a:pt x="44" y="4"/>
                      <a:pt x="44" y="3"/>
                    </a:cubicBezTo>
                    <a:cubicBezTo>
                      <a:pt x="42" y="2"/>
                      <a:pt x="37" y="1"/>
                      <a:pt x="36" y="1"/>
                    </a:cubicBezTo>
                    <a:cubicBezTo>
                      <a:pt x="35" y="0"/>
                      <a:pt x="30" y="5"/>
                      <a:pt x="29" y="5"/>
                    </a:cubicBezTo>
                    <a:cubicBezTo>
                      <a:pt x="27" y="5"/>
                      <a:pt x="20" y="6"/>
                      <a:pt x="20" y="8"/>
                    </a:cubicBezTo>
                    <a:cubicBezTo>
                      <a:pt x="20" y="10"/>
                      <a:pt x="12" y="10"/>
                      <a:pt x="9" y="8"/>
                    </a:cubicBezTo>
                    <a:cubicBezTo>
                      <a:pt x="9" y="8"/>
                      <a:pt x="9" y="7"/>
                      <a:pt x="8" y="7"/>
                    </a:cubicBezTo>
                    <a:cubicBezTo>
                      <a:pt x="8" y="7"/>
                      <a:pt x="7" y="8"/>
                      <a:pt x="7" y="9"/>
                    </a:cubicBezTo>
                    <a:cubicBezTo>
                      <a:pt x="7" y="11"/>
                      <a:pt x="5" y="11"/>
                      <a:pt x="4" y="11"/>
                    </a:cubicBezTo>
                    <a:cubicBezTo>
                      <a:pt x="2" y="11"/>
                      <a:pt x="4" y="13"/>
                      <a:pt x="3" y="14"/>
                    </a:cubicBezTo>
                    <a:cubicBezTo>
                      <a:pt x="2" y="15"/>
                      <a:pt x="3" y="18"/>
                      <a:pt x="1" y="18"/>
                    </a:cubicBezTo>
                    <a:cubicBezTo>
                      <a:pt x="1" y="18"/>
                      <a:pt x="0" y="19"/>
                      <a:pt x="0" y="20"/>
                    </a:cubicBezTo>
                    <a:cubicBezTo>
                      <a:pt x="1" y="20"/>
                      <a:pt x="2" y="23"/>
                      <a:pt x="2" y="23"/>
                    </a:cubicBezTo>
                    <a:cubicBezTo>
                      <a:pt x="2" y="23"/>
                      <a:pt x="2" y="23"/>
                      <a:pt x="2" y="23"/>
                    </a:cubicBezTo>
                    <a:cubicBezTo>
                      <a:pt x="4" y="24"/>
                      <a:pt x="7" y="26"/>
                      <a:pt x="9" y="28"/>
                    </a:cubicBezTo>
                    <a:cubicBezTo>
                      <a:pt x="10" y="30"/>
                      <a:pt x="15" y="30"/>
                      <a:pt x="17" y="30"/>
                    </a:cubicBezTo>
                    <a:cubicBezTo>
                      <a:pt x="19" y="29"/>
                      <a:pt x="28" y="26"/>
                      <a:pt x="28" y="26"/>
                    </a:cubicBezTo>
                    <a:cubicBezTo>
                      <a:pt x="28" y="26"/>
                      <a:pt x="30" y="27"/>
                      <a:pt x="31" y="27"/>
                    </a:cubicBezTo>
                    <a:cubicBezTo>
                      <a:pt x="32" y="27"/>
                      <a:pt x="33" y="27"/>
                      <a:pt x="34" y="28"/>
                    </a:cubicBezTo>
                    <a:cubicBezTo>
                      <a:pt x="34" y="27"/>
                      <a:pt x="36" y="26"/>
                      <a:pt x="38" y="24"/>
                    </a:cubicBezTo>
                    <a:cubicBezTo>
                      <a:pt x="41" y="22"/>
                      <a:pt x="45" y="13"/>
                      <a:pt x="46" y="12"/>
                    </a:cubicBezTo>
                    <a:cubicBezTo>
                      <a:pt x="47" y="11"/>
                      <a:pt x="50" y="10"/>
                      <a:pt x="51" y="9"/>
                    </a:cubicBezTo>
                    <a:cubicBezTo>
                      <a:pt x="52" y="8"/>
                      <a:pt x="52" y="7"/>
                      <a:pt x="51" y="6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7" name="Freeform 73">
                <a:extLst>
                  <a:ext uri="{FF2B5EF4-FFF2-40B4-BE49-F238E27FC236}">
                    <a16:creationId xmlns:a16="http://schemas.microsoft.com/office/drawing/2014/main" id="{18E9FD24-7C83-47C3-A65F-2DC8B85917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9329" y="3039593"/>
                <a:ext cx="116690" cy="60227"/>
              </a:xfrm>
              <a:custGeom>
                <a:avLst/>
                <a:gdLst>
                  <a:gd name="T0" fmla="*/ 49 w 51"/>
                  <a:gd name="T1" fmla="*/ 12 h 26"/>
                  <a:gd name="T2" fmla="*/ 43 w 51"/>
                  <a:gd name="T3" fmla="*/ 10 h 26"/>
                  <a:gd name="T4" fmla="*/ 41 w 51"/>
                  <a:gd name="T5" fmla="*/ 7 h 26"/>
                  <a:gd name="T6" fmla="*/ 37 w 51"/>
                  <a:gd name="T7" fmla="*/ 8 h 26"/>
                  <a:gd name="T8" fmla="*/ 32 w 51"/>
                  <a:gd name="T9" fmla="*/ 6 h 26"/>
                  <a:gd name="T10" fmla="*/ 27 w 51"/>
                  <a:gd name="T11" fmla="*/ 3 h 26"/>
                  <a:gd name="T12" fmla="*/ 22 w 51"/>
                  <a:gd name="T13" fmla="*/ 0 h 26"/>
                  <a:gd name="T14" fmla="*/ 22 w 51"/>
                  <a:gd name="T15" fmla="*/ 1 h 26"/>
                  <a:gd name="T16" fmla="*/ 18 w 51"/>
                  <a:gd name="T17" fmla="*/ 1 h 26"/>
                  <a:gd name="T18" fmla="*/ 11 w 51"/>
                  <a:gd name="T19" fmla="*/ 4 h 26"/>
                  <a:gd name="T20" fmla="*/ 3 w 51"/>
                  <a:gd name="T21" fmla="*/ 7 h 26"/>
                  <a:gd name="T22" fmla="*/ 3 w 51"/>
                  <a:gd name="T23" fmla="*/ 12 h 26"/>
                  <a:gd name="T24" fmla="*/ 6 w 51"/>
                  <a:gd name="T25" fmla="*/ 18 h 26"/>
                  <a:gd name="T26" fmla="*/ 14 w 51"/>
                  <a:gd name="T27" fmla="*/ 25 h 26"/>
                  <a:gd name="T28" fmla="*/ 14 w 51"/>
                  <a:gd name="T29" fmla="*/ 25 h 26"/>
                  <a:gd name="T30" fmla="*/ 21 w 51"/>
                  <a:gd name="T31" fmla="*/ 25 h 26"/>
                  <a:gd name="T32" fmla="*/ 23 w 51"/>
                  <a:gd name="T33" fmla="*/ 21 h 26"/>
                  <a:gd name="T34" fmla="*/ 30 w 51"/>
                  <a:gd name="T35" fmla="*/ 23 h 26"/>
                  <a:gd name="T36" fmla="*/ 36 w 51"/>
                  <a:gd name="T37" fmla="*/ 24 h 26"/>
                  <a:gd name="T38" fmla="*/ 37 w 51"/>
                  <a:gd name="T39" fmla="*/ 26 h 26"/>
                  <a:gd name="T40" fmla="*/ 39 w 51"/>
                  <a:gd name="T41" fmla="*/ 23 h 26"/>
                  <a:gd name="T42" fmla="*/ 47 w 51"/>
                  <a:gd name="T43" fmla="*/ 19 h 26"/>
                  <a:gd name="T44" fmla="*/ 51 w 51"/>
                  <a:gd name="T45" fmla="*/ 16 h 26"/>
                  <a:gd name="T46" fmla="*/ 49 w 51"/>
                  <a:gd name="T47" fmla="*/ 12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1" h="26">
                    <a:moveTo>
                      <a:pt x="49" y="12"/>
                    </a:moveTo>
                    <a:cubicBezTo>
                      <a:pt x="47" y="11"/>
                      <a:pt x="44" y="11"/>
                      <a:pt x="43" y="10"/>
                    </a:cubicBezTo>
                    <a:cubicBezTo>
                      <a:pt x="43" y="9"/>
                      <a:pt x="43" y="7"/>
                      <a:pt x="41" y="7"/>
                    </a:cubicBezTo>
                    <a:cubicBezTo>
                      <a:pt x="40" y="7"/>
                      <a:pt x="37" y="6"/>
                      <a:pt x="37" y="8"/>
                    </a:cubicBezTo>
                    <a:cubicBezTo>
                      <a:pt x="36" y="10"/>
                      <a:pt x="33" y="8"/>
                      <a:pt x="32" y="6"/>
                    </a:cubicBezTo>
                    <a:cubicBezTo>
                      <a:pt x="32" y="5"/>
                      <a:pt x="31" y="4"/>
                      <a:pt x="27" y="3"/>
                    </a:cubicBezTo>
                    <a:cubicBezTo>
                      <a:pt x="26" y="2"/>
                      <a:pt x="24" y="1"/>
                      <a:pt x="22" y="0"/>
                    </a:cubicBezTo>
                    <a:cubicBezTo>
                      <a:pt x="22" y="0"/>
                      <a:pt x="22" y="1"/>
                      <a:pt x="22" y="1"/>
                    </a:cubicBezTo>
                    <a:cubicBezTo>
                      <a:pt x="21" y="2"/>
                      <a:pt x="19" y="0"/>
                      <a:pt x="18" y="1"/>
                    </a:cubicBezTo>
                    <a:cubicBezTo>
                      <a:pt x="17" y="2"/>
                      <a:pt x="13" y="2"/>
                      <a:pt x="11" y="4"/>
                    </a:cubicBezTo>
                    <a:cubicBezTo>
                      <a:pt x="9" y="6"/>
                      <a:pt x="5" y="7"/>
                      <a:pt x="3" y="7"/>
                    </a:cubicBezTo>
                    <a:cubicBezTo>
                      <a:pt x="0" y="8"/>
                      <a:pt x="2" y="10"/>
                      <a:pt x="3" y="12"/>
                    </a:cubicBezTo>
                    <a:cubicBezTo>
                      <a:pt x="4" y="13"/>
                      <a:pt x="4" y="17"/>
                      <a:pt x="6" y="18"/>
                    </a:cubicBezTo>
                    <a:cubicBezTo>
                      <a:pt x="8" y="20"/>
                      <a:pt x="14" y="23"/>
                      <a:pt x="14" y="25"/>
                    </a:cubicBezTo>
                    <a:cubicBezTo>
                      <a:pt x="14" y="25"/>
                      <a:pt x="14" y="25"/>
                      <a:pt x="14" y="25"/>
                    </a:cubicBezTo>
                    <a:cubicBezTo>
                      <a:pt x="17" y="26"/>
                      <a:pt x="21" y="26"/>
                      <a:pt x="21" y="25"/>
                    </a:cubicBezTo>
                    <a:cubicBezTo>
                      <a:pt x="22" y="23"/>
                      <a:pt x="23" y="21"/>
                      <a:pt x="23" y="21"/>
                    </a:cubicBezTo>
                    <a:cubicBezTo>
                      <a:pt x="23" y="21"/>
                      <a:pt x="28" y="21"/>
                      <a:pt x="30" y="23"/>
                    </a:cubicBezTo>
                    <a:cubicBezTo>
                      <a:pt x="32" y="26"/>
                      <a:pt x="36" y="24"/>
                      <a:pt x="36" y="24"/>
                    </a:cubicBezTo>
                    <a:cubicBezTo>
                      <a:pt x="36" y="24"/>
                      <a:pt x="36" y="25"/>
                      <a:pt x="37" y="26"/>
                    </a:cubicBezTo>
                    <a:cubicBezTo>
                      <a:pt x="37" y="24"/>
                      <a:pt x="38" y="23"/>
                      <a:pt x="39" y="23"/>
                    </a:cubicBezTo>
                    <a:cubicBezTo>
                      <a:pt x="41" y="23"/>
                      <a:pt x="44" y="23"/>
                      <a:pt x="47" y="19"/>
                    </a:cubicBezTo>
                    <a:cubicBezTo>
                      <a:pt x="48" y="18"/>
                      <a:pt x="50" y="16"/>
                      <a:pt x="51" y="16"/>
                    </a:cubicBezTo>
                    <a:cubicBezTo>
                      <a:pt x="50" y="14"/>
                      <a:pt x="50" y="12"/>
                      <a:pt x="49" y="1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8" name="Freeform 74">
                <a:extLst>
                  <a:ext uri="{FF2B5EF4-FFF2-40B4-BE49-F238E27FC236}">
                    <a16:creationId xmlns:a16="http://schemas.microsoft.com/office/drawing/2014/main" id="{D19AC202-5831-42E3-826F-29E56CB1D6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34651" y="3074725"/>
                <a:ext cx="102888" cy="43915"/>
              </a:xfrm>
              <a:custGeom>
                <a:avLst/>
                <a:gdLst>
                  <a:gd name="T0" fmla="*/ 33 w 45"/>
                  <a:gd name="T1" fmla="*/ 2 h 19"/>
                  <a:gd name="T2" fmla="*/ 27 w 45"/>
                  <a:gd name="T3" fmla="*/ 2 h 19"/>
                  <a:gd name="T4" fmla="*/ 20 w 45"/>
                  <a:gd name="T5" fmla="*/ 1 h 19"/>
                  <a:gd name="T6" fmla="*/ 15 w 45"/>
                  <a:gd name="T7" fmla="*/ 1 h 19"/>
                  <a:gd name="T8" fmla="*/ 14 w 45"/>
                  <a:gd name="T9" fmla="*/ 1 h 19"/>
                  <a:gd name="T10" fmla="*/ 10 w 45"/>
                  <a:gd name="T11" fmla="*/ 4 h 19"/>
                  <a:gd name="T12" fmla="*/ 2 w 45"/>
                  <a:gd name="T13" fmla="*/ 8 h 19"/>
                  <a:gd name="T14" fmla="*/ 0 w 45"/>
                  <a:gd name="T15" fmla="*/ 11 h 19"/>
                  <a:gd name="T16" fmla="*/ 3 w 45"/>
                  <a:gd name="T17" fmla="*/ 17 h 19"/>
                  <a:gd name="T18" fmla="*/ 14 w 45"/>
                  <a:gd name="T19" fmla="*/ 17 h 19"/>
                  <a:gd name="T20" fmla="*/ 23 w 45"/>
                  <a:gd name="T21" fmla="*/ 14 h 19"/>
                  <a:gd name="T22" fmla="*/ 30 w 45"/>
                  <a:gd name="T23" fmla="*/ 10 h 19"/>
                  <a:gd name="T24" fmla="*/ 38 w 45"/>
                  <a:gd name="T25" fmla="*/ 12 h 19"/>
                  <a:gd name="T26" fmla="*/ 43 w 45"/>
                  <a:gd name="T27" fmla="*/ 14 h 19"/>
                  <a:gd name="T28" fmla="*/ 41 w 45"/>
                  <a:gd name="T29" fmla="*/ 11 h 19"/>
                  <a:gd name="T30" fmla="*/ 45 w 45"/>
                  <a:gd name="T31" fmla="*/ 5 h 19"/>
                  <a:gd name="T32" fmla="*/ 45 w 45"/>
                  <a:gd name="T33" fmla="*/ 5 h 19"/>
                  <a:gd name="T34" fmla="*/ 40 w 45"/>
                  <a:gd name="T35" fmla="*/ 4 h 19"/>
                  <a:gd name="T36" fmla="*/ 33 w 45"/>
                  <a:gd name="T37" fmla="*/ 2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5" h="19">
                    <a:moveTo>
                      <a:pt x="33" y="2"/>
                    </a:moveTo>
                    <a:cubicBezTo>
                      <a:pt x="30" y="3"/>
                      <a:pt x="29" y="1"/>
                      <a:pt x="27" y="2"/>
                    </a:cubicBezTo>
                    <a:cubicBezTo>
                      <a:pt x="25" y="3"/>
                      <a:pt x="21" y="2"/>
                      <a:pt x="20" y="1"/>
                    </a:cubicBezTo>
                    <a:cubicBezTo>
                      <a:pt x="19" y="0"/>
                      <a:pt x="17" y="3"/>
                      <a:pt x="15" y="1"/>
                    </a:cubicBezTo>
                    <a:cubicBezTo>
                      <a:pt x="15" y="1"/>
                      <a:pt x="15" y="1"/>
                      <a:pt x="14" y="1"/>
                    </a:cubicBezTo>
                    <a:cubicBezTo>
                      <a:pt x="13" y="1"/>
                      <a:pt x="11" y="3"/>
                      <a:pt x="10" y="4"/>
                    </a:cubicBezTo>
                    <a:cubicBezTo>
                      <a:pt x="7" y="8"/>
                      <a:pt x="4" y="8"/>
                      <a:pt x="2" y="8"/>
                    </a:cubicBezTo>
                    <a:cubicBezTo>
                      <a:pt x="1" y="8"/>
                      <a:pt x="0" y="9"/>
                      <a:pt x="0" y="11"/>
                    </a:cubicBezTo>
                    <a:cubicBezTo>
                      <a:pt x="0" y="13"/>
                      <a:pt x="2" y="16"/>
                      <a:pt x="3" y="17"/>
                    </a:cubicBezTo>
                    <a:cubicBezTo>
                      <a:pt x="6" y="19"/>
                      <a:pt x="14" y="19"/>
                      <a:pt x="14" y="17"/>
                    </a:cubicBezTo>
                    <a:cubicBezTo>
                      <a:pt x="14" y="15"/>
                      <a:pt x="21" y="14"/>
                      <a:pt x="23" y="14"/>
                    </a:cubicBezTo>
                    <a:cubicBezTo>
                      <a:pt x="24" y="14"/>
                      <a:pt x="29" y="9"/>
                      <a:pt x="30" y="10"/>
                    </a:cubicBezTo>
                    <a:cubicBezTo>
                      <a:pt x="31" y="10"/>
                      <a:pt x="36" y="11"/>
                      <a:pt x="38" y="12"/>
                    </a:cubicBezTo>
                    <a:cubicBezTo>
                      <a:pt x="38" y="13"/>
                      <a:pt x="40" y="13"/>
                      <a:pt x="43" y="14"/>
                    </a:cubicBezTo>
                    <a:cubicBezTo>
                      <a:pt x="42" y="13"/>
                      <a:pt x="41" y="12"/>
                      <a:pt x="41" y="11"/>
                    </a:cubicBezTo>
                    <a:cubicBezTo>
                      <a:pt x="41" y="10"/>
                      <a:pt x="44" y="6"/>
                      <a:pt x="45" y="5"/>
                    </a:cubicBezTo>
                    <a:cubicBezTo>
                      <a:pt x="45" y="5"/>
                      <a:pt x="45" y="5"/>
                      <a:pt x="45" y="5"/>
                    </a:cubicBezTo>
                    <a:cubicBezTo>
                      <a:pt x="43" y="5"/>
                      <a:pt x="40" y="4"/>
                      <a:pt x="40" y="4"/>
                    </a:cubicBezTo>
                    <a:cubicBezTo>
                      <a:pt x="39" y="3"/>
                      <a:pt x="36" y="2"/>
                      <a:pt x="33" y="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9" name="Freeform 75">
                <a:extLst>
                  <a:ext uri="{FF2B5EF4-FFF2-40B4-BE49-F238E27FC236}">
                    <a16:creationId xmlns:a16="http://schemas.microsoft.com/office/drawing/2014/main" id="{42B78536-ABFA-4078-B08C-79001FC35D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40289" y="3249132"/>
                <a:ext cx="70265" cy="115435"/>
              </a:xfrm>
              <a:custGeom>
                <a:avLst/>
                <a:gdLst>
                  <a:gd name="T0" fmla="*/ 22 w 30"/>
                  <a:gd name="T1" fmla="*/ 40 h 50"/>
                  <a:gd name="T2" fmla="*/ 20 w 30"/>
                  <a:gd name="T3" fmla="*/ 36 h 50"/>
                  <a:gd name="T4" fmla="*/ 22 w 30"/>
                  <a:gd name="T5" fmla="*/ 32 h 50"/>
                  <a:gd name="T6" fmla="*/ 20 w 30"/>
                  <a:gd name="T7" fmla="*/ 28 h 50"/>
                  <a:gd name="T8" fmla="*/ 22 w 30"/>
                  <a:gd name="T9" fmla="*/ 24 h 50"/>
                  <a:gd name="T10" fmla="*/ 23 w 30"/>
                  <a:gd name="T11" fmla="*/ 19 h 50"/>
                  <a:gd name="T12" fmla="*/ 23 w 30"/>
                  <a:gd name="T13" fmla="*/ 11 h 50"/>
                  <a:gd name="T14" fmla="*/ 28 w 30"/>
                  <a:gd name="T15" fmla="*/ 7 h 50"/>
                  <a:gd name="T16" fmla="*/ 26 w 30"/>
                  <a:gd name="T17" fmla="*/ 4 h 50"/>
                  <a:gd name="T18" fmla="*/ 21 w 30"/>
                  <a:gd name="T19" fmla="*/ 3 h 50"/>
                  <a:gd name="T20" fmla="*/ 18 w 30"/>
                  <a:gd name="T21" fmla="*/ 3 h 50"/>
                  <a:gd name="T22" fmla="*/ 13 w 30"/>
                  <a:gd name="T23" fmla="*/ 2 h 50"/>
                  <a:gd name="T24" fmla="*/ 10 w 30"/>
                  <a:gd name="T25" fmla="*/ 1 h 50"/>
                  <a:gd name="T26" fmla="*/ 8 w 30"/>
                  <a:gd name="T27" fmla="*/ 2 h 50"/>
                  <a:gd name="T28" fmla="*/ 8 w 30"/>
                  <a:gd name="T29" fmla="*/ 8 h 50"/>
                  <a:gd name="T30" fmla="*/ 3 w 30"/>
                  <a:gd name="T31" fmla="*/ 27 h 50"/>
                  <a:gd name="T32" fmla="*/ 6 w 30"/>
                  <a:gd name="T33" fmla="*/ 34 h 50"/>
                  <a:gd name="T34" fmla="*/ 7 w 30"/>
                  <a:gd name="T35" fmla="*/ 48 h 50"/>
                  <a:gd name="T36" fmla="*/ 13 w 30"/>
                  <a:gd name="T37" fmla="*/ 49 h 50"/>
                  <a:gd name="T38" fmla="*/ 20 w 30"/>
                  <a:gd name="T39" fmla="*/ 48 h 50"/>
                  <a:gd name="T40" fmla="*/ 19 w 30"/>
                  <a:gd name="T41" fmla="*/ 45 h 50"/>
                  <a:gd name="T42" fmla="*/ 22 w 30"/>
                  <a:gd name="T43" fmla="*/ 4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0" h="50">
                    <a:moveTo>
                      <a:pt x="22" y="40"/>
                    </a:moveTo>
                    <a:cubicBezTo>
                      <a:pt x="25" y="40"/>
                      <a:pt x="21" y="37"/>
                      <a:pt x="20" y="36"/>
                    </a:cubicBezTo>
                    <a:cubicBezTo>
                      <a:pt x="19" y="35"/>
                      <a:pt x="20" y="32"/>
                      <a:pt x="22" y="32"/>
                    </a:cubicBezTo>
                    <a:cubicBezTo>
                      <a:pt x="24" y="32"/>
                      <a:pt x="22" y="30"/>
                      <a:pt x="20" y="28"/>
                    </a:cubicBezTo>
                    <a:cubicBezTo>
                      <a:pt x="18" y="25"/>
                      <a:pt x="20" y="24"/>
                      <a:pt x="22" y="24"/>
                    </a:cubicBezTo>
                    <a:cubicBezTo>
                      <a:pt x="24" y="24"/>
                      <a:pt x="21" y="21"/>
                      <a:pt x="23" y="19"/>
                    </a:cubicBezTo>
                    <a:cubicBezTo>
                      <a:pt x="25" y="17"/>
                      <a:pt x="23" y="13"/>
                      <a:pt x="23" y="11"/>
                    </a:cubicBezTo>
                    <a:cubicBezTo>
                      <a:pt x="23" y="10"/>
                      <a:pt x="26" y="9"/>
                      <a:pt x="28" y="7"/>
                    </a:cubicBezTo>
                    <a:cubicBezTo>
                      <a:pt x="30" y="4"/>
                      <a:pt x="26" y="5"/>
                      <a:pt x="26" y="4"/>
                    </a:cubicBezTo>
                    <a:cubicBezTo>
                      <a:pt x="26" y="2"/>
                      <a:pt x="23" y="1"/>
                      <a:pt x="21" y="3"/>
                    </a:cubicBezTo>
                    <a:cubicBezTo>
                      <a:pt x="19" y="4"/>
                      <a:pt x="20" y="3"/>
                      <a:pt x="18" y="3"/>
                    </a:cubicBezTo>
                    <a:cubicBezTo>
                      <a:pt x="16" y="3"/>
                      <a:pt x="13" y="3"/>
                      <a:pt x="13" y="2"/>
                    </a:cubicBezTo>
                    <a:cubicBezTo>
                      <a:pt x="13" y="0"/>
                      <a:pt x="12" y="0"/>
                      <a:pt x="10" y="1"/>
                    </a:cubicBezTo>
                    <a:cubicBezTo>
                      <a:pt x="10" y="2"/>
                      <a:pt x="9" y="2"/>
                      <a:pt x="8" y="2"/>
                    </a:cubicBezTo>
                    <a:cubicBezTo>
                      <a:pt x="8" y="4"/>
                      <a:pt x="7" y="7"/>
                      <a:pt x="8" y="8"/>
                    </a:cubicBezTo>
                    <a:cubicBezTo>
                      <a:pt x="10" y="10"/>
                      <a:pt x="6" y="23"/>
                      <a:pt x="3" y="27"/>
                    </a:cubicBezTo>
                    <a:cubicBezTo>
                      <a:pt x="0" y="30"/>
                      <a:pt x="3" y="31"/>
                      <a:pt x="6" y="34"/>
                    </a:cubicBezTo>
                    <a:cubicBezTo>
                      <a:pt x="9" y="36"/>
                      <a:pt x="7" y="45"/>
                      <a:pt x="7" y="48"/>
                    </a:cubicBezTo>
                    <a:cubicBezTo>
                      <a:pt x="7" y="50"/>
                      <a:pt x="10" y="49"/>
                      <a:pt x="13" y="49"/>
                    </a:cubicBezTo>
                    <a:cubicBezTo>
                      <a:pt x="15" y="49"/>
                      <a:pt x="18" y="48"/>
                      <a:pt x="20" y="48"/>
                    </a:cubicBezTo>
                    <a:cubicBezTo>
                      <a:pt x="19" y="47"/>
                      <a:pt x="19" y="46"/>
                      <a:pt x="19" y="45"/>
                    </a:cubicBezTo>
                    <a:cubicBezTo>
                      <a:pt x="19" y="43"/>
                      <a:pt x="19" y="41"/>
                      <a:pt x="22" y="4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0" name="Freeform 76">
                <a:extLst>
                  <a:ext uri="{FF2B5EF4-FFF2-40B4-BE49-F238E27FC236}">
                    <a16:creationId xmlns:a16="http://schemas.microsoft.com/office/drawing/2014/main" id="{57849B8D-7CA7-46AA-87D3-E0B72CCB79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82451" y="2979366"/>
                <a:ext cx="76538" cy="65246"/>
              </a:xfrm>
              <a:custGeom>
                <a:avLst/>
                <a:gdLst>
                  <a:gd name="T0" fmla="*/ 10 w 33"/>
                  <a:gd name="T1" fmla="*/ 22 h 28"/>
                  <a:gd name="T2" fmla="*/ 16 w 33"/>
                  <a:gd name="T3" fmla="*/ 23 h 28"/>
                  <a:gd name="T4" fmla="*/ 22 w 33"/>
                  <a:gd name="T5" fmla="*/ 27 h 28"/>
                  <a:gd name="T6" fmla="*/ 23 w 33"/>
                  <a:gd name="T7" fmla="*/ 28 h 28"/>
                  <a:gd name="T8" fmla="*/ 24 w 33"/>
                  <a:gd name="T9" fmla="*/ 22 h 28"/>
                  <a:gd name="T10" fmla="*/ 25 w 33"/>
                  <a:gd name="T11" fmla="*/ 18 h 28"/>
                  <a:gd name="T12" fmla="*/ 29 w 33"/>
                  <a:gd name="T13" fmla="*/ 16 h 28"/>
                  <a:gd name="T14" fmla="*/ 31 w 33"/>
                  <a:gd name="T15" fmla="*/ 13 h 28"/>
                  <a:gd name="T16" fmla="*/ 28 w 33"/>
                  <a:gd name="T17" fmla="*/ 9 h 28"/>
                  <a:gd name="T18" fmla="*/ 32 w 33"/>
                  <a:gd name="T19" fmla="*/ 5 h 28"/>
                  <a:gd name="T20" fmla="*/ 32 w 33"/>
                  <a:gd name="T21" fmla="*/ 0 h 28"/>
                  <a:gd name="T22" fmla="*/ 30 w 33"/>
                  <a:gd name="T23" fmla="*/ 1 h 28"/>
                  <a:gd name="T24" fmla="*/ 22 w 33"/>
                  <a:gd name="T25" fmla="*/ 1 h 28"/>
                  <a:gd name="T26" fmla="*/ 19 w 33"/>
                  <a:gd name="T27" fmla="*/ 7 h 28"/>
                  <a:gd name="T28" fmla="*/ 15 w 33"/>
                  <a:gd name="T29" fmla="*/ 7 h 28"/>
                  <a:gd name="T30" fmla="*/ 11 w 33"/>
                  <a:gd name="T31" fmla="*/ 9 h 28"/>
                  <a:gd name="T32" fmla="*/ 8 w 33"/>
                  <a:gd name="T33" fmla="*/ 15 h 28"/>
                  <a:gd name="T34" fmla="*/ 1 w 33"/>
                  <a:gd name="T35" fmla="*/ 23 h 28"/>
                  <a:gd name="T36" fmla="*/ 0 w 33"/>
                  <a:gd name="T37" fmla="*/ 23 h 28"/>
                  <a:gd name="T38" fmla="*/ 3 w 33"/>
                  <a:gd name="T39" fmla="*/ 24 h 28"/>
                  <a:gd name="T40" fmla="*/ 10 w 33"/>
                  <a:gd name="T41" fmla="*/ 22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3" h="28">
                    <a:moveTo>
                      <a:pt x="10" y="22"/>
                    </a:moveTo>
                    <a:cubicBezTo>
                      <a:pt x="12" y="20"/>
                      <a:pt x="14" y="21"/>
                      <a:pt x="16" y="23"/>
                    </a:cubicBezTo>
                    <a:cubicBezTo>
                      <a:pt x="17" y="24"/>
                      <a:pt x="19" y="24"/>
                      <a:pt x="22" y="27"/>
                    </a:cubicBezTo>
                    <a:cubicBezTo>
                      <a:pt x="22" y="27"/>
                      <a:pt x="23" y="28"/>
                      <a:pt x="23" y="28"/>
                    </a:cubicBezTo>
                    <a:cubicBezTo>
                      <a:pt x="24" y="27"/>
                      <a:pt x="24" y="24"/>
                      <a:pt x="24" y="22"/>
                    </a:cubicBezTo>
                    <a:cubicBezTo>
                      <a:pt x="25" y="20"/>
                      <a:pt x="24" y="18"/>
                      <a:pt x="25" y="18"/>
                    </a:cubicBezTo>
                    <a:cubicBezTo>
                      <a:pt x="26" y="18"/>
                      <a:pt x="29" y="18"/>
                      <a:pt x="29" y="16"/>
                    </a:cubicBezTo>
                    <a:cubicBezTo>
                      <a:pt x="29" y="14"/>
                      <a:pt x="30" y="15"/>
                      <a:pt x="31" y="13"/>
                    </a:cubicBezTo>
                    <a:cubicBezTo>
                      <a:pt x="32" y="12"/>
                      <a:pt x="29" y="10"/>
                      <a:pt x="28" y="9"/>
                    </a:cubicBezTo>
                    <a:cubicBezTo>
                      <a:pt x="28" y="8"/>
                      <a:pt x="30" y="8"/>
                      <a:pt x="32" y="5"/>
                    </a:cubicBezTo>
                    <a:cubicBezTo>
                      <a:pt x="33" y="4"/>
                      <a:pt x="33" y="2"/>
                      <a:pt x="32" y="0"/>
                    </a:cubicBezTo>
                    <a:cubicBezTo>
                      <a:pt x="32" y="1"/>
                      <a:pt x="31" y="1"/>
                      <a:pt x="30" y="1"/>
                    </a:cubicBezTo>
                    <a:cubicBezTo>
                      <a:pt x="28" y="0"/>
                      <a:pt x="26" y="0"/>
                      <a:pt x="22" y="1"/>
                    </a:cubicBezTo>
                    <a:cubicBezTo>
                      <a:pt x="18" y="2"/>
                      <a:pt x="17" y="5"/>
                      <a:pt x="19" y="7"/>
                    </a:cubicBezTo>
                    <a:cubicBezTo>
                      <a:pt x="20" y="8"/>
                      <a:pt x="15" y="9"/>
                      <a:pt x="15" y="7"/>
                    </a:cubicBezTo>
                    <a:cubicBezTo>
                      <a:pt x="15" y="5"/>
                      <a:pt x="11" y="6"/>
                      <a:pt x="11" y="9"/>
                    </a:cubicBezTo>
                    <a:cubicBezTo>
                      <a:pt x="11" y="11"/>
                      <a:pt x="7" y="12"/>
                      <a:pt x="8" y="15"/>
                    </a:cubicBezTo>
                    <a:cubicBezTo>
                      <a:pt x="8" y="18"/>
                      <a:pt x="4" y="21"/>
                      <a:pt x="1" y="23"/>
                    </a:cubicBezTo>
                    <a:cubicBezTo>
                      <a:pt x="1" y="23"/>
                      <a:pt x="0" y="23"/>
                      <a:pt x="0" y="23"/>
                    </a:cubicBezTo>
                    <a:cubicBezTo>
                      <a:pt x="1" y="24"/>
                      <a:pt x="2" y="24"/>
                      <a:pt x="3" y="24"/>
                    </a:cubicBezTo>
                    <a:cubicBezTo>
                      <a:pt x="5" y="24"/>
                      <a:pt x="9" y="23"/>
                      <a:pt x="10" y="2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1" name="Freeform 77">
                <a:extLst>
                  <a:ext uri="{FF2B5EF4-FFF2-40B4-BE49-F238E27FC236}">
                    <a16:creationId xmlns:a16="http://schemas.microsoft.com/office/drawing/2014/main" id="{87907663-2A2F-4EC2-BC1B-3C8C76EFE8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1385" y="3063433"/>
                <a:ext cx="11293" cy="15057"/>
              </a:xfrm>
              <a:custGeom>
                <a:avLst/>
                <a:gdLst>
                  <a:gd name="T0" fmla="*/ 3 w 5"/>
                  <a:gd name="T1" fmla="*/ 0 h 7"/>
                  <a:gd name="T2" fmla="*/ 0 w 5"/>
                  <a:gd name="T3" fmla="*/ 7 h 7"/>
                  <a:gd name="T4" fmla="*/ 5 w 5"/>
                  <a:gd name="T5" fmla="*/ 7 h 7"/>
                  <a:gd name="T6" fmla="*/ 3 w 5"/>
                  <a:gd name="T7" fmla="*/ 1 h 7"/>
                  <a:gd name="T8" fmla="*/ 3 w 5"/>
                  <a:gd name="T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7">
                    <a:moveTo>
                      <a:pt x="3" y="0"/>
                    </a:moveTo>
                    <a:cubicBezTo>
                      <a:pt x="1" y="1"/>
                      <a:pt x="0" y="3"/>
                      <a:pt x="0" y="7"/>
                    </a:cubicBezTo>
                    <a:cubicBezTo>
                      <a:pt x="2" y="7"/>
                      <a:pt x="4" y="7"/>
                      <a:pt x="5" y="7"/>
                    </a:cubicBezTo>
                    <a:cubicBezTo>
                      <a:pt x="5" y="3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2" name="Freeform 78">
                <a:extLst>
                  <a:ext uri="{FF2B5EF4-FFF2-40B4-BE49-F238E27FC236}">
                    <a16:creationId xmlns:a16="http://schemas.microsoft.com/office/drawing/2014/main" id="{CDCADA37-44E8-42CD-8E1C-E80BD43A17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8649" y="3025791"/>
                <a:ext cx="74029" cy="52698"/>
              </a:xfrm>
              <a:custGeom>
                <a:avLst/>
                <a:gdLst>
                  <a:gd name="T0" fmla="*/ 2 w 32"/>
                  <a:gd name="T1" fmla="*/ 7 h 23"/>
                  <a:gd name="T2" fmla="*/ 4 w 32"/>
                  <a:gd name="T3" fmla="*/ 10 h 23"/>
                  <a:gd name="T4" fmla="*/ 8 w 32"/>
                  <a:gd name="T5" fmla="*/ 12 h 23"/>
                  <a:gd name="T6" fmla="*/ 13 w 32"/>
                  <a:gd name="T7" fmla="*/ 15 h 23"/>
                  <a:gd name="T8" fmla="*/ 16 w 32"/>
                  <a:gd name="T9" fmla="*/ 18 h 23"/>
                  <a:gd name="T10" fmla="*/ 19 w 32"/>
                  <a:gd name="T11" fmla="*/ 16 h 23"/>
                  <a:gd name="T12" fmla="*/ 22 w 32"/>
                  <a:gd name="T13" fmla="*/ 20 h 23"/>
                  <a:gd name="T14" fmla="*/ 26 w 32"/>
                  <a:gd name="T15" fmla="*/ 23 h 23"/>
                  <a:gd name="T16" fmla="*/ 27 w 32"/>
                  <a:gd name="T17" fmla="*/ 23 h 23"/>
                  <a:gd name="T18" fmla="*/ 30 w 32"/>
                  <a:gd name="T19" fmla="*/ 16 h 23"/>
                  <a:gd name="T20" fmla="*/ 31 w 32"/>
                  <a:gd name="T21" fmla="*/ 13 h 23"/>
                  <a:gd name="T22" fmla="*/ 29 w 32"/>
                  <a:gd name="T23" fmla="*/ 8 h 23"/>
                  <a:gd name="T24" fmla="*/ 29 w 32"/>
                  <a:gd name="T25" fmla="*/ 8 h 23"/>
                  <a:gd name="T26" fmla="*/ 28 w 32"/>
                  <a:gd name="T27" fmla="*/ 7 h 23"/>
                  <a:gd name="T28" fmla="*/ 22 w 32"/>
                  <a:gd name="T29" fmla="*/ 3 h 23"/>
                  <a:gd name="T30" fmla="*/ 16 w 32"/>
                  <a:gd name="T31" fmla="*/ 2 h 23"/>
                  <a:gd name="T32" fmla="*/ 9 w 32"/>
                  <a:gd name="T33" fmla="*/ 4 h 23"/>
                  <a:gd name="T34" fmla="*/ 6 w 32"/>
                  <a:gd name="T35" fmla="*/ 3 h 23"/>
                  <a:gd name="T36" fmla="*/ 0 w 32"/>
                  <a:gd name="T37" fmla="*/ 6 h 23"/>
                  <a:gd name="T38" fmla="*/ 2 w 32"/>
                  <a:gd name="T39" fmla="*/ 7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32" h="23">
                    <a:moveTo>
                      <a:pt x="2" y="7"/>
                    </a:moveTo>
                    <a:cubicBezTo>
                      <a:pt x="2" y="8"/>
                      <a:pt x="4" y="11"/>
                      <a:pt x="4" y="10"/>
                    </a:cubicBezTo>
                    <a:cubicBezTo>
                      <a:pt x="5" y="9"/>
                      <a:pt x="7" y="11"/>
                      <a:pt x="8" y="12"/>
                    </a:cubicBezTo>
                    <a:cubicBezTo>
                      <a:pt x="10" y="13"/>
                      <a:pt x="13" y="14"/>
                      <a:pt x="13" y="15"/>
                    </a:cubicBezTo>
                    <a:cubicBezTo>
                      <a:pt x="14" y="16"/>
                      <a:pt x="14" y="19"/>
                      <a:pt x="16" y="18"/>
                    </a:cubicBezTo>
                    <a:cubicBezTo>
                      <a:pt x="17" y="17"/>
                      <a:pt x="19" y="15"/>
                      <a:pt x="19" y="16"/>
                    </a:cubicBezTo>
                    <a:cubicBezTo>
                      <a:pt x="19" y="18"/>
                      <a:pt x="20" y="20"/>
                      <a:pt x="22" y="20"/>
                    </a:cubicBezTo>
                    <a:cubicBezTo>
                      <a:pt x="23" y="20"/>
                      <a:pt x="24" y="23"/>
                      <a:pt x="26" y="23"/>
                    </a:cubicBezTo>
                    <a:cubicBezTo>
                      <a:pt x="26" y="23"/>
                      <a:pt x="27" y="23"/>
                      <a:pt x="27" y="23"/>
                    </a:cubicBezTo>
                    <a:cubicBezTo>
                      <a:pt x="27" y="19"/>
                      <a:pt x="28" y="17"/>
                      <a:pt x="30" y="16"/>
                    </a:cubicBezTo>
                    <a:cubicBezTo>
                      <a:pt x="30" y="15"/>
                      <a:pt x="31" y="14"/>
                      <a:pt x="31" y="13"/>
                    </a:cubicBezTo>
                    <a:cubicBezTo>
                      <a:pt x="32" y="12"/>
                      <a:pt x="29" y="10"/>
                      <a:pt x="29" y="8"/>
                    </a:cubicBezTo>
                    <a:cubicBezTo>
                      <a:pt x="29" y="8"/>
                      <a:pt x="29" y="8"/>
                      <a:pt x="29" y="8"/>
                    </a:cubicBezTo>
                    <a:cubicBezTo>
                      <a:pt x="29" y="8"/>
                      <a:pt x="28" y="7"/>
                      <a:pt x="28" y="7"/>
                    </a:cubicBezTo>
                    <a:cubicBezTo>
                      <a:pt x="25" y="4"/>
                      <a:pt x="23" y="4"/>
                      <a:pt x="22" y="3"/>
                    </a:cubicBezTo>
                    <a:cubicBezTo>
                      <a:pt x="20" y="1"/>
                      <a:pt x="18" y="0"/>
                      <a:pt x="16" y="2"/>
                    </a:cubicBezTo>
                    <a:cubicBezTo>
                      <a:pt x="15" y="3"/>
                      <a:pt x="11" y="4"/>
                      <a:pt x="9" y="4"/>
                    </a:cubicBezTo>
                    <a:cubicBezTo>
                      <a:pt x="8" y="4"/>
                      <a:pt x="7" y="4"/>
                      <a:pt x="6" y="3"/>
                    </a:cubicBezTo>
                    <a:cubicBezTo>
                      <a:pt x="4" y="4"/>
                      <a:pt x="2" y="5"/>
                      <a:pt x="0" y="6"/>
                    </a:cubicBezTo>
                    <a:cubicBezTo>
                      <a:pt x="1" y="6"/>
                      <a:pt x="1" y="6"/>
                      <a:pt x="2" y="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3" name="Freeform 79">
                <a:extLst>
                  <a:ext uri="{FF2B5EF4-FFF2-40B4-BE49-F238E27FC236}">
                    <a16:creationId xmlns:a16="http://schemas.microsoft.com/office/drawing/2014/main" id="{F5D02EE1-7058-49F8-8255-A0D49B940D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6132" y="3104839"/>
                <a:ext cx="168133" cy="107906"/>
              </a:xfrm>
              <a:custGeom>
                <a:avLst/>
                <a:gdLst>
                  <a:gd name="T0" fmla="*/ 65 w 73"/>
                  <a:gd name="T1" fmla="*/ 31 h 47"/>
                  <a:gd name="T2" fmla="*/ 62 w 73"/>
                  <a:gd name="T3" fmla="*/ 30 h 47"/>
                  <a:gd name="T4" fmla="*/ 63 w 73"/>
                  <a:gd name="T5" fmla="*/ 29 h 47"/>
                  <a:gd name="T6" fmla="*/ 61 w 73"/>
                  <a:gd name="T7" fmla="*/ 20 h 47"/>
                  <a:gd name="T8" fmla="*/ 56 w 73"/>
                  <a:gd name="T9" fmla="*/ 9 h 47"/>
                  <a:gd name="T10" fmla="*/ 51 w 73"/>
                  <a:gd name="T11" fmla="*/ 0 h 47"/>
                  <a:gd name="T12" fmla="*/ 47 w 73"/>
                  <a:gd name="T13" fmla="*/ 2 h 47"/>
                  <a:gd name="T14" fmla="*/ 42 w 73"/>
                  <a:gd name="T15" fmla="*/ 4 h 47"/>
                  <a:gd name="T16" fmla="*/ 38 w 73"/>
                  <a:gd name="T17" fmla="*/ 5 h 47"/>
                  <a:gd name="T18" fmla="*/ 35 w 73"/>
                  <a:gd name="T19" fmla="*/ 6 h 47"/>
                  <a:gd name="T20" fmla="*/ 30 w 73"/>
                  <a:gd name="T21" fmla="*/ 4 h 47"/>
                  <a:gd name="T22" fmla="*/ 22 w 73"/>
                  <a:gd name="T23" fmla="*/ 3 h 47"/>
                  <a:gd name="T24" fmla="*/ 19 w 73"/>
                  <a:gd name="T25" fmla="*/ 3 h 47"/>
                  <a:gd name="T26" fmla="*/ 18 w 73"/>
                  <a:gd name="T27" fmla="*/ 5 h 47"/>
                  <a:gd name="T28" fmla="*/ 13 w 73"/>
                  <a:gd name="T29" fmla="*/ 8 h 47"/>
                  <a:gd name="T30" fmla="*/ 5 w 73"/>
                  <a:gd name="T31" fmla="*/ 20 h 47"/>
                  <a:gd name="T32" fmla="*/ 0 w 73"/>
                  <a:gd name="T33" fmla="*/ 24 h 47"/>
                  <a:gd name="T34" fmla="*/ 3 w 73"/>
                  <a:gd name="T35" fmla="*/ 29 h 47"/>
                  <a:gd name="T36" fmla="*/ 6 w 73"/>
                  <a:gd name="T37" fmla="*/ 31 h 47"/>
                  <a:gd name="T38" fmla="*/ 7 w 73"/>
                  <a:gd name="T39" fmla="*/ 36 h 47"/>
                  <a:gd name="T40" fmla="*/ 16 w 73"/>
                  <a:gd name="T41" fmla="*/ 39 h 47"/>
                  <a:gd name="T42" fmla="*/ 16 w 73"/>
                  <a:gd name="T43" fmla="*/ 43 h 47"/>
                  <a:gd name="T44" fmla="*/ 21 w 73"/>
                  <a:gd name="T45" fmla="*/ 46 h 47"/>
                  <a:gd name="T46" fmla="*/ 30 w 73"/>
                  <a:gd name="T47" fmla="*/ 47 h 47"/>
                  <a:gd name="T48" fmla="*/ 38 w 73"/>
                  <a:gd name="T49" fmla="*/ 47 h 47"/>
                  <a:gd name="T50" fmla="*/ 44 w 73"/>
                  <a:gd name="T51" fmla="*/ 45 h 47"/>
                  <a:gd name="T52" fmla="*/ 53 w 73"/>
                  <a:gd name="T53" fmla="*/ 43 h 47"/>
                  <a:gd name="T54" fmla="*/ 60 w 73"/>
                  <a:gd name="T55" fmla="*/ 45 h 47"/>
                  <a:gd name="T56" fmla="*/ 65 w 73"/>
                  <a:gd name="T57" fmla="*/ 47 h 47"/>
                  <a:gd name="T58" fmla="*/ 65 w 73"/>
                  <a:gd name="T59" fmla="*/ 43 h 47"/>
                  <a:gd name="T60" fmla="*/ 69 w 73"/>
                  <a:gd name="T61" fmla="*/ 36 h 47"/>
                  <a:gd name="T62" fmla="*/ 73 w 73"/>
                  <a:gd name="T63" fmla="*/ 32 h 47"/>
                  <a:gd name="T64" fmla="*/ 73 w 73"/>
                  <a:gd name="T65" fmla="*/ 32 h 47"/>
                  <a:gd name="T66" fmla="*/ 70 w 73"/>
                  <a:gd name="T67" fmla="*/ 30 h 47"/>
                  <a:gd name="T68" fmla="*/ 65 w 73"/>
                  <a:gd name="T69" fmla="*/ 31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73" h="47">
                    <a:moveTo>
                      <a:pt x="65" y="31"/>
                    </a:moveTo>
                    <a:cubicBezTo>
                      <a:pt x="64" y="31"/>
                      <a:pt x="62" y="31"/>
                      <a:pt x="62" y="30"/>
                    </a:cubicBezTo>
                    <a:cubicBezTo>
                      <a:pt x="62" y="30"/>
                      <a:pt x="63" y="29"/>
                      <a:pt x="63" y="29"/>
                    </a:cubicBezTo>
                    <a:cubicBezTo>
                      <a:pt x="60" y="28"/>
                      <a:pt x="60" y="22"/>
                      <a:pt x="61" y="20"/>
                    </a:cubicBezTo>
                    <a:cubicBezTo>
                      <a:pt x="63" y="18"/>
                      <a:pt x="58" y="12"/>
                      <a:pt x="56" y="9"/>
                    </a:cubicBezTo>
                    <a:cubicBezTo>
                      <a:pt x="55" y="8"/>
                      <a:pt x="53" y="4"/>
                      <a:pt x="51" y="0"/>
                    </a:cubicBezTo>
                    <a:cubicBezTo>
                      <a:pt x="49" y="1"/>
                      <a:pt x="47" y="1"/>
                      <a:pt x="47" y="2"/>
                    </a:cubicBezTo>
                    <a:cubicBezTo>
                      <a:pt x="46" y="3"/>
                      <a:pt x="44" y="4"/>
                      <a:pt x="42" y="4"/>
                    </a:cubicBezTo>
                    <a:cubicBezTo>
                      <a:pt x="41" y="4"/>
                      <a:pt x="40" y="3"/>
                      <a:pt x="38" y="5"/>
                    </a:cubicBezTo>
                    <a:cubicBezTo>
                      <a:pt x="37" y="6"/>
                      <a:pt x="35" y="6"/>
                      <a:pt x="35" y="6"/>
                    </a:cubicBezTo>
                    <a:cubicBezTo>
                      <a:pt x="34" y="5"/>
                      <a:pt x="32" y="4"/>
                      <a:pt x="30" y="4"/>
                    </a:cubicBezTo>
                    <a:cubicBezTo>
                      <a:pt x="28" y="4"/>
                      <a:pt x="23" y="3"/>
                      <a:pt x="22" y="3"/>
                    </a:cubicBezTo>
                    <a:cubicBezTo>
                      <a:pt x="21" y="3"/>
                      <a:pt x="20" y="3"/>
                      <a:pt x="19" y="3"/>
                    </a:cubicBezTo>
                    <a:cubicBezTo>
                      <a:pt x="19" y="4"/>
                      <a:pt x="19" y="4"/>
                      <a:pt x="18" y="5"/>
                    </a:cubicBezTo>
                    <a:cubicBezTo>
                      <a:pt x="17" y="6"/>
                      <a:pt x="14" y="7"/>
                      <a:pt x="13" y="8"/>
                    </a:cubicBezTo>
                    <a:cubicBezTo>
                      <a:pt x="12" y="9"/>
                      <a:pt x="8" y="18"/>
                      <a:pt x="5" y="20"/>
                    </a:cubicBezTo>
                    <a:cubicBezTo>
                      <a:pt x="3" y="23"/>
                      <a:pt x="1" y="23"/>
                      <a:pt x="0" y="24"/>
                    </a:cubicBezTo>
                    <a:cubicBezTo>
                      <a:pt x="0" y="25"/>
                      <a:pt x="3" y="27"/>
                      <a:pt x="3" y="29"/>
                    </a:cubicBezTo>
                    <a:cubicBezTo>
                      <a:pt x="3" y="30"/>
                      <a:pt x="4" y="31"/>
                      <a:pt x="6" y="31"/>
                    </a:cubicBezTo>
                    <a:cubicBezTo>
                      <a:pt x="8" y="31"/>
                      <a:pt x="6" y="36"/>
                      <a:pt x="7" y="36"/>
                    </a:cubicBezTo>
                    <a:cubicBezTo>
                      <a:pt x="8" y="37"/>
                      <a:pt x="16" y="37"/>
                      <a:pt x="16" y="39"/>
                    </a:cubicBezTo>
                    <a:cubicBezTo>
                      <a:pt x="16" y="41"/>
                      <a:pt x="17" y="42"/>
                      <a:pt x="16" y="43"/>
                    </a:cubicBezTo>
                    <a:cubicBezTo>
                      <a:pt x="19" y="43"/>
                      <a:pt x="20" y="46"/>
                      <a:pt x="21" y="46"/>
                    </a:cubicBezTo>
                    <a:cubicBezTo>
                      <a:pt x="22" y="46"/>
                      <a:pt x="28" y="47"/>
                      <a:pt x="30" y="47"/>
                    </a:cubicBezTo>
                    <a:cubicBezTo>
                      <a:pt x="31" y="46"/>
                      <a:pt x="36" y="47"/>
                      <a:pt x="38" y="47"/>
                    </a:cubicBezTo>
                    <a:cubicBezTo>
                      <a:pt x="40" y="47"/>
                      <a:pt x="42" y="46"/>
                      <a:pt x="44" y="45"/>
                    </a:cubicBezTo>
                    <a:cubicBezTo>
                      <a:pt x="45" y="43"/>
                      <a:pt x="51" y="43"/>
                      <a:pt x="53" y="43"/>
                    </a:cubicBezTo>
                    <a:cubicBezTo>
                      <a:pt x="55" y="43"/>
                      <a:pt x="59" y="44"/>
                      <a:pt x="60" y="45"/>
                    </a:cubicBezTo>
                    <a:cubicBezTo>
                      <a:pt x="60" y="45"/>
                      <a:pt x="62" y="46"/>
                      <a:pt x="65" y="47"/>
                    </a:cubicBezTo>
                    <a:cubicBezTo>
                      <a:pt x="65" y="46"/>
                      <a:pt x="65" y="44"/>
                      <a:pt x="65" y="43"/>
                    </a:cubicBezTo>
                    <a:cubicBezTo>
                      <a:pt x="65" y="40"/>
                      <a:pt x="66" y="37"/>
                      <a:pt x="69" y="36"/>
                    </a:cubicBezTo>
                    <a:cubicBezTo>
                      <a:pt x="71" y="36"/>
                      <a:pt x="73" y="36"/>
                      <a:pt x="73" y="32"/>
                    </a:cubicBezTo>
                    <a:cubicBezTo>
                      <a:pt x="73" y="32"/>
                      <a:pt x="73" y="32"/>
                      <a:pt x="73" y="32"/>
                    </a:cubicBezTo>
                    <a:cubicBezTo>
                      <a:pt x="72" y="31"/>
                      <a:pt x="70" y="30"/>
                      <a:pt x="70" y="30"/>
                    </a:cubicBezTo>
                    <a:cubicBezTo>
                      <a:pt x="69" y="30"/>
                      <a:pt x="66" y="32"/>
                      <a:pt x="65" y="3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4" name="Freeform 80">
                <a:extLst>
                  <a:ext uri="{FF2B5EF4-FFF2-40B4-BE49-F238E27FC236}">
                    <a16:creationId xmlns:a16="http://schemas.microsoft.com/office/drawing/2014/main" id="{073ED889-686E-41A6-8069-20F6CAA2DC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14076" y="3099820"/>
                <a:ext cx="57717" cy="71519"/>
              </a:xfrm>
              <a:custGeom>
                <a:avLst/>
                <a:gdLst>
                  <a:gd name="T0" fmla="*/ 18 w 25"/>
                  <a:gd name="T1" fmla="*/ 8 h 31"/>
                  <a:gd name="T2" fmla="*/ 12 w 25"/>
                  <a:gd name="T3" fmla="*/ 4 h 31"/>
                  <a:gd name="T4" fmla="*/ 6 w 25"/>
                  <a:gd name="T5" fmla="*/ 0 h 31"/>
                  <a:gd name="T6" fmla="*/ 0 w 25"/>
                  <a:gd name="T7" fmla="*/ 2 h 31"/>
                  <a:gd name="T8" fmla="*/ 5 w 25"/>
                  <a:gd name="T9" fmla="*/ 11 h 31"/>
                  <a:gd name="T10" fmla="*/ 10 w 25"/>
                  <a:gd name="T11" fmla="*/ 22 h 31"/>
                  <a:gd name="T12" fmla="*/ 12 w 25"/>
                  <a:gd name="T13" fmla="*/ 31 h 31"/>
                  <a:gd name="T14" fmla="*/ 16 w 25"/>
                  <a:gd name="T15" fmla="*/ 24 h 31"/>
                  <a:gd name="T16" fmla="*/ 19 w 25"/>
                  <a:gd name="T17" fmla="*/ 21 h 31"/>
                  <a:gd name="T18" fmla="*/ 25 w 25"/>
                  <a:gd name="T19" fmla="*/ 22 h 31"/>
                  <a:gd name="T20" fmla="*/ 23 w 25"/>
                  <a:gd name="T21" fmla="*/ 16 h 31"/>
                  <a:gd name="T22" fmla="*/ 18 w 25"/>
                  <a:gd name="T23" fmla="*/ 8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5" h="31">
                    <a:moveTo>
                      <a:pt x="18" y="8"/>
                    </a:moveTo>
                    <a:cubicBezTo>
                      <a:pt x="17" y="5"/>
                      <a:pt x="14" y="4"/>
                      <a:pt x="12" y="4"/>
                    </a:cubicBezTo>
                    <a:cubicBezTo>
                      <a:pt x="10" y="4"/>
                      <a:pt x="8" y="0"/>
                      <a:pt x="6" y="0"/>
                    </a:cubicBezTo>
                    <a:cubicBezTo>
                      <a:pt x="5" y="1"/>
                      <a:pt x="2" y="1"/>
                      <a:pt x="0" y="2"/>
                    </a:cubicBezTo>
                    <a:cubicBezTo>
                      <a:pt x="2" y="6"/>
                      <a:pt x="4" y="10"/>
                      <a:pt x="5" y="11"/>
                    </a:cubicBezTo>
                    <a:cubicBezTo>
                      <a:pt x="7" y="14"/>
                      <a:pt x="12" y="20"/>
                      <a:pt x="10" y="22"/>
                    </a:cubicBezTo>
                    <a:cubicBezTo>
                      <a:pt x="9" y="24"/>
                      <a:pt x="9" y="30"/>
                      <a:pt x="12" y="31"/>
                    </a:cubicBezTo>
                    <a:cubicBezTo>
                      <a:pt x="13" y="30"/>
                      <a:pt x="16" y="26"/>
                      <a:pt x="16" y="24"/>
                    </a:cubicBezTo>
                    <a:cubicBezTo>
                      <a:pt x="16" y="23"/>
                      <a:pt x="16" y="20"/>
                      <a:pt x="19" y="21"/>
                    </a:cubicBezTo>
                    <a:cubicBezTo>
                      <a:pt x="22" y="21"/>
                      <a:pt x="25" y="23"/>
                      <a:pt x="25" y="22"/>
                    </a:cubicBezTo>
                    <a:cubicBezTo>
                      <a:pt x="25" y="21"/>
                      <a:pt x="24" y="18"/>
                      <a:pt x="23" y="16"/>
                    </a:cubicBezTo>
                    <a:cubicBezTo>
                      <a:pt x="22" y="15"/>
                      <a:pt x="19" y="11"/>
                      <a:pt x="18" y="8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5" name="Freeform 81">
                <a:extLst>
                  <a:ext uri="{FF2B5EF4-FFF2-40B4-BE49-F238E27FC236}">
                    <a16:creationId xmlns:a16="http://schemas.microsoft.com/office/drawing/2014/main" id="{18ED64BF-A2CD-474D-AB05-053D599BA6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28755" y="3203962"/>
                <a:ext cx="117944" cy="61482"/>
              </a:xfrm>
              <a:custGeom>
                <a:avLst/>
                <a:gdLst>
                  <a:gd name="T0" fmla="*/ 39 w 51"/>
                  <a:gd name="T1" fmla="*/ 0 h 27"/>
                  <a:gd name="T2" fmla="*/ 30 w 51"/>
                  <a:gd name="T3" fmla="*/ 2 h 27"/>
                  <a:gd name="T4" fmla="*/ 24 w 51"/>
                  <a:gd name="T5" fmla="*/ 4 h 27"/>
                  <a:gd name="T6" fmla="*/ 16 w 51"/>
                  <a:gd name="T7" fmla="*/ 4 h 27"/>
                  <a:gd name="T8" fmla="*/ 7 w 51"/>
                  <a:gd name="T9" fmla="*/ 3 h 27"/>
                  <a:gd name="T10" fmla="*/ 2 w 51"/>
                  <a:gd name="T11" fmla="*/ 0 h 27"/>
                  <a:gd name="T12" fmla="*/ 2 w 51"/>
                  <a:gd name="T13" fmla="*/ 0 h 27"/>
                  <a:gd name="T14" fmla="*/ 2 w 51"/>
                  <a:gd name="T15" fmla="*/ 6 h 27"/>
                  <a:gd name="T16" fmla="*/ 4 w 51"/>
                  <a:gd name="T17" fmla="*/ 11 h 27"/>
                  <a:gd name="T18" fmla="*/ 2 w 51"/>
                  <a:gd name="T19" fmla="*/ 14 h 27"/>
                  <a:gd name="T20" fmla="*/ 2 w 51"/>
                  <a:gd name="T21" fmla="*/ 18 h 27"/>
                  <a:gd name="T22" fmla="*/ 6 w 51"/>
                  <a:gd name="T23" fmla="*/ 23 h 27"/>
                  <a:gd name="T24" fmla="*/ 8 w 51"/>
                  <a:gd name="T25" fmla="*/ 26 h 27"/>
                  <a:gd name="T26" fmla="*/ 18 w 51"/>
                  <a:gd name="T27" fmla="*/ 26 h 27"/>
                  <a:gd name="T28" fmla="*/ 27 w 51"/>
                  <a:gd name="T29" fmla="*/ 27 h 27"/>
                  <a:gd name="T30" fmla="*/ 30 w 51"/>
                  <a:gd name="T31" fmla="*/ 25 h 27"/>
                  <a:gd name="T32" fmla="*/ 34 w 51"/>
                  <a:gd name="T33" fmla="*/ 24 h 27"/>
                  <a:gd name="T34" fmla="*/ 34 w 51"/>
                  <a:gd name="T35" fmla="*/ 21 h 27"/>
                  <a:gd name="T36" fmla="*/ 42 w 51"/>
                  <a:gd name="T37" fmla="*/ 21 h 27"/>
                  <a:gd name="T38" fmla="*/ 45 w 51"/>
                  <a:gd name="T39" fmla="*/ 21 h 27"/>
                  <a:gd name="T40" fmla="*/ 44 w 51"/>
                  <a:gd name="T41" fmla="*/ 19 h 27"/>
                  <a:gd name="T42" fmla="*/ 43 w 51"/>
                  <a:gd name="T43" fmla="*/ 13 h 27"/>
                  <a:gd name="T44" fmla="*/ 49 w 51"/>
                  <a:gd name="T45" fmla="*/ 6 h 27"/>
                  <a:gd name="T46" fmla="*/ 51 w 51"/>
                  <a:gd name="T47" fmla="*/ 4 h 27"/>
                  <a:gd name="T48" fmla="*/ 46 w 51"/>
                  <a:gd name="T49" fmla="*/ 2 h 27"/>
                  <a:gd name="T50" fmla="*/ 39 w 51"/>
                  <a:gd name="T51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51" h="27">
                    <a:moveTo>
                      <a:pt x="39" y="0"/>
                    </a:moveTo>
                    <a:cubicBezTo>
                      <a:pt x="37" y="0"/>
                      <a:pt x="31" y="0"/>
                      <a:pt x="30" y="2"/>
                    </a:cubicBezTo>
                    <a:cubicBezTo>
                      <a:pt x="28" y="3"/>
                      <a:pt x="26" y="4"/>
                      <a:pt x="24" y="4"/>
                    </a:cubicBezTo>
                    <a:cubicBezTo>
                      <a:pt x="22" y="4"/>
                      <a:pt x="17" y="3"/>
                      <a:pt x="16" y="4"/>
                    </a:cubicBezTo>
                    <a:cubicBezTo>
                      <a:pt x="14" y="4"/>
                      <a:pt x="8" y="3"/>
                      <a:pt x="7" y="3"/>
                    </a:cubicBezTo>
                    <a:cubicBezTo>
                      <a:pt x="6" y="3"/>
                      <a:pt x="5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2"/>
                      <a:pt x="0" y="4"/>
                      <a:pt x="2" y="6"/>
                    </a:cubicBezTo>
                    <a:cubicBezTo>
                      <a:pt x="4" y="8"/>
                      <a:pt x="6" y="11"/>
                      <a:pt x="4" y="11"/>
                    </a:cubicBezTo>
                    <a:cubicBezTo>
                      <a:pt x="3" y="11"/>
                      <a:pt x="1" y="13"/>
                      <a:pt x="2" y="14"/>
                    </a:cubicBezTo>
                    <a:cubicBezTo>
                      <a:pt x="2" y="15"/>
                      <a:pt x="1" y="18"/>
                      <a:pt x="2" y="18"/>
                    </a:cubicBezTo>
                    <a:cubicBezTo>
                      <a:pt x="2" y="19"/>
                      <a:pt x="6" y="22"/>
                      <a:pt x="6" y="23"/>
                    </a:cubicBezTo>
                    <a:cubicBezTo>
                      <a:pt x="6" y="24"/>
                      <a:pt x="8" y="25"/>
                      <a:pt x="8" y="26"/>
                    </a:cubicBezTo>
                    <a:cubicBezTo>
                      <a:pt x="11" y="25"/>
                      <a:pt x="17" y="25"/>
                      <a:pt x="18" y="26"/>
                    </a:cubicBezTo>
                    <a:cubicBezTo>
                      <a:pt x="20" y="27"/>
                      <a:pt x="27" y="27"/>
                      <a:pt x="27" y="27"/>
                    </a:cubicBezTo>
                    <a:cubicBezTo>
                      <a:pt x="29" y="27"/>
                      <a:pt x="31" y="27"/>
                      <a:pt x="30" y="25"/>
                    </a:cubicBezTo>
                    <a:cubicBezTo>
                      <a:pt x="30" y="24"/>
                      <a:pt x="32" y="24"/>
                      <a:pt x="34" y="24"/>
                    </a:cubicBezTo>
                    <a:cubicBezTo>
                      <a:pt x="34" y="22"/>
                      <a:pt x="33" y="22"/>
                      <a:pt x="34" y="21"/>
                    </a:cubicBezTo>
                    <a:cubicBezTo>
                      <a:pt x="35" y="21"/>
                      <a:pt x="40" y="20"/>
                      <a:pt x="42" y="21"/>
                    </a:cubicBezTo>
                    <a:cubicBezTo>
                      <a:pt x="43" y="22"/>
                      <a:pt x="44" y="21"/>
                      <a:pt x="45" y="21"/>
                    </a:cubicBezTo>
                    <a:cubicBezTo>
                      <a:pt x="45" y="20"/>
                      <a:pt x="45" y="19"/>
                      <a:pt x="44" y="19"/>
                    </a:cubicBezTo>
                    <a:cubicBezTo>
                      <a:pt x="43" y="19"/>
                      <a:pt x="41" y="13"/>
                      <a:pt x="43" y="13"/>
                    </a:cubicBezTo>
                    <a:cubicBezTo>
                      <a:pt x="44" y="12"/>
                      <a:pt x="46" y="7"/>
                      <a:pt x="49" y="6"/>
                    </a:cubicBezTo>
                    <a:cubicBezTo>
                      <a:pt x="50" y="6"/>
                      <a:pt x="50" y="5"/>
                      <a:pt x="51" y="4"/>
                    </a:cubicBezTo>
                    <a:cubicBezTo>
                      <a:pt x="48" y="3"/>
                      <a:pt x="46" y="2"/>
                      <a:pt x="46" y="2"/>
                    </a:cubicBezTo>
                    <a:cubicBezTo>
                      <a:pt x="45" y="1"/>
                      <a:pt x="41" y="0"/>
                      <a:pt x="39" y="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6" name="Freeform 82">
                <a:extLst>
                  <a:ext uri="{FF2B5EF4-FFF2-40B4-BE49-F238E27FC236}">
                    <a16:creationId xmlns:a16="http://schemas.microsoft.com/office/drawing/2014/main" id="{9F789697-920B-40A2-AF86-EA13CC8CBE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6132" y="3242858"/>
                <a:ext cx="51444" cy="33878"/>
              </a:xfrm>
              <a:custGeom>
                <a:avLst/>
                <a:gdLst>
                  <a:gd name="T0" fmla="*/ 5 w 22"/>
                  <a:gd name="T1" fmla="*/ 15 h 15"/>
                  <a:gd name="T2" fmla="*/ 5 w 22"/>
                  <a:gd name="T3" fmla="*/ 15 h 15"/>
                  <a:gd name="T4" fmla="*/ 5 w 22"/>
                  <a:gd name="T5" fmla="*/ 15 h 15"/>
                  <a:gd name="T6" fmla="*/ 5 w 22"/>
                  <a:gd name="T7" fmla="*/ 15 h 15"/>
                  <a:gd name="T8" fmla="*/ 6 w 22"/>
                  <a:gd name="T9" fmla="*/ 15 h 15"/>
                  <a:gd name="T10" fmla="*/ 6 w 22"/>
                  <a:gd name="T11" fmla="*/ 15 h 15"/>
                  <a:gd name="T12" fmla="*/ 8 w 22"/>
                  <a:gd name="T13" fmla="*/ 15 h 15"/>
                  <a:gd name="T14" fmla="*/ 9 w 22"/>
                  <a:gd name="T15" fmla="*/ 15 h 15"/>
                  <a:gd name="T16" fmla="*/ 9 w 22"/>
                  <a:gd name="T17" fmla="*/ 15 h 15"/>
                  <a:gd name="T18" fmla="*/ 9 w 22"/>
                  <a:gd name="T19" fmla="*/ 15 h 15"/>
                  <a:gd name="T20" fmla="*/ 10 w 22"/>
                  <a:gd name="T21" fmla="*/ 15 h 15"/>
                  <a:gd name="T22" fmla="*/ 14 w 22"/>
                  <a:gd name="T23" fmla="*/ 13 h 15"/>
                  <a:gd name="T24" fmla="*/ 21 w 22"/>
                  <a:gd name="T25" fmla="*/ 9 h 15"/>
                  <a:gd name="T26" fmla="*/ 22 w 22"/>
                  <a:gd name="T27" fmla="*/ 9 h 15"/>
                  <a:gd name="T28" fmla="*/ 20 w 22"/>
                  <a:gd name="T29" fmla="*/ 6 h 15"/>
                  <a:gd name="T30" fmla="*/ 16 w 22"/>
                  <a:gd name="T31" fmla="*/ 1 h 15"/>
                  <a:gd name="T32" fmla="*/ 15 w 22"/>
                  <a:gd name="T33" fmla="*/ 1 h 15"/>
                  <a:gd name="T34" fmla="*/ 15 w 22"/>
                  <a:gd name="T35" fmla="*/ 1 h 15"/>
                  <a:gd name="T36" fmla="*/ 15 w 22"/>
                  <a:gd name="T37" fmla="*/ 0 h 15"/>
                  <a:gd name="T38" fmla="*/ 2 w 22"/>
                  <a:gd name="T39" fmla="*/ 2 h 15"/>
                  <a:gd name="T40" fmla="*/ 1 w 22"/>
                  <a:gd name="T41" fmla="*/ 2 h 15"/>
                  <a:gd name="T42" fmla="*/ 0 w 22"/>
                  <a:gd name="T43" fmla="*/ 10 h 15"/>
                  <a:gd name="T44" fmla="*/ 5 w 22"/>
                  <a:gd name="T45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2" h="15">
                    <a:moveTo>
                      <a:pt x="5" y="15"/>
                    </a:move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6" y="15"/>
                      <a:pt x="6" y="15"/>
                    </a:cubicBezTo>
                    <a:cubicBezTo>
                      <a:pt x="6" y="15"/>
                      <a:pt x="6" y="15"/>
                      <a:pt x="6" y="15"/>
                    </a:cubicBezTo>
                    <a:cubicBezTo>
                      <a:pt x="6" y="15"/>
                      <a:pt x="7" y="15"/>
                      <a:pt x="8" y="15"/>
                    </a:cubicBezTo>
                    <a:cubicBezTo>
                      <a:pt x="8" y="15"/>
                      <a:pt x="8" y="15"/>
                      <a:pt x="9" y="15"/>
                    </a:cubicBezTo>
                    <a:cubicBezTo>
                      <a:pt x="9" y="15"/>
                      <a:pt x="9" y="15"/>
                      <a:pt x="9" y="15"/>
                    </a:cubicBezTo>
                    <a:cubicBezTo>
                      <a:pt x="9" y="15"/>
                      <a:pt x="9" y="15"/>
                      <a:pt x="9" y="15"/>
                    </a:cubicBezTo>
                    <a:cubicBezTo>
                      <a:pt x="10" y="15"/>
                      <a:pt x="10" y="15"/>
                      <a:pt x="10" y="15"/>
                    </a:cubicBezTo>
                    <a:cubicBezTo>
                      <a:pt x="12" y="14"/>
                      <a:pt x="13" y="12"/>
                      <a:pt x="14" y="13"/>
                    </a:cubicBezTo>
                    <a:cubicBezTo>
                      <a:pt x="15" y="13"/>
                      <a:pt x="21" y="10"/>
                      <a:pt x="21" y="9"/>
                    </a:cubicBezTo>
                    <a:cubicBezTo>
                      <a:pt x="22" y="9"/>
                      <a:pt x="22" y="9"/>
                      <a:pt x="22" y="9"/>
                    </a:cubicBezTo>
                    <a:cubicBezTo>
                      <a:pt x="22" y="8"/>
                      <a:pt x="20" y="7"/>
                      <a:pt x="20" y="6"/>
                    </a:cubicBezTo>
                    <a:cubicBezTo>
                      <a:pt x="20" y="5"/>
                      <a:pt x="16" y="2"/>
                      <a:pt x="16" y="1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0" y="1"/>
                      <a:pt x="2" y="2"/>
                      <a:pt x="2" y="2"/>
                    </a:cubicBezTo>
                    <a:cubicBezTo>
                      <a:pt x="2" y="2"/>
                      <a:pt x="1" y="2"/>
                      <a:pt x="1" y="2"/>
                    </a:cubicBezTo>
                    <a:cubicBezTo>
                      <a:pt x="0" y="5"/>
                      <a:pt x="0" y="8"/>
                      <a:pt x="0" y="10"/>
                    </a:cubicBezTo>
                    <a:cubicBezTo>
                      <a:pt x="1" y="12"/>
                      <a:pt x="2" y="14"/>
                      <a:pt x="5" y="1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7" name="Freeform 83">
                <a:extLst>
                  <a:ext uri="{FF2B5EF4-FFF2-40B4-BE49-F238E27FC236}">
                    <a16:creationId xmlns:a16="http://schemas.microsoft.com/office/drawing/2014/main" id="{AE521EE0-4FFF-4BC3-8446-B5C0DD4D4E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28755" y="3005715"/>
                <a:ext cx="329993" cy="190718"/>
              </a:xfrm>
              <a:custGeom>
                <a:avLst/>
                <a:gdLst>
                  <a:gd name="T0" fmla="*/ 134 w 143"/>
                  <a:gd name="T1" fmla="*/ 48 h 83"/>
                  <a:gd name="T2" fmla="*/ 142 w 143"/>
                  <a:gd name="T3" fmla="*/ 43 h 83"/>
                  <a:gd name="T4" fmla="*/ 143 w 143"/>
                  <a:gd name="T5" fmla="*/ 38 h 83"/>
                  <a:gd name="T6" fmla="*/ 143 w 143"/>
                  <a:gd name="T7" fmla="*/ 32 h 83"/>
                  <a:gd name="T8" fmla="*/ 132 w 143"/>
                  <a:gd name="T9" fmla="*/ 28 h 83"/>
                  <a:gd name="T10" fmla="*/ 122 w 143"/>
                  <a:gd name="T11" fmla="*/ 22 h 83"/>
                  <a:gd name="T12" fmla="*/ 113 w 143"/>
                  <a:gd name="T13" fmla="*/ 23 h 83"/>
                  <a:gd name="T14" fmla="*/ 106 w 143"/>
                  <a:gd name="T15" fmla="*/ 20 h 83"/>
                  <a:gd name="T16" fmla="*/ 97 w 143"/>
                  <a:gd name="T17" fmla="*/ 12 h 83"/>
                  <a:gd name="T18" fmla="*/ 94 w 143"/>
                  <a:gd name="T19" fmla="*/ 1 h 83"/>
                  <a:gd name="T20" fmla="*/ 82 w 143"/>
                  <a:gd name="T21" fmla="*/ 1 h 83"/>
                  <a:gd name="T22" fmla="*/ 76 w 143"/>
                  <a:gd name="T23" fmla="*/ 2 h 83"/>
                  <a:gd name="T24" fmla="*/ 66 w 143"/>
                  <a:gd name="T25" fmla="*/ 8 h 83"/>
                  <a:gd name="T26" fmla="*/ 57 w 143"/>
                  <a:gd name="T27" fmla="*/ 10 h 83"/>
                  <a:gd name="T28" fmla="*/ 47 w 143"/>
                  <a:gd name="T29" fmla="*/ 8 h 83"/>
                  <a:gd name="T30" fmla="*/ 34 w 143"/>
                  <a:gd name="T31" fmla="*/ 6 h 83"/>
                  <a:gd name="T32" fmla="*/ 15 w 143"/>
                  <a:gd name="T33" fmla="*/ 8 h 83"/>
                  <a:gd name="T34" fmla="*/ 11 w 143"/>
                  <a:gd name="T35" fmla="*/ 11 h 83"/>
                  <a:gd name="T36" fmla="*/ 11 w 143"/>
                  <a:gd name="T37" fmla="*/ 22 h 83"/>
                  <a:gd name="T38" fmla="*/ 4 w 143"/>
                  <a:gd name="T39" fmla="*/ 35 h 83"/>
                  <a:gd name="T40" fmla="*/ 4 w 143"/>
                  <a:gd name="T41" fmla="*/ 45 h 83"/>
                  <a:gd name="T42" fmla="*/ 8 w 143"/>
                  <a:gd name="T43" fmla="*/ 46 h 83"/>
                  <a:gd name="T44" fmla="*/ 21 w 143"/>
                  <a:gd name="T45" fmla="*/ 49 h 83"/>
                  <a:gd name="T46" fmla="*/ 28 w 143"/>
                  <a:gd name="T47" fmla="*/ 47 h 83"/>
                  <a:gd name="T48" fmla="*/ 43 w 143"/>
                  <a:gd name="T49" fmla="*/ 41 h 83"/>
                  <a:gd name="T50" fmla="*/ 55 w 143"/>
                  <a:gd name="T51" fmla="*/ 49 h 83"/>
                  <a:gd name="T52" fmla="*/ 62 w 143"/>
                  <a:gd name="T53" fmla="*/ 63 h 83"/>
                  <a:gd name="T54" fmla="*/ 53 w 143"/>
                  <a:gd name="T55" fmla="*/ 65 h 83"/>
                  <a:gd name="T56" fmla="*/ 51 w 143"/>
                  <a:gd name="T57" fmla="*/ 74 h 83"/>
                  <a:gd name="T58" fmla="*/ 59 w 143"/>
                  <a:gd name="T59" fmla="*/ 75 h 83"/>
                  <a:gd name="T60" fmla="*/ 70 w 143"/>
                  <a:gd name="T61" fmla="*/ 60 h 83"/>
                  <a:gd name="T62" fmla="*/ 79 w 143"/>
                  <a:gd name="T63" fmla="*/ 64 h 83"/>
                  <a:gd name="T64" fmla="*/ 82 w 143"/>
                  <a:gd name="T65" fmla="*/ 72 h 83"/>
                  <a:gd name="T66" fmla="*/ 90 w 143"/>
                  <a:gd name="T67" fmla="*/ 82 h 83"/>
                  <a:gd name="T68" fmla="*/ 104 w 143"/>
                  <a:gd name="T69" fmla="*/ 77 h 83"/>
                  <a:gd name="T70" fmla="*/ 107 w 143"/>
                  <a:gd name="T71" fmla="*/ 74 h 83"/>
                  <a:gd name="T72" fmla="*/ 111 w 143"/>
                  <a:gd name="T73" fmla="*/ 61 h 83"/>
                  <a:gd name="T74" fmla="*/ 127 w 143"/>
                  <a:gd name="T75" fmla="*/ 56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43" h="83">
                    <a:moveTo>
                      <a:pt x="127" y="52"/>
                    </a:moveTo>
                    <a:cubicBezTo>
                      <a:pt x="129" y="52"/>
                      <a:pt x="132" y="48"/>
                      <a:pt x="134" y="48"/>
                    </a:cubicBezTo>
                    <a:cubicBezTo>
                      <a:pt x="135" y="48"/>
                      <a:pt x="140" y="49"/>
                      <a:pt x="140" y="48"/>
                    </a:cubicBezTo>
                    <a:cubicBezTo>
                      <a:pt x="140" y="47"/>
                      <a:pt x="142" y="44"/>
                      <a:pt x="142" y="43"/>
                    </a:cubicBezTo>
                    <a:cubicBezTo>
                      <a:pt x="141" y="42"/>
                      <a:pt x="140" y="41"/>
                      <a:pt x="140" y="40"/>
                    </a:cubicBezTo>
                    <a:cubicBezTo>
                      <a:pt x="140" y="39"/>
                      <a:pt x="143" y="39"/>
                      <a:pt x="143" y="38"/>
                    </a:cubicBezTo>
                    <a:cubicBezTo>
                      <a:pt x="143" y="37"/>
                      <a:pt x="141" y="36"/>
                      <a:pt x="141" y="36"/>
                    </a:cubicBezTo>
                    <a:cubicBezTo>
                      <a:pt x="141" y="35"/>
                      <a:pt x="143" y="34"/>
                      <a:pt x="143" y="32"/>
                    </a:cubicBezTo>
                    <a:cubicBezTo>
                      <a:pt x="143" y="31"/>
                      <a:pt x="141" y="31"/>
                      <a:pt x="139" y="29"/>
                    </a:cubicBezTo>
                    <a:cubicBezTo>
                      <a:pt x="136" y="28"/>
                      <a:pt x="134" y="29"/>
                      <a:pt x="132" y="28"/>
                    </a:cubicBezTo>
                    <a:cubicBezTo>
                      <a:pt x="130" y="27"/>
                      <a:pt x="125" y="27"/>
                      <a:pt x="125" y="27"/>
                    </a:cubicBezTo>
                    <a:cubicBezTo>
                      <a:pt x="125" y="26"/>
                      <a:pt x="122" y="23"/>
                      <a:pt x="122" y="22"/>
                    </a:cubicBezTo>
                    <a:cubicBezTo>
                      <a:pt x="121" y="21"/>
                      <a:pt x="119" y="22"/>
                      <a:pt x="117" y="23"/>
                    </a:cubicBezTo>
                    <a:cubicBezTo>
                      <a:pt x="116" y="23"/>
                      <a:pt x="114" y="24"/>
                      <a:pt x="113" y="23"/>
                    </a:cubicBezTo>
                    <a:cubicBezTo>
                      <a:pt x="112" y="22"/>
                      <a:pt x="110" y="21"/>
                      <a:pt x="109" y="21"/>
                    </a:cubicBezTo>
                    <a:cubicBezTo>
                      <a:pt x="108" y="22"/>
                      <a:pt x="106" y="21"/>
                      <a:pt x="106" y="20"/>
                    </a:cubicBezTo>
                    <a:cubicBezTo>
                      <a:pt x="107" y="18"/>
                      <a:pt x="104" y="14"/>
                      <a:pt x="103" y="13"/>
                    </a:cubicBezTo>
                    <a:cubicBezTo>
                      <a:pt x="101" y="13"/>
                      <a:pt x="98" y="14"/>
                      <a:pt x="97" y="12"/>
                    </a:cubicBezTo>
                    <a:cubicBezTo>
                      <a:pt x="96" y="10"/>
                      <a:pt x="94" y="9"/>
                      <a:pt x="95" y="7"/>
                    </a:cubicBezTo>
                    <a:cubicBezTo>
                      <a:pt x="96" y="6"/>
                      <a:pt x="95" y="3"/>
                      <a:pt x="94" y="1"/>
                    </a:cubicBezTo>
                    <a:cubicBezTo>
                      <a:pt x="93" y="0"/>
                      <a:pt x="88" y="0"/>
                      <a:pt x="87" y="1"/>
                    </a:cubicBezTo>
                    <a:cubicBezTo>
                      <a:pt x="86" y="1"/>
                      <a:pt x="83" y="0"/>
                      <a:pt x="82" y="1"/>
                    </a:cubicBezTo>
                    <a:cubicBezTo>
                      <a:pt x="81" y="2"/>
                      <a:pt x="80" y="3"/>
                      <a:pt x="78" y="3"/>
                    </a:cubicBezTo>
                    <a:cubicBezTo>
                      <a:pt x="77" y="3"/>
                      <a:pt x="76" y="3"/>
                      <a:pt x="76" y="2"/>
                    </a:cubicBezTo>
                    <a:cubicBezTo>
                      <a:pt x="74" y="3"/>
                      <a:pt x="71" y="3"/>
                      <a:pt x="71" y="3"/>
                    </a:cubicBezTo>
                    <a:cubicBezTo>
                      <a:pt x="71" y="3"/>
                      <a:pt x="66" y="7"/>
                      <a:pt x="66" y="8"/>
                    </a:cubicBezTo>
                    <a:cubicBezTo>
                      <a:pt x="66" y="10"/>
                      <a:pt x="66" y="12"/>
                      <a:pt x="65" y="11"/>
                    </a:cubicBezTo>
                    <a:cubicBezTo>
                      <a:pt x="63" y="10"/>
                      <a:pt x="58" y="10"/>
                      <a:pt x="57" y="10"/>
                    </a:cubicBezTo>
                    <a:cubicBezTo>
                      <a:pt x="56" y="11"/>
                      <a:pt x="54" y="7"/>
                      <a:pt x="52" y="9"/>
                    </a:cubicBezTo>
                    <a:cubicBezTo>
                      <a:pt x="50" y="10"/>
                      <a:pt x="47" y="7"/>
                      <a:pt x="47" y="8"/>
                    </a:cubicBezTo>
                    <a:cubicBezTo>
                      <a:pt x="46" y="9"/>
                      <a:pt x="43" y="8"/>
                      <a:pt x="41" y="7"/>
                    </a:cubicBezTo>
                    <a:cubicBezTo>
                      <a:pt x="39" y="6"/>
                      <a:pt x="35" y="8"/>
                      <a:pt x="34" y="6"/>
                    </a:cubicBezTo>
                    <a:cubicBezTo>
                      <a:pt x="32" y="5"/>
                      <a:pt x="23" y="5"/>
                      <a:pt x="20" y="5"/>
                    </a:cubicBezTo>
                    <a:cubicBezTo>
                      <a:pt x="17" y="5"/>
                      <a:pt x="16" y="6"/>
                      <a:pt x="15" y="8"/>
                    </a:cubicBezTo>
                    <a:cubicBezTo>
                      <a:pt x="14" y="9"/>
                      <a:pt x="12" y="9"/>
                      <a:pt x="11" y="9"/>
                    </a:cubicBezTo>
                    <a:cubicBezTo>
                      <a:pt x="11" y="10"/>
                      <a:pt x="11" y="11"/>
                      <a:pt x="11" y="11"/>
                    </a:cubicBezTo>
                    <a:cubicBezTo>
                      <a:pt x="12" y="12"/>
                      <a:pt x="15" y="18"/>
                      <a:pt x="14" y="19"/>
                    </a:cubicBezTo>
                    <a:cubicBezTo>
                      <a:pt x="14" y="21"/>
                      <a:pt x="12" y="21"/>
                      <a:pt x="11" y="22"/>
                    </a:cubicBezTo>
                    <a:cubicBezTo>
                      <a:pt x="10" y="23"/>
                      <a:pt x="4" y="29"/>
                      <a:pt x="3" y="30"/>
                    </a:cubicBezTo>
                    <a:cubicBezTo>
                      <a:pt x="3" y="31"/>
                      <a:pt x="4" y="35"/>
                      <a:pt x="4" y="35"/>
                    </a:cubicBezTo>
                    <a:cubicBezTo>
                      <a:pt x="3" y="36"/>
                      <a:pt x="0" y="40"/>
                      <a:pt x="0" y="41"/>
                    </a:cubicBezTo>
                    <a:cubicBezTo>
                      <a:pt x="0" y="43"/>
                      <a:pt x="2" y="45"/>
                      <a:pt x="4" y="45"/>
                    </a:cubicBezTo>
                    <a:cubicBezTo>
                      <a:pt x="4" y="45"/>
                      <a:pt x="5" y="46"/>
                      <a:pt x="5" y="46"/>
                    </a:cubicBezTo>
                    <a:cubicBezTo>
                      <a:pt x="6" y="46"/>
                      <a:pt x="7" y="46"/>
                      <a:pt x="8" y="46"/>
                    </a:cubicBezTo>
                    <a:cubicBezTo>
                      <a:pt x="9" y="46"/>
                      <a:pt x="14" y="47"/>
                      <a:pt x="16" y="47"/>
                    </a:cubicBezTo>
                    <a:cubicBezTo>
                      <a:pt x="18" y="47"/>
                      <a:pt x="20" y="48"/>
                      <a:pt x="21" y="49"/>
                    </a:cubicBezTo>
                    <a:cubicBezTo>
                      <a:pt x="21" y="49"/>
                      <a:pt x="23" y="49"/>
                      <a:pt x="24" y="48"/>
                    </a:cubicBezTo>
                    <a:cubicBezTo>
                      <a:pt x="26" y="46"/>
                      <a:pt x="27" y="47"/>
                      <a:pt x="28" y="47"/>
                    </a:cubicBezTo>
                    <a:cubicBezTo>
                      <a:pt x="30" y="47"/>
                      <a:pt x="32" y="46"/>
                      <a:pt x="33" y="45"/>
                    </a:cubicBezTo>
                    <a:cubicBezTo>
                      <a:pt x="34" y="44"/>
                      <a:pt x="41" y="42"/>
                      <a:pt x="43" y="41"/>
                    </a:cubicBezTo>
                    <a:cubicBezTo>
                      <a:pt x="45" y="41"/>
                      <a:pt x="47" y="45"/>
                      <a:pt x="49" y="45"/>
                    </a:cubicBezTo>
                    <a:cubicBezTo>
                      <a:pt x="51" y="45"/>
                      <a:pt x="54" y="46"/>
                      <a:pt x="55" y="49"/>
                    </a:cubicBezTo>
                    <a:cubicBezTo>
                      <a:pt x="56" y="52"/>
                      <a:pt x="59" y="56"/>
                      <a:pt x="60" y="57"/>
                    </a:cubicBezTo>
                    <a:cubicBezTo>
                      <a:pt x="61" y="59"/>
                      <a:pt x="62" y="62"/>
                      <a:pt x="62" y="63"/>
                    </a:cubicBezTo>
                    <a:cubicBezTo>
                      <a:pt x="62" y="64"/>
                      <a:pt x="59" y="62"/>
                      <a:pt x="56" y="62"/>
                    </a:cubicBezTo>
                    <a:cubicBezTo>
                      <a:pt x="53" y="61"/>
                      <a:pt x="53" y="64"/>
                      <a:pt x="53" y="65"/>
                    </a:cubicBezTo>
                    <a:cubicBezTo>
                      <a:pt x="53" y="67"/>
                      <a:pt x="49" y="72"/>
                      <a:pt x="48" y="73"/>
                    </a:cubicBezTo>
                    <a:cubicBezTo>
                      <a:pt x="48" y="74"/>
                      <a:pt x="50" y="74"/>
                      <a:pt x="51" y="74"/>
                    </a:cubicBezTo>
                    <a:cubicBezTo>
                      <a:pt x="52" y="75"/>
                      <a:pt x="55" y="73"/>
                      <a:pt x="56" y="73"/>
                    </a:cubicBezTo>
                    <a:cubicBezTo>
                      <a:pt x="56" y="73"/>
                      <a:pt x="58" y="74"/>
                      <a:pt x="59" y="75"/>
                    </a:cubicBezTo>
                    <a:cubicBezTo>
                      <a:pt x="59" y="71"/>
                      <a:pt x="59" y="71"/>
                      <a:pt x="63" y="69"/>
                    </a:cubicBezTo>
                    <a:cubicBezTo>
                      <a:pt x="66" y="66"/>
                      <a:pt x="66" y="61"/>
                      <a:pt x="70" y="60"/>
                    </a:cubicBezTo>
                    <a:cubicBezTo>
                      <a:pt x="73" y="60"/>
                      <a:pt x="74" y="58"/>
                      <a:pt x="78" y="59"/>
                    </a:cubicBezTo>
                    <a:cubicBezTo>
                      <a:pt x="83" y="60"/>
                      <a:pt x="76" y="63"/>
                      <a:pt x="79" y="64"/>
                    </a:cubicBezTo>
                    <a:cubicBezTo>
                      <a:pt x="82" y="66"/>
                      <a:pt x="92" y="64"/>
                      <a:pt x="92" y="66"/>
                    </a:cubicBezTo>
                    <a:cubicBezTo>
                      <a:pt x="93" y="69"/>
                      <a:pt x="81" y="71"/>
                      <a:pt x="82" y="72"/>
                    </a:cubicBezTo>
                    <a:cubicBezTo>
                      <a:pt x="82" y="73"/>
                      <a:pt x="88" y="75"/>
                      <a:pt x="90" y="76"/>
                    </a:cubicBezTo>
                    <a:cubicBezTo>
                      <a:pt x="92" y="77"/>
                      <a:pt x="89" y="81"/>
                      <a:pt x="90" y="82"/>
                    </a:cubicBezTo>
                    <a:cubicBezTo>
                      <a:pt x="91" y="83"/>
                      <a:pt x="94" y="82"/>
                      <a:pt x="97" y="81"/>
                    </a:cubicBezTo>
                    <a:cubicBezTo>
                      <a:pt x="99" y="79"/>
                      <a:pt x="101" y="79"/>
                      <a:pt x="104" y="77"/>
                    </a:cubicBezTo>
                    <a:cubicBezTo>
                      <a:pt x="108" y="75"/>
                      <a:pt x="114" y="77"/>
                      <a:pt x="115" y="76"/>
                    </a:cubicBezTo>
                    <a:cubicBezTo>
                      <a:pt x="116" y="74"/>
                      <a:pt x="113" y="73"/>
                      <a:pt x="107" y="74"/>
                    </a:cubicBezTo>
                    <a:cubicBezTo>
                      <a:pt x="101" y="74"/>
                      <a:pt x="100" y="68"/>
                      <a:pt x="100" y="67"/>
                    </a:cubicBezTo>
                    <a:cubicBezTo>
                      <a:pt x="100" y="66"/>
                      <a:pt x="107" y="61"/>
                      <a:pt x="111" y="61"/>
                    </a:cubicBezTo>
                    <a:cubicBezTo>
                      <a:pt x="114" y="60"/>
                      <a:pt x="117" y="59"/>
                      <a:pt x="121" y="57"/>
                    </a:cubicBezTo>
                    <a:cubicBezTo>
                      <a:pt x="122" y="57"/>
                      <a:pt x="125" y="56"/>
                      <a:pt x="127" y="56"/>
                    </a:cubicBezTo>
                    <a:cubicBezTo>
                      <a:pt x="127" y="54"/>
                      <a:pt x="126" y="52"/>
                      <a:pt x="127" y="5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8" name="Freeform 84">
                <a:extLst>
                  <a:ext uri="{FF2B5EF4-FFF2-40B4-BE49-F238E27FC236}">
                    <a16:creationId xmlns:a16="http://schemas.microsoft.com/office/drawing/2014/main" id="{E667E14A-C710-4F2F-9AC0-D429687476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7576" y="2906592"/>
                <a:ext cx="174407" cy="126727"/>
              </a:xfrm>
              <a:custGeom>
                <a:avLst/>
                <a:gdLst>
                  <a:gd name="T0" fmla="*/ 71 w 76"/>
                  <a:gd name="T1" fmla="*/ 27 h 55"/>
                  <a:gd name="T2" fmla="*/ 66 w 76"/>
                  <a:gd name="T3" fmla="*/ 23 h 55"/>
                  <a:gd name="T4" fmla="*/ 62 w 76"/>
                  <a:gd name="T5" fmla="*/ 18 h 55"/>
                  <a:gd name="T6" fmla="*/ 62 w 76"/>
                  <a:gd name="T7" fmla="*/ 12 h 55"/>
                  <a:gd name="T8" fmla="*/ 61 w 76"/>
                  <a:gd name="T9" fmla="*/ 6 h 55"/>
                  <a:gd name="T10" fmla="*/ 53 w 76"/>
                  <a:gd name="T11" fmla="*/ 4 h 55"/>
                  <a:gd name="T12" fmla="*/ 49 w 76"/>
                  <a:gd name="T13" fmla="*/ 4 h 55"/>
                  <a:gd name="T14" fmla="*/ 45 w 76"/>
                  <a:gd name="T15" fmla="*/ 2 h 55"/>
                  <a:gd name="T16" fmla="*/ 41 w 76"/>
                  <a:gd name="T17" fmla="*/ 1 h 55"/>
                  <a:gd name="T18" fmla="*/ 40 w 76"/>
                  <a:gd name="T19" fmla="*/ 0 h 55"/>
                  <a:gd name="T20" fmla="*/ 38 w 76"/>
                  <a:gd name="T21" fmla="*/ 1 h 55"/>
                  <a:gd name="T22" fmla="*/ 35 w 76"/>
                  <a:gd name="T23" fmla="*/ 4 h 55"/>
                  <a:gd name="T24" fmla="*/ 29 w 76"/>
                  <a:gd name="T25" fmla="*/ 5 h 55"/>
                  <a:gd name="T26" fmla="*/ 27 w 76"/>
                  <a:gd name="T27" fmla="*/ 9 h 55"/>
                  <a:gd name="T28" fmla="*/ 26 w 76"/>
                  <a:gd name="T29" fmla="*/ 12 h 55"/>
                  <a:gd name="T30" fmla="*/ 23 w 76"/>
                  <a:gd name="T31" fmla="*/ 15 h 55"/>
                  <a:gd name="T32" fmla="*/ 19 w 76"/>
                  <a:gd name="T33" fmla="*/ 18 h 55"/>
                  <a:gd name="T34" fmla="*/ 18 w 76"/>
                  <a:gd name="T35" fmla="*/ 22 h 55"/>
                  <a:gd name="T36" fmla="*/ 13 w 76"/>
                  <a:gd name="T37" fmla="*/ 24 h 55"/>
                  <a:gd name="T38" fmla="*/ 9 w 76"/>
                  <a:gd name="T39" fmla="*/ 26 h 55"/>
                  <a:gd name="T40" fmla="*/ 3 w 76"/>
                  <a:gd name="T41" fmla="*/ 25 h 55"/>
                  <a:gd name="T42" fmla="*/ 3 w 76"/>
                  <a:gd name="T43" fmla="*/ 26 h 55"/>
                  <a:gd name="T44" fmla="*/ 4 w 76"/>
                  <a:gd name="T45" fmla="*/ 32 h 55"/>
                  <a:gd name="T46" fmla="*/ 5 w 76"/>
                  <a:gd name="T47" fmla="*/ 39 h 55"/>
                  <a:gd name="T48" fmla="*/ 0 w 76"/>
                  <a:gd name="T49" fmla="*/ 43 h 55"/>
                  <a:gd name="T50" fmla="*/ 3 w 76"/>
                  <a:gd name="T51" fmla="*/ 47 h 55"/>
                  <a:gd name="T52" fmla="*/ 3 w 76"/>
                  <a:gd name="T53" fmla="*/ 52 h 55"/>
                  <a:gd name="T54" fmla="*/ 7 w 76"/>
                  <a:gd name="T55" fmla="*/ 51 h 55"/>
                  <a:gd name="T56" fmla="*/ 12 w 76"/>
                  <a:gd name="T57" fmla="*/ 48 h 55"/>
                  <a:gd name="T58" fmla="*/ 26 w 76"/>
                  <a:gd name="T59" fmla="*/ 49 h 55"/>
                  <a:gd name="T60" fmla="*/ 33 w 76"/>
                  <a:gd name="T61" fmla="*/ 50 h 55"/>
                  <a:gd name="T62" fmla="*/ 39 w 76"/>
                  <a:gd name="T63" fmla="*/ 51 h 55"/>
                  <a:gd name="T64" fmla="*/ 44 w 76"/>
                  <a:gd name="T65" fmla="*/ 52 h 55"/>
                  <a:gd name="T66" fmla="*/ 49 w 76"/>
                  <a:gd name="T67" fmla="*/ 53 h 55"/>
                  <a:gd name="T68" fmla="*/ 57 w 76"/>
                  <a:gd name="T69" fmla="*/ 54 h 55"/>
                  <a:gd name="T70" fmla="*/ 58 w 76"/>
                  <a:gd name="T71" fmla="*/ 51 h 55"/>
                  <a:gd name="T72" fmla="*/ 63 w 76"/>
                  <a:gd name="T73" fmla="*/ 46 h 55"/>
                  <a:gd name="T74" fmla="*/ 68 w 76"/>
                  <a:gd name="T75" fmla="*/ 45 h 55"/>
                  <a:gd name="T76" fmla="*/ 67 w 76"/>
                  <a:gd name="T77" fmla="*/ 42 h 55"/>
                  <a:gd name="T78" fmla="*/ 65 w 76"/>
                  <a:gd name="T79" fmla="*/ 34 h 55"/>
                  <a:gd name="T80" fmla="*/ 71 w 76"/>
                  <a:gd name="T81" fmla="*/ 35 h 55"/>
                  <a:gd name="T82" fmla="*/ 75 w 76"/>
                  <a:gd name="T83" fmla="*/ 31 h 55"/>
                  <a:gd name="T84" fmla="*/ 71 w 76"/>
                  <a:gd name="T85" fmla="*/ 27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76" h="55">
                    <a:moveTo>
                      <a:pt x="71" y="27"/>
                    </a:moveTo>
                    <a:cubicBezTo>
                      <a:pt x="69" y="27"/>
                      <a:pt x="68" y="24"/>
                      <a:pt x="66" y="23"/>
                    </a:cubicBezTo>
                    <a:cubicBezTo>
                      <a:pt x="64" y="22"/>
                      <a:pt x="64" y="19"/>
                      <a:pt x="62" y="18"/>
                    </a:cubicBezTo>
                    <a:cubicBezTo>
                      <a:pt x="60" y="16"/>
                      <a:pt x="62" y="14"/>
                      <a:pt x="62" y="12"/>
                    </a:cubicBezTo>
                    <a:cubicBezTo>
                      <a:pt x="61" y="10"/>
                      <a:pt x="62" y="7"/>
                      <a:pt x="61" y="6"/>
                    </a:cubicBezTo>
                    <a:cubicBezTo>
                      <a:pt x="60" y="6"/>
                      <a:pt x="55" y="3"/>
                      <a:pt x="53" y="4"/>
                    </a:cubicBezTo>
                    <a:cubicBezTo>
                      <a:pt x="51" y="5"/>
                      <a:pt x="50" y="6"/>
                      <a:pt x="49" y="4"/>
                    </a:cubicBezTo>
                    <a:cubicBezTo>
                      <a:pt x="48" y="3"/>
                      <a:pt x="47" y="2"/>
                      <a:pt x="45" y="2"/>
                    </a:cubicBezTo>
                    <a:cubicBezTo>
                      <a:pt x="43" y="3"/>
                      <a:pt x="42" y="2"/>
                      <a:pt x="41" y="1"/>
                    </a:cubicBezTo>
                    <a:cubicBezTo>
                      <a:pt x="40" y="1"/>
                      <a:pt x="40" y="1"/>
                      <a:pt x="40" y="0"/>
                    </a:cubicBezTo>
                    <a:cubicBezTo>
                      <a:pt x="39" y="1"/>
                      <a:pt x="38" y="1"/>
                      <a:pt x="38" y="1"/>
                    </a:cubicBezTo>
                    <a:cubicBezTo>
                      <a:pt x="37" y="2"/>
                      <a:pt x="36" y="4"/>
                      <a:pt x="35" y="4"/>
                    </a:cubicBezTo>
                    <a:cubicBezTo>
                      <a:pt x="33" y="4"/>
                      <a:pt x="31" y="4"/>
                      <a:pt x="29" y="5"/>
                    </a:cubicBezTo>
                    <a:cubicBezTo>
                      <a:pt x="27" y="6"/>
                      <a:pt x="27" y="8"/>
                      <a:pt x="27" y="9"/>
                    </a:cubicBezTo>
                    <a:cubicBezTo>
                      <a:pt x="27" y="10"/>
                      <a:pt x="28" y="12"/>
                      <a:pt x="26" y="12"/>
                    </a:cubicBezTo>
                    <a:cubicBezTo>
                      <a:pt x="25" y="12"/>
                      <a:pt x="25" y="14"/>
                      <a:pt x="23" y="15"/>
                    </a:cubicBezTo>
                    <a:cubicBezTo>
                      <a:pt x="22" y="15"/>
                      <a:pt x="20" y="17"/>
                      <a:pt x="19" y="18"/>
                    </a:cubicBezTo>
                    <a:cubicBezTo>
                      <a:pt x="19" y="20"/>
                      <a:pt x="19" y="22"/>
                      <a:pt x="18" y="22"/>
                    </a:cubicBezTo>
                    <a:cubicBezTo>
                      <a:pt x="17" y="22"/>
                      <a:pt x="14" y="23"/>
                      <a:pt x="13" y="24"/>
                    </a:cubicBezTo>
                    <a:cubicBezTo>
                      <a:pt x="12" y="25"/>
                      <a:pt x="11" y="26"/>
                      <a:pt x="9" y="26"/>
                    </a:cubicBezTo>
                    <a:cubicBezTo>
                      <a:pt x="8" y="25"/>
                      <a:pt x="5" y="25"/>
                      <a:pt x="3" y="25"/>
                    </a:cubicBezTo>
                    <a:cubicBezTo>
                      <a:pt x="3" y="26"/>
                      <a:pt x="3" y="26"/>
                      <a:pt x="3" y="26"/>
                    </a:cubicBezTo>
                    <a:cubicBezTo>
                      <a:pt x="2" y="29"/>
                      <a:pt x="3" y="31"/>
                      <a:pt x="4" y="32"/>
                    </a:cubicBezTo>
                    <a:cubicBezTo>
                      <a:pt x="6" y="33"/>
                      <a:pt x="6" y="38"/>
                      <a:pt x="5" y="39"/>
                    </a:cubicBezTo>
                    <a:cubicBezTo>
                      <a:pt x="3" y="40"/>
                      <a:pt x="0" y="42"/>
                      <a:pt x="0" y="43"/>
                    </a:cubicBezTo>
                    <a:cubicBezTo>
                      <a:pt x="0" y="44"/>
                      <a:pt x="3" y="45"/>
                      <a:pt x="3" y="47"/>
                    </a:cubicBezTo>
                    <a:cubicBezTo>
                      <a:pt x="2" y="48"/>
                      <a:pt x="2" y="50"/>
                      <a:pt x="3" y="52"/>
                    </a:cubicBezTo>
                    <a:cubicBezTo>
                      <a:pt x="4" y="52"/>
                      <a:pt x="6" y="52"/>
                      <a:pt x="7" y="51"/>
                    </a:cubicBezTo>
                    <a:cubicBezTo>
                      <a:pt x="8" y="49"/>
                      <a:pt x="9" y="48"/>
                      <a:pt x="12" y="48"/>
                    </a:cubicBezTo>
                    <a:cubicBezTo>
                      <a:pt x="15" y="48"/>
                      <a:pt x="24" y="48"/>
                      <a:pt x="26" y="49"/>
                    </a:cubicBezTo>
                    <a:cubicBezTo>
                      <a:pt x="27" y="51"/>
                      <a:pt x="31" y="49"/>
                      <a:pt x="33" y="50"/>
                    </a:cubicBezTo>
                    <a:cubicBezTo>
                      <a:pt x="35" y="51"/>
                      <a:pt x="38" y="52"/>
                      <a:pt x="39" y="51"/>
                    </a:cubicBezTo>
                    <a:cubicBezTo>
                      <a:pt x="39" y="50"/>
                      <a:pt x="42" y="53"/>
                      <a:pt x="44" y="52"/>
                    </a:cubicBezTo>
                    <a:cubicBezTo>
                      <a:pt x="46" y="50"/>
                      <a:pt x="48" y="54"/>
                      <a:pt x="49" y="53"/>
                    </a:cubicBezTo>
                    <a:cubicBezTo>
                      <a:pt x="50" y="53"/>
                      <a:pt x="55" y="53"/>
                      <a:pt x="57" y="54"/>
                    </a:cubicBezTo>
                    <a:cubicBezTo>
                      <a:pt x="58" y="55"/>
                      <a:pt x="58" y="53"/>
                      <a:pt x="58" y="51"/>
                    </a:cubicBezTo>
                    <a:cubicBezTo>
                      <a:pt x="58" y="50"/>
                      <a:pt x="63" y="46"/>
                      <a:pt x="63" y="46"/>
                    </a:cubicBezTo>
                    <a:cubicBezTo>
                      <a:pt x="63" y="46"/>
                      <a:pt x="66" y="46"/>
                      <a:pt x="68" y="45"/>
                    </a:cubicBezTo>
                    <a:cubicBezTo>
                      <a:pt x="67" y="44"/>
                      <a:pt x="67" y="43"/>
                      <a:pt x="67" y="42"/>
                    </a:cubicBezTo>
                    <a:cubicBezTo>
                      <a:pt x="66" y="38"/>
                      <a:pt x="64" y="35"/>
                      <a:pt x="65" y="34"/>
                    </a:cubicBezTo>
                    <a:cubicBezTo>
                      <a:pt x="67" y="33"/>
                      <a:pt x="70" y="36"/>
                      <a:pt x="71" y="35"/>
                    </a:cubicBezTo>
                    <a:cubicBezTo>
                      <a:pt x="73" y="34"/>
                      <a:pt x="76" y="33"/>
                      <a:pt x="75" y="31"/>
                    </a:cubicBezTo>
                    <a:cubicBezTo>
                      <a:pt x="75" y="30"/>
                      <a:pt x="72" y="27"/>
                      <a:pt x="71" y="2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9" name="Freeform 85">
                <a:extLst>
                  <a:ext uri="{FF2B5EF4-FFF2-40B4-BE49-F238E27FC236}">
                    <a16:creationId xmlns:a16="http://schemas.microsoft.com/office/drawing/2014/main" id="{57F43134-4FA4-4AD5-8A61-A5EF810B4C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3661" y="2857658"/>
                <a:ext cx="135510" cy="63991"/>
              </a:xfrm>
              <a:custGeom>
                <a:avLst/>
                <a:gdLst>
                  <a:gd name="T0" fmla="*/ 20 w 59"/>
                  <a:gd name="T1" fmla="*/ 19 h 28"/>
                  <a:gd name="T2" fmla="*/ 30 w 59"/>
                  <a:gd name="T3" fmla="*/ 19 h 28"/>
                  <a:gd name="T4" fmla="*/ 35 w 59"/>
                  <a:gd name="T5" fmla="*/ 21 h 28"/>
                  <a:gd name="T6" fmla="*/ 43 w 59"/>
                  <a:gd name="T7" fmla="*/ 25 h 28"/>
                  <a:gd name="T8" fmla="*/ 47 w 59"/>
                  <a:gd name="T9" fmla="*/ 28 h 28"/>
                  <a:gd name="T10" fmla="*/ 48 w 59"/>
                  <a:gd name="T11" fmla="*/ 26 h 28"/>
                  <a:gd name="T12" fmla="*/ 54 w 59"/>
                  <a:gd name="T13" fmla="*/ 25 h 28"/>
                  <a:gd name="T14" fmla="*/ 57 w 59"/>
                  <a:gd name="T15" fmla="*/ 22 h 28"/>
                  <a:gd name="T16" fmla="*/ 59 w 59"/>
                  <a:gd name="T17" fmla="*/ 21 h 28"/>
                  <a:gd name="T18" fmla="*/ 58 w 59"/>
                  <a:gd name="T19" fmla="*/ 17 h 28"/>
                  <a:gd name="T20" fmla="*/ 55 w 59"/>
                  <a:gd name="T21" fmla="*/ 12 h 28"/>
                  <a:gd name="T22" fmla="*/ 54 w 59"/>
                  <a:gd name="T23" fmla="*/ 7 h 28"/>
                  <a:gd name="T24" fmla="*/ 53 w 59"/>
                  <a:gd name="T25" fmla="*/ 5 h 28"/>
                  <a:gd name="T26" fmla="*/ 45 w 59"/>
                  <a:gd name="T27" fmla="*/ 5 h 28"/>
                  <a:gd name="T28" fmla="*/ 37 w 59"/>
                  <a:gd name="T29" fmla="*/ 0 h 28"/>
                  <a:gd name="T30" fmla="*/ 28 w 59"/>
                  <a:gd name="T31" fmla="*/ 0 h 28"/>
                  <a:gd name="T32" fmla="*/ 28 w 59"/>
                  <a:gd name="T33" fmla="*/ 8 h 28"/>
                  <a:gd name="T34" fmla="*/ 21 w 59"/>
                  <a:gd name="T35" fmla="*/ 11 h 28"/>
                  <a:gd name="T36" fmla="*/ 14 w 59"/>
                  <a:gd name="T37" fmla="*/ 3 h 28"/>
                  <a:gd name="T38" fmla="*/ 6 w 59"/>
                  <a:gd name="T39" fmla="*/ 7 h 28"/>
                  <a:gd name="T40" fmla="*/ 3 w 59"/>
                  <a:gd name="T41" fmla="*/ 13 h 28"/>
                  <a:gd name="T42" fmla="*/ 2 w 59"/>
                  <a:gd name="T43" fmla="*/ 21 h 28"/>
                  <a:gd name="T44" fmla="*/ 2 w 59"/>
                  <a:gd name="T45" fmla="*/ 21 h 28"/>
                  <a:gd name="T46" fmla="*/ 8 w 59"/>
                  <a:gd name="T47" fmla="*/ 19 h 28"/>
                  <a:gd name="T48" fmla="*/ 20 w 59"/>
                  <a:gd name="T49" fmla="*/ 19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9" h="28">
                    <a:moveTo>
                      <a:pt x="20" y="19"/>
                    </a:moveTo>
                    <a:cubicBezTo>
                      <a:pt x="22" y="19"/>
                      <a:pt x="27" y="20"/>
                      <a:pt x="30" y="19"/>
                    </a:cubicBezTo>
                    <a:cubicBezTo>
                      <a:pt x="33" y="18"/>
                      <a:pt x="33" y="21"/>
                      <a:pt x="35" y="21"/>
                    </a:cubicBezTo>
                    <a:cubicBezTo>
                      <a:pt x="37" y="21"/>
                      <a:pt x="40" y="23"/>
                      <a:pt x="43" y="25"/>
                    </a:cubicBezTo>
                    <a:cubicBezTo>
                      <a:pt x="44" y="26"/>
                      <a:pt x="45" y="27"/>
                      <a:pt x="47" y="28"/>
                    </a:cubicBezTo>
                    <a:cubicBezTo>
                      <a:pt x="47" y="27"/>
                      <a:pt x="47" y="27"/>
                      <a:pt x="48" y="26"/>
                    </a:cubicBezTo>
                    <a:cubicBezTo>
                      <a:pt x="50" y="25"/>
                      <a:pt x="52" y="25"/>
                      <a:pt x="54" y="25"/>
                    </a:cubicBezTo>
                    <a:cubicBezTo>
                      <a:pt x="55" y="25"/>
                      <a:pt x="56" y="23"/>
                      <a:pt x="57" y="22"/>
                    </a:cubicBezTo>
                    <a:cubicBezTo>
                      <a:pt x="57" y="22"/>
                      <a:pt x="58" y="22"/>
                      <a:pt x="59" y="21"/>
                    </a:cubicBezTo>
                    <a:cubicBezTo>
                      <a:pt x="59" y="20"/>
                      <a:pt x="59" y="18"/>
                      <a:pt x="58" y="17"/>
                    </a:cubicBezTo>
                    <a:cubicBezTo>
                      <a:pt x="56" y="15"/>
                      <a:pt x="54" y="13"/>
                      <a:pt x="55" y="12"/>
                    </a:cubicBezTo>
                    <a:cubicBezTo>
                      <a:pt x="56" y="11"/>
                      <a:pt x="56" y="9"/>
                      <a:pt x="54" y="7"/>
                    </a:cubicBezTo>
                    <a:cubicBezTo>
                      <a:pt x="54" y="7"/>
                      <a:pt x="53" y="6"/>
                      <a:pt x="53" y="5"/>
                    </a:cubicBezTo>
                    <a:cubicBezTo>
                      <a:pt x="50" y="5"/>
                      <a:pt x="46" y="5"/>
                      <a:pt x="45" y="5"/>
                    </a:cubicBezTo>
                    <a:cubicBezTo>
                      <a:pt x="44" y="5"/>
                      <a:pt x="38" y="1"/>
                      <a:pt x="37" y="0"/>
                    </a:cubicBezTo>
                    <a:cubicBezTo>
                      <a:pt x="36" y="0"/>
                      <a:pt x="32" y="0"/>
                      <a:pt x="28" y="0"/>
                    </a:cubicBezTo>
                    <a:cubicBezTo>
                      <a:pt x="26" y="3"/>
                      <a:pt x="28" y="4"/>
                      <a:pt x="28" y="8"/>
                    </a:cubicBezTo>
                    <a:cubicBezTo>
                      <a:pt x="27" y="12"/>
                      <a:pt x="23" y="11"/>
                      <a:pt x="21" y="11"/>
                    </a:cubicBezTo>
                    <a:cubicBezTo>
                      <a:pt x="19" y="11"/>
                      <a:pt x="15" y="5"/>
                      <a:pt x="14" y="3"/>
                    </a:cubicBezTo>
                    <a:cubicBezTo>
                      <a:pt x="13" y="1"/>
                      <a:pt x="9" y="5"/>
                      <a:pt x="6" y="7"/>
                    </a:cubicBezTo>
                    <a:cubicBezTo>
                      <a:pt x="3" y="8"/>
                      <a:pt x="5" y="11"/>
                      <a:pt x="3" y="13"/>
                    </a:cubicBezTo>
                    <a:cubicBezTo>
                      <a:pt x="1" y="14"/>
                      <a:pt x="0" y="17"/>
                      <a:pt x="2" y="21"/>
                    </a:cubicBezTo>
                    <a:cubicBezTo>
                      <a:pt x="2" y="21"/>
                      <a:pt x="2" y="21"/>
                      <a:pt x="2" y="21"/>
                    </a:cubicBezTo>
                    <a:cubicBezTo>
                      <a:pt x="4" y="21"/>
                      <a:pt x="7" y="20"/>
                      <a:pt x="8" y="19"/>
                    </a:cubicBezTo>
                    <a:cubicBezTo>
                      <a:pt x="11" y="17"/>
                      <a:pt x="18" y="19"/>
                      <a:pt x="20" y="1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0" name="Freeform 86">
                <a:extLst>
                  <a:ext uri="{FF2B5EF4-FFF2-40B4-BE49-F238E27FC236}">
                    <a16:creationId xmlns:a16="http://schemas.microsoft.com/office/drawing/2014/main" id="{E4866CED-8D58-4C97-8E46-D614531F88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3661" y="2896554"/>
                <a:ext cx="107906" cy="69010"/>
              </a:xfrm>
              <a:custGeom>
                <a:avLst/>
                <a:gdLst>
                  <a:gd name="T0" fmla="*/ 7 w 47"/>
                  <a:gd name="T1" fmla="*/ 15 h 30"/>
                  <a:gd name="T2" fmla="*/ 11 w 47"/>
                  <a:gd name="T3" fmla="*/ 17 h 30"/>
                  <a:gd name="T4" fmla="*/ 16 w 47"/>
                  <a:gd name="T5" fmla="*/ 20 h 30"/>
                  <a:gd name="T6" fmla="*/ 16 w 47"/>
                  <a:gd name="T7" fmla="*/ 26 h 30"/>
                  <a:gd name="T8" fmla="*/ 22 w 47"/>
                  <a:gd name="T9" fmla="*/ 29 h 30"/>
                  <a:gd name="T10" fmla="*/ 28 w 47"/>
                  <a:gd name="T11" fmla="*/ 30 h 30"/>
                  <a:gd name="T12" fmla="*/ 32 w 47"/>
                  <a:gd name="T13" fmla="*/ 28 h 30"/>
                  <a:gd name="T14" fmla="*/ 37 w 47"/>
                  <a:gd name="T15" fmla="*/ 26 h 30"/>
                  <a:gd name="T16" fmla="*/ 38 w 47"/>
                  <a:gd name="T17" fmla="*/ 22 h 30"/>
                  <a:gd name="T18" fmla="*/ 42 w 47"/>
                  <a:gd name="T19" fmla="*/ 19 h 30"/>
                  <a:gd name="T20" fmla="*/ 45 w 47"/>
                  <a:gd name="T21" fmla="*/ 16 h 30"/>
                  <a:gd name="T22" fmla="*/ 46 w 47"/>
                  <a:gd name="T23" fmla="*/ 13 h 30"/>
                  <a:gd name="T24" fmla="*/ 47 w 47"/>
                  <a:gd name="T25" fmla="*/ 11 h 30"/>
                  <a:gd name="T26" fmla="*/ 43 w 47"/>
                  <a:gd name="T27" fmla="*/ 8 h 30"/>
                  <a:gd name="T28" fmla="*/ 35 w 47"/>
                  <a:gd name="T29" fmla="*/ 4 h 30"/>
                  <a:gd name="T30" fmla="*/ 30 w 47"/>
                  <a:gd name="T31" fmla="*/ 2 h 30"/>
                  <a:gd name="T32" fmla="*/ 20 w 47"/>
                  <a:gd name="T33" fmla="*/ 2 h 30"/>
                  <a:gd name="T34" fmla="*/ 8 w 47"/>
                  <a:gd name="T35" fmla="*/ 2 h 30"/>
                  <a:gd name="T36" fmla="*/ 2 w 47"/>
                  <a:gd name="T37" fmla="*/ 4 h 30"/>
                  <a:gd name="T38" fmla="*/ 1 w 47"/>
                  <a:gd name="T39" fmla="*/ 13 h 30"/>
                  <a:gd name="T40" fmla="*/ 2 w 47"/>
                  <a:gd name="T41" fmla="*/ 15 h 30"/>
                  <a:gd name="T42" fmla="*/ 7 w 47"/>
                  <a:gd name="T43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7" h="30">
                    <a:moveTo>
                      <a:pt x="7" y="15"/>
                    </a:moveTo>
                    <a:cubicBezTo>
                      <a:pt x="7" y="17"/>
                      <a:pt x="10" y="18"/>
                      <a:pt x="11" y="17"/>
                    </a:cubicBezTo>
                    <a:cubicBezTo>
                      <a:pt x="12" y="17"/>
                      <a:pt x="16" y="18"/>
                      <a:pt x="16" y="20"/>
                    </a:cubicBezTo>
                    <a:cubicBezTo>
                      <a:pt x="16" y="21"/>
                      <a:pt x="15" y="26"/>
                      <a:pt x="16" y="26"/>
                    </a:cubicBezTo>
                    <a:cubicBezTo>
                      <a:pt x="17" y="26"/>
                      <a:pt x="22" y="27"/>
                      <a:pt x="22" y="29"/>
                    </a:cubicBezTo>
                    <a:cubicBezTo>
                      <a:pt x="24" y="29"/>
                      <a:pt x="27" y="29"/>
                      <a:pt x="28" y="30"/>
                    </a:cubicBezTo>
                    <a:cubicBezTo>
                      <a:pt x="30" y="30"/>
                      <a:pt x="31" y="29"/>
                      <a:pt x="32" y="28"/>
                    </a:cubicBezTo>
                    <a:cubicBezTo>
                      <a:pt x="33" y="27"/>
                      <a:pt x="36" y="26"/>
                      <a:pt x="37" y="26"/>
                    </a:cubicBezTo>
                    <a:cubicBezTo>
                      <a:pt x="38" y="26"/>
                      <a:pt x="38" y="24"/>
                      <a:pt x="38" y="22"/>
                    </a:cubicBezTo>
                    <a:cubicBezTo>
                      <a:pt x="39" y="21"/>
                      <a:pt x="41" y="19"/>
                      <a:pt x="42" y="19"/>
                    </a:cubicBezTo>
                    <a:cubicBezTo>
                      <a:pt x="44" y="18"/>
                      <a:pt x="44" y="16"/>
                      <a:pt x="45" y="16"/>
                    </a:cubicBezTo>
                    <a:cubicBezTo>
                      <a:pt x="47" y="16"/>
                      <a:pt x="46" y="14"/>
                      <a:pt x="46" y="13"/>
                    </a:cubicBezTo>
                    <a:cubicBezTo>
                      <a:pt x="46" y="13"/>
                      <a:pt x="46" y="12"/>
                      <a:pt x="47" y="11"/>
                    </a:cubicBezTo>
                    <a:cubicBezTo>
                      <a:pt x="45" y="10"/>
                      <a:pt x="44" y="9"/>
                      <a:pt x="43" y="8"/>
                    </a:cubicBezTo>
                    <a:cubicBezTo>
                      <a:pt x="40" y="6"/>
                      <a:pt x="37" y="4"/>
                      <a:pt x="35" y="4"/>
                    </a:cubicBezTo>
                    <a:cubicBezTo>
                      <a:pt x="33" y="4"/>
                      <a:pt x="33" y="1"/>
                      <a:pt x="30" y="2"/>
                    </a:cubicBezTo>
                    <a:cubicBezTo>
                      <a:pt x="27" y="3"/>
                      <a:pt x="22" y="2"/>
                      <a:pt x="20" y="2"/>
                    </a:cubicBezTo>
                    <a:cubicBezTo>
                      <a:pt x="18" y="2"/>
                      <a:pt x="11" y="0"/>
                      <a:pt x="8" y="2"/>
                    </a:cubicBezTo>
                    <a:cubicBezTo>
                      <a:pt x="7" y="3"/>
                      <a:pt x="4" y="4"/>
                      <a:pt x="2" y="4"/>
                    </a:cubicBezTo>
                    <a:cubicBezTo>
                      <a:pt x="4" y="7"/>
                      <a:pt x="3" y="11"/>
                      <a:pt x="1" y="13"/>
                    </a:cubicBezTo>
                    <a:cubicBezTo>
                      <a:pt x="0" y="14"/>
                      <a:pt x="1" y="14"/>
                      <a:pt x="2" y="15"/>
                    </a:cubicBezTo>
                    <a:cubicBezTo>
                      <a:pt x="4" y="15"/>
                      <a:pt x="6" y="14"/>
                      <a:pt x="7" y="1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1" name="Freeform 87">
                <a:extLst>
                  <a:ext uri="{FF2B5EF4-FFF2-40B4-BE49-F238E27FC236}">
                    <a16:creationId xmlns:a16="http://schemas.microsoft.com/office/drawing/2014/main" id="{4CABC660-9AF0-4149-B14C-7A53F8D933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7659" y="3119895"/>
                <a:ext cx="84067" cy="46425"/>
              </a:xfrm>
              <a:custGeom>
                <a:avLst/>
                <a:gdLst>
                  <a:gd name="T0" fmla="*/ 32 w 36"/>
                  <a:gd name="T1" fmla="*/ 8 h 20"/>
                  <a:gd name="T2" fmla="*/ 28 w 36"/>
                  <a:gd name="T3" fmla="*/ 6 h 20"/>
                  <a:gd name="T4" fmla="*/ 28 w 36"/>
                  <a:gd name="T5" fmla="*/ 3 h 20"/>
                  <a:gd name="T6" fmla="*/ 24 w 36"/>
                  <a:gd name="T7" fmla="*/ 1 h 20"/>
                  <a:gd name="T8" fmla="*/ 18 w 36"/>
                  <a:gd name="T9" fmla="*/ 1 h 20"/>
                  <a:gd name="T10" fmla="*/ 11 w 36"/>
                  <a:gd name="T11" fmla="*/ 1 h 20"/>
                  <a:gd name="T12" fmla="*/ 10 w 36"/>
                  <a:gd name="T13" fmla="*/ 2 h 20"/>
                  <a:gd name="T14" fmla="*/ 6 w 36"/>
                  <a:gd name="T15" fmla="*/ 6 h 20"/>
                  <a:gd name="T16" fmla="*/ 1 w 36"/>
                  <a:gd name="T17" fmla="*/ 12 h 20"/>
                  <a:gd name="T18" fmla="*/ 2 w 36"/>
                  <a:gd name="T19" fmla="*/ 15 h 20"/>
                  <a:gd name="T20" fmla="*/ 6 w 36"/>
                  <a:gd name="T21" fmla="*/ 15 h 20"/>
                  <a:gd name="T22" fmla="*/ 7 w 36"/>
                  <a:gd name="T23" fmla="*/ 19 h 20"/>
                  <a:gd name="T24" fmla="*/ 7 w 36"/>
                  <a:gd name="T25" fmla="*/ 19 h 20"/>
                  <a:gd name="T26" fmla="*/ 14 w 36"/>
                  <a:gd name="T27" fmla="*/ 19 h 20"/>
                  <a:gd name="T28" fmla="*/ 18 w 36"/>
                  <a:gd name="T29" fmla="*/ 13 h 20"/>
                  <a:gd name="T30" fmla="*/ 22 w 36"/>
                  <a:gd name="T31" fmla="*/ 19 h 20"/>
                  <a:gd name="T32" fmla="*/ 25 w 36"/>
                  <a:gd name="T33" fmla="*/ 16 h 20"/>
                  <a:gd name="T34" fmla="*/ 27 w 36"/>
                  <a:gd name="T35" fmla="*/ 14 h 20"/>
                  <a:gd name="T36" fmla="*/ 31 w 36"/>
                  <a:gd name="T37" fmla="*/ 13 h 20"/>
                  <a:gd name="T38" fmla="*/ 34 w 36"/>
                  <a:gd name="T39" fmla="*/ 12 h 20"/>
                  <a:gd name="T40" fmla="*/ 35 w 36"/>
                  <a:gd name="T41" fmla="*/ 10 h 20"/>
                  <a:gd name="T42" fmla="*/ 36 w 36"/>
                  <a:gd name="T43" fmla="*/ 9 h 20"/>
                  <a:gd name="T44" fmla="*/ 32 w 36"/>
                  <a:gd name="T45" fmla="*/ 8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6" h="20">
                    <a:moveTo>
                      <a:pt x="32" y="8"/>
                    </a:moveTo>
                    <a:cubicBezTo>
                      <a:pt x="31" y="9"/>
                      <a:pt x="28" y="7"/>
                      <a:pt x="28" y="6"/>
                    </a:cubicBezTo>
                    <a:cubicBezTo>
                      <a:pt x="28" y="6"/>
                      <a:pt x="28" y="4"/>
                      <a:pt x="28" y="3"/>
                    </a:cubicBezTo>
                    <a:cubicBezTo>
                      <a:pt x="27" y="2"/>
                      <a:pt x="25" y="1"/>
                      <a:pt x="24" y="1"/>
                    </a:cubicBezTo>
                    <a:cubicBezTo>
                      <a:pt x="21" y="0"/>
                      <a:pt x="20" y="0"/>
                      <a:pt x="18" y="1"/>
                    </a:cubicBezTo>
                    <a:cubicBezTo>
                      <a:pt x="17" y="2"/>
                      <a:pt x="14" y="1"/>
                      <a:pt x="11" y="1"/>
                    </a:cubicBezTo>
                    <a:cubicBezTo>
                      <a:pt x="11" y="2"/>
                      <a:pt x="11" y="2"/>
                      <a:pt x="10" y="2"/>
                    </a:cubicBezTo>
                    <a:cubicBezTo>
                      <a:pt x="9" y="2"/>
                      <a:pt x="6" y="4"/>
                      <a:pt x="6" y="6"/>
                    </a:cubicBezTo>
                    <a:cubicBezTo>
                      <a:pt x="6" y="8"/>
                      <a:pt x="2" y="9"/>
                      <a:pt x="1" y="12"/>
                    </a:cubicBezTo>
                    <a:cubicBezTo>
                      <a:pt x="0" y="15"/>
                      <a:pt x="0" y="17"/>
                      <a:pt x="2" y="15"/>
                    </a:cubicBezTo>
                    <a:cubicBezTo>
                      <a:pt x="4" y="13"/>
                      <a:pt x="6" y="14"/>
                      <a:pt x="6" y="15"/>
                    </a:cubicBezTo>
                    <a:cubicBezTo>
                      <a:pt x="6" y="17"/>
                      <a:pt x="8" y="17"/>
                      <a:pt x="7" y="19"/>
                    </a:cubicBezTo>
                    <a:cubicBezTo>
                      <a:pt x="7" y="19"/>
                      <a:pt x="7" y="19"/>
                      <a:pt x="7" y="19"/>
                    </a:cubicBezTo>
                    <a:cubicBezTo>
                      <a:pt x="9" y="19"/>
                      <a:pt x="13" y="19"/>
                      <a:pt x="14" y="19"/>
                    </a:cubicBezTo>
                    <a:cubicBezTo>
                      <a:pt x="16" y="19"/>
                      <a:pt x="17" y="14"/>
                      <a:pt x="18" y="13"/>
                    </a:cubicBezTo>
                    <a:cubicBezTo>
                      <a:pt x="19" y="13"/>
                      <a:pt x="21" y="17"/>
                      <a:pt x="22" y="19"/>
                    </a:cubicBezTo>
                    <a:cubicBezTo>
                      <a:pt x="24" y="20"/>
                      <a:pt x="25" y="17"/>
                      <a:pt x="25" y="16"/>
                    </a:cubicBezTo>
                    <a:cubicBezTo>
                      <a:pt x="25" y="14"/>
                      <a:pt x="26" y="14"/>
                      <a:pt x="27" y="14"/>
                    </a:cubicBezTo>
                    <a:cubicBezTo>
                      <a:pt x="29" y="14"/>
                      <a:pt x="31" y="15"/>
                      <a:pt x="31" y="13"/>
                    </a:cubicBezTo>
                    <a:cubicBezTo>
                      <a:pt x="31" y="11"/>
                      <a:pt x="33" y="12"/>
                      <a:pt x="34" y="12"/>
                    </a:cubicBezTo>
                    <a:cubicBezTo>
                      <a:pt x="35" y="12"/>
                      <a:pt x="35" y="10"/>
                      <a:pt x="35" y="10"/>
                    </a:cubicBezTo>
                    <a:cubicBezTo>
                      <a:pt x="36" y="9"/>
                      <a:pt x="36" y="9"/>
                      <a:pt x="36" y="9"/>
                    </a:cubicBezTo>
                    <a:cubicBezTo>
                      <a:pt x="35" y="8"/>
                      <a:pt x="34" y="8"/>
                      <a:pt x="32" y="8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2" name="Freeform 88">
                <a:extLst>
                  <a:ext uri="{FF2B5EF4-FFF2-40B4-BE49-F238E27FC236}">
                    <a16:creationId xmlns:a16="http://schemas.microsoft.com/office/drawing/2014/main" id="{5B13A227-23B3-4342-854B-6D368F23CA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6404" y="2942979"/>
                <a:ext cx="165624" cy="189464"/>
              </a:xfrm>
              <a:custGeom>
                <a:avLst/>
                <a:gdLst>
                  <a:gd name="T0" fmla="*/ 9 w 72"/>
                  <a:gd name="T1" fmla="*/ 21 h 82"/>
                  <a:gd name="T2" fmla="*/ 5 w 72"/>
                  <a:gd name="T3" fmla="*/ 25 h 82"/>
                  <a:gd name="T4" fmla="*/ 8 w 72"/>
                  <a:gd name="T5" fmla="*/ 29 h 82"/>
                  <a:gd name="T6" fmla="*/ 6 w 72"/>
                  <a:gd name="T7" fmla="*/ 32 h 82"/>
                  <a:gd name="T8" fmla="*/ 2 w 72"/>
                  <a:gd name="T9" fmla="*/ 34 h 82"/>
                  <a:gd name="T10" fmla="*/ 1 w 72"/>
                  <a:gd name="T11" fmla="*/ 38 h 82"/>
                  <a:gd name="T12" fmla="*/ 0 w 72"/>
                  <a:gd name="T13" fmla="*/ 44 h 82"/>
                  <a:gd name="T14" fmla="*/ 2 w 72"/>
                  <a:gd name="T15" fmla="*/ 49 h 82"/>
                  <a:gd name="T16" fmla="*/ 1 w 72"/>
                  <a:gd name="T17" fmla="*/ 53 h 82"/>
                  <a:gd name="T18" fmla="*/ 3 w 72"/>
                  <a:gd name="T19" fmla="*/ 59 h 82"/>
                  <a:gd name="T20" fmla="*/ 5 w 72"/>
                  <a:gd name="T21" fmla="*/ 60 h 82"/>
                  <a:gd name="T22" fmla="*/ 10 w 72"/>
                  <a:gd name="T23" fmla="*/ 63 h 82"/>
                  <a:gd name="T24" fmla="*/ 15 w 72"/>
                  <a:gd name="T25" fmla="*/ 64 h 82"/>
                  <a:gd name="T26" fmla="*/ 16 w 72"/>
                  <a:gd name="T27" fmla="*/ 67 h 82"/>
                  <a:gd name="T28" fmla="*/ 13 w 72"/>
                  <a:gd name="T29" fmla="*/ 73 h 82"/>
                  <a:gd name="T30" fmla="*/ 12 w 72"/>
                  <a:gd name="T31" fmla="*/ 78 h 82"/>
                  <a:gd name="T32" fmla="*/ 19 w 72"/>
                  <a:gd name="T33" fmla="*/ 78 h 82"/>
                  <a:gd name="T34" fmla="*/ 25 w 72"/>
                  <a:gd name="T35" fmla="*/ 78 h 82"/>
                  <a:gd name="T36" fmla="*/ 29 w 72"/>
                  <a:gd name="T37" fmla="*/ 80 h 82"/>
                  <a:gd name="T38" fmla="*/ 30 w 72"/>
                  <a:gd name="T39" fmla="*/ 79 h 82"/>
                  <a:gd name="T40" fmla="*/ 35 w 72"/>
                  <a:gd name="T41" fmla="*/ 80 h 82"/>
                  <a:gd name="T42" fmla="*/ 40 w 72"/>
                  <a:gd name="T43" fmla="*/ 79 h 82"/>
                  <a:gd name="T44" fmla="*/ 44 w 72"/>
                  <a:gd name="T45" fmla="*/ 79 h 82"/>
                  <a:gd name="T46" fmla="*/ 52 w 72"/>
                  <a:gd name="T47" fmla="*/ 77 h 82"/>
                  <a:gd name="T48" fmla="*/ 56 w 72"/>
                  <a:gd name="T49" fmla="*/ 75 h 82"/>
                  <a:gd name="T50" fmla="*/ 59 w 72"/>
                  <a:gd name="T51" fmla="*/ 70 h 82"/>
                  <a:gd name="T52" fmla="*/ 63 w 72"/>
                  <a:gd name="T53" fmla="*/ 67 h 82"/>
                  <a:gd name="T54" fmla="*/ 55 w 72"/>
                  <a:gd name="T55" fmla="*/ 60 h 82"/>
                  <a:gd name="T56" fmla="*/ 52 w 72"/>
                  <a:gd name="T57" fmla="*/ 54 h 82"/>
                  <a:gd name="T58" fmla="*/ 52 w 72"/>
                  <a:gd name="T59" fmla="*/ 49 h 82"/>
                  <a:gd name="T60" fmla="*/ 60 w 72"/>
                  <a:gd name="T61" fmla="*/ 46 h 82"/>
                  <a:gd name="T62" fmla="*/ 67 w 72"/>
                  <a:gd name="T63" fmla="*/ 43 h 82"/>
                  <a:gd name="T64" fmla="*/ 71 w 72"/>
                  <a:gd name="T65" fmla="*/ 43 h 82"/>
                  <a:gd name="T66" fmla="*/ 71 w 72"/>
                  <a:gd name="T67" fmla="*/ 38 h 82"/>
                  <a:gd name="T68" fmla="*/ 69 w 72"/>
                  <a:gd name="T69" fmla="*/ 32 h 82"/>
                  <a:gd name="T70" fmla="*/ 68 w 72"/>
                  <a:gd name="T71" fmla="*/ 28 h 82"/>
                  <a:gd name="T72" fmla="*/ 66 w 72"/>
                  <a:gd name="T73" fmla="*/ 24 h 82"/>
                  <a:gd name="T74" fmla="*/ 66 w 72"/>
                  <a:gd name="T75" fmla="*/ 21 h 82"/>
                  <a:gd name="T76" fmla="*/ 66 w 72"/>
                  <a:gd name="T77" fmla="*/ 12 h 82"/>
                  <a:gd name="T78" fmla="*/ 66 w 72"/>
                  <a:gd name="T79" fmla="*/ 11 h 82"/>
                  <a:gd name="T80" fmla="*/ 65 w 72"/>
                  <a:gd name="T81" fmla="*/ 10 h 82"/>
                  <a:gd name="T82" fmla="*/ 61 w 72"/>
                  <a:gd name="T83" fmla="*/ 8 h 82"/>
                  <a:gd name="T84" fmla="*/ 61 w 72"/>
                  <a:gd name="T85" fmla="*/ 3 h 82"/>
                  <a:gd name="T86" fmla="*/ 54 w 72"/>
                  <a:gd name="T87" fmla="*/ 5 h 82"/>
                  <a:gd name="T88" fmla="*/ 45 w 72"/>
                  <a:gd name="T89" fmla="*/ 10 h 82"/>
                  <a:gd name="T90" fmla="*/ 41 w 72"/>
                  <a:gd name="T91" fmla="*/ 7 h 82"/>
                  <a:gd name="T92" fmla="*/ 38 w 72"/>
                  <a:gd name="T93" fmla="*/ 6 h 82"/>
                  <a:gd name="T94" fmla="*/ 32 w 72"/>
                  <a:gd name="T95" fmla="*/ 3 h 82"/>
                  <a:gd name="T96" fmla="*/ 32 w 72"/>
                  <a:gd name="T97" fmla="*/ 1 h 82"/>
                  <a:gd name="T98" fmla="*/ 29 w 72"/>
                  <a:gd name="T99" fmla="*/ 1 h 82"/>
                  <a:gd name="T100" fmla="*/ 21 w 72"/>
                  <a:gd name="T101" fmla="*/ 0 h 82"/>
                  <a:gd name="T102" fmla="*/ 23 w 72"/>
                  <a:gd name="T103" fmla="*/ 4 h 82"/>
                  <a:gd name="T104" fmla="*/ 25 w 72"/>
                  <a:gd name="T105" fmla="*/ 11 h 82"/>
                  <a:gd name="T106" fmla="*/ 21 w 72"/>
                  <a:gd name="T107" fmla="*/ 14 h 82"/>
                  <a:gd name="T108" fmla="*/ 15 w 72"/>
                  <a:gd name="T109" fmla="*/ 13 h 82"/>
                  <a:gd name="T110" fmla="*/ 9 w 72"/>
                  <a:gd name="T111" fmla="*/ 14 h 82"/>
                  <a:gd name="T112" fmla="*/ 9 w 72"/>
                  <a:gd name="T113" fmla="*/ 16 h 82"/>
                  <a:gd name="T114" fmla="*/ 9 w 72"/>
                  <a:gd name="T115" fmla="*/ 21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72" h="82">
                    <a:moveTo>
                      <a:pt x="9" y="21"/>
                    </a:moveTo>
                    <a:cubicBezTo>
                      <a:pt x="7" y="24"/>
                      <a:pt x="5" y="24"/>
                      <a:pt x="5" y="25"/>
                    </a:cubicBezTo>
                    <a:cubicBezTo>
                      <a:pt x="6" y="26"/>
                      <a:pt x="9" y="28"/>
                      <a:pt x="8" y="29"/>
                    </a:cubicBezTo>
                    <a:cubicBezTo>
                      <a:pt x="7" y="31"/>
                      <a:pt x="6" y="30"/>
                      <a:pt x="6" y="32"/>
                    </a:cubicBezTo>
                    <a:cubicBezTo>
                      <a:pt x="6" y="34"/>
                      <a:pt x="3" y="34"/>
                      <a:pt x="2" y="34"/>
                    </a:cubicBezTo>
                    <a:cubicBezTo>
                      <a:pt x="1" y="34"/>
                      <a:pt x="2" y="36"/>
                      <a:pt x="1" y="38"/>
                    </a:cubicBezTo>
                    <a:cubicBezTo>
                      <a:pt x="1" y="40"/>
                      <a:pt x="1" y="43"/>
                      <a:pt x="0" y="44"/>
                    </a:cubicBezTo>
                    <a:cubicBezTo>
                      <a:pt x="0" y="46"/>
                      <a:pt x="3" y="48"/>
                      <a:pt x="2" y="49"/>
                    </a:cubicBezTo>
                    <a:cubicBezTo>
                      <a:pt x="2" y="51"/>
                      <a:pt x="0" y="52"/>
                      <a:pt x="1" y="53"/>
                    </a:cubicBezTo>
                    <a:cubicBezTo>
                      <a:pt x="1" y="53"/>
                      <a:pt x="3" y="55"/>
                      <a:pt x="3" y="59"/>
                    </a:cubicBezTo>
                    <a:cubicBezTo>
                      <a:pt x="4" y="59"/>
                      <a:pt x="5" y="60"/>
                      <a:pt x="5" y="60"/>
                    </a:cubicBezTo>
                    <a:cubicBezTo>
                      <a:pt x="6" y="62"/>
                      <a:pt x="8" y="63"/>
                      <a:pt x="10" y="63"/>
                    </a:cubicBezTo>
                    <a:cubicBezTo>
                      <a:pt x="13" y="63"/>
                      <a:pt x="14" y="64"/>
                      <a:pt x="15" y="64"/>
                    </a:cubicBezTo>
                    <a:cubicBezTo>
                      <a:pt x="16" y="64"/>
                      <a:pt x="19" y="65"/>
                      <a:pt x="16" y="67"/>
                    </a:cubicBezTo>
                    <a:cubicBezTo>
                      <a:pt x="14" y="69"/>
                      <a:pt x="14" y="71"/>
                      <a:pt x="13" y="73"/>
                    </a:cubicBezTo>
                    <a:cubicBezTo>
                      <a:pt x="13" y="75"/>
                      <a:pt x="13" y="77"/>
                      <a:pt x="12" y="78"/>
                    </a:cubicBezTo>
                    <a:cubicBezTo>
                      <a:pt x="15" y="78"/>
                      <a:pt x="18" y="79"/>
                      <a:pt x="19" y="78"/>
                    </a:cubicBezTo>
                    <a:cubicBezTo>
                      <a:pt x="21" y="77"/>
                      <a:pt x="22" y="77"/>
                      <a:pt x="25" y="78"/>
                    </a:cubicBezTo>
                    <a:cubicBezTo>
                      <a:pt x="26" y="78"/>
                      <a:pt x="28" y="79"/>
                      <a:pt x="29" y="80"/>
                    </a:cubicBezTo>
                    <a:cubicBezTo>
                      <a:pt x="29" y="79"/>
                      <a:pt x="30" y="79"/>
                      <a:pt x="30" y="79"/>
                    </a:cubicBezTo>
                    <a:cubicBezTo>
                      <a:pt x="32" y="79"/>
                      <a:pt x="34" y="82"/>
                      <a:pt x="35" y="80"/>
                    </a:cubicBezTo>
                    <a:cubicBezTo>
                      <a:pt x="36" y="78"/>
                      <a:pt x="38" y="79"/>
                      <a:pt x="40" y="79"/>
                    </a:cubicBezTo>
                    <a:cubicBezTo>
                      <a:pt x="41" y="80"/>
                      <a:pt x="43" y="80"/>
                      <a:pt x="44" y="79"/>
                    </a:cubicBezTo>
                    <a:cubicBezTo>
                      <a:pt x="46" y="78"/>
                      <a:pt x="51" y="77"/>
                      <a:pt x="52" y="77"/>
                    </a:cubicBezTo>
                    <a:cubicBezTo>
                      <a:pt x="54" y="78"/>
                      <a:pt x="57" y="79"/>
                      <a:pt x="56" y="75"/>
                    </a:cubicBezTo>
                    <a:cubicBezTo>
                      <a:pt x="54" y="71"/>
                      <a:pt x="58" y="72"/>
                      <a:pt x="59" y="70"/>
                    </a:cubicBezTo>
                    <a:cubicBezTo>
                      <a:pt x="59" y="69"/>
                      <a:pt x="64" y="68"/>
                      <a:pt x="63" y="67"/>
                    </a:cubicBezTo>
                    <a:cubicBezTo>
                      <a:pt x="63" y="65"/>
                      <a:pt x="57" y="62"/>
                      <a:pt x="55" y="60"/>
                    </a:cubicBezTo>
                    <a:cubicBezTo>
                      <a:pt x="53" y="59"/>
                      <a:pt x="53" y="55"/>
                      <a:pt x="52" y="54"/>
                    </a:cubicBezTo>
                    <a:cubicBezTo>
                      <a:pt x="51" y="52"/>
                      <a:pt x="49" y="50"/>
                      <a:pt x="52" y="49"/>
                    </a:cubicBezTo>
                    <a:cubicBezTo>
                      <a:pt x="54" y="49"/>
                      <a:pt x="58" y="48"/>
                      <a:pt x="60" y="46"/>
                    </a:cubicBezTo>
                    <a:cubicBezTo>
                      <a:pt x="62" y="44"/>
                      <a:pt x="66" y="44"/>
                      <a:pt x="67" y="43"/>
                    </a:cubicBezTo>
                    <a:cubicBezTo>
                      <a:pt x="68" y="42"/>
                      <a:pt x="70" y="44"/>
                      <a:pt x="71" y="43"/>
                    </a:cubicBezTo>
                    <a:cubicBezTo>
                      <a:pt x="72" y="42"/>
                      <a:pt x="72" y="40"/>
                      <a:pt x="71" y="38"/>
                    </a:cubicBezTo>
                    <a:cubicBezTo>
                      <a:pt x="70" y="37"/>
                      <a:pt x="69" y="35"/>
                      <a:pt x="69" y="32"/>
                    </a:cubicBezTo>
                    <a:cubicBezTo>
                      <a:pt x="69" y="29"/>
                      <a:pt x="68" y="29"/>
                      <a:pt x="68" y="28"/>
                    </a:cubicBezTo>
                    <a:cubicBezTo>
                      <a:pt x="68" y="26"/>
                      <a:pt x="68" y="24"/>
                      <a:pt x="66" y="24"/>
                    </a:cubicBezTo>
                    <a:cubicBezTo>
                      <a:pt x="65" y="23"/>
                      <a:pt x="65" y="22"/>
                      <a:pt x="66" y="21"/>
                    </a:cubicBezTo>
                    <a:cubicBezTo>
                      <a:pt x="67" y="19"/>
                      <a:pt x="67" y="14"/>
                      <a:pt x="66" y="12"/>
                    </a:cubicBezTo>
                    <a:cubicBezTo>
                      <a:pt x="66" y="12"/>
                      <a:pt x="66" y="12"/>
                      <a:pt x="66" y="11"/>
                    </a:cubicBezTo>
                    <a:cubicBezTo>
                      <a:pt x="66" y="11"/>
                      <a:pt x="65" y="11"/>
                      <a:pt x="65" y="10"/>
                    </a:cubicBezTo>
                    <a:cubicBezTo>
                      <a:pt x="65" y="8"/>
                      <a:pt x="64" y="8"/>
                      <a:pt x="61" y="8"/>
                    </a:cubicBezTo>
                    <a:cubicBezTo>
                      <a:pt x="57" y="8"/>
                      <a:pt x="62" y="4"/>
                      <a:pt x="61" y="3"/>
                    </a:cubicBezTo>
                    <a:cubicBezTo>
                      <a:pt x="60" y="1"/>
                      <a:pt x="57" y="6"/>
                      <a:pt x="54" y="5"/>
                    </a:cubicBezTo>
                    <a:cubicBezTo>
                      <a:pt x="51" y="4"/>
                      <a:pt x="48" y="8"/>
                      <a:pt x="45" y="10"/>
                    </a:cubicBezTo>
                    <a:cubicBezTo>
                      <a:pt x="43" y="12"/>
                      <a:pt x="39" y="10"/>
                      <a:pt x="41" y="7"/>
                    </a:cubicBezTo>
                    <a:cubicBezTo>
                      <a:pt x="43" y="4"/>
                      <a:pt x="41" y="4"/>
                      <a:pt x="38" y="6"/>
                    </a:cubicBezTo>
                    <a:cubicBezTo>
                      <a:pt x="35" y="7"/>
                      <a:pt x="32" y="5"/>
                      <a:pt x="32" y="3"/>
                    </a:cubicBezTo>
                    <a:cubicBezTo>
                      <a:pt x="32" y="2"/>
                      <a:pt x="32" y="1"/>
                      <a:pt x="32" y="1"/>
                    </a:cubicBezTo>
                    <a:cubicBezTo>
                      <a:pt x="30" y="1"/>
                      <a:pt x="29" y="1"/>
                      <a:pt x="29" y="1"/>
                    </a:cubicBezTo>
                    <a:cubicBezTo>
                      <a:pt x="27" y="0"/>
                      <a:pt x="24" y="0"/>
                      <a:pt x="21" y="0"/>
                    </a:cubicBezTo>
                    <a:cubicBezTo>
                      <a:pt x="22" y="2"/>
                      <a:pt x="23" y="3"/>
                      <a:pt x="23" y="4"/>
                    </a:cubicBezTo>
                    <a:cubicBezTo>
                      <a:pt x="22" y="6"/>
                      <a:pt x="23" y="8"/>
                      <a:pt x="25" y="11"/>
                    </a:cubicBezTo>
                    <a:cubicBezTo>
                      <a:pt x="26" y="14"/>
                      <a:pt x="22" y="12"/>
                      <a:pt x="21" y="14"/>
                    </a:cubicBezTo>
                    <a:cubicBezTo>
                      <a:pt x="21" y="16"/>
                      <a:pt x="17" y="14"/>
                      <a:pt x="15" y="13"/>
                    </a:cubicBezTo>
                    <a:cubicBezTo>
                      <a:pt x="14" y="13"/>
                      <a:pt x="9" y="13"/>
                      <a:pt x="9" y="14"/>
                    </a:cubicBezTo>
                    <a:cubicBezTo>
                      <a:pt x="9" y="15"/>
                      <a:pt x="9" y="15"/>
                      <a:pt x="9" y="16"/>
                    </a:cubicBezTo>
                    <a:cubicBezTo>
                      <a:pt x="10" y="18"/>
                      <a:pt x="10" y="20"/>
                      <a:pt x="9" y="2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3" name="Freeform 89">
                <a:extLst>
                  <a:ext uri="{FF2B5EF4-FFF2-40B4-BE49-F238E27FC236}">
                    <a16:creationId xmlns:a16="http://schemas.microsoft.com/office/drawing/2014/main" id="{3B341193-8026-4E7A-99A1-9AA780939F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7425" y="2493787"/>
                <a:ext cx="194483" cy="311172"/>
              </a:xfrm>
              <a:custGeom>
                <a:avLst/>
                <a:gdLst>
                  <a:gd name="T0" fmla="*/ 71 w 84"/>
                  <a:gd name="T1" fmla="*/ 113 h 135"/>
                  <a:gd name="T2" fmla="*/ 83 w 84"/>
                  <a:gd name="T3" fmla="*/ 102 h 135"/>
                  <a:gd name="T4" fmla="*/ 81 w 84"/>
                  <a:gd name="T5" fmla="*/ 95 h 135"/>
                  <a:gd name="T6" fmla="*/ 71 w 84"/>
                  <a:gd name="T7" fmla="*/ 87 h 135"/>
                  <a:gd name="T8" fmla="*/ 76 w 84"/>
                  <a:gd name="T9" fmla="*/ 83 h 135"/>
                  <a:gd name="T10" fmla="*/ 72 w 84"/>
                  <a:gd name="T11" fmla="*/ 78 h 135"/>
                  <a:gd name="T12" fmla="*/ 73 w 84"/>
                  <a:gd name="T13" fmla="*/ 74 h 135"/>
                  <a:gd name="T14" fmla="*/ 69 w 84"/>
                  <a:gd name="T15" fmla="*/ 72 h 135"/>
                  <a:gd name="T16" fmla="*/ 71 w 84"/>
                  <a:gd name="T17" fmla="*/ 69 h 135"/>
                  <a:gd name="T18" fmla="*/ 69 w 84"/>
                  <a:gd name="T19" fmla="*/ 63 h 135"/>
                  <a:gd name="T20" fmla="*/ 72 w 84"/>
                  <a:gd name="T21" fmla="*/ 58 h 135"/>
                  <a:gd name="T22" fmla="*/ 64 w 84"/>
                  <a:gd name="T23" fmla="*/ 46 h 135"/>
                  <a:gd name="T24" fmla="*/ 67 w 84"/>
                  <a:gd name="T25" fmla="*/ 42 h 135"/>
                  <a:gd name="T26" fmla="*/ 72 w 84"/>
                  <a:gd name="T27" fmla="*/ 36 h 135"/>
                  <a:gd name="T28" fmla="*/ 66 w 84"/>
                  <a:gd name="T29" fmla="*/ 30 h 135"/>
                  <a:gd name="T30" fmla="*/ 61 w 84"/>
                  <a:gd name="T31" fmla="*/ 27 h 135"/>
                  <a:gd name="T32" fmla="*/ 60 w 84"/>
                  <a:gd name="T33" fmla="*/ 22 h 135"/>
                  <a:gd name="T34" fmla="*/ 61 w 84"/>
                  <a:gd name="T35" fmla="*/ 18 h 135"/>
                  <a:gd name="T36" fmla="*/ 64 w 84"/>
                  <a:gd name="T37" fmla="*/ 16 h 135"/>
                  <a:gd name="T38" fmla="*/ 66 w 84"/>
                  <a:gd name="T39" fmla="*/ 13 h 135"/>
                  <a:gd name="T40" fmla="*/ 66 w 84"/>
                  <a:gd name="T41" fmla="*/ 8 h 135"/>
                  <a:gd name="T42" fmla="*/ 58 w 84"/>
                  <a:gd name="T43" fmla="*/ 3 h 135"/>
                  <a:gd name="T44" fmla="*/ 51 w 84"/>
                  <a:gd name="T45" fmla="*/ 3 h 135"/>
                  <a:gd name="T46" fmla="*/ 43 w 84"/>
                  <a:gd name="T47" fmla="*/ 4 h 135"/>
                  <a:gd name="T48" fmla="*/ 38 w 84"/>
                  <a:gd name="T49" fmla="*/ 10 h 135"/>
                  <a:gd name="T50" fmla="*/ 37 w 84"/>
                  <a:gd name="T51" fmla="*/ 17 h 135"/>
                  <a:gd name="T52" fmla="*/ 33 w 84"/>
                  <a:gd name="T53" fmla="*/ 21 h 135"/>
                  <a:gd name="T54" fmla="*/ 29 w 84"/>
                  <a:gd name="T55" fmla="*/ 20 h 135"/>
                  <a:gd name="T56" fmla="*/ 22 w 84"/>
                  <a:gd name="T57" fmla="*/ 20 h 135"/>
                  <a:gd name="T58" fmla="*/ 14 w 84"/>
                  <a:gd name="T59" fmla="*/ 19 h 135"/>
                  <a:gd name="T60" fmla="*/ 5 w 84"/>
                  <a:gd name="T61" fmla="*/ 13 h 135"/>
                  <a:gd name="T62" fmla="*/ 0 w 84"/>
                  <a:gd name="T63" fmla="*/ 17 h 135"/>
                  <a:gd name="T64" fmla="*/ 8 w 84"/>
                  <a:gd name="T65" fmla="*/ 23 h 135"/>
                  <a:gd name="T66" fmla="*/ 20 w 84"/>
                  <a:gd name="T67" fmla="*/ 30 h 135"/>
                  <a:gd name="T68" fmla="*/ 20 w 84"/>
                  <a:gd name="T69" fmla="*/ 38 h 135"/>
                  <a:gd name="T70" fmla="*/ 22 w 84"/>
                  <a:gd name="T71" fmla="*/ 45 h 135"/>
                  <a:gd name="T72" fmla="*/ 22 w 84"/>
                  <a:gd name="T73" fmla="*/ 52 h 135"/>
                  <a:gd name="T74" fmla="*/ 23 w 84"/>
                  <a:gd name="T75" fmla="*/ 56 h 135"/>
                  <a:gd name="T76" fmla="*/ 24 w 84"/>
                  <a:gd name="T77" fmla="*/ 60 h 135"/>
                  <a:gd name="T78" fmla="*/ 31 w 84"/>
                  <a:gd name="T79" fmla="*/ 63 h 135"/>
                  <a:gd name="T80" fmla="*/ 34 w 84"/>
                  <a:gd name="T81" fmla="*/ 69 h 135"/>
                  <a:gd name="T82" fmla="*/ 32 w 84"/>
                  <a:gd name="T83" fmla="*/ 72 h 135"/>
                  <a:gd name="T84" fmla="*/ 28 w 84"/>
                  <a:gd name="T85" fmla="*/ 75 h 135"/>
                  <a:gd name="T86" fmla="*/ 20 w 84"/>
                  <a:gd name="T87" fmla="*/ 83 h 135"/>
                  <a:gd name="T88" fmla="*/ 15 w 84"/>
                  <a:gd name="T89" fmla="*/ 87 h 135"/>
                  <a:gd name="T90" fmla="*/ 11 w 84"/>
                  <a:gd name="T91" fmla="*/ 91 h 135"/>
                  <a:gd name="T92" fmla="*/ 5 w 84"/>
                  <a:gd name="T93" fmla="*/ 94 h 135"/>
                  <a:gd name="T94" fmla="*/ 1 w 84"/>
                  <a:gd name="T95" fmla="*/ 99 h 135"/>
                  <a:gd name="T96" fmla="*/ 2 w 84"/>
                  <a:gd name="T97" fmla="*/ 104 h 135"/>
                  <a:gd name="T98" fmla="*/ 3 w 84"/>
                  <a:gd name="T99" fmla="*/ 109 h 135"/>
                  <a:gd name="T100" fmla="*/ 4 w 84"/>
                  <a:gd name="T101" fmla="*/ 119 h 135"/>
                  <a:gd name="T102" fmla="*/ 2 w 84"/>
                  <a:gd name="T103" fmla="*/ 127 h 135"/>
                  <a:gd name="T104" fmla="*/ 9 w 84"/>
                  <a:gd name="T105" fmla="*/ 130 h 135"/>
                  <a:gd name="T106" fmla="*/ 14 w 84"/>
                  <a:gd name="T107" fmla="*/ 132 h 135"/>
                  <a:gd name="T108" fmla="*/ 23 w 84"/>
                  <a:gd name="T109" fmla="*/ 134 h 135"/>
                  <a:gd name="T110" fmla="*/ 48 w 84"/>
                  <a:gd name="T111" fmla="*/ 129 h 135"/>
                  <a:gd name="T112" fmla="*/ 55 w 84"/>
                  <a:gd name="T113" fmla="*/ 128 h 135"/>
                  <a:gd name="T114" fmla="*/ 59 w 84"/>
                  <a:gd name="T115" fmla="*/ 123 h 135"/>
                  <a:gd name="T116" fmla="*/ 71 w 84"/>
                  <a:gd name="T117" fmla="*/ 113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84" h="135">
                    <a:moveTo>
                      <a:pt x="71" y="113"/>
                    </a:moveTo>
                    <a:cubicBezTo>
                      <a:pt x="73" y="109"/>
                      <a:pt x="82" y="105"/>
                      <a:pt x="83" y="102"/>
                    </a:cubicBezTo>
                    <a:cubicBezTo>
                      <a:pt x="84" y="100"/>
                      <a:pt x="84" y="99"/>
                      <a:pt x="81" y="95"/>
                    </a:cubicBezTo>
                    <a:cubicBezTo>
                      <a:pt x="78" y="92"/>
                      <a:pt x="71" y="89"/>
                      <a:pt x="71" y="87"/>
                    </a:cubicBezTo>
                    <a:cubicBezTo>
                      <a:pt x="71" y="85"/>
                      <a:pt x="76" y="85"/>
                      <a:pt x="76" y="83"/>
                    </a:cubicBezTo>
                    <a:cubicBezTo>
                      <a:pt x="76" y="80"/>
                      <a:pt x="73" y="80"/>
                      <a:pt x="72" y="78"/>
                    </a:cubicBezTo>
                    <a:cubicBezTo>
                      <a:pt x="70" y="77"/>
                      <a:pt x="73" y="75"/>
                      <a:pt x="73" y="74"/>
                    </a:cubicBezTo>
                    <a:cubicBezTo>
                      <a:pt x="73" y="73"/>
                      <a:pt x="69" y="73"/>
                      <a:pt x="69" y="72"/>
                    </a:cubicBezTo>
                    <a:cubicBezTo>
                      <a:pt x="69" y="71"/>
                      <a:pt x="71" y="71"/>
                      <a:pt x="71" y="69"/>
                    </a:cubicBezTo>
                    <a:cubicBezTo>
                      <a:pt x="70" y="68"/>
                      <a:pt x="68" y="65"/>
                      <a:pt x="69" y="63"/>
                    </a:cubicBezTo>
                    <a:cubicBezTo>
                      <a:pt x="71" y="61"/>
                      <a:pt x="75" y="63"/>
                      <a:pt x="72" y="58"/>
                    </a:cubicBezTo>
                    <a:cubicBezTo>
                      <a:pt x="69" y="54"/>
                      <a:pt x="65" y="48"/>
                      <a:pt x="64" y="46"/>
                    </a:cubicBezTo>
                    <a:cubicBezTo>
                      <a:pt x="64" y="45"/>
                      <a:pt x="65" y="43"/>
                      <a:pt x="67" y="42"/>
                    </a:cubicBezTo>
                    <a:cubicBezTo>
                      <a:pt x="68" y="41"/>
                      <a:pt x="72" y="37"/>
                      <a:pt x="72" y="36"/>
                    </a:cubicBezTo>
                    <a:cubicBezTo>
                      <a:pt x="72" y="34"/>
                      <a:pt x="67" y="30"/>
                      <a:pt x="66" y="30"/>
                    </a:cubicBezTo>
                    <a:cubicBezTo>
                      <a:pt x="65" y="29"/>
                      <a:pt x="62" y="29"/>
                      <a:pt x="61" y="27"/>
                    </a:cubicBezTo>
                    <a:cubicBezTo>
                      <a:pt x="60" y="24"/>
                      <a:pt x="59" y="24"/>
                      <a:pt x="60" y="22"/>
                    </a:cubicBezTo>
                    <a:cubicBezTo>
                      <a:pt x="61" y="21"/>
                      <a:pt x="61" y="19"/>
                      <a:pt x="61" y="18"/>
                    </a:cubicBezTo>
                    <a:cubicBezTo>
                      <a:pt x="61" y="17"/>
                      <a:pt x="64" y="18"/>
                      <a:pt x="64" y="16"/>
                    </a:cubicBezTo>
                    <a:cubicBezTo>
                      <a:pt x="64" y="15"/>
                      <a:pt x="65" y="14"/>
                      <a:pt x="66" y="13"/>
                    </a:cubicBezTo>
                    <a:cubicBezTo>
                      <a:pt x="66" y="11"/>
                      <a:pt x="66" y="9"/>
                      <a:pt x="66" y="8"/>
                    </a:cubicBezTo>
                    <a:cubicBezTo>
                      <a:pt x="66" y="6"/>
                      <a:pt x="59" y="5"/>
                      <a:pt x="58" y="3"/>
                    </a:cubicBezTo>
                    <a:cubicBezTo>
                      <a:pt x="56" y="0"/>
                      <a:pt x="52" y="1"/>
                      <a:pt x="51" y="3"/>
                    </a:cubicBezTo>
                    <a:cubicBezTo>
                      <a:pt x="50" y="4"/>
                      <a:pt x="43" y="2"/>
                      <a:pt x="43" y="4"/>
                    </a:cubicBezTo>
                    <a:cubicBezTo>
                      <a:pt x="43" y="7"/>
                      <a:pt x="38" y="7"/>
                      <a:pt x="38" y="10"/>
                    </a:cubicBezTo>
                    <a:cubicBezTo>
                      <a:pt x="38" y="12"/>
                      <a:pt x="40" y="17"/>
                      <a:pt x="37" y="17"/>
                    </a:cubicBezTo>
                    <a:cubicBezTo>
                      <a:pt x="33" y="16"/>
                      <a:pt x="35" y="18"/>
                      <a:pt x="33" y="21"/>
                    </a:cubicBezTo>
                    <a:cubicBezTo>
                      <a:pt x="31" y="24"/>
                      <a:pt x="31" y="19"/>
                      <a:pt x="29" y="20"/>
                    </a:cubicBezTo>
                    <a:cubicBezTo>
                      <a:pt x="26" y="21"/>
                      <a:pt x="24" y="18"/>
                      <a:pt x="22" y="20"/>
                    </a:cubicBezTo>
                    <a:cubicBezTo>
                      <a:pt x="21" y="22"/>
                      <a:pt x="18" y="20"/>
                      <a:pt x="14" y="19"/>
                    </a:cubicBezTo>
                    <a:cubicBezTo>
                      <a:pt x="10" y="19"/>
                      <a:pt x="8" y="13"/>
                      <a:pt x="5" y="13"/>
                    </a:cubicBezTo>
                    <a:cubicBezTo>
                      <a:pt x="3" y="13"/>
                      <a:pt x="1" y="14"/>
                      <a:pt x="0" y="17"/>
                    </a:cubicBezTo>
                    <a:cubicBezTo>
                      <a:pt x="3" y="19"/>
                      <a:pt x="4" y="21"/>
                      <a:pt x="8" y="23"/>
                    </a:cubicBezTo>
                    <a:cubicBezTo>
                      <a:pt x="13" y="25"/>
                      <a:pt x="20" y="27"/>
                      <a:pt x="20" y="30"/>
                    </a:cubicBezTo>
                    <a:cubicBezTo>
                      <a:pt x="19" y="33"/>
                      <a:pt x="18" y="37"/>
                      <a:pt x="20" y="38"/>
                    </a:cubicBezTo>
                    <a:cubicBezTo>
                      <a:pt x="22" y="39"/>
                      <a:pt x="20" y="44"/>
                      <a:pt x="22" y="45"/>
                    </a:cubicBezTo>
                    <a:cubicBezTo>
                      <a:pt x="24" y="46"/>
                      <a:pt x="24" y="52"/>
                      <a:pt x="22" y="52"/>
                    </a:cubicBezTo>
                    <a:cubicBezTo>
                      <a:pt x="20" y="52"/>
                      <a:pt x="22" y="55"/>
                      <a:pt x="23" y="56"/>
                    </a:cubicBezTo>
                    <a:cubicBezTo>
                      <a:pt x="24" y="57"/>
                      <a:pt x="24" y="58"/>
                      <a:pt x="24" y="60"/>
                    </a:cubicBezTo>
                    <a:cubicBezTo>
                      <a:pt x="27" y="61"/>
                      <a:pt x="29" y="62"/>
                      <a:pt x="31" y="63"/>
                    </a:cubicBezTo>
                    <a:cubicBezTo>
                      <a:pt x="34" y="64"/>
                      <a:pt x="34" y="66"/>
                      <a:pt x="34" y="69"/>
                    </a:cubicBezTo>
                    <a:cubicBezTo>
                      <a:pt x="34" y="71"/>
                      <a:pt x="34" y="73"/>
                      <a:pt x="32" y="72"/>
                    </a:cubicBezTo>
                    <a:cubicBezTo>
                      <a:pt x="31" y="71"/>
                      <a:pt x="29" y="72"/>
                      <a:pt x="28" y="75"/>
                    </a:cubicBezTo>
                    <a:cubicBezTo>
                      <a:pt x="27" y="79"/>
                      <a:pt x="22" y="83"/>
                      <a:pt x="20" y="83"/>
                    </a:cubicBezTo>
                    <a:cubicBezTo>
                      <a:pt x="17" y="84"/>
                      <a:pt x="17" y="86"/>
                      <a:pt x="15" y="87"/>
                    </a:cubicBezTo>
                    <a:cubicBezTo>
                      <a:pt x="13" y="88"/>
                      <a:pt x="11" y="89"/>
                      <a:pt x="11" y="91"/>
                    </a:cubicBezTo>
                    <a:cubicBezTo>
                      <a:pt x="11" y="94"/>
                      <a:pt x="7" y="94"/>
                      <a:pt x="5" y="94"/>
                    </a:cubicBezTo>
                    <a:cubicBezTo>
                      <a:pt x="3" y="94"/>
                      <a:pt x="3" y="98"/>
                      <a:pt x="1" y="99"/>
                    </a:cubicBezTo>
                    <a:cubicBezTo>
                      <a:pt x="0" y="100"/>
                      <a:pt x="0" y="102"/>
                      <a:pt x="2" y="104"/>
                    </a:cubicBezTo>
                    <a:cubicBezTo>
                      <a:pt x="3" y="106"/>
                      <a:pt x="2" y="108"/>
                      <a:pt x="3" y="109"/>
                    </a:cubicBezTo>
                    <a:cubicBezTo>
                      <a:pt x="3" y="111"/>
                      <a:pt x="6" y="115"/>
                      <a:pt x="4" y="119"/>
                    </a:cubicBezTo>
                    <a:cubicBezTo>
                      <a:pt x="2" y="122"/>
                      <a:pt x="0" y="127"/>
                      <a:pt x="2" y="127"/>
                    </a:cubicBezTo>
                    <a:cubicBezTo>
                      <a:pt x="3" y="126"/>
                      <a:pt x="7" y="130"/>
                      <a:pt x="9" y="130"/>
                    </a:cubicBezTo>
                    <a:cubicBezTo>
                      <a:pt x="12" y="130"/>
                      <a:pt x="12" y="133"/>
                      <a:pt x="14" y="132"/>
                    </a:cubicBezTo>
                    <a:cubicBezTo>
                      <a:pt x="16" y="132"/>
                      <a:pt x="16" y="135"/>
                      <a:pt x="23" y="134"/>
                    </a:cubicBezTo>
                    <a:cubicBezTo>
                      <a:pt x="30" y="134"/>
                      <a:pt x="43" y="129"/>
                      <a:pt x="48" y="129"/>
                    </a:cubicBezTo>
                    <a:cubicBezTo>
                      <a:pt x="51" y="129"/>
                      <a:pt x="53" y="128"/>
                      <a:pt x="55" y="128"/>
                    </a:cubicBezTo>
                    <a:cubicBezTo>
                      <a:pt x="56" y="126"/>
                      <a:pt x="58" y="124"/>
                      <a:pt x="59" y="123"/>
                    </a:cubicBezTo>
                    <a:cubicBezTo>
                      <a:pt x="62" y="120"/>
                      <a:pt x="69" y="117"/>
                      <a:pt x="71" y="11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4" name="Freeform 90">
                <a:extLst>
                  <a:ext uri="{FF2B5EF4-FFF2-40B4-BE49-F238E27FC236}">
                    <a16:creationId xmlns:a16="http://schemas.microsoft.com/office/drawing/2014/main" id="{EAE5E0A7-5DFB-4341-A6AC-E416EB7322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54606" y="3466200"/>
                <a:ext cx="391474" cy="313681"/>
              </a:xfrm>
              <a:custGeom>
                <a:avLst/>
                <a:gdLst>
                  <a:gd name="T0" fmla="*/ 102 w 170"/>
                  <a:gd name="T1" fmla="*/ 28 h 136"/>
                  <a:gd name="T2" fmla="*/ 88 w 170"/>
                  <a:gd name="T3" fmla="*/ 27 h 136"/>
                  <a:gd name="T4" fmla="*/ 78 w 170"/>
                  <a:gd name="T5" fmla="*/ 23 h 136"/>
                  <a:gd name="T6" fmla="*/ 59 w 170"/>
                  <a:gd name="T7" fmla="*/ 9 h 136"/>
                  <a:gd name="T8" fmla="*/ 43 w 170"/>
                  <a:gd name="T9" fmla="*/ 0 h 136"/>
                  <a:gd name="T10" fmla="*/ 36 w 170"/>
                  <a:gd name="T11" fmla="*/ 0 h 136"/>
                  <a:gd name="T12" fmla="*/ 28 w 170"/>
                  <a:gd name="T13" fmla="*/ 2 h 136"/>
                  <a:gd name="T14" fmla="*/ 20 w 170"/>
                  <a:gd name="T15" fmla="*/ 7 h 136"/>
                  <a:gd name="T16" fmla="*/ 26 w 170"/>
                  <a:gd name="T17" fmla="*/ 14 h 136"/>
                  <a:gd name="T18" fmla="*/ 21 w 170"/>
                  <a:gd name="T19" fmla="*/ 18 h 136"/>
                  <a:gd name="T20" fmla="*/ 16 w 170"/>
                  <a:gd name="T21" fmla="*/ 21 h 136"/>
                  <a:gd name="T22" fmla="*/ 10 w 170"/>
                  <a:gd name="T23" fmla="*/ 25 h 136"/>
                  <a:gd name="T24" fmla="*/ 2 w 170"/>
                  <a:gd name="T25" fmla="*/ 22 h 136"/>
                  <a:gd name="T26" fmla="*/ 1 w 170"/>
                  <a:gd name="T27" fmla="*/ 24 h 136"/>
                  <a:gd name="T28" fmla="*/ 1 w 170"/>
                  <a:gd name="T29" fmla="*/ 26 h 136"/>
                  <a:gd name="T30" fmla="*/ 2 w 170"/>
                  <a:gd name="T31" fmla="*/ 35 h 136"/>
                  <a:gd name="T32" fmla="*/ 9 w 170"/>
                  <a:gd name="T33" fmla="*/ 43 h 136"/>
                  <a:gd name="T34" fmla="*/ 20 w 170"/>
                  <a:gd name="T35" fmla="*/ 61 h 136"/>
                  <a:gd name="T36" fmla="*/ 26 w 170"/>
                  <a:gd name="T37" fmla="*/ 70 h 136"/>
                  <a:gd name="T38" fmla="*/ 34 w 170"/>
                  <a:gd name="T39" fmla="*/ 79 h 136"/>
                  <a:gd name="T40" fmla="*/ 36 w 170"/>
                  <a:gd name="T41" fmla="*/ 88 h 136"/>
                  <a:gd name="T42" fmla="*/ 42 w 170"/>
                  <a:gd name="T43" fmla="*/ 102 h 136"/>
                  <a:gd name="T44" fmla="*/ 52 w 170"/>
                  <a:gd name="T45" fmla="*/ 112 h 136"/>
                  <a:gd name="T46" fmla="*/ 59 w 170"/>
                  <a:gd name="T47" fmla="*/ 125 h 136"/>
                  <a:gd name="T48" fmla="*/ 62 w 170"/>
                  <a:gd name="T49" fmla="*/ 131 h 136"/>
                  <a:gd name="T50" fmla="*/ 64 w 170"/>
                  <a:gd name="T51" fmla="*/ 136 h 136"/>
                  <a:gd name="T52" fmla="*/ 68 w 170"/>
                  <a:gd name="T53" fmla="*/ 133 h 136"/>
                  <a:gd name="T54" fmla="*/ 68 w 170"/>
                  <a:gd name="T55" fmla="*/ 129 h 136"/>
                  <a:gd name="T56" fmla="*/ 71 w 170"/>
                  <a:gd name="T57" fmla="*/ 126 h 136"/>
                  <a:gd name="T58" fmla="*/ 77 w 170"/>
                  <a:gd name="T59" fmla="*/ 127 h 136"/>
                  <a:gd name="T60" fmla="*/ 87 w 170"/>
                  <a:gd name="T61" fmla="*/ 128 h 136"/>
                  <a:gd name="T62" fmla="*/ 98 w 170"/>
                  <a:gd name="T63" fmla="*/ 130 h 136"/>
                  <a:gd name="T64" fmla="*/ 104 w 170"/>
                  <a:gd name="T65" fmla="*/ 128 h 136"/>
                  <a:gd name="T66" fmla="*/ 116 w 170"/>
                  <a:gd name="T67" fmla="*/ 117 h 136"/>
                  <a:gd name="T68" fmla="*/ 132 w 170"/>
                  <a:gd name="T69" fmla="*/ 116 h 136"/>
                  <a:gd name="T70" fmla="*/ 165 w 170"/>
                  <a:gd name="T71" fmla="*/ 105 h 136"/>
                  <a:gd name="T72" fmla="*/ 170 w 170"/>
                  <a:gd name="T73" fmla="*/ 89 h 136"/>
                  <a:gd name="T74" fmla="*/ 166 w 170"/>
                  <a:gd name="T75" fmla="*/ 83 h 136"/>
                  <a:gd name="T76" fmla="*/ 146 w 170"/>
                  <a:gd name="T77" fmla="*/ 81 h 136"/>
                  <a:gd name="T78" fmla="*/ 140 w 170"/>
                  <a:gd name="T79" fmla="*/ 72 h 136"/>
                  <a:gd name="T80" fmla="*/ 136 w 170"/>
                  <a:gd name="T81" fmla="*/ 67 h 136"/>
                  <a:gd name="T82" fmla="*/ 130 w 170"/>
                  <a:gd name="T83" fmla="*/ 62 h 136"/>
                  <a:gd name="T84" fmla="*/ 125 w 170"/>
                  <a:gd name="T85" fmla="*/ 54 h 136"/>
                  <a:gd name="T86" fmla="*/ 122 w 170"/>
                  <a:gd name="T87" fmla="*/ 45 h 136"/>
                  <a:gd name="T88" fmla="*/ 113 w 170"/>
                  <a:gd name="T89" fmla="*/ 35 h 136"/>
                  <a:gd name="T90" fmla="*/ 112 w 170"/>
                  <a:gd name="T91" fmla="*/ 32 h 136"/>
                  <a:gd name="T92" fmla="*/ 106 w 170"/>
                  <a:gd name="T93" fmla="*/ 32 h 136"/>
                  <a:gd name="T94" fmla="*/ 102 w 170"/>
                  <a:gd name="T95" fmla="*/ 28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70" h="136">
                    <a:moveTo>
                      <a:pt x="102" y="28"/>
                    </a:moveTo>
                    <a:cubicBezTo>
                      <a:pt x="102" y="28"/>
                      <a:pt x="90" y="27"/>
                      <a:pt x="88" y="27"/>
                    </a:cubicBezTo>
                    <a:cubicBezTo>
                      <a:pt x="86" y="27"/>
                      <a:pt x="81" y="26"/>
                      <a:pt x="78" y="23"/>
                    </a:cubicBezTo>
                    <a:cubicBezTo>
                      <a:pt x="75" y="21"/>
                      <a:pt x="61" y="10"/>
                      <a:pt x="59" y="9"/>
                    </a:cubicBezTo>
                    <a:cubicBezTo>
                      <a:pt x="56" y="8"/>
                      <a:pt x="46" y="0"/>
                      <a:pt x="43" y="0"/>
                    </a:cubicBezTo>
                    <a:cubicBezTo>
                      <a:pt x="40" y="0"/>
                      <a:pt x="40" y="0"/>
                      <a:pt x="36" y="0"/>
                    </a:cubicBezTo>
                    <a:cubicBezTo>
                      <a:pt x="33" y="0"/>
                      <a:pt x="34" y="2"/>
                      <a:pt x="28" y="2"/>
                    </a:cubicBezTo>
                    <a:cubicBezTo>
                      <a:pt x="22" y="3"/>
                      <a:pt x="18" y="7"/>
                      <a:pt x="20" y="7"/>
                    </a:cubicBezTo>
                    <a:cubicBezTo>
                      <a:pt x="22" y="8"/>
                      <a:pt x="28" y="14"/>
                      <a:pt x="26" y="14"/>
                    </a:cubicBezTo>
                    <a:cubicBezTo>
                      <a:pt x="24" y="15"/>
                      <a:pt x="24" y="18"/>
                      <a:pt x="21" y="18"/>
                    </a:cubicBezTo>
                    <a:cubicBezTo>
                      <a:pt x="19" y="18"/>
                      <a:pt x="16" y="19"/>
                      <a:pt x="16" y="21"/>
                    </a:cubicBezTo>
                    <a:cubicBezTo>
                      <a:pt x="16" y="22"/>
                      <a:pt x="13" y="26"/>
                      <a:pt x="10" y="25"/>
                    </a:cubicBezTo>
                    <a:cubicBezTo>
                      <a:pt x="8" y="25"/>
                      <a:pt x="5" y="23"/>
                      <a:pt x="2" y="22"/>
                    </a:cubicBezTo>
                    <a:cubicBezTo>
                      <a:pt x="1" y="24"/>
                      <a:pt x="1" y="24"/>
                      <a:pt x="1" y="24"/>
                    </a:cubicBezTo>
                    <a:cubicBezTo>
                      <a:pt x="1" y="26"/>
                      <a:pt x="1" y="26"/>
                      <a:pt x="1" y="26"/>
                    </a:cubicBezTo>
                    <a:cubicBezTo>
                      <a:pt x="1" y="28"/>
                      <a:pt x="0" y="35"/>
                      <a:pt x="2" y="35"/>
                    </a:cubicBezTo>
                    <a:cubicBezTo>
                      <a:pt x="4" y="36"/>
                      <a:pt x="5" y="39"/>
                      <a:pt x="9" y="43"/>
                    </a:cubicBezTo>
                    <a:cubicBezTo>
                      <a:pt x="12" y="47"/>
                      <a:pt x="20" y="59"/>
                      <a:pt x="20" y="61"/>
                    </a:cubicBezTo>
                    <a:cubicBezTo>
                      <a:pt x="20" y="64"/>
                      <a:pt x="22" y="67"/>
                      <a:pt x="26" y="70"/>
                    </a:cubicBezTo>
                    <a:cubicBezTo>
                      <a:pt x="31" y="74"/>
                      <a:pt x="31" y="77"/>
                      <a:pt x="34" y="79"/>
                    </a:cubicBezTo>
                    <a:cubicBezTo>
                      <a:pt x="36" y="81"/>
                      <a:pt x="36" y="84"/>
                      <a:pt x="36" y="88"/>
                    </a:cubicBezTo>
                    <a:cubicBezTo>
                      <a:pt x="36" y="93"/>
                      <a:pt x="38" y="99"/>
                      <a:pt x="42" y="102"/>
                    </a:cubicBezTo>
                    <a:cubicBezTo>
                      <a:pt x="47" y="104"/>
                      <a:pt x="50" y="107"/>
                      <a:pt x="52" y="112"/>
                    </a:cubicBezTo>
                    <a:cubicBezTo>
                      <a:pt x="54" y="118"/>
                      <a:pt x="56" y="122"/>
                      <a:pt x="59" y="125"/>
                    </a:cubicBezTo>
                    <a:cubicBezTo>
                      <a:pt x="62" y="127"/>
                      <a:pt x="60" y="129"/>
                      <a:pt x="62" y="131"/>
                    </a:cubicBezTo>
                    <a:cubicBezTo>
                      <a:pt x="62" y="132"/>
                      <a:pt x="64" y="134"/>
                      <a:pt x="64" y="136"/>
                    </a:cubicBezTo>
                    <a:cubicBezTo>
                      <a:pt x="66" y="134"/>
                      <a:pt x="68" y="134"/>
                      <a:pt x="68" y="133"/>
                    </a:cubicBezTo>
                    <a:cubicBezTo>
                      <a:pt x="68" y="133"/>
                      <a:pt x="67" y="130"/>
                      <a:pt x="68" y="129"/>
                    </a:cubicBezTo>
                    <a:cubicBezTo>
                      <a:pt x="68" y="128"/>
                      <a:pt x="70" y="127"/>
                      <a:pt x="71" y="126"/>
                    </a:cubicBezTo>
                    <a:cubicBezTo>
                      <a:pt x="73" y="126"/>
                      <a:pt x="74" y="128"/>
                      <a:pt x="77" y="127"/>
                    </a:cubicBezTo>
                    <a:cubicBezTo>
                      <a:pt x="80" y="127"/>
                      <a:pt x="86" y="127"/>
                      <a:pt x="87" y="128"/>
                    </a:cubicBezTo>
                    <a:cubicBezTo>
                      <a:pt x="88" y="129"/>
                      <a:pt x="96" y="128"/>
                      <a:pt x="98" y="130"/>
                    </a:cubicBezTo>
                    <a:cubicBezTo>
                      <a:pt x="100" y="131"/>
                      <a:pt x="102" y="131"/>
                      <a:pt x="104" y="128"/>
                    </a:cubicBezTo>
                    <a:cubicBezTo>
                      <a:pt x="105" y="125"/>
                      <a:pt x="115" y="118"/>
                      <a:pt x="116" y="117"/>
                    </a:cubicBezTo>
                    <a:cubicBezTo>
                      <a:pt x="118" y="116"/>
                      <a:pt x="128" y="117"/>
                      <a:pt x="132" y="116"/>
                    </a:cubicBezTo>
                    <a:cubicBezTo>
                      <a:pt x="136" y="115"/>
                      <a:pt x="163" y="106"/>
                      <a:pt x="165" y="105"/>
                    </a:cubicBezTo>
                    <a:cubicBezTo>
                      <a:pt x="166" y="105"/>
                      <a:pt x="170" y="90"/>
                      <a:pt x="170" y="89"/>
                    </a:cubicBezTo>
                    <a:cubicBezTo>
                      <a:pt x="170" y="87"/>
                      <a:pt x="168" y="83"/>
                      <a:pt x="166" y="83"/>
                    </a:cubicBezTo>
                    <a:cubicBezTo>
                      <a:pt x="164" y="83"/>
                      <a:pt x="147" y="81"/>
                      <a:pt x="146" y="81"/>
                    </a:cubicBezTo>
                    <a:cubicBezTo>
                      <a:pt x="145" y="80"/>
                      <a:pt x="140" y="77"/>
                      <a:pt x="140" y="72"/>
                    </a:cubicBezTo>
                    <a:cubicBezTo>
                      <a:pt x="138" y="71"/>
                      <a:pt x="137" y="69"/>
                      <a:pt x="136" y="67"/>
                    </a:cubicBezTo>
                    <a:cubicBezTo>
                      <a:pt x="134" y="67"/>
                      <a:pt x="131" y="67"/>
                      <a:pt x="130" y="62"/>
                    </a:cubicBezTo>
                    <a:cubicBezTo>
                      <a:pt x="128" y="61"/>
                      <a:pt x="124" y="55"/>
                      <a:pt x="125" y="54"/>
                    </a:cubicBezTo>
                    <a:cubicBezTo>
                      <a:pt x="127" y="52"/>
                      <a:pt x="124" y="47"/>
                      <a:pt x="122" y="45"/>
                    </a:cubicBezTo>
                    <a:cubicBezTo>
                      <a:pt x="119" y="42"/>
                      <a:pt x="114" y="38"/>
                      <a:pt x="113" y="35"/>
                    </a:cubicBezTo>
                    <a:cubicBezTo>
                      <a:pt x="113" y="35"/>
                      <a:pt x="113" y="33"/>
                      <a:pt x="112" y="32"/>
                    </a:cubicBezTo>
                    <a:cubicBezTo>
                      <a:pt x="106" y="32"/>
                      <a:pt x="106" y="32"/>
                      <a:pt x="106" y="32"/>
                    </a:cubicBezTo>
                    <a:lnTo>
                      <a:pt x="102" y="28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5" name="Freeform 91">
                <a:extLst>
                  <a:ext uri="{FF2B5EF4-FFF2-40B4-BE49-F238E27FC236}">
                    <a16:creationId xmlns:a16="http://schemas.microsoft.com/office/drawing/2014/main" id="{DF6C08B4-317D-4F73-8046-0A2E6A9F48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77070" y="3609238"/>
                <a:ext cx="150567" cy="165624"/>
              </a:xfrm>
              <a:custGeom>
                <a:avLst/>
                <a:gdLst>
                  <a:gd name="T0" fmla="*/ 32 w 65"/>
                  <a:gd name="T1" fmla="*/ 2 h 72"/>
                  <a:gd name="T2" fmla="*/ 32 w 65"/>
                  <a:gd name="T3" fmla="*/ 8 h 72"/>
                  <a:gd name="T4" fmla="*/ 27 w 65"/>
                  <a:gd name="T5" fmla="*/ 14 h 72"/>
                  <a:gd name="T6" fmla="*/ 24 w 65"/>
                  <a:gd name="T7" fmla="*/ 21 h 72"/>
                  <a:gd name="T8" fmla="*/ 26 w 65"/>
                  <a:gd name="T9" fmla="*/ 21 h 72"/>
                  <a:gd name="T10" fmla="*/ 30 w 65"/>
                  <a:gd name="T11" fmla="*/ 27 h 72"/>
                  <a:gd name="T12" fmla="*/ 25 w 65"/>
                  <a:gd name="T13" fmla="*/ 43 h 72"/>
                  <a:gd name="T14" fmla="*/ 0 w 65"/>
                  <a:gd name="T15" fmla="*/ 52 h 72"/>
                  <a:gd name="T16" fmla="*/ 10 w 65"/>
                  <a:gd name="T17" fmla="*/ 72 h 72"/>
                  <a:gd name="T18" fmla="*/ 12 w 65"/>
                  <a:gd name="T19" fmla="*/ 71 h 72"/>
                  <a:gd name="T20" fmla="*/ 25 w 65"/>
                  <a:gd name="T21" fmla="*/ 69 h 72"/>
                  <a:gd name="T22" fmla="*/ 28 w 65"/>
                  <a:gd name="T23" fmla="*/ 63 h 72"/>
                  <a:gd name="T24" fmla="*/ 37 w 65"/>
                  <a:gd name="T25" fmla="*/ 61 h 72"/>
                  <a:gd name="T26" fmla="*/ 42 w 65"/>
                  <a:gd name="T27" fmla="*/ 54 h 72"/>
                  <a:gd name="T28" fmla="*/ 47 w 65"/>
                  <a:gd name="T29" fmla="*/ 51 h 72"/>
                  <a:gd name="T30" fmla="*/ 50 w 65"/>
                  <a:gd name="T31" fmla="*/ 40 h 72"/>
                  <a:gd name="T32" fmla="*/ 56 w 65"/>
                  <a:gd name="T33" fmla="*/ 36 h 72"/>
                  <a:gd name="T34" fmla="*/ 63 w 65"/>
                  <a:gd name="T35" fmla="*/ 26 h 72"/>
                  <a:gd name="T36" fmla="*/ 62 w 65"/>
                  <a:gd name="T37" fmla="*/ 22 h 72"/>
                  <a:gd name="T38" fmla="*/ 56 w 65"/>
                  <a:gd name="T39" fmla="*/ 14 h 72"/>
                  <a:gd name="T40" fmla="*/ 42 w 65"/>
                  <a:gd name="T41" fmla="*/ 9 h 72"/>
                  <a:gd name="T42" fmla="*/ 38 w 65"/>
                  <a:gd name="T43" fmla="*/ 0 h 72"/>
                  <a:gd name="T44" fmla="*/ 35 w 65"/>
                  <a:gd name="T45" fmla="*/ 2 h 72"/>
                  <a:gd name="T46" fmla="*/ 32 w 65"/>
                  <a:gd name="T47" fmla="*/ 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65" h="72">
                    <a:moveTo>
                      <a:pt x="32" y="2"/>
                    </a:moveTo>
                    <a:cubicBezTo>
                      <a:pt x="32" y="8"/>
                      <a:pt x="32" y="8"/>
                      <a:pt x="32" y="8"/>
                    </a:cubicBezTo>
                    <a:cubicBezTo>
                      <a:pt x="27" y="14"/>
                      <a:pt x="27" y="14"/>
                      <a:pt x="27" y="14"/>
                    </a:cubicBezTo>
                    <a:cubicBezTo>
                      <a:pt x="24" y="21"/>
                      <a:pt x="24" y="21"/>
                      <a:pt x="24" y="21"/>
                    </a:cubicBezTo>
                    <a:cubicBezTo>
                      <a:pt x="25" y="21"/>
                      <a:pt x="26" y="21"/>
                      <a:pt x="26" y="21"/>
                    </a:cubicBezTo>
                    <a:cubicBezTo>
                      <a:pt x="28" y="21"/>
                      <a:pt x="30" y="25"/>
                      <a:pt x="30" y="27"/>
                    </a:cubicBezTo>
                    <a:cubicBezTo>
                      <a:pt x="30" y="28"/>
                      <a:pt x="26" y="43"/>
                      <a:pt x="25" y="43"/>
                    </a:cubicBezTo>
                    <a:cubicBezTo>
                      <a:pt x="24" y="44"/>
                      <a:pt x="9" y="49"/>
                      <a:pt x="0" y="52"/>
                    </a:cubicBezTo>
                    <a:cubicBezTo>
                      <a:pt x="2" y="56"/>
                      <a:pt x="6" y="65"/>
                      <a:pt x="10" y="72"/>
                    </a:cubicBezTo>
                    <a:cubicBezTo>
                      <a:pt x="10" y="72"/>
                      <a:pt x="11" y="72"/>
                      <a:pt x="12" y="71"/>
                    </a:cubicBezTo>
                    <a:cubicBezTo>
                      <a:pt x="16" y="68"/>
                      <a:pt x="21" y="70"/>
                      <a:pt x="25" y="69"/>
                    </a:cubicBezTo>
                    <a:cubicBezTo>
                      <a:pt x="28" y="68"/>
                      <a:pt x="25" y="65"/>
                      <a:pt x="28" y="63"/>
                    </a:cubicBezTo>
                    <a:cubicBezTo>
                      <a:pt x="31" y="60"/>
                      <a:pt x="35" y="62"/>
                      <a:pt x="37" y="61"/>
                    </a:cubicBezTo>
                    <a:cubicBezTo>
                      <a:pt x="38" y="60"/>
                      <a:pt x="39" y="55"/>
                      <a:pt x="42" y="54"/>
                    </a:cubicBezTo>
                    <a:cubicBezTo>
                      <a:pt x="45" y="53"/>
                      <a:pt x="47" y="53"/>
                      <a:pt x="47" y="51"/>
                    </a:cubicBezTo>
                    <a:cubicBezTo>
                      <a:pt x="47" y="49"/>
                      <a:pt x="47" y="41"/>
                      <a:pt x="50" y="40"/>
                    </a:cubicBezTo>
                    <a:cubicBezTo>
                      <a:pt x="52" y="40"/>
                      <a:pt x="56" y="37"/>
                      <a:pt x="56" y="36"/>
                    </a:cubicBezTo>
                    <a:cubicBezTo>
                      <a:pt x="56" y="34"/>
                      <a:pt x="61" y="29"/>
                      <a:pt x="63" y="26"/>
                    </a:cubicBezTo>
                    <a:cubicBezTo>
                      <a:pt x="65" y="24"/>
                      <a:pt x="65" y="22"/>
                      <a:pt x="62" y="22"/>
                    </a:cubicBezTo>
                    <a:cubicBezTo>
                      <a:pt x="60" y="22"/>
                      <a:pt x="57" y="15"/>
                      <a:pt x="56" y="14"/>
                    </a:cubicBezTo>
                    <a:cubicBezTo>
                      <a:pt x="55" y="12"/>
                      <a:pt x="48" y="13"/>
                      <a:pt x="42" y="9"/>
                    </a:cubicBezTo>
                    <a:cubicBezTo>
                      <a:pt x="40" y="7"/>
                      <a:pt x="39" y="3"/>
                      <a:pt x="38" y="0"/>
                    </a:cubicBezTo>
                    <a:cubicBezTo>
                      <a:pt x="35" y="2"/>
                      <a:pt x="35" y="2"/>
                      <a:pt x="35" y="2"/>
                    </a:cubicBezTo>
                    <a:lnTo>
                      <a:pt x="32" y="2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6" name="Freeform 92">
                <a:extLst>
                  <a:ext uri="{FF2B5EF4-FFF2-40B4-BE49-F238E27FC236}">
                    <a16:creationId xmlns:a16="http://schemas.microsoft.com/office/drawing/2014/main" id="{052F22A9-7841-4204-A51F-76640142C5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54485" y="3587908"/>
                <a:ext cx="20076" cy="32623"/>
              </a:xfrm>
              <a:custGeom>
                <a:avLst/>
                <a:gdLst>
                  <a:gd name="T0" fmla="*/ 6 w 9"/>
                  <a:gd name="T1" fmla="*/ 14 h 14"/>
                  <a:gd name="T2" fmla="*/ 6 w 9"/>
                  <a:gd name="T3" fmla="*/ 12 h 14"/>
                  <a:gd name="T4" fmla="*/ 5 w 9"/>
                  <a:gd name="T5" fmla="*/ 1 h 14"/>
                  <a:gd name="T6" fmla="*/ 0 w 9"/>
                  <a:gd name="T7" fmla="*/ 9 h 14"/>
                  <a:gd name="T8" fmla="*/ 0 w 9"/>
                  <a:gd name="T9" fmla="*/ 9 h 14"/>
                  <a:gd name="T10" fmla="*/ 6 w 9"/>
                  <a:gd name="T11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" h="14">
                    <a:moveTo>
                      <a:pt x="6" y="14"/>
                    </a:moveTo>
                    <a:cubicBezTo>
                      <a:pt x="6" y="13"/>
                      <a:pt x="6" y="12"/>
                      <a:pt x="6" y="12"/>
                    </a:cubicBezTo>
                    <a:cubicBezTo>
                      <a:pt x="8" y="9"/>
                      <a:pt x="9" y="2"/>
                      <a:pt x="5" y="1"/>
                    </a:cubicBezTo>
                    <a:cubicBezTo>
                      <a:pt x="2" y="0"/>
                      <a:pt x="0" y="7"/>
                      <a:pt x="0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1" y="14"/>
                      <a:pt x="4" y="14"/>
                      <a:pt x="6" y="14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7" name="Freeform 93">
                <a:extLst>
                  <a:ext uri="{FF2B5EF4-FFF2-40B4-BE49-F238E27FC236}">
                    <a16:creationId xmlns:a16="http://schemas.microsoft.com/office/drawing/2014/main" id="{6A535125-5DB5-4A2E-8311-CA830F2F5E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77070" y="3586653"/>
                <a:ext cx="87831" cy="71519"/>
              </a:xfrm>
              <a:custGeom>
                <a:avLst/>
                <a:gdLst>
                  <a:gd name="T0" fmla="*/ 6 w 38"/>
                  <a:gd name="T1" fmla="*/ 29 h 31"/>
                  <a:gd name="T2" fmla="*/ 24 w 38"/>
                  <a:gd name="T3" fmla="*/ 31 h 31"/>
                  <a:gd name="T4" fmla="*/ 27 w 38"/>
                  <a:gd name="T5" fmla="*/ 24 h 31"/>
                  <a:gd name="T6" fmla="*/ 32 w 38"/>
                  <a:gd name="T7" fmla="*/ 18 h 31"/>
                  <a:gd name="T8" fmla="*/ 32 w 38"/>
                  <a:gd name="T9" fmla="*/ 12 h 31"/>
                  <a:gd name="T10" fmla="*/ 35 w 38"/>
                  <a:gd name="T11" fmla="*/ 12 h 31"/>
                  <a:gd name="T12" fmla="*/ 38 w 38"/>
                  <a:gd name="T13" fmla="*/ 10 h 31"/>
                  <a:gd name="T14" fmla="*/ 36 w 38"/>
                  <a:gd name="T15" fmla="*/ 0 h 31"/>
                  <a:gd name="T16" fmla="*/ 26 w 38"/>
                  <a:gd name="T17" fmla="*/ 11 h 31"/>
                  <a:gd name="T18" fmla="*/ 11 w 38"/>
                  <a:gd name="T19" fmla="*/ 18 h 31"/>
                  <a:gd name="T20" fmla="*/ 1 w 38"/>
                  <a:gd name="T21" fmla="*/ 20 h 31"/>
                  <a:gd name="T22" fmla="*/ 0 w 38"/>
                  <a:gd name="T23" fmla="*/ 20 h 31"/>
                  <a:gd name="T24" fmla="*/ 6 w 38"/>
                  <a:gd name="T25" fmla="*/ 29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8" h="31">
                    <a:moveTo>
                      <a:pt x="6" y="29"/>
                    </a:moveTo>
                    <a:cubicBezTo>
                      <a:pt x="7" y="29"/>
                      <a:pt x="19" y="31"/>
                      <a:pt x="24" y="31"/>
                    </a:cubicBezTo>
                    <a:cubicBezTo>
                      <a:pt x="27" y="24"/>
                      <a:pt x="27" y="24"/>
                      <a:pt x="27" y="24"/>
                    </a:cubicBezTo>
                    <a:cubicBezTo>
                      <a:pt x="32" y="18"/>
                      <a:pt x="32" y="18"/>
                      <a:pt x="32" y="18"/>
                    </a:cubicBezTo>
                    <a:cubicBezTo>
                      <a:pt x="32" y="12"/>
                      <a:pt x="32" y="12"/>
                      <a:pt x="32" y="12"/>
                    </a:cubicBezTo>
                    <a:cubicBezTo>
                      <a:pt x="35" y="12"/>
                      <a:pt x="35" y="12"/>
                      <a:pt x="35" y="12"/>
                    </a:cubicBezTo>
                    <a:cubicBezTo>
                      <a:pt x="38" y="10"/>
                      <a:pt x="38" y="10"/>
                      <a:pt x="38" y="10"/>
                    </a:cubicBezTo>
                    <a:cubicBezTo>
                      <a:pt x="37" y="5"/>
                      <a:pt x="37" y="0"/>
                      <a:pt x="36" y="0"/>
                    </a:cubicBezTo>
                    <a:cubicBezTo>
                      <a:pt x="34" y="0"/>
                      <a:pt x="28" y="6"/>
                      <a:pt x="26" y="11"/>
                    </a:cubicBezTo>
                    <a:cubicBezTo>
                      <a:pt x="24" y="15"/>
                      <a:pt x="17" y="19"/>
                      <a:pt x="11" y="18"/>
                    </a:cubicBezTo>
                    <a:cubicBezTo>
                      <a:pt x="5" y="17"/>
                      <a:pt x="3" y="19"/>
                      <a:pt x="1" y="20"/>
                    </a:cubicBezTo>
                    <a:cubicBezTo>
                      <a:pt x="1" y="21"/>
                      <a:pt x="0" y="21"/>
                      <a:pt x="0" y="20"/>
                    </a:cubicBezTo>
                    <a:cubicBezTo>
                      <a:pt x="0" y="25"/>
                      <a:pt x="5" y="28"/>
                      <a:pt x="6" y="2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8" name="Freeform 94">
                <a:extLst>
                  <a:ext uri="{FF2B5EF4-FFF2-40B4-BE49-F238E27FC236}">
                    <a16:creationId xmlns:a16="http://schemas.microsoft.com/office/drawing/2014/main" id="{F28E06A1-1ED9-475E-A10B-1ACE2AD48C5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52869" y="3964326"/>
                <a:ext cx="360106" cy="112925"/>
              </a:xfrm>
              <a:custGeom>
                <a:avLst/>
                <a:gdLst>
                  <a:gd name="T0" fmla="*/ 28 w 156"/>
                  <a:gd name="T1" fmla="*/ 18 h 49"/>
                  <a:gd name="T2" fmla="*/ 22 w 156"/>
                  <a:gd name="T3" fmla="*/ 9 h 49"/>
                  <a:gd name="T4" fmla="*/ 18 w 156"/>
                  <a:gd name="T5" fmla="*/ 5 h 49"/>
                  <a:gd name="T6" fmla="*/ 17 w 156"/>
                  <a:gd name="T7" fmla="*/ 4 h 49"/>
                  <a:gd name="T8" fmla="*/ 15 w 156"/>
                  <a:gd name="T9" fmla="*/ 7 h 49"/>
                  <a:gd name="T10" fmla="*/ 8 w 156"/>
                  <a:gd name="T11" fmla="*/ 7 h 49"/>
                  <a:gd name="T12" fmla="*/ 4 w 156"/>
                  <a:gd name="T13" fmla="*/ 2 h 49"/>
                  <a:gd name="T14" fmla="*/ 0 w 156"/>
                  <a:gd name="T15" fmla="*/ 2 h 49"/>
                  <a:gd name="T16" fmla="*/ 2 w 156"/>
                  <a:gd name="T17" fmla="*/ 14 h 49"/>
                  <a:gd name="T18" fmla="*/ 10 w 156"/>
                  <a:gd name="T19" fmla="*/ 29 h 49"/>
                  <a:gd name="T20" fmla="*/ 18 w 156"/>
                  <a:gd name="T21" fmla="*/ 37 h 49"/>
                  <a:gd name="T22" fmla="*/ 33 w 156"/>
                  <a:gd name="T23" fmla="*/ 45 h 49"/>
                  <a:gd name="T24" fmla="*/ 28 w 156"/>
                  <a:gd name="T25" fmla="*/ 33 h 49"/>
                  <a:gd name="T26" fmla="*/ 28 w 156"/>
                  <a:gd name="T27" fmla="*/ 18 h 49"/>
                  <a:gd name="T28" fmla="*/ 149 w 156"/>
                  <a:gd name="T29" fmla="*/ 9 h 49"/>
                  <a:gd name="T30" fmla="*/ 142 w 156"/>
                  <a:gd name="T31" fmla="*/ 7 h 49"/>
                  <a:gd name="T32" fmla="*/ 135 w 156"/>
                  <a:gd name="T33" fmla="*/ 0 h 49"/>
                  <a:gd name="T34" fmla="*/ 129 w 156"/>
                  <a:gd name="T35" fmla="*/ 9 h 49"/>
                  <a:gd name="T36" fmla="*/ 124 w 156"/>
                  <a:gd name="T37" fmla="*/ 14 h 49"/>
                  <a:gd name="T38" fmla="*/ 122 w 156"/>
                  <a:gd name="T39" fmla="*/ 16 h 49"/>
                  <a:gd name="T40" fmla="*/ 123 w 156"/>
                  <a:gd name="T41" fmla="*/ 21 h 49"/>
                  <a:gd name="T42" fmla="*/ 117 w 156"/>
                  <a:gd name="T43" fmla="*/ 23 h 49"/>
                  <a:gd name="T44" fmla="*/ 113 w 156"/>
                  <a:gd name="T45" fmla="*/ 17 h 49"/>
                  <a:gd name="T46" fmla="*/ 113 w 156"/>
                  <a:gd name="T47" fmla="*/ 17 h 49"/>
                  <a:gd name="T48" fmla="*/ 106 w 156"/>
                  <a:gd name="T49" fmla="*/ 28 h 49"/>
                  <a:gd name="T50" fmla="*/ 94 w 156"/>
                  <a:gd name="T51" fmla="*/ 32 h 49"/>
                  <a:gd name="T52" fmla="*/ 89 w 156"/>
                  <a:gd name="T53" fmla="*/ 42 h 49"/>
                  <a:gd name="T54" fmla="*/ 77 w 156"/>
                  <a:gd name="T55" fmla="*/ 39 h 49"/>
                  <a:gd name="T56" fmla="*/ 79 w 156"/>
                  <a:gd name="T57" fmla="*/ 44 h 49"/>
                  <a:gd name="T58" fmla="*/ 86 w 156"/>
                  <a:gd name="T59" fmla="*/ 48 h 49"/>
                  <a:gd name="T60" fmla="*/ 96 w 156"/>
                  <a:gd name="T61" fmla="*/ 47 h 49"/>
                  <a:gd name="T62" fmla="*/ 105 w 156"/>
                  <a:gd name="T63" fmla="*/ 43 h 49"/>
                  <a:gd name="T64" fmla="*/ 112 w 156"/>
                  <a:gd name="T65" fmla="*/ 45 h 49"/>
                  <a:gd name="T66" fmla="*/ 119 w 156"/>
                  <a:gd name="T67" fmla="*/ 40 h 49"/>
                  <a:gd name="T68" fmla="*/ 122 w 156"/>
                  <a:gd name="T69" fmla="*/ 32 h 49"/>
                  <a:gd name="T70" fmla="*/ 126 w 156"/>
                  <a:gd name="T71" fmla="*/ 25 h 49"/>
                  <a:gd name="T72" fmla="*/ 139 w 156"/>
                  <a:gd name="T73" fmla="*/ 20 h 49"/>
                  <a:gd name="T74" fmla="*/ 143 w 156"/>
                  <a:gd name="T75" fmla="*/ 21 h 49"/>
                  <a:gd name="T76" fmla="*/ 148 w 156"/>
                  <a:gd name="T77" fmla="*/ 16 h 49"/>
                  <a:gd name="T78" fmla="*/ 155 w 156"/>
                  <a:gd name="T79" fmla="*/ 13 h 49"/>
                  <a:gd name="T80" fmla="*/ 149 w 156"/>
                  <a:gd name="T81" fmla="*/ 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56" h="49">
                    <a:moveTo>
                      <a:pt x="28" y="18"/>
                    </a:moveTo>
                    <a:cubicBezTo>
                      <a:pt x="28" y="12"/>
                      <a:pt x="23" y="13"/>
                      <a:pt x="22" y="9"/>
                    </a:cubicBezTo>
                    <a:cubicBezTo>
                      <a:pt x="20" y="6"/>
                      <a:pt x="18" y="8"/>
                      <a:pt x="18" y="5"/>
                    </a:cubicBezTo>
                    <a:cubicBezTo>
                      <a:pt x="18" y="5"/>
                      <a:pt x="17" y="5"/>
                      <a:pt x="17" y="4"/>
                    </a:cubicBezTo>
                    <a:cubicBezTo>
                      <a:pt x="14" y="5"/>
                      <a:pt x="15" y="7"/>
                      <a:pt x="15" y="7"/>
                    </a:cubicBezTo>
                    <a:cubicBezTo>
                      <a:pt x="14" y="8"/>
                      <a:pt x="8" y="8"/>
                      <a:pt x="8" y="7"/>
                    </a:cubicBezTo>
                    <a:cubicBezTo>
                      <a:pt x="8" y="5"/>
                      <a:pt x="7" y="2"/>
                      <a:pt x="4" y="2"/>
                    </a:cubicBezTo>
                    <a:cubicBezTo>
                      <a:pt x="3" y="2"/>
                      <a:pt x="1" y="1"/>
                      <a:pt x="0" y="2"/>
                    </a:cubicBezTo>
                    <a:cubicBezTo>
                      <a:pt x="2" y="6"/>
                      <a:pt x="2" y="10"/>
                      <a:pt x="2" y="14"/>
                    </a:cubicBezTo>
                    <a:cubicBezTo>
                      <a:pt x="2" y="19"/>
                      <a:pt x="9" y="26"/>
                      <a:pt x="10" y="29"/>
                    </a:cubicBezTo>
                    <a:cubicBezTo>
                      <a:pt x="11" y="32"/>
                      <a:pt x="13" y="33"/>
                      <a:pt x="18" y="37"/>
                    </a:cubicBezTo>
                    <a:cubicBezTo>
                      <a:pt x="22" y="40"/>
                      <a:pt x="32" y="45"/>
                      <a:pt x="33" y="45"/>
                    </a:cubicBezTo>
                    <a:cubicBezTo>
                      <a:pt x="35" y="44"/>
                      <a:pt x="31" y="36"/>
                      <a:pt x="28" y="33"/>
                    </a:cubicBezTo>
                    <a:cubicBezTo>
                      <a:pt x="25" y="30"/>
                      <a:pt x="28" y="23"/>
                      <a:pt x="28" y="18"/>
                    </a:cubicBezTo>
                    <a:close/>
                    <a:moveTo>
                      <a:pt x="149" y="9"/>
                    </a:moveTo>
                    <a:cubicBezTo>
                      <a:pt x="147" y="9"/>
                      <a:pt x="142" y="9"/>
                      <a:pt x="142" y="7"/>
                    </a:cubicBezTo>
                    <a:cubicBezTo>
                      <a:pt x="142" y="4"/>
                      <a:pt x="138" y="0"/>
                      <a:pt x="135" y="0"/>
                    </a:cubicBezTo>
                    <a:cubicBezTo>
                      <a:pt x="132" y="0"/>
                      <a:pt x="129" y="6"/>
                      <a:pt x="129" y="9"/>
                    </a:cubicBezTo>
                    <a:cubicBezTo>
                      <a:pt x="128" y="11"/>
                      <a:pt x="124" y="11"/>
                      <a:pt x="124" y="14"/>
                    </a:cubicBezTo>
                    <a:cubicBezTo>
                      <a:pt x="124" y="15"/>
                      <a:pt x="124" y="16"/>
                      <a:pt x="122" y="16"/>
                    </a:cubicBezTo>
                    <a:cubicBezTo>
                      <a:pt x="123" y="19"/>
                      <a:pt x="124" y="21"/>
                      <a:pt x="123" y="21"/>
                    </a:cubicBezTo>
                    <a:cubicBezTo>
                      <a:pt x="121" y="20"/>
                      <a:pt x="120" y="23"/>
                      <a:pt x="117" y="23"/>
                    </a:cubicBezTo>
                    <a:cubicBezTo>
                      <a:pt x="116" y="23"/>
                      <a:pt x="115" y="20"/>
                      <a:pt x="113" y="17"/>
                    </a:cubicBezTo>
                    <a:cubicBezTo>
                      <a:pt x="113" y="17"/>
                      <a:pt x="113" y="17"/>
                      <a:pt x="113" y="17"/>
                    </a:cubicBezTo>
                    <a:cubicBezTo>
                      <a:pt x="111" y="17"/>
                      <a:pt x="107" y="24"/>
                      <a:pt x="106" y="28"/>
                    </a:cubicBezTo>
                    <a:cubicBezTo>
                      <a:pt x="105" y="33"/>
                      <a:pt x="100" y="31"/>
                      <a:pt x="94" y="32"/>
                    </a:cubicBezTo>
                    <a:cubicBezTo>
                      <a:pt x="88" y="32"/>
                      <a:pt x="90" y="39"/>
                      <a:pt x="89" y="42"/>
                    </a:cubicBezTo>
                    <a:cubicBezTo>
                      <a:pt x="88" y="45"/>
                      <a:pt x="80" y="40"/>
                      <a:pt x="77" y="39"/>
                    </a:cubicBezTo>
                    <a:cubicBezTo>
                      <a:pt x="77" y="42"/>
                      <a:pt x="78" y="44"/>
                      <a:pt x="79" y="44"/>
                    </a:cubicBezTo>
                    <a:cubicBezTo>
                      <a:pt x="81" y="44"/>
                      <a:pt x="84" y="49"/>
                      <a:pt x="86" y="48"/>
                    </a:cubicBezTo>
                    <a:cubicBezTo>
                      <a:pt x="88" y="46"/>
                      <a:pt x="94" y="48"/>
                      <a:pt x="96" y="47"/>
                    </a:cubicBezTo>
                    <a:cubicBezTo>
                      <a:pt x="99" y="46"/>
                      <a:pt x="100" y="43"/>
                      <a:pt x="105" y="43"/>
                    </a:cubicBezTo>
                    <a:cubicBezTo>
                      <a:pt x="109" y="43"/>
                      <a:pt x="107" y="47"/>
                      <a:pt x="112" y="45"/>
                    </a:cubicBezTo>
                    <a:cubicBezTo>
                      <a:pt x="117" y="42"/>
                      <a:pt x="120" y="44"/>
                      <a:pt x="119" y="40"/>
                    </a:cubicBezTo>
                    <a:cubicBezTo>
                      <a:pt x="119" y="36"/>
                      <a:pt x="122" y="36"/>
                      <a:pt x="122" y="32"/>
                    </a:cubicBezTo>
                    <a:cubicBezTo>
                      <a:pt x="121" y="29"/>
                      <a:pt x="127" y="31"/>
                      <a:pt x="126" y="25"/>
                    </a:cubicBezTo>
                    <a:cubicBezTo>
                      <a:pt x="126" y="19"/>
                      <a:pt x="135" y="20"/>
                      <a:pt x="139" y="20"/>
                    </a:cubicBezTo>
                    <a:cubicBezTo>
                      <a:pt x="140" y="20"/>
                      <a:pt x="141" y="20"/>
                      <a:pt x="143" y="21"/>
                    </a:cubicBezTo>
                    <a:cubicBezTo>
                      <a:pt x="145" y="20"/>
                      <a:pt x="149" y="18"/>
                      <a:pt x="148" y="16"/>
                    </a:cubicBezTo>
                    <a:cubicBezTo>
                      <a:pt x="145" y="14"/>
                      <a:pt x="154" y="16"/>
                      <a:pt x="155" y="13"/>
                    </a:cubicBezTo>
                    <a:cubicBezTo>
                      <a:pt x="156" y="10"/>
                      <a:pt x="152" y="8"/>
                      <a:pt x="149" y="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9" name="Freeform 95">
                <a:extLst>
                  <a:ext uri="{FF2B5EF4-FFF2-40B4-BE49-F238E27FC236}">
                    <a16:creationId xmlns:a16="http://schemas.microsoft.com/office/drawing/2014/main" id="{685D9F58-FC5E-4133-8E8A-4B83622C7A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13852" y="4000713"/>
                <a:ext cx="25095" cy="16311"/>
              </a:xfrm>
              <a:custGeom>
                <a:avLst/>
                <a:gdLst>
                  <a:gd name="T0" fmla="*/ 4 w 11"/>
                  <a:gd name="T1" fmla="*/ 7 h 7"/>
                  <a:gd name="T2" fmla="*/ 10 w 11"/>
                  <a:gd name="T3" fmla="*/ 5 h 7"/>
                  <a:gd name="T4" fmla="*/ 9 w 11"/>
                  <a:gd name="T5" fmla="*/ 0 h 7"/>
                  <a:gd name="T6" fmla="*/ 6 w 11"/>
                  <a:gd name="T7" fmla="*/ 2 h 7"/>
                  <a:gd name="T8" fmla="*/ 0 w 11"/>
                  <a:gd name="T9" fmla="*/ 1 h 7"/>
                  <a:gd name="T10" fmla="*/ 4 w 11"/>
                  <a:gd name="T11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" h="7">
                    <a:moveTo>
                      <a:pt x="4" y="7"/>
                    </a:moveTo>
                    <a:cubicBezTo>
                      <a:pt x="7" y="7"/>
                      <a:pt x="8" y="4"/>
                      <a:pt x="10" y="5"/>
                    </a:cubicBezTo>
                    <a:cubicBezTo>
                      <a:pt x="11" y="5"/>
                      <a:pt x="10" y="3"/>
                      <a:pt x="9" y="0"/>
                    </a:cubicBezTo>
                    <a:cubicBezTo>
                      <a:pt x="8" y="1"/>
                      <a:pt x="6" y="1"/>
                      <a:pt x="6" y="2"/>
                    </a:cubicBezTo>
                    <a:cubicBezTo>
                      <a:pt x="6" y="4"/>
                      <a:pt x="2" y="1"/>
                      <a:pt x="0" y="1"/>
                    </a:cubicBezTo>
                    <a:cubicBezTo>
                      <a:pt x="2" y="4"/>
                      <a:pt x="3" y="7"/>
                      <a:pt x="4" y="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0" name="Freeform 96">
                <a:extLst>
                  <a:ext uri="{FF2B5EF4-FFF2-40B4-BE49-F238E27FC236}">
                    <a16:creationId xmlns:a16="http://schemas.microsoft.com/office/drawing/2014/main" id="{F0921AF9-53BF-4227-B542-E904D45149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32399" y="3353274"/>
                <a:ext cx="181935" cy="178171"/>
              </a:xfrm>
              <a:custGeom>
                <a:avLst/>
                <a:gdLst>
                  <a:gd name="T0" fmla="*/ 66 w 79"/>
                  <a:gd name="T1" fmla="*/ 69 h 77"/>
                  <a:gd name="T2" fmla="*/ 70 w 79"/>
                  <a:gd name="T3" fmla="*/ 66 h 77"/>
                  <a:gd name="T4" fmla="*/ 75 w 79"/>
                  <a:gd name="T5" fmla="*/ 69 h 77"/>
                  <a:gd name="T6" fmla="*/ 79 w 79"/>
                  <a:gd name="T7" fmla="*/ 68 h 77"/>
                  <a:gd name="T8" fmla="*/ 74 w 79"/>
                  <a:gd name="T9" fmla="*/ 61 h 77"/>
                  <a:gd name="T10" fmla="*/ 71 w 79"/>
                  <a:gd name="T11" fmla="*/ 56 h 77"/>
                  <a:gd name="T12" fmla="*/ 72 w 79"/>
                  <a:gd name="T13" fmla="*/ 50 h 77"/>
                  <a:gd name="T14" fmla="*/ 68 w 79"/>
                  <a:gd name="T15" fmla="*/ 46 h 77"/>
                  <a:gd name="T16" fmla="*/ 59 w 79"/>
                  <a:gd name="T17" fmla="*/ 40 h 77"/>
                  <a:gd name="T18" fmla="*/ 56 w 79"/>
                  <a:gd name="T19" fmla="*/ 35 h 77"/>
                  <a:gd name="T20" fmla="*/ 55 w 79"/>
                  <a:gd name="T21" fmla="*/ 28 h 77"/>
                  <a:gd name="T22" fmla="*/ 58 w 79"/>
                  <a:gd name="T23" fmla="*/ 22 h 77"/>
                  <a:gd name="T24" fmla="*/ 59 w 79"/>
                  <a:gd name="T25" fmla="*/ 17 h 77"/>
                  <a:gd name="T26" fmla="*/ 56 w 79"/>
                  <a:gd name="T27" fmla="*/ 14 h 77"/>
                  <a:gd name="T28" fmla="*/ 51 w 79"/>
                  <a:gd name="T29" fmla="*/ 9 h 77"/>
                  <a:gd name="T30" fmla="*/ 48 w 79"/>
                  <a:gd name="T31" fmla="*/ 3 h 77"/>
                  <a:gd name="T32" fmla="*/ 40 w 79"/>
                  <a:gd name="T33" fmla="*/ 1 h 77"/>
                  <a:gd name="T34" fmla="*/ 33 w 79"/>
                  <a:gd name="T35" fmla="*/ 0 h 77"/>
                  <a:gd name="T36" fmla="*/ 29 w 79"/>
                  <a:gd name="T37" fmla="*/ 3 h 77"/>
                  <a:gd name="T38" fmla="*/ 29 w 79"/>
                  <a:gd name="T39" fmla="*/ 3 h 77"/>
                  <a:gd name="T40" fmla="*/ 24 w 79"/>
                  <a:gd name="T41" fmla="*/ 6 h 77"/>
                  <a:gd name="T42" fmla="*/ 19 w 79"/>
                  <a:gd name="T43" fmla="*/ 10 h 77"/>
                  <a:gd name="T44" fmla="*/ 20 w 79"/>
                  <a:gd name="T45" fmla="*/ 17 h 77"/>
                  <a:gd name="T46" fmla="*/ 19 w 79"/>
                  <a:gd name="T47" fmla="*/ 23 h 77"/>
                  <a:gd name="T48" fmla="*/ 17 w 79"/>
                  <a:gd name="T49" fmla="*/ 28 h 77"/>
                  <a:gd name="T50" fmla="*/ 0 w 79"/>
                  <a:gd name="T51" fmla="*/ 37 h 77"/>
                  <a:gd name="T52" fmla="*/ 1 w 79"/>
                  <a:gd name="T53" fmla="*/ 41 h 77"/>
                  <a:gd name="T54" fmla="*/ 3 w 79"/>
                  <a:gd name="T55" fmla="*/ 49 h 77"/>
                  <a:gd name="T56" fmla="*/ 9 w 79"/>
                  <a:gd name="T57" fmla="*/ 49 h 77"/>
                  <a:gd name="T58" fmla="*/ 25 w 79"/>
                  <a:gd name="T59" fmla="*/ 58 h 77"/>
                  <a:gd name="T60" fmla="*/ 44 w 79"/>
                  <a:gd name="T61" fmla="*/ 72 h 77"/>
                  <a:gd name="T62" fmla="*/ 54 w 79"/>
                  <a:gd name="T63" fmla="*/ 76 h 77"/>
                  <a:gd name="T64" fmla="*/ 63 w 79"/>
                  <a:gd name="T65" fmla="*/ 77 h 77"/>
                  <a:gd name="T66" fmla="*/ 66 w 79"/>
                  <a:gd name="T67" fmla="*/ 69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79" h="77">
                    <a:moveTo>
                      <a:pt x="66" y="69"/>
                    </a:moveTo>
                    <a:cubicBezTo>
                      <a:pt x="67" y="68"/>
                      <a:pt x="68" y="67"/>
                      <a:pt x="70" y="66"/>
                    </a:cubicBezTo>
                    <a:cubicBezTo>
                      <a:pt x="72" y="66"/>
                      <a:pt x="73" y="67"/>
                      <a:pt x="75" y="69"/>
                    </a:cubicBezTo>
                    <a:cubicBezTo>
                      <a:pt x="76" y="69"/>
                      <a:pt x="78" y="68"/>
                      <a:pt x="79" y="68"/>
                    </a:cubicBezTo>
                    <a:cubicBezTo>
                      <a:pt x="77" y="65"/>
                      <a:pt x="74" y="63"/>
                      <a:pt x="74" y="61"/>
                    </a:cubicBezTo>
                    <a:cubicBezTo>
                      <a:pt x="75" y="59"/>
                      <a:pt x="72" y="57"/>
                      <a:pt x="71" y="56"/>
                    </a:cubicBezTo>
                    <a:cubicBezTo>
                      <a:pt x="71" y="54"/>
                      <a:pt x="73" y="52"/>
                      <a:pt x="72" y="50"/>
                    </a:cubicBezTo>
                    <a:cubicBezTo>
                      <a:pt x="71" y="49"/>
                      <a:pt x="70" y="46"/>
                      <a:pt x="68" y="46"/>
                    </a:cubicBezTo>
                    <a:cubicBezTo>
                      <a:pt x="66" y="45"/>
                      <a:pt x="59" y="42"/>
                      <a:pt x="59" y="40"/>
                    </a:cubicBezTo>
                    <a:cubicBezTo>
                      <a:pt x="60" y="37"/>
                      <a:pt x="57" y="36"/>
                      <a:pt x="56" y="35"/>
                    </a:cubicBezTo>
                    <a:cubicBezTo>
                      <a:pt x="54" y="35"/>
                      <a:pt x="53" y="29"/>
                      <a:pt x="55" y="28"/>
                    </a:cubicBezTo>
                    <a:cubicBezTo>
                      <a:pt x="56" y="27"/>
                      <a:pt x="56" y="22"/>
                      <a:pt x="58" y="22"/>
                    </a:cubicBezTo>
                    <a:cubicBezTo>
                      <a:pt x="60" y="22"/>
                      <a:pt x="58" y="19"/>
                      <a:pt x="59" y="17"/>
                    </a:cubicBezTo>
                    <a:cubicBezTo>
                      <a:pt x="59" y="15"/>
                      <a:pt x="57" y="14"/>
                      <a:pt x="56" y="14"/>
                    </a:cubicBezTo>
                    <a:cubicBezTo>
                      <a:pt x="54" y="14"/>
                      <a:pt x="51" y="11"/>
                      <a:pt x="51" y="9"/>
                    </a:cubicBezTo>
                    <a:cubicBezTo>
                      <a:pt x="51" y="7"/>
                      <a:pt x="48" y="4"/>
                      <a:pt x="48" y="3"/>
                    </a:cubicBezTo>
                    <a:cubicBezTo>
                      <a:pt x="48" y="7"/>
                      <a:pt x="42" y="1"/>
                      <a:pt x="40" y="1"/>
                    </a:cubicBezTo>
                    <a:cubicBezTo>
                      <a:pt x="38" y="2"/>
                      <a:pt x="36" y="0"/>
                      <a:pt x="33" y="0"/>
                    </a:cubicBezTo>
                    <a:cubicBezTo>
                      <a:pt x="30" y="0"/>
                      <a:pt x="30" y="2"/>
                      <a:pt x="29" y="3"/>
                    </a:cubicBezTo>
                    <a:cubicBezTo>
                      <a:pt x="29" y="3"/>
                      <a:pt x="29" y="3"/>
                      <a:pt x="29" y="3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0" y="8"/>
                      <a:pt x="19" y="10"/>
                    </a:cubicBezTo>
                    <a:cubicBezTo>
                      <a:pt x="18" y="13"/>
                      <a:pt x="21" y="15"/>
                      <a:pt x="20" y="17"/>
                    </a:cubicBezTo>
                    <a:cubicBezTo>
                      <a:pt x="19" y="18"/>
                      <a:pt x="19" y="22"/>
                      <a:pt x="19" y="23"/>
                    </a:cubicBezTo>
                    <a:cubicBezTo>
                      <a:pt x="20" y="24"/>
                      <a:pt x="17" y="28"/>
                      <a:pt x="17" y="28"/>
                    </a:cubicBezTo>
                    <a:cubicBezTo>
                      <a:pt x="17" y="28"/>
                      <a:pt x="8" y="33"/>
                      <a:pt x="0" y="37"/>
                    </a:cubicBezTo>
                    <a:cubicBezTo>
                      <a:pt x="0" y="38"/>
                      <a:pt x="0" y="40"/>
                      <a:pt x="1" y="41"/>
                    </a:cubicBezTo>
                    <a:cubicBezTo>
                      <a:pt x="1" y="43"/>
                      <a:pt x="2" y="46"/>
                      <a:pt x="3" y="49"/>
                    </a:cubicBezTo>
                    <a:cubicBezTo>
                      <a:pt x="6" y="49"/>
                      <a:pt x="6" y="49"/>
                      <a:pt x="9" y="49"/>
                    </a:cubicBezTo>
                    <a:cubicBezTo>
                      <a:pt x="12" y="49"/>
                      <a:pt x="22" y="57"/>
                      <a:pt x="25" y="58"/>
                    </a:cubicBezTo>
                    <a:cubicBezTo>
                      <a:pt x="27" y="59"/>
                      <a:pt x="41" y="70"/>
                      <a:pt x="44" y="72"/>
                    </a:cubicBezTo>
                    <a:cubicBezTo>
                      <a:pt x="47" y="75"/>
                      <a:pt x="52" y="76"/>
                      <a:pt x="54" y="76"/>
                    </a:cubicBezTo>
                    <a:cubicBezTo>
                      <a:pt x="55" y="76"/>
                      <a:pt x="59" y="76"/>
                      <a:pt x="63" y="77"/>
                    </a:cubicBezTo>
                    <a:cubicBezTo>
                      <a:pt x="64" y="74"/>
                      <a:pt x="66" y="70"/>
                      <a:pt x="66" y="6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1" name="Freeform 97">
                <a:extLst>
                  <a:ext uri="{FF2B5EF4-FFF2-40B4-BE49-F238E27FC236}">
                    <a16:creationId xmlns:a16="http://schemas.microsoft.com/office/drawing/2014/main" id="{6B1FD5B8-F9B8-41D4-941C-02D38CBE63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77947" y="3505096"/>
                <a:ext cx="35132" cy="35132"/>
              </a:xfrm>
              <a:custGeom>
                <a:avLst/>
                <a:gdLst>
                  <a:gd name="T0" fmla="*/ 5 w 15"/>
                  <a:gd name="T1" fmla="*/ 11 h 15"/>
                  <a:gd name="T2" fmla="*/ 9 w 15"/>
                  <a:gd name="T3" fmla="*/ 15 h 15"/>
                  <a:gd name="T4" fmla="*/ 15 w 15"/>
                  <a:gd name="T5" fmla="*/ 15 h 15"/>
                  <a:gd name="T6" fmla="*/ 12 w 15"/>
                  <a:gd name="T7" fmla="*/ 5 h 15"/>
                  <a:gd name="T8" fmla="*/ 12 w 15"/>
                  <a:gd name="T9" fmla="*/ 3 h 15"/>
                  <a:gd name="T10" fmla="*/ 7 w 15"/>
                  <a:gd name="T11" fmla="*/ 0 h 15"/>
                  <a:gd name="T12" fmla="*/ 3 w 15"/>
                  <a:gd name="T13" fmla="*/ 3 h 15"/>
                  <a:gd name="T14" fmla="*/ 0 w 15"/>
                  <a:gd name="T15" fmla="*/ 11 h 15"/>
                  <a:gd name="T16" fmla="*/ 5 w 15"/>
                  <a:gd name="T17" fmla="*/ 11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5" h="15">
                    <a:moveTo>
                      <a:pt x="5" y="11"/>
                    </a:moveTo>
                    <a:cubicBezTo>
                      <a:pt x="9" y="15"/>
                      <a:pt x="9" y="15"/>
                      <a:pt x="9" y="15"/>
                    </a:cubicBezTo>
                    <a:cubicBezTo>
                      <a:pt x="15" y="15"/>
                      <a:pt x="15" y="15"/>
                      <a:pt x="15" y="15"/>
                    </a:cubicBezTo>
                    <a:cubicBezTo>
                      <a:pt x="14" y="11"/>
                      <a:pt x="12" y="6"/>
                      <a:pt x="12" y="5"/>
                    </a:cubicBezTo>
                    <a:cubicBezTo>
                      <a:pt x="12" y="4"/>
                      <a:pt x="12" y="4"/>
                      <a:pt x="12" y="3"/>
                    </a:cubicBezTo>
                    <a:cubicBezTo>
                      <a:pt x="10" y="1"/>
                      <a:pt x="9" y="0"/>
                      <a:pt x="7" y="0"/>
                    </a:cubicBezTo>
                    <a:cubicBezTo>
                      <a:pt x="5" y="1"/>
                      <a:pt x="4" y="2"/>
                      <a:pt x="3" y="3"/>
                    </a:cubicBezTo>
                    <a:cubicBezTo>
                      <a:pt x="3" y="4"/>
                      <a:pt x="1" y="8"/>
                      <a:pt x="0" y="11"/>
                    </a:cubicBezTo>
                    <a:cubicBezTo>
                      <a:pt x="3" y="11"/>
                      <a:pt x="5" y="11"/>
                      <a:pt x="5" y="1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2" name="Freeform 98">
                <a:extLst>
                  <a:ext uri="{FF2B5EF4-FFF2-40B4-BE49-F238E27FC236}">
                    <a16:creationId xmlns:a16="http://schemas.microsoft.com/office/drawing/2014/main" id="{EE344350-A6AE-4C12-82E2-FCA41E7EDA7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30629" y="3039593"/>
                <a:ext cx="272276" cy="225851"/>
              </a:xfrm>
              <a:custGeom>
                <a:avLst/>
                <a:gdLst>
                  <a:gd name="T0" fmla="*/ 104 w 118"/>
                  <a:gd name="T1" fmla="*/ 22 h 98"/>
                  <a:gd name="T2" fmla="*/ 99 w 118"/>
                  <a:gd name="T3" fmla="*/ 21 h 98"/>
                  <a:gd name="T4" fmla="*/ 94 w 118"/>
                  <a:gd name="T5" fmla="*/ 18 h 98"/>
                  <a:gd name="T6" fmla="*/ 86 w 118"/>
                  <a:gd name="T7" fmla="*/ 17 h 98"/>
                  <a:gd name="T8" fmla="*/ 82 w 118"/>
                  <a:gd name="T9" fmla="*/ 14 h 98"/>
                  <a:gd name="T10" fmla="*/ 79 w 118"/>
                  <a:gd name="T11" fmla="*/ 10 h 98"/>
                  <a:gd name="T12" fmla="*/ 76 w 118"/>
                  <a:gd name="T13" fmla="*/ 12 h 98"/>
                  <a:gd name="T14" fmla="*/ 73 w 118"/>
                  <a:gd name="T15" fmla="*/ 9 h 98"/>
                  <a:gd name="T16" fmla="*/ 68 w 118"/>
                  <a:gd name="T17" fmla="*/ 6 h 98"/>
                  <a:gd name="T18" fmla="*/ 64 w 118"/>
                  <a:gd name="T19" fmla="*/ 4 h 98"/>
                  <a:gd name="T20" fmla="*/ 62 w 118"/>
                  <a:gd name="T21" fmla="*/ 1 h 98"/>
                  <a:gd name="T22" fmla="*/ 60 w 118"/>
                  <a:gd name="T23" fmla="*/ 0 h 98"/>
                  <a:gd name="T24" fmla="*/ 59 w 118"/>
                  <a:gd name="T25" fmla="*/ 0 h 98"/>
                  <a:gd name="T26" fmla="*/ 54 w 118"/>
                  <a:gd name="T27" fmla="*/ 7 h 98"/>
                  <a:gd name="T28" fmla="*/ 45 w 118"/>
                  <a:gd name="T29" fmla="*/ 12 h 98"/>
                  <a:gd name="T30" fmla="*/ 40 w 118"/>
                  <a:gd name="T31" fmla="*/ 18 h 98"/>
                  <a:gd name="T32" fmla="*/ 30 w 118"/>
                  <a:gd name="T33" fmla="*/ 15 h 98"/>
                  <a:gd name="T34" fmla="*/ 25 w 118"/>
                  <a:gd name="T35" fmla="*/ 18 h 98"/>
                  <a:gd name="T36" fmla="*/ 27 w 118"/>
                  <a:gd name="T37" fmla="*/ 26 h 98"/>
                  <a:gd name="T38" fmla="*/ 20 w 118"/>
                  <a:gd name="T39" fmla="*/ 26 h 98"/>
                  <a:gd name="T40" fmla="*/ 15 w 118"/>
                  <a:gd name="T41" fmla="*/ 24 h 98"/>
                  <a:gd name="T42" fmla="*/ 7 w 118"/>
                  <a:gd name="T43" fmla="*/ 24 h 98"/>
                  <a:gd name="T44" fmla="*/ 2 w 118"/>
                  <a:gd name="T45" fmla="*/ 28 h 98"/>
                  <a:gd name="T46" fmla="*/ 3 w 118"/>
                  <a:gd name="T47" fmla="*/ 33 h 98"/>
                  <a:gd name="T48" fmla="*/ 13 w 118"/>
                  <a:gd name="T49" fmla="*/ 37 h 98"/>
                  <a:gd name="T50" fmla="*/ 21 w 118"/>
                  <a:gd name="T51" fmla="*/ 39 h 98"/>
                  <a:gd name="T52" fmla="*/ 23 w 118"/>
                  <a:gd name="T53" fmla="*/ 42 h 98"/>
                  <a:gd name="T54" fmla="*/ 29 w 118"/>
                  <a:gd name="T55" fmla="*/ 49 h 98"/>
                  <a:gd name="T56" fmla="*/ 32 w 118"/>
                  <a:gd name="T57" fmla="*/ 55 h 98"/>
                  <a:gd name="T58" fmla="*/ 30 w 118"/>
                  <a:gd name="T59" fmla="*/ 65 h 98"/>
                  <a:gd name="T60" fmla="*/ 27 w 118"/>
                  <a:gd name="T61" fmla="*/ 79 h 98"/>
                  <a:gd name="T62" fmla="*/ 26 w 118"/>
                  <a:gd name="T63" fmla="*/ 80 h 98"/>
                  <a:gd name="T64" fmla="*/ 31 w 118"/>
                  <a:gd name="T65" fmla="*/ 82 h 98"/>
                  <a:gd name="T66" fmla="*/ 38 w 118"/>
                  <a:gd name="T67" fmla="*/ 86 h 98"/>
                  <a:gd name="T68" fmla="*/ 45 w 118"/>
                  <a:gd name="T69" fmla="*/ 85 h 98"/>
                  <a:gd name="T70" fmla="*/ 49 w 118"/>
                  <a:gd name="T71" fmla="*/ 86 h 98"/>
                  <a:gd name="T72" fmla="*/ 58 w 118"/>
                  <a:gd name="T73" fmla="*/ 88 h 98"/>
                  <a:gd name="T74" fmla="*/ 66 w 118"/>
                  <a:gd name="T75" fmla="*/ 88 h 98"/>
                  <a:gd name="T76" fmla="*/ 66 w 118"/>
                  <a:gd name="T77" fmla="*/ 86 h 98"/>
                  <a:gd name="T78" fmla="*/ 73 w 118"/>
                  <a:gd name="T79" fmla="*/ 78 h 98"/>
                  <a:gd name="T80" fmla="*/ 87 w 118"/>
                  <a:gd name="T81" fmla="*/ 82 h 98"/>
                  <a:gd name="T82" fmla="*/ 97 w 118"/>
                  <a:gd name="T83" fmla="*/ 79 h 98"/>
                  <a:gd name="T84" fmla="*/ 102 w 118"/>
                  <a:gd name="T85" fmla="*/ 75 h 98"/>
                  <a:gd name="T86" fmla="*/ 103 w 118"/>
                  <a:gd name="T87" fmla="*/ 73 h 98"/>
                  <a:gd name="T88" fmla="*/ 99 w 118"/>
                  <a:gd name="T89" fmla="*/ 71 h 98"/>
                  <a:gd name="T90" fmla="*/ 97 w 118"/>
                  <a:gd name="T91" fmla="*/ 67 h 98"/>
                  <a:gd name="T92" fmla="*/ 95 w 118"/>
                  <a:gd name="T93" fmla="*/ 63 h 98"/>
                  <a:gd name="T94" fmla="*/ 96 w 118"/>
                  <a:gd name="T95" fmla="*/ 61 h 98"/>
                  <a:gd name="T96" fmla="*/ 98 w 118"/>
                  <a:gd name="T97" fmla="*/ 58 h 98"/>
                  <a:gd name="T98" fmla="*/ 97 w 118"/>
                  <a:gd name="T99" fmla="*/ 54 h 98"/>
                  <a:gd name="T100" fmla="*/ 96 w 118"/>
                  <a:gd name="T101" fmla="*/ 50 h 98"/>
                  <a:gd name="T102" fmla="*/ 92 w 118"/>
                  <a:gd name="T103" fmla="*/ 50 h 98"/>
                  <a:gd name="T104" fmla="*/ 91 w 118"/>
                  <a:gd name="T105" fmla="*/ 47 h 98"/>
                  <a:gd name="T106" fmla="*/ 96 w 118"/>
                  <a:gd name="T107" fmla="*/ 41 h 98"/>
                  <a:gd name="T108" fmla="*/ 100 w 118"/>
                  <a:gd name="T109" fmla="*/ 37 h 98"/>
                  <a:gd name="T110" fmla="*/ 102 w 118"/>
                  <a:gd name="T111" fmla="*/ 31 h 98"/>
                  <a:gd name="T112" fmla="*/ 105 w 118"/>
                  <a:gd name="T113" fmla="*/ 25 h 98"/>
                  <a:gd name="T114" fmla="*/ 104 w 118"/>
                  <a:gd name="T115" fmla="*/ 22 h 98"/>
                  <a:gd name="T116" fmla="*/ 116 w 118"/>
                  <a:gd name="T117" fmla="*/ 83 h 98"/>
                  <a:gd name="T118" fmla="*/ 111 w 118"/>
                  <a:gd name="T119" fmla="*/ 87 h 98"/>
                  <a:gd name="T120" fmla="*/ 115 w 118"/>
                  <a:gd name="T121" fmla="*/ 98 h 98"/>
                  <a:gd name="T122" fmla="*/ 116 w 118"/>
                  <a:gd name="T123" fmla="*/ 83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18" h="98">
                    <a:moveTo>
                      <a:pt x="104" y="22"/>
                    </a:moveTo>
                    <a:cubicBezTo>
                      <a:pt x="103" y="22"/>
                      <a:pt x="102" y="21"/>
                      <a:pt x="99" y="21"/>
                    </a:cubicBezTo>
                    <a:cubicBezTo>
                      <a:pt x="97" y="21"/>
                      <a:pt x="95" y="20"/>
                      <a:pt x="94" y="18"/>
                    </a:cubicBezTo>
                    <a:cubicBezTo>
                      <a:pt x="93" y="17"/>
                      <a:pt x="88" y="16"/>
                      <a:pt x="86" y="17"/>
                    </a:cubicBezTo>
                    <a:cubicBezTo>
                      <a:pt x="84" y="17"/>
                      <a:pt x="83" y="14"/>
                      <a:pt x="82" y="14"/>
                    </a:cubicBezTo>
                    <a:cubicBezTo>
                      <a:pt x="80" y="14"/>
                      <a:pt x="79" y="12"/>
                      <a:pt x="79" y="10"/>
                    </a:cubicBezTo>
                    <a:cubicBezTo>
                      <a:pt x="79" y="9"/>
                      <a:pt x="77" y="11"/>
                      <a:pt x="76" y="12"/>
                    </a:cubicBezTo>
                    <a:cubicBezTo>
                      <a:pt x="74" y="13"/>
                      <a:pt x="74" y="10"/>
                      <a:pt x="73" y="9"/>
                    </a:cubicBezTo>
                    <a:cubicBezTo>
                      <a:pt x="73" y="8"/>
                      <a:pt x="70" y="7"/>
                      <a:pt x="68" y="6"/>
                    </a:cubicBezTo>
                    <a:cubicBezTo>
                      <a:pt x="67" y="5"/>
                      <a:pt x="65" y="3"/>
                      <a:pt x="64" y="4"/>
                    </a:cubicBezTo>
                    <a:cubicBezTo>
                      <a:pt x="64" y="5"/>
                      <a:pt x="62" y="2"/>
                      <a:pt x="62" y="1"/>
                    </a:cubicBezTo>
                    <a:cubicBezTo>
                      <a:pt x="61" y="0"/>
                      <a:pt x="61" y="0"/>
                      <a:pt x="60" y="0"/>
                    </a:cubicBezTo>
                    <a:cubicBezTo>
                      <a:pt x="60" y="0"/>
                      <a:pt x="59" y="0"/>
                      <a:pt x="59" y="0"/>
                    </a:cubicBezTo>
                    <a:cubicBezTo>
                      <a:pt x="56" y="0"/>
                      <a:pt x="53" y="2"/>
                      <a:pt x="54" y="7"/>
                    </a:cubicBezTo>
                    <a:cubicBezTo>
                      <a:pt x="54" y="12"/>
                      <a:pt x="50" y="12"/>
                      <a:pt x="45" y="12"/>
                    </a:cubicBezTo>
                    <a:cubicBezTo>
                      <a:pt x="41" y="13"/>
                      <a:pt x="42" y="17"/>
                      <a:pt x="40" y="18"/>
                    </a:cubicBezTo>
                    <a:cubicBezTo>
                      <a:pt x="38" y="20"/>
                      <a:pt x="31" y="17"/>
                      <a:pt x="30" y="15"/>
                    </a:cubicBezTo>
                    <a:cubicBezTo>
                      <a:pt x="29" y="12"/>
                      <a:pt x="23" y="15"/>
                      <a:pt x="25" y="18"/>
                    </a:cubicBezTo>
                    <a:cubicBezTo>
                      <a:pt x="28" y="21"/>
                      <a:pt x="28" y="25"/>
                      <a:pt x="27" y="26"/>
                    </a:cubicBezTo>
                    <a:cubicBezTo>
                      <a:pt x="25" y="28"/>
                      <a:pt x="22" y="24"/>
                      <a:pt x="20" y="26"/>
                    </a:cubicBezTo>
                    <a:cubicBezTo>
                      <a:pt x="17" y="28"/>
                      <a:pt x="17" y="25"/>
                      <a:pt x="15" y="24"/>
                    </a:cubicBezTo>
                    <a:cubicBezTo>
                      <a:pt x="12" y="23"/>
                      <a:pt x="11" y="25"/>
                      <a:pt x="7" y="24"/>
                    </a:cubicBezTo>
                    <a:cubicBezTo>
                      <a:pt x="3" y="24"/>
                      <a:pt x="0" y="26"/>
                      <a:pt x="2" y="28"/>
                    </a:cubicBezTo>
                    <a:cubicBezTo>
                      <a:pt x="3" y="30"/>
                      <a:pt x="2" y="32"/>
                      <a:pt x="3" y="33"/>
                    </a:cubicBezTo>
                    <a:cubicBezTo>
                      <a:pt x="4" y="35"/>
                      <a:pt x="9" y="35"/>
                      <a:pt x="13" y="37"/>
                    </a:cubicBezTo>
                    <a:cubicBezTo>
                      <a:pt x="18" y="39"/>
                      <a:pt x="18" y="37"/>
                      <a:pt x="21" y="39"/>
                    </a:cubicBezTo>
                    <a:cubicBezTo>
                      <a:pt x="23" y="40"/>
                      <a:pt x="23" y="39"/>
                      <a:pt x="23" y="42"/>
                    </a:cubicBezTo>
                    <a:cubicBezTo>
                      <a:pt x="23" y="45"/>
                      <a:pt x="25" y="48"/>
                      <a:pt x="29" y="49"/>
                    </a:cubicBezTo>
                    <a:cubicBezTo>
                      <a:pt x="33" y="50"/>
                      <a:pt x="30" y="53"/>
                      <a:pt x="32" y="55"/>
                    </a:cubicBezTo>
                    <a:cubicBezTo>
                      <a:pt x="33" y="58"/>
                      <a:pt x="30" y="62"/>
                      <a:pt x="30" y="65"/>
                    </a:cubicBezTo>
                    <a:cubicBezTo>
                      <a:pt x="31" y="68"/>
                      <a:pt x="28" y="79"/>
                      <a:pt x="27" y="79"/>
                    </a:cubicBezTo>
                    <a:cubicBezTo>
                      <a:pt x="26" y="80"/>
                      <a:pt x="26" y="80"/>
                      <a:pt x="26" y="80"/>
                    </a:cubicBezTo>
                    <a:cubicBezTo>
                      <a:pt x="28" y="80"/>
                      <a:pt x="30" y="81"/>
                      <a:pt x="31" y="82"/>
                    </a:cubicBezTo>
                    <a:cubicBezTo>
                      <a:pt x="32" y="83"/>
                      <a:pt x="36" y="84"/>
                      <a:pt x="38" y="86"/>
                    </a:cubicBezTo>
                    <a:cubicBezTo>
                      <a:pt x="41" y="87"/>
                      <a:pt x="45" y="87"/>
                      <a:pt x="45" y="85"/>
                    </a:cubicBezTo>
                    <a:cubicBezTo>
                      <a:pt x="45" y="83"/>
                      <a:pt x="47" y="84"/>
                      <a:pt x="49" y="86"/>
                    </a:cubicBezTo>
                    <a:cubicBezTo>
                      <a:pt x="50" y="87"/>
                      <a:pt x="56" y="88"/>
                      <a:pt x="58" y="88"/>
                    </a:cubicBezTo>
                    <a:cubicBezTo>
                      <a:pt x="60" y="89"/>
                      <a:pt x="64" y="88"/>
                      <a:pt x="66" y="88"/>
                    </a:cubicBezTo>
                    <a:cubicBezTo>
                      <a:pt x="66" y="88"/>
                      <a:pt x="66" y="87"/>
                      <a:pt x="66" y="86"/>
                    </a:cubicBezTo>
                    <a:cubicBezTo>
                      <a:pt x="64" y="82"/>
                      <a:pt x="69" y="79"/>
                      <a:pt x="73" y="78"/>
                    </a:cubicBezTo>
                    <a:cubicBezTo>
                      <a:pt x="77" y="78"/>
                      <a:pt x="85" y="80"/>
                      <a:pt x="87" y="82"/>
                    </a:cubicBezTo>
                    <a:cubicBezTo>
                      <a:pt x="90" y="83"/>
                      <a:pt x="93" y="83"/>
                      <a:pt x="97" y="79"/>
                    </a:cubicBezTo>
                    <a:cubicBezTo>
                      <a:pt x="99" y="76"/>
                      <a:pt x="100" y="76"/>
                      <a:pt x="102" y="75"/>
                    </a:cubicBezTo>
                    <a:cubicBezTo>
                      <a:pt x="102" y="74"/>
                      <a:pt x="102" y="73"/>
                      <a:pt x="103" y="73"/>
                    </a:cubicBezTo>
                    <a:cubicBezTo>
                      <a:pt x="103" y="71"/>
                      <a:pt x="101" y="71"/>
                      <a:pt x="99" y="71"/>
                    </a:cubicBezTo>
                    <a:cubicBezTo>
                      <a:pt x="97" y="71"/>
                      <a:pt x="96" y="69"/>
                      <a:pt x="97" y="67"/>
                    </a:cubicBezTo>
                    <a:cubicBezTo>
                      <a:pt x="98" y="65"/>
                      <a:pt x="96" y="65"/>
                      <a:pt x="95" y="63"/>
                    </a:cubicBezTo>
                    <a:cubicBezTo>
                      <a:pt x="93" y="61"/>
                      <a:pt x="95" y="62"/>
                      <a:pt x="96" y="61"/>
                    </a:cubicBezTo>
                    <a:cubicBezTo>
                      <a:pt x="97" y="61"/>
                      <a:pt x="99" y="59"/>
                      <a:pt x="98" y="58"/>
                    </a:cubicBezTo>
                    <a:cubicBezTo>
                      <a:pt x="97" y="58"/>
                      <a:pt x="96" y="56"/>
                      <a:pt x="97" y="54"/>
                    </a:cubicBezTo>
                    <a:cubicBezTo>
                      <a:pt x="98" y="52"/>
                      <a:pt x="96" y="52"/>
                      <a:pt x="96" y="50"/>
                    </a:cubicBezTo>
                    <a:cubicBezTo>
                      <a:pt x="96" y="49"/>
                      <a:pt x="94" y="48"/>
                      <a:pt x="92" y="50"/>
                    </a:cubicBezTo>
                    <a:cubicBezTo>
                      <a:pt x="90" y="52"/>
                      <a:pt x="90" y="50"/>
                      <a:pt x="91" y="47"/>
                    </a:cubicBezTo>
                    <a:cubicBezTo>
                      <a:pt x="92" y="44"/>
                      <a:pt x="96" y="43"/>
                      <a:pt x="96" y="41"/>
                    </a:cubicBezTo>
                    <a:cubicBezTo>
                      <a:pt x="96" y="39"/>
                      <a:pt x="99" y="37"/>
                      <a:pt x="100" y="37"/>
                    </a:cubicBezTo>
                    <a:cubicBezTo>
                      <a:pt x="102" y="37"/>
                      <a:pt x="101" y="34"/>
                      <a:pt x="102" y="31"/>
                    </a:cubicBezTo>
                    <a:cubicBezTo>
                      <a:pt x="103" y="29"/>
                      <a:pt x="103" y="27"/>
                      <a:pt x="105" y="25"/>
                    </a:cubicBezTo>
                    <a:cubicBezTo>
                      <a:pt x="108" y="23"/>
                      <a:pt x="105" y="22"/>
                      <a:pt x="104" y="22"/>
                    </a:cubicBezTo>
                    <a:close/>
                    <a:moveTo>
                      <a:pt x="116" y="83"/>
                    </a:moveTo>
                    <a:cubicBezTo>
                      <a:pt x="115" y="82"/>
                      <a:pt x="115" y="85"/>
                      <a:pt x="111" y="87"/>
                    </a:cubicBezTo>
                    <a:cubicBezTo>
                      <a:pt x="108" y="89"/>
                      <a:pt x="111" y="98"/>
                      <a:pt x="115" y="98"/>
                    </a:cubicBezTo>
                    <a:cubicBezTo>
                      <a:pt x="118" y="97"/>
                      <a:pt x="118" y="83"/>
                      <a:pt x="116" y="8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3" name="Freeform 99">
                <a:extLst>
                  <a:ext uri="{FF2B5EF4-FFF2-40B4-BE49-F238E27FC236}">
                    <a16:creationId xmlns:a16="http://schemas.microsoft.com/office/drawing/2014/main" id="{B86E59F7-7640-43A1-9E5A-53EE5F5C92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39636" y="3816268"/>
                <a:ext cx="42661" cy="26349"/>
              </a:xfrm>
              <a:custGeom>
                <a:avLst/>
                <a:gdLst>
                  <a:gd name="T0" fmla="*/ 18 w 18"/>
                  <a:gd name="T1" fmla="*/ 4 h 11"/>
                  <a:gd name="T2" fmla="*/ 9 w 18"/>
                  <a:gd name="T3" fmla="*/ 2 h 11"/>
                  <a:gd name="T4" fmla="*/ 6 w 18"/>
                  <a:gd name="T5" fmla="*/ 0 h 11"/>
                  <a:gd name="T6" fmla="*/ 5 w 18"/>
                  <a:gd name="T7" fmla="*/ 0 h 11"/>
                  <a:gd name="T8" fmla="*/ 0 w 18"/>
                  <a:gd name="T9" fmla="*/ 5 h 11"/>
                  <a:gd name="T10" fmla="*/ 15 w 18"/>
                  <a:gd name="T11" fmla="*/ 11 h 11"/>
                  <a:gd name="T12" fmla="*/ 18 w 18"/>
                  <a:gd name="T13" fmla="*/ 9 h 11"/>
                  <a:gd name="T14" fmla="*/ 18 w 18"/>
                  <a:gd name="T15" fmla="*/ 4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" h="11">
                    <a:moveTo>
                      <a:pt x="18" y="4"/>
                    </a:moveTo>
                    <a:cubicBezTo>
                      <a:pt x="16" y="2"/>
                      <a:pt x="13" y="5"/>
                      <a:pt x="9" y="2"/>
                    </a:cubicBezTo>
                    <a:cubicBezTo>
                      <a:pt x="8" y="1"/>
                      <a:pt x="7" y="1"/>
                      <a:pt x="6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4" y="1"/>
                      <a:pt x="2" y="3"/>
                      <a:pt x="0" y="5"/>
                    </a:cubicBezTo>
                    <a:cubicBezTo>
                      <a:pt x="2" y="7"/>
                      <a:pt x="12" y="11"/>
                      <a:pt x="15" y="11"/>
                    </a:cubicBezTo>
                    <a:cubicBezTo>
                      <a:pt x="16" y="11"/>
                      <a:pt x="17" y="10"/>
                      <a:pt x="18" y="9"/>
                    </a:cubicBezTo>
                    <a:cubicBezTo>
                      <a:pt x="18" y="7"/>
                      <a:pt x="18" y="5"/>
                      <a:pt x="18" y="4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4" name="Freeform 100">
                <a:extLst>
                  <a:ext uri="{FF2B5EF4-FFF2-40B4-BE49-F238E27FC236}">
                    <a16:creationId xmlns:a16="http://schemas.microsoft.com/office/drawing/2014/main" id="{215652BC-2210-4F30-B8EB-7EBA1F66C1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3438" y="3782390"/>
                <a:ext cx="112925" cy="61482"/>
              </a:xfrm>
              <a:custGeom>
                <a:avLst/>
                <a:gdLst>
                  <a:gd name="T0" fmla="*/ 20 w 49"/>
                  <a:gd name="T1" fmla="*/ 25 h 27"/>
                  <a:gd name="T2" fmla="*/ 23 w 49"/>
                  <a:gd name="T3" fmla="*/ 20 h 27"/>
                  <a:gd name="T4" fmla="*/ 32 w 49"/>
                  <a:gd name="T5" fmla="*/ 16 h 27"/>
                  <a:gd name="T6" fmla="*/ 39 w 49"/>
                  <a:gd name="T7" fmla="*/ 14 h 27"/>
                  <a:gd name="T8" fmla="*/ 49 w 49"/>
                  <a:gd name="T9" fmla="*/ 10 h 27"/>
                  <a:gd name="T10" fmla="*/ 40 w 49"/>
                  <a:gd name="T11" fmla="*/ 4 h 27"/>
                  <a:gd name="T12" fmla="*/ 23 w 49"/>
                  <a:gd name="T13" fmla="*/ 4 h 27"/>
                  <a:gd name="T14" fmla="*/ 8 w 49"/>
                  <a:gd name="T15" fmla="*/ 4 h 27"/>
                  <a:gd name="T16" fmla="*/ 8 w 49"/>
                  <a:gd name="T17" fmla="*/ 5 h 27"/>
                  <a:gd name="T18" fmla="*/ 3 w 49"/>
                  <a:gd name="T19" fmla="*/ 9 h 27"/>
                  <a:gd name="T20" fmla="*/ 0 w 49"/>
                  <a:gd name="T21" fmla="*/ 15 h 27"/>
                  <a:gd name="T22" fmla="*/ 3 w 49"/>
                  <a:gd name="T23" fmla="*/ 17 h 27"/>
                  <a:gd name="T24" fmla="*/ 12 w 49"/>
                  <a:gd name="T25" fmla="*/ 19 h 27"/>
                  <a:gd name="T26" fmla="*/ 12 w 49"/>
                  <a:gd name="T27" fmla="*/ 24 h 27"/>
                  <a:gd name="T28" fmla="*/ 14 w 49"/>
                  <a:gd name="T29" fmla="*/ 24 h 27"/>
                  <a:gd name="T30" fmla="*/ 15 w 49"/>
                  <a:gd name="T31" fmla="*/ 27 h 27"/>
                  <a:gd name="T32" fmla="*/ 18 w 49"/>
                  <a:gd name="T33" fmla="*/ 27 h 27"/>
                  <a:gd name="T34" fmla="*/ 20 w 49"/>
                  <a:gd name="T35" fmla="*/ 25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9" h="27">
                    <a:moveTo>
                      <a:pt x="20" y="25"/>
                    </a:moveTo>
                    <a:cubicBezTo>
                      <a:pt x="21" y="24"/>
                      <a:pt x="18" y="20"/>
                      <a:pt x="23" y="20"/>
                    </a:cubicBezTo>
                    <a:cubicBezTo>
                      <a:pt x="27" y="19"/>
                      <a:pt x="31" y="19"/>
                      <a:pt x="32" y="16"/>
                    </a:cubicBezTo>
                    <a:cubicBezTo>
                      <a:pt x="32" y="13"/>
                      <a:pt x="38" y="14"/>
                      <a:pt x="39" y="14"/>
                    </a:cubicBezTo>
                    <a:cubicBezTo>
                      <a:pt x="41" y="14"/>
                      <a:pt x="45" y="10"/>
                      <a:pt x="49" y="10"/>
                    </a:cubicBezTo>
                    <a:cubicBezTo>
                      <a:pt x="49" y="6"/>
                      <a:pt x="43" y="8"/>
                      <a:pt x="40" y="4"/>
                    </a:cubicBezTo>
                    <a:cubicBezTo>
                      <a:pt x="36" y="0"/>
                      <a:pt x="27" y="2"/>
                      <a:pt x="23" y="4"/>
                    </a:cubicBezTo>
                    <a:cubicBezTo>
                      <a:pt x="18" y="5"/>
                      <a:pt x="13" y="2"/>
                      <a:pt x="8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6" y="6"/>
                      <a:pt x="5" y="8"/>
                      <a:pt x="3" y="9"/>
                    </a:cubicBezTo>
                    <a:cubicBezTo>
                      <a:pt x="0" y="12"/>
                      <a:pt x="1" y="14"/>
                      <a:pt x="0" y="15"/>
                    </a:cubicBezTo>
                    <a:cubicBezTo>
                      <a:pt x="1" y="16"/>
                      <a:pt x="2" y="16"/>
                      <a:pt x="3" y="17"/>
                    </a:cubicBezTo>
                    <a:cubicBezTo>
                      <a:pt x="7" y="20"/>
                      <a:pt x="10" y="17"/>
                      <a:pt x="12" y="19"/>
                    </a:cubicBezTo>
                    <a:cubicBezTo>
                      <a:pt x="12" y="20"/>
                      <a:pt x="12" y="22"/>
                      <a:pt x="12" y="24"/>
                    </a:cubicBezTo>
                    <a:cubicBezTo>
                      <a:pt x="12" y="24"/>
                      <a:pt x="13" y="23"/>
                      <a:pt x="14" y="24"/>
                    </a:cubicBezTo>
                    <a:cubicBezTo>
                      <a:pt x="15" y="25"/>
                      <a:pt x="15" y="26"/>
                      <a:pt x="15" y="27"/>
                    </a:cubicBezTo>
                    <a:cubicBezTo>
                      <a:pt x="18" y="27"/>
                      <a:pt x="18" y="27"/>
                      <a:pt x="18" y="27"/>
                    </a:cubicBezTo>
                    <a:cubicBezTo>
                      <a:pt x="18" y="27"/>
                      <a:pt x="20" y="25"/>
                      <a:pt x="20" y="2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5" name="Freeform 101">
                <a:extLst>
                  <a:ext uri="{FF2B5EF4-FFF2-40B4-BE49-F238E27FC236}">
                    <a16:creationId xmlns:a16="http://schemas.microsoft.com/office/drawing/2014/main" id="{6A890E7D-5E2C-48FA-B025-52C9B52225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37746" y="3454907"/>
                <a:ext cx="564627" cy="352578"/>
              </a:xfrm>
              <a:custGeom>
                <a:avLst/>
                <a:gdLst>
                  <a:gd name="T0" fmla="*/ 214 w 245"/>
                  <a:gd name="T1" fmla="*/ 143 h 153"/>
                  <a:gd name="T2" fmla="*/ 211 w 245"/>
                  <a:gd name="T3" fmla="*/ 129 h 153"/>
                  <a:gd name="T4" fmla="*/ 231 w 245"/>
                  <a:gd name="T5" fmla="*/ 124 h 153"/>
                  <a:gd name="T6" fmla="*/ 238 w 245"/>
                  <a:gd name="T7" fmla="*/ 115 h 153"/>
                  <a:gd name="T8" fmla="*/ 244 w 245"/>
                  <a:gd name="T9" fmla="*/ 100 h 153"/>
                  <a:gd name="T10" fmla="*/ 225 w 245"/>
                  <a:gd name="T11" fmla="*/ 98 h 153"/>
                  <a:gd name="T12" fmla="*/ 212 w 245"/>
                  <a:gd name="T13" fmla="*/ 115 h 153"/>
                  <a:gd name="T14" fmla="*/ 200 w 245"/>
                  <a:gd name="T15" fmla="*/ 121 h 153"/>
                  <a:gd name="T16" fmla="*/ 172 w 245"/>
                  <a:gd name="T17" fmla="*/ 121 h 153"/>
                  <a:gd name="T18" fmla="*/ 159 w 245"/>
                  <a:gd name="T19" fmla="*/ 102 h 153"/>
                  <a:gd name="T20" fmla="*/ 159 w 245"/>
                  <a:gd name="T21" fmla="*/ 64 h 153"/>
                  <a:gd name="T22" fmla="*/ 156 w 245"/>
                  <a:gd name="T23" fmla="*/ 60 h 153"/>
                  <a:gd name="T24" fmla="*/ 143 w 245"/>
                  <a:gd name="T25" fmla="*/ 51 h 153"/>
                  <a:gd name="T26" fmla="*/ 133 w 245"/>
                  <a:gd name="T27" fmla="*/ 34 h 153"/>
                  <a:gd name="T28" fmla="*/ 113 w 245"/>
                  <a:gd name="T29" fmla="*/ 33 h 153"/>
                  <a:gd name="T30" fmla="*/ 100 w 245"/>
                  <a:gd name="T31" fmla="*/ 23 h 153"/>
                  <a:gd name="T32" fmla="*/ 86 w 245"/>
                  <a:gd name="T33" fmla="*/ 9 h 153"/>
                  <a:gd name="T34" fmla="*/ 71 w 245"/>
                  <a:gd name="T35" fmla="*/ 12 h 153"/>
                  <a:gd name="T36" fmla="*/ 27 w 245"/>
                  <a:gd name="T37" fmla="*/ 5 h 153"/>
                  <a:gd name="T38" fmla="*/ 0 w 245"/>
                  <a:gd name="T39" fmla="*/ 3 h 153"/>
                  <a:gd name="T40" fmla="*/ 11 w 245"/>
                  <a:gd name="T41" fmla="*/ 25 h 153"/>
                  <a:gd name="T42" fmla="*/ 25 w 245"/>
                  <a:gd name="T43" fmla="*/ 44 h 153"/>
                  <a:gd name="T44" fmla="*/ 28 w 245"/>
                  <a:gd name="T45" fmla="*/ 52 h 153"/>
                  <a:gd name="T46" fmla="*/ 39 w 245"/>
                  <a:gd name="T47" fmla="*/ 67 h 153"/>
                  <a:gd name="T48" fmla="*/ 57 w 245"/>
                  <a:gd name="T49" fmla="*/ 86 h 153"/>
                  <a:gd name="T50" fmla="*/ 59 w 245"/>
                  <a:gd name="T51" fmla="*/ 77 h 153"/>
                  <a:gd name="T52" fmla="*/ 51 w 245"/>
                  <a:gd name="T53" fmla="*/ 67 h 153"/>
                  <a:gd name="T54" fmla="*/ 37 w 245"/>
                  <a:gd name="T55" fmla="*/ 43 h 153"/>
                  <a:gd name="T56" fmla="*/ 31 w 245"/>
                  <a:gd name="T57" fmla="*/ 30 h 153"/>
                  <a:gd name="T58" fmla="*/ 20 w 245"/>
                  <a:gd name="T59" fmla="*/ 21 h 153"/>
                  <a:gd name="T60" fmla="*/ 21 w 245"/>
                  <a:gd name="T61" fmla="*/ 8 h 153"/>
                  <a:gd name="T62" fmla="*/ 28 w 245"/>
                  <a:gd name="T63" fmla="*/ 12 h 153"/>
                  <a:gd name="T64" fmla="*/ 34 w 245"/>
                  <a:gd name="T65" fmla="*/ 23 h 153"/>
                  <a:gd name="T66" fmla="*/ 40 w 245"/>
                  <a:gd name="T67" fmla="*/ 34 h 153"/>
                  <a:gd name="T68" fmla="*/ 52 w 245"/>
                  <a:gd name="T69" fmla="*/ 43 h 153"/>
                  <a:gd name="T70" fmla="*/ 62 w 245"/>
                  <a:gd name="T71" fmla="*/ 53 h 153"/>
                  <a:gd name="T72" fmla="*/ 68 w 245"/>
                  <a:gd name="T73" fmla="*/ 64 h 153"/>
                  <a:gd name="T74" fmla="*/ 92 w 245"/>
                  <a:gd name="T75" fmla="*/ 89 h 153"/>
                  <a:gd name="T76" fmla="*/ 95 w 245"/>
                  <a:gd name="T77" fmla="*/ 104 h 153"/>
                  <a:gd name="T78" fmla="*/ 99 w 245"/>
                  <a:gd name="T79" fmla="*/ 117 h 153"/>
                  <a:gd name="T80" fmla="*/ 124 w 245"/>
                  <a:gd name="T81" fmla="*/ 129 h 153"/>
                  <a:gd name="T82" fmla="*/ 158 w 245"/>
                  <a:gd name="T83" fmla="*/ 145 h 153"/>
                  <a:gd name="T84" fmla="*/ 189 w 245"/>
                  <a:gd name="T85" fmla="*/ 146 h 153"/>
                  <a:gd name="T86" fmla="*/ 204 w 245"/>
                  <a:gd name="T87" fmla="*/ 144 h 1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45" h="153">
                    <a:moveTo>
                      <a:pt x="204" y="144"/>
                    </a:moveTo>
                    <a:cubicBezTo>
                      <a:pt x="205" y="144"/>
                      <a:pt x="214" y="145"/>
                      <a:pt x="214" y="143"/>
                    </a:cubicBezTo>
                    <a:cubicBezTo>
                      <a:pt x="215" y="140"/>
                      <a:pt x="208" y="135"/>
                      <a:pt x="209" y="135"/>
                    </a:cubicBezTo>
                    <a:cubicBezTo>
                      <a:pt x="209" y="134"/>
                      <a:pt x="210" y="129"/>
                      <a:pt x="211" y="129"/>
                    </a:cubicBezTo>
                    <a:cubicBezTo>
                      <a:pt x="213" y="129"/>
                      <a:pt x="225" y="129"/>
                      <a:pt x="226" y="129"/>
                    </a:cubicBezTo>
                    <a:cubicBezTo>
                      <a:pt x="227" y="129"/>
                      <a:pt x="229" y="124"/>
                      <a:pt x="231" y="124"/>
                    </a:cubicBezTo>
                    <a:cubicBezTo>
                      <a:pt x="232" y="124"/>
                      <a:pt x="233" y="125"/>
                      <a:pt x="235" y="126"/>
                    </a:cubicBezTo>
                    <a:cubicBezTo>
                      <a:pt x="237" y="124"/>
                      <a:pt x="238" y="119"/>
                      <a:pt x="238" y="115"/>
                    </a:cubicBezTo>
                    <a:cubicBezTo>
                      <a:pt x="239" y="110"/>
                      <a:pt x="237" y="109"/>
                      <a:pt x="240" y="106"/>
                    </a:cubicBezTo>
                    <a:cubicBezTo>
                      <a:pt x="242" y="104"/>
                      <a:pt x="245" y="103"/>
                      <a:pt x="244" y="100"/>
                    </a:cubicBezTo>
                    <a:cubicBezTo>
                      <a:pt x="243" y="96"/>
                      <a:pt x="240" y="100"/>
                      <a:pt x="237" y="98"/>
                    </a:cubicBezTo>
                    <a:cubicBezTo>
                      <a:pt x="234" y="96"/>
                      <a:pt x="232" y="97"/>
                      <a:pt x="225" y="98"/>
                    </a:cubicBezTo>
                    <a:cubicBezTo>
                      <a:pt x="217" y="99"/>
                      <a:pt x="214" y="102"/>
                      <a:pt x="214" y="108"/>
                    </a:cubicBezTo>
                    <a:cubicBezTo>
                      <a:pt x="215" y="113"/>
                      <a:pt x="212" y="110"/>
                      <a:pt x="212" y="115"/>
                    </a:cubicBezTo>
                    <a:cubicBezTo>
                      <a:pt x="212" y="119"/>
                      <a:pt x="206" y="120"/>
                      <a:pt x="207" y="122"/>
                    </a:cubicBezTo>
                    <a:cubicBezTo>
                      <a:pt x="207" y="125"/>
                      <a:pt x="202" y="122"/>
                      <a:pt x="200" y="121"/>
                    </a:cubicBezTo>
                    <a:cubicBezTo>
                      <a:pt x="199" y="120"/>
                      <a:pt x="184" y="125"/>
                      <a:pt x="182" y="125"/>
                    </a:cubicBezTo>
                    <a:cubicBezTo>
                      <a:pt x="179" y="126"/>
                      <a:pt x="176" y="121"/>
                      <a:pt x="172" y="121"/>
                    </a:cubicBezTo>
                    <a:cubicBezTo>
                      <a:pt x="169" y="121"/>
                      <a:pt x="168" y="117"/>
                      <a:pt x="168" y="113"/>
                    </a:cubicBezTo>
                    <a:cubicBezTo>
                      <a:pt x="168" y="109"/>
                      <a:pt x="162" y="106"/>
                      <a:pt x="159" y="102"/>
                    </a:cubicBezTo>
                    <a:cubicBezTo>
                      <a:pt x="157" y="99"/>
                      <a:pt x="156" y="92"/>
                      <a:pt x="156" y="87"/>
                    </a:cubicBezTo>
                    <a:cubicBezTo>
                      <a:pt x="156" y="82"/>
                      <a:pt x="156" y="74"/>
                      <a:pt x="159" y="64"/>
                    </a:cubicBezTo>
                    <a:cubicBezTo>
                      <a:pt x="159" y="63"/>
                      <a:pt x="160" y="62"/>
                      <a:pt x="160" y="61"/>
                    </a:cubicBezTo>
                    <a:cubicBezTo>
                      <a:pt x="158" y="60"/>
                      <a:pt x="157" y="60"/>
                      <a:pt x="156" y="60"/>
                    </a:cubicBezTo>
                    <a:cubicBezTo>
                      <a:pt x="153" y="60"/>
                      <a:pt x="146" y="56"/>
                      <a:pt x="145" y="56"/>
                    </a:cubicBezTo>
                    <a:cubicBezTo>
                      <a:pt x="144" y="56"/>
                      <a:pt x="144" y="52"/>
                      <a:pt x="143" y="51"/>
                    </a:cubicBezTo>
                    <a:cubicBezTo>
                      <a:pt x="142" y="49"/>
                      <a:pt x="142" y="46"/>
                      <a:pt x="141" y="45"/>
                    </a:cubicBezTo>
                    <a:cubicBezTo>
                      <a:pt x="139" y="43"/>
                      <a:pt x="135" y="39"/>
                      <a:pt x="133" y="34"/>
                    </a:cubicBezTo>
                    <a:cubicBezTo>
                      <a:pt x="132" y="28"/>
                      <a:pt x="122" y="26"/>
                      <a:pt x="119" y="26"/>
                    </a:cubicBezTo>
                    <a:cubicBezTo>
                      <a:pt x="116" y="25"/>
                      <a:pt x="114" y="33"/>
                      <a:pt x="113" y="33"/>
                    </a:cubicBezTo>
                    <a:cubicBezTo>
                      <a:pt x="112" y="33"/>
                      <a:pt x="105" y="29"/>
                      <a:pt x="103" y="28"/>
                    </a:cubicBezTo>
                    <a:cubicBezTo>
                      <a:pt x="101" y="27"/>
                      <a:pt x="100" y="25"/>
                      <a:pt x="100" y="23"/>
                    </a:cubicBezTo>
                    <a:cubicBezTo>
                      <a:pt x="100" y="21"/>
                      <a:pt x="96" y="17"/>
                      <a:pt x="95" y="17"/>
                    </a:cubicBezTo>
                    <a:cubicBezTo>
                      <a:pt x="94" y="16"/>
                      <a:pt x="86" y="9"/>
                      <a:pt x="86" y="9"/>
                    </a:cubicBezTo>
                    <a:cubicBezTo>
                      <a:pt x="74" y="9"/>
                      <a:pt x="74" y="9"/>
                      <a:pt x="74" y="9"/>
                    </a:cubicBezTo>
                    <a:cubicBezTo>
                      <a:pt x="71" y="12"/>
                      <a:pt x="71" y="12"/>
                      <a:pt x="71" y="12"/>
                    </a:cubicBezTo>
                    <a:cubicBezTo>
                      <a:pt x="48" y="12"/>
                      <a:pt x="48" y="12"/>
                      <a:pt x="48" y="12"/>
                    </a:cubicBezTo>
                    <a:cubicBezTo>
                      <a:pt x="48" y="12"/>
                      <a:pt x="31" y="6"/>
                      <a:pt x="27" y="5"/>
                    </a:cubicBezTo>
                    <a:cubicBezTo>
                      <a:pt x="24" y="4"/>
                      <a:pt x="18" y="0"/>
                      <a:pt x="18" y="0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1" y="5"/>
                      <a:pt x="2" y="7"/>
                      <a:pt x="4" y="9"/>
                    </a:cubicBezTo>
                    <a:cubicBezTo>
                      <a:pt x="8" y="14"/>
                      <a:pt x="11" y="22"/>
                      <a:pt x="11" y="25"/>
                    </a:cubicBezTo>
                    <a:cubicBezTo>
                      <a:pt x="11" y="28"/>
                      <a:pt x="16" y="30"/>
                      <a:pt x="21" y="33"/>
                    </a:cubicBezTo>
                    <a:cubicBezTo>
                      <a:pt x="25" y="36"/>
                      <a:pt x="25" y="42"/>
                      <a:pt x="25" y="44"/>
                    </a:cubicBezTo>
                    <a:cubicBezTo>
                      <a:pt x="24" y="45"/>
                      <a:pt x="19" y="43"/>
                      <a:pt x="18" y="44"/>
                    </a:cubicBezTo>
                    <a:cubicBezTo>
                      <a:pt x="18" y="46"/>
                      <a:pt x="26" y="52"/>
                      <a:pt x="28" y="52"/>
                    </a:cubicBezTo>
                    <a:cubicBezTo>
                      <a:pt x="31" y="51"/>
                      <a:pt x="33" y="53"/>
                      <a:pt x="37" y="57"/>
                    </a:cubicBezTo>
                    <a:cubicBezTo>
                      <a:pt x="42" y="61"/>
                      <a:pt x="41" y="66"/>
                      <a:pt x="39" y="67"/>
                    </a:cubicBezTo>
                    <a:cubicBezTo>
                      <a:pt x="38" y="69"/>
                      <a:pt x="43" y="72"/>
                      <a:pt x="49" y="75"/>
                    </a:cubicBezTo>
                    <a:cubicBezTo>
                      <a:pt x="54" y="79"/>
                      <a:pt x="57" y="84"/>
                      <a:pt x="57" y="86"/>
                    </a:cubicBezTo>
                    <a:cubicBezTo>
                      <a:pt x="58" y="88"/>
                      <a:pt x="60" y="86"/>
                      <a:pt x="61" y="83"/>
                    </a:cubicBezTo>
                    <a:cubicBezTo>
                      <a:pt x="62" y="80"/>
                      <a:pt x="59" y="80"/>
                      <a:pt x="59" y="77"/>
                    </a:cubicBezTo>
                    <a:cubicBezTo>
                      <a:pt x="59" y="74"/>
                      <a:pt x="55" y="74"/>
                      <a:pt x="53" y="74"/>
                    </a:cubicBezTo>
                    <a:cubicBezTo>
                      <a:pt x="51" y="74"/>
                      <a:pt x="53" y="69"/>
                      <a:pt x="51" y="67"/>
                    </a:cubicBezTo>
                    <a:cubicBezTo>
                      <a:pt x="49" y="65"/>
                      <a:pt x="47" y="59"/>
                      <a:pt x="46" y="55"/>
                    </a:cubicBezTo>
                    <a:cubicBezTo>
                      <a:pt x="44" y="51"/>
                      <a:pt x="39" y="48"/>
                      <a:pt x="37" y="43"/>
                    </a:cubicBezTo>
                    <a:cubicBezTo>
                      <a:pt x="34" y="39"/>
                      <a:pt x="32" y="36"/>
                      <a:pt x="30" y="34"/>
                    </a:cubicBezTo>
                    <a:cubicBezTo>
                      <a:pt x="29" y="33"/>
                      <a:pt x="32" y="32"/>
                      <a:pt x="31" y="30"/>
                    </a:cubicBezTo>
                    <a:cubicBezTo>
                      <a:pt x="30" y="29"/>
                      <a:pt x="27" y="29"/>
                      <a:pt x="25" y="28"/>
                    </a:cubicBezTo>
                    <a:cubicBezTo>
                      <a:pt x="22" y="26"/>
                      <a:pt x="20" y="24"/>
                      <a:pt x="20" y="21"/>
                    </a:cubicBezTo>
                    <a:cubicBezTo>
                      <a:pt x="20" y="18"/>
                      <a:pt x="19" y="12"/>
                      <a:pt x="18" y="9"/>
                    </a:cubicBezTo>
                    <a:cubicBezTo>
                      <a:pt x="17" y="7"/>
                      <a:pt x="20" y="7"/>
                      <a:pt x="21" y="8"/>
                    </a:cubicBezTo>
                    <a:cubicBezTo>
                      <a:pt x="21" y="10"/>
                      <a:pt x="22" y="11"/>
                      <a:pt x="23" y="10"/>
                    </a:cubicBezTo>
                    <a:cubicBezTo>
                      <a:pt x="25" y="9"/>
                      <a:pt x="27" y="10"/>
                      <a:pt x="28" y="12"/>
                    </a:cubicBezTo>
                    <a:cubicBezTo>
                      <a:pt x="29" y="14"/>
                      <a:pt x="32" y="12"/>
                      <a:pt x="33" y="13"/>
                    </a:cubicBezTo>
                    <a:cubicBezTo>
                      <a:pt x="34" y="14"/>
                      <a:pt x="30" y="15"/>
                      <a:pt x="34" y="23"/>
                    </a:cubicBezTo>
                    <a:cubicBezTo>
                      <a:pt x="39" y="31"/>
                      <a:pt x="36" y="26"/>
                      <a:pt x="36" y="32"/>
                    </a:cubicBezTo>
                    <a:cubicBezTo>
                      <a:pt x="36" y="38"/>
                      <a:pt x="39" y="35"/>
                      <a:pt x="40" y="34"/>
                    </a:cubicBezTo>
                    <a:cubicBezTo>
                      <a:pt x="41" y="33"/>
                      <a:pt x="43" y="36"/>
                      <a:pt x="45" y="39"/>
                    </a:cubicBezTo>
                    <a:cubicBezTo>
                      <a:pt x="48" y="42"/>
                      <a:pt x="52" y="42"/>
                      <a:pt x="52" y="43"/>
                    </a:cubicBezTo>
                    <a:cubicBezTo>
                      <a:pt x="52" y="45"/>
                      <a:pt x="53" y="48"/>
                      <a:pt x="56" y="49"/>
                    </a:cubicBezTo>
                    <a:cubicBezTo>
                      <a:pt x="59" y="49"/>
                      <a:pt x="60" y="53"/>
                      <a:pt x="62" y="53"/>
                    </a:cubicBezTo>
                    <a:cubicBezTo>
                      <a:pt x="64" y="53"/>
                      <a:pt x="64" y="56"/>
                      <a:pt x="63" y="58"/>
                    </a:cubicBezTo>
                    <a:cubicBezTo>
                      <a:pt x="62" y="60"/>
                      <a:pt x="63" y="62"/>
                      <a:pt x="68" y="64"/>
                    </a:cubicBezTo>
                    <a:cubicBezTo>
                      <a:pt x="73" y="66"/>
                      <a:pt x="70" y="66"/>
                      <a:pt x="74" y="70"/>
                    </a:cubicBezTo>
                    <a:cubicBezTo>
                      <a:pt x="78" y="74"/>
                      <a:pt x="89" y="86"/>
                      <a:pt x="92" y="89"/>
                    </a:cubicBezTo>
                    <a:cubicBezTo>
                      <a:pt x="94" y="93"/>
                      <a:pt x="95" y="96"/>
                      <a:pt x="96" y="98"/>
                    </a:cubicBezTo>
                    <a:cubicBezTo>
                      <a:pt x="97" y="101"/>
                      <a:pt x="94" y="102"/>
                      <a:pt x="95" y="104"/>
                    </a:cubicBezTo>
                    <a:cubicBezTo>
                      <a:pt x="97" y="106"/>
                      <a:pt x="93" y="105"/>
                      <a:pt x="93" y="107"/>
                    </a:cubicBezTo>
                    <a:cubicBezTo>
                      <a:pt x="93" y="108"/>
                      <a:pt x="95" y="117"/>
                      <a:pt x="99" y="117"/>
                    </a:cubicBezTo>
                    <a:cubicBezTo>
                      <a:pt x="103" y="117"/>
                      <a:pt x="108" y="122"/>
                      <a:pt x="111" y="125"/>
                    </a:cubicBezTo>
                    <a:cubicBezTo>
                      <a:pt x="114" y="127"/>
                      <a:pt x="119" y="127"/>
                      <a:pt x="124" y="129"/>
                    </a:cubicBezTo>
                    <a:cubicBezTo>
                      <a:pt x="128" y="130"/>
                      <a:pt x="133" y="135"/>
                      <a:pt x="140" y="137"/>
                    </a:cubicBezTo>
                    <a:cubicBezTo>
                      <a:pt x="146" y="139"/>
                      <a:pt x="153" y="142"/>
                      <a:pt x="158" y="145"/>
                    </a:cubicBezTo>
                    <a:cubicBezTo>
                      <a:pt x="162" y="147"/>
                      <a:pt x="168" y="146"/>
                      <a:pt x="174" y="144"/>
                    </a:cubicBezTo>
                    <a:cubicBezTo>
                      <a:pt x="180" y="141"/>
                      <a:pt x="185" y="144"/>
                      <a:pt x="189" y="146"/>
                    </a:cubicBezTo>
                    <a:cubicBezTo>
                      <a:pt x="190" y="146"/>
                      <a:pt x="194" y="149"/>
                      <a:pt x="197" y="153"/>
                    </a:cubicBezTo>
                    <a:cubicBezTo>
                      <a:pt x="200" y="148"/>
                      <a:pt x="203" y="144"/>
                      <a:pt x="204" y="144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6" name="Freeform 102">
                <a:extLst>
                  <a:ext uri="{FF2B5EF4-FFF2-40B4-BE49-F238E27FC236}">
                    <a16:creationId xmlns:a16="http://schemas.microsoft.com/office/drawing/2014/main" id="{5BC9F8B4-4598-453D-BFB6-841AEE836E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91957" y="3752277"/>
                <a:ext cx="80302" cy="76538"/>
              </a:xfrm>
              <a:custGeom>
                <a:avLst/>
                <a:gdLst>
                  <a:gd name="T0" fmla="*/ 30 w 35"/>
                  <a:gd name="T1" fmla="*/ 22 h 33"/>
                  <a:gd name="T2" fmla="*/ 35 w 35"/>
                  <a:gd name="T3" fmla="*/ 18 h 33"/>
                  <a:gd name="T4" fmla="*/ 31 w 35"/>
                  <a:gd name="T5" fmla="*/ 16 h 33"/>
                  <a:gd name="T6" fmla="*/ 27 w 35"/>
                  <a:gd name="T7" fmla="*/ 16 h 33"/>
                  <a:gd name="T8" fmla="*/ 28 w 35"/>
                  <a:gd name="T9" fmla="*/ 0 h 33"/>
                  <a:gd name="T10" fmla="*/ 14 w 35"/>
                  <a:gd name="T11" fmla="*/ 0 h 33"/>
                  <a:gd name="T12" fmla="*/ 12 w 35"/>
                  <a:gd name="T13" fmla="*/ 6 h 33"/>
                  <a:gd name="T14" fmla="*/ 17 w 35"/>
                  <a:gd name="T15" fmla="*/ 14 h 33"/>
                  <a:gd name="T16" fmla="*/ 7 w 35"/>
                  <a:gd name="T17" fmla="*/ 15 h 33"/>
                  <a:gd name="T18" fmla="*/ 0 w 35"/>
                  <a:gd name="T19" fmla="*/ 24 h 33"/>
                  <a:gd name="T20" fmla="*/ 9 w 35"/>
                  <a:gd name="T21" fmla="*/ 31 h 33"/>
                  <a:gd name="T22" fmla="*/ 20 w 35"/>
                  <a:gd name="T23" fmla="*/ 33 h 33"/>
                  <a:gd name="T24" fmla="*/ 21 w 35"/>
                  <a:gd name="T25" fmla="*/ 33 h 33"/>
                  <a:gd name="T26" fmla="*/ 26 w 35"/>
                  <a:gd name="T27" fmla="*/ 28 h 33"/>
                  <a:gd name="T28" fmla="*/ 30 w 35"/>
                  <a:gd name="T29" fmla="*/ 22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5" h="33">
                    <a:moveTo>
                      <a:pt x="30" y="22"/>
                    </a:moveTo>
                    <a:cubicBezTo>
                      <a:pt x="32" y="21"/>
                      <a:pt x="33" y="19"/>
                      <a:pt x="35" y="18"/>
                    </a:cubicBezTo>
                    <a:cubicBezTo>
                      <a:pt x="32" y="19"/>
                      <a:pt x="31" y="18"/>
                      <a:pt x="31" y="16"/>
                    </a:cubicBezTo>
                    <a:cubicBezTo>
                      <a:pt x="27" y="16"/>
                      <a:pt x="27" y="16"/>
                      <a:pt x="27" y="16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24" y="0"/>
                      <a:pt x="15" y="0"/>
                      <a:pt x="14" y="0"/>
                    </a:cubicBezTo>
                    <a:cubicBezTo>
                      <a:pt x="13" y="0"/>
                      <a:pt x="12" y="5"/>
                      <a:pt x="12" y="6"/>
                    </a:cubicBezTo>
                    <a:cubicBezTo>
                      <a:pt x="11" y="6"/>
                      <a:pt x="18" y="11"/>
                      <a:pt x="17" y="14"/>
                    </a:cubicBezTo>
                    <a:cubicBezTo>
                      <a:pt x="17" y="16"/>
                      <a:pt x="8" y="15"/>
                      <a:pt x="7" y="15"/>
                    </a:cubicBezTo>
                    <a:cubicBezTo>
                      <a:pt x="6" y="15"/>
                      <a:pt x="3" y="19"/>
                      <a:pt x="0" y="24"/>
                    </a:cubicBezTo>
                    <a:cubicBezTo>
                      <a:pt x="4" y="27"/>
                      <a:pt x="7" y="30"/>
                      <a:pt x="9" y="31"/>
                    </a:cubicBezTo>
                    <a:cubicBezTo>
                      <a:pt x="12" y="33"/>
                      <a:pt x="18" y="31"/>
                      <a:pt x="20" y="33"/>
                    </a:cubicBezTo>
                    <a:cubicBezTo>
                      <a:pt x="20" y="33"/>
                      <a:pt x="20" y="33"/>
                      <a:pt x="21" y="33"/>
                    </a:cubicBezTo>
                    <a:cubicBezTo>
                      <a:pt x="23" y="31"/>
                      <a:pt x="25" y="29"/>
                      <a:pt x="26" y="28"/>
                    </a:cubicBezTo>
                    <a:cubicBezTo>
                      <a:pt x="28" y="28"/>
                      <a:pt x="27" y="25"/>
                      <a:pt x="30" y="2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7" name="Freeform 103">
                <a:extLst>
                  <a:ext uri="{FF2B5EF4-FFF2-40B4-BE49-F238E27FC236}">
                    <a16:creationId xmlns:a16="http://schemas.microsoft.com/office/drawing/2014/main" id="{40D8D7D1-EC17-411A-A823-EE94E47D8E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3438" y="3740984"/>
                <a:ext cx="26349" cy="47680"/>
              </a:xfrm>
              <a:custGeom>
                <a:avLst/>
                <a:gdLst>
                  <a:gd name="T0" fmla="*/ 2 w 11"/>
                  <a:gd name="T1" fmla="*/ 5 h 21"/>
                  <a:gd name="T2" fmla="*/ 1 w 11"/>
                  <a:gd name="T3" fmla="*/ 5 h 21"/>
                  <a:gd name="T4" fmla="*/ 0 w 11"/>
                  <a:gd name="T5" fmla="*/ 21 h 21"/>
                  <a:gd name="T6" fmla="*/ 4 w 11"/>
                  <a:gd name="T7" fmla="*/ 21 h 21"/>
                  <a:gd name="T8" fmla="*/ 7 w 11"/>
                  <a:gd name="T9" fmla="*/ 17 h 21"/>
                  <a:gd name="T10" fmla="*/ 9 w 11"/>
                  <a:gd name="T11" fmla="*/ 3 h 21"/>
                  <a:gd name="T12" fmla="*/ 11 w 11"/>
                  <a:gd name="T13" fmla="*/ 2 h 21"/>
                  <a:gd name="T14" fmla="*/ 7 w 11"/>
                  <a:gd name="T15" fmla="*/ 0 h 21"/>
                  <a:gd name="T16" fmla="*/ 2 w 11"/>
                  <a:gd name="T17" fmla="*/ 5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" h="21">
                    <a:moveTo>
                      <a:pt x="2" y="5"/>
                    </a:moveTo>
                    <a:cubicBezTo>
                      <a:pt x="2" y="5"/>
                      <a:pt x="1" y="5"/>
                      <a:pt x="1" y="5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4" y="21"/>
                      <a:pt x="4" y="21"/>
                      <a:pt x="4" y="21"/>
                    </a:cubicBezTo>
                    <a:cubicBezTo>
                      <a:pt x="5" y="19"/>
                      <a:pt x="5" y="18"/>
                      <a:pt x="7" y="17"/>
                    </a:cubicBezTo>
                    <a:cubicBezTo>
                      <a:pt x="10" y="14"/>
                      <a:pt x="5" y="4"/>
                      <a:pt x="9" y="3"/>
                    </a:cubicBezTo>
                    <a:cubicBezTo>
                      <a:pt x="10" y="3"/>
                      <a:pt x="10" y="3"/>
                      <a:pt x="11" y="2"/>
                    </a:cubicBezTo>
                    <a:cubicBezTo>
                      <a:pt x="9" y="1"/>
                      <a:pt x="8" y="0"/>
                      <a:pt x="7" y="0"/>
                    </a:cubicBezTo>
                    <a:cubicBezTo>
                      <a:pt x="5" y="0"/>
                      <a:pt x="3" y="5"/>
                      <a:pt x="2" y="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8" name="Freeform 104">
                <a:extLst>
                  <a:ext uri="{FF2B5EF4-FFF2-40B4-BE49-F238E27FC236}">
                    <a16:creationId xmlns:a16="http://schemas.microsoft.com/office/drawing/2014/main" id="{E0540DB1-B9F3-439D-B6C2-2DC8722536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5714" y="3703343"/>
                <a:ext cx="55208" cy="46425"/>
              </a:xfrm>
              <a:custGeom>
                <a:avLst/>
                <a:gdLst>
                  <a:gd name="T0" fmla="*/ 12 w 24"/>
                  <a:gd name="T1" fmla="*/ 2 h 20"/>
                  <a:gd name="T2" fmla="*/ 17 w 24"/>
                  <a:gd name="T3" fmla="*/ 13 h 20"/>
                  <a:gd name="T4" fmla="*/ 1 w 24"/>
                  <a:gd name="T5" fmla="*/ 16 h 20"/>
                  <a:gd name="T6" fmla="*/ 12 w 24"/>
                  <a:gd name="T7" fmla="*/ 19 h 20"/>
                  <a:gd name="T8" fmla="*/ 23 w 24"/>
                  <a:gd name="T9" fmla="*/ 20 h 20"/>
                  <a:gd name="T10" fmla="*/ 24 w 24"/>
                  <a:gd name="T11" fmla="*/ 5 h 20"/>
                  <a:gd name="T12" fmla="*/ 12 w 24"/>
                  <a:gd name="T13" fmla="*/ 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" h="20">
                    <a:moveTo>
                      <a:pt x="12" y="2"/>
                    </a:moveTo>
                    <a:cubicBezTo>
                      <a:pt x="8" y="5"/>
                      <a:pt x="17" y="10"/>
                      <a:pt x="17" y="13"/>
                    </a:cubicBezTo>
                    <a:cubicBezTo>
                      <a:pt x="17" y="17"/>
                      <a:pt x="3" y="13"/>
                      <a:pt x="1" y="16"/>
                    </a:cubicBezTo>
                    <a:cubicBezTo>
                      <a:pt x="0" y="18"/>
                      <a:pt x="6" y="20"/>
                      <a:pt x="12" y="19"/>
                    </a:cubicBezTo>
                    <a:cubicBezTo>
                      <a:pt x="16" y="17"/>
                      <a:pt x="20" y="19"/>
                      <a:pt x="23" y="20"/>
                    </a:cubicBezTo>
                    <a:cubicBezTo>
                      <a:pt x="23" y="15"/>
                      <a:pt x="24" y="9"/>
                      <a:pt x="24" y="5"/>
                    </a:cubicBezTo>
                    <a:cubicBezTo>
                      <a:pt x="20" y="3"/>
                      <a:pt x="14" y="0"/>
                      <a:pt x="12" y="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9" name="Freeform 105">
                <a:extLst>
                  <a:ext uri="{FF2B5EF4-FFF2-40B4-BE49-F238E27FC236}">
                    <a16:creationId xmlns:a16="http://schemas.microsoft.com/office/drawing/2014/main" id="{4A9F74F2-B7E6-4DEC-92BA-2679E40D6C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79667" y="3710871"/>
                <a:ext cx="61482" cy="43915"/>
              </a:xfrm>
              <a:custGeom>
                <a:avLst/>
                <a:gdLst>
                  <a:gd name="T0" fmla="*/ 10 w 27"/>
                  <a:gd name="T1" fmla="*/ 14 h 19"/>
                  <a:gd name="T2" fmla="*/ 27 w 27"/>
                  <a:gd name="T3" fmla="*/ 11 h 19"/>
                  <a:gd name="T4" fmla="*/ 6 w 27"/>
                  <a:gd name="T5" fmla="*/ 2 h 19"/>
                  <a:gd name="T6" fmla="*/ 1 w 27"/>
                  <a:gd name="T7" fmla="*/ 2 h 19"/>
                  <a:gd name="T8" fmla="*/ 0 w 27"/>
                  <a:gd name="T9" fmla="*/ 17 h 19"/>
                  <a:gd name="T10" fmla="*/ 0 w 27"/>
                  <a:gd name="T11" fmla="*/ 17 h 19"/>
                  <a:gd name="T12" fmla="*/ 10 w 27"/>
                  <a:gd name="T13" fmla="*/ 14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7" h="19">
                    <a:moveTo>
                      <a:pt x="10" y="14"/>
                    </a:moveTo>
                    <a:cubicBezTo>
                      <a:pt x="17" y="12"/>
                      <a:pt x="27" y="16"/>
                      <a:pt x="27" y="11"/>
                    </a:cubicBezTo>
                    <a:cubicBezTo>
                      <a:pt x="27" y="6"/>
                      <a:pt x="10" y="0"/>
                      <a:pt x="6" y="2"/>
                    </a:cubicBezTo>
                    <a:cubicBezTo>
                      <a:pt x="4" y="2"/>
                      <a:pt x="3" y="2"/>
                      <a:pt x="1" y="2"/>
                    </a:cubicBezTo>
                    <a:cubicBezTo>
                      <a:pt x="1" y="6"/>
                      <a:pt x="0" y="12"/>
                      <a:pt x="0" y="17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3" y="19"/>
                      <a:pt x="4" y="16"/>
                      <a:pt x="10" y="14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0" name="Freeform 106">
                <a:extLst>
                  <a:ext uri="{FF2B5EF4-FFF2-40B4-BE49-F238E27FC236}">
                    <a16:creationId xmlns:a16="http://schemas.microsoft.com/office/drawing/2014/main" id="{63DD974E-D568-4065-81AF-94C0F61024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88571" y="3804975"/>
                <a:ext cx="77793" cy="81557"/>
              </a:xfrm>
              <a:custGeom>
                <a:avLst/>
                <a:gdLst>
                  <a:gd name="T0" fmla="*/ 18 w 34"/>
                  <a:gd name="T1" fmla="*/ 33 h 35"/>
                  <a:gd name="T2" fmla="*/ 26 w 34"/>
                  <a:gd name="T3" fmla="*/ 35 h 35"/>
                  <a:gd name="T4" fmla="*/ 30 w 34"/>
                  <a:gd name="T5" fmla="*/ 35 h 35"/>
                  <a:gd name="T6" fmla="*/ 29 w 34"/>
                  <a:gd name="T7" fmla="*/ 34 h 35"/>
                  <a:gd name="T8" fmla="*/ 31 w 34"/>
                  <a:gd name="T9" fmla="*/ 23 h 35"/>
                  <a:gd name="T10" fmla="*/ 32 w 34"/>
                  <a:gd name="T11" fmla="*/ 9 h 35"/>
                  <a:gd name="T12" fmla="*/ 34 w 34"/>
                  <a:gd name="T13" fmla="*/ 1 h 35"/>
                  <a:gd name="T14" fmla="*/ 34 w 34"/>
                  <a:gd name="T15" fmla="*/ 0 h 35"/>
                  <a:gd name="T16" fmla="*/ 24 w 34"/>
                  <a:gd name="T17" fmla="*/ 4 h 35"/>
                  <a:gd name="T18" fmla="*/ 17 w 34"/>
                  <a:gd name="T19" fmla="*/ 6 h 35"/>
                  <a:gd name="T20" fmla="*/ 8 w 34"/>
                  <a:gd name="T21" fmla="*/ 10 h 35"/>
                  <a:gd name="T22" fmla="*/ 5 w 34"/>
                  <a:gd name="T23" fmla="*/ 15 h 35"/>
                  <a:gd name="T24" fmla="*/ 3 w 34"/>
                  <a:gd name="T25" fmla="*/ 17 h 35"/>
                  <a:gd name="T26" fmla="*/ 0 w 34"/>
                  <a:gd name="T27" fmla="*/ 17 h 35"/>
                  <a:gd name="T28" fmla="*/ 1 w 34"/>
                  <a:gd name="T29" fmla="*/ 21 h 35"/>
                  <a:gd name="T30" fmla="*/ 11 w 34"/>
                  <a:gd name="T31" fmla="*/ 30 h 35"/>
                  <a:gd name="T32" fmla="*/ 14 w 34"/>
                  <a:gd name="T33" fmla="*/ 33 h 35"/>
                  <a:gd name="T34" fmla="*/ 18 w 34"/>
                  <a:gd name="T35" fmla="*/ 33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4" h="35">
                    <a:moveTo>
                      <a:pt x="18" y="33"/>
                    </a:moveTo>
                    <a:cubicBezTo>
                      <a:pt x="20" y="34"/>
                      <a:pt x="24" y="33"/>
                      <a:pt x="26" y="35"/>
                    </a:cubicBezTo>
                    <a:cubicBezTo>
                      <a:pt x="27" y="35"/>
                      <a:pt x="28" y="35"/>
                      <a:pt x="30" y="35"/>
                    </a:cubicBezTo>
                    <a:cubicBezTo>
                      <a:pt x="30" y="35"/>
                      <a:pt x="29" y="34"/>
                      <a:pt x="29" y="34"/>
                    </a:cubicBezTo>
                    <a:cubicBezTo>
                      <a:pt x="28" y="31"/>
                      <a:pt x="30" y="27"/>
                      <a:pt x="31" y="23"/>
                    </a:cubicBezTo>
                    <a:cubicBezTo>
                      <a:pt x="32" y="20"/>
                      <a:pt x="30" y="12"/>
                      <a:pt x="32" y="9"/>
                    </a:cubicBezTo>
                    <a:cubicBezTo>
                      <a:pt x="34" y="7"/>
                      <a:pt x="33" y="6"/>
                      <a:pt x="34" y="1"/>
                    </a:cubicBezTo>
                    <a:cubicBezTo>
                      <a:pt x="34" y="1"/>
                      <a:pt x="34" y="1"/>
                      <a:pt x="34" y="0"/>
                    </a:cubicBezTo>
                    <a:cubicBezTo>
                      <a:pt x="30" y="0"/>
                      <a:pt x="26" y="4"/>
                      <a:pt x="24" y="4"/>
                    </a:cubicBezTo>
                    <a:cubicBezTo>
                      <a:pt x="23" y="4"/>
                      <a:pt x="17" y="3"/>
                      <a:pt x="17" y="6"/>
                    </a:cubicBezTo>
                    <a:cubicBezTo>
                      <a:pt x="16" y="9"/>
                      <a:pt x="12" y="9"/>
                      <a:pt x="8" y="10"/>
                    </a:cubicBezTo>
                    <a:cubicBezTo>
                      <a:pt x="3" y="10"/>
                      <a:pt x="6" y="14"/>
                      <a:pt x="5" y="15"/>
                    </a:cubicBezTo>
                    <a:cubicBezTo>
                      <a:pt x="5" y="15"/>
                      <a:pt x="3" y="17"/>
                      <a:pt x="3" y="17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19"/>
                      <a:pt x="0" y="20"/>
                      <a:pt x="1" y="21"/>
                    </a:cubicBezTo>
                    <a:cubicBezTo>
                      <a:pt x="4" y="22"/>
                      <a:pt x="8" y="28"/>
                      <a:pt x="11" y="30"/>
                    </a:cubicBezTo>
                    <a:cubicBezTo>
                      <a:pt x="12" y="31"/>
                      <a:pt x="13" y="32"/>
                      <a:pt x="14" y="33"/>
                    </a:cubicBezTo>
                    <a:cubicBezTo>
                      <a:pt x="15" y="33"/>
                      <a:pt x="17" y="33"/>
                      <a:pt x="18" y="3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1" name="Freeform 108">
                <a:extLst>
                  <a:ext uri="{FF2B5EF4-FFF2-40B4-BE49-F238E27FC236}">
                    <a16:creationId xmlns:a16="http://schemas.microsoft.com/office/drawing/2014/main" id="{690BBC24-8B53-4B58-B171-19CB1E2736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28103" y="4669481"/>
                <a:ext cx="91595" cy="101633"/>
              </a:xfrm>
              <a:custGeom>
                <a:avLst/>
                <a:gdLst>
                  <a:gd name="T0" fmla="*/ 40 w 40"/>
                  <a:gd name="T1" fmla="*/ 21 h 44"/>
                  <a:gd name="T2" fmla="*/ 34 w 40"/>
                  <a:gd name="T3" fmla="*/ 15 h 44"/>
                  <a:gd name="T4" fmla="*/ 25 w 40"/>
                  <a:gd name="T5" fmla="*/ 8 h 44"/>
                  <a:gd name="T6" fmla="*/ 21 w 40"/>
                  <a:gd name="T7" fmla="*/ 9 h 44"/>
                  <a:gd name="T8" fmla="*/ 17 w 40"/>
                  <a:gd name="T9" fmla="*/ 3 h 44"/>
                  <a:gd name="T10" fmla="*/ 10 w 40"/>
                  <a:gd name="T11" fmla="*/ 1 h 44"/>
                  <a:gd name="T12" fmla="*/ 8 w 40"/>
                  <a:gd name="T13" fmla="*/ 1 h 44"/>
                  <a:gd name="T14" fmla="*/ 5 w 40"/>
                  <a:gd name="T15" fmla="*/ 6 h 44"/>
                  <a:gd name="T16" fmla="*/ 3 w 40"/>
                  <a:gd name="T17" fmla="*/ 19 h 44"/>
                  <a:gd name="T18" fmla="*/ 0 w 40"/>
                  <a:gd name="T19" fmla="*/ 30 h 44"/>
                  <a:gd name="T20" fmla="*/ 3 w 40"/>
                  <a:gd name="T21" fmla="*/ 35 h 44"/>
                  <a:gd name="T22" fmla="*/ 2 w 40"/>
                  <a:gd name="T23" fmla="*/ 38 h 44"/>
                  <a:gd name="T24" fmla="*/ 5 w 40"/>
                  <a:gd name="T25" fmla="*/ 40 h 44"/>
                  <a:gd name="T26" fmla="*/ 16 w 40"/>
                  <a:gd name="T27" fmla="*/ 42 h 44"/>
                  <a:gd name="T28" fmla="*/ 22 w 40"/>
                  <a:gd name="T29" fmla="*/ 42 h 44"/>
                  <a:gd name="T30" fmla="*/ 34 w 40"/>
                  <a:gd name="T31" fmla="*/ 41 h 44"/>
                  <a:gd name="T32" fmla="*/ 40 w 40"/>
                  <a:gd name="T33" fmla="*/ 33 h 44"/>
                  <a:gd name="T34" fmla="*/ 40 w 40"/>
                  <a:gd name="T35" fmla="*/ 21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0" h="44">
                    <a:moveTo>
                      <a:pt x="40" y="21"/>
                    </a:moveTo>
                    <a:cubicBezTo>
                      <a:pt x="40" y="17"/>
                      <a:pt x="35" y="16"/>
                      <a:pt x="34" y="15"/>
                    </a:cubicBezTo>
                    <a:cubicBezTo>
                      <a:pt x="33" y="13"/>
                      <a:pt x="27" y="11"/>
                      <a:pt x="25" y="8"/>
                    </a:cubicBezTo>
                    <a:cubicBezTo>
                      <a:pt x="23" y="5"/>
                      <a:pt x="22" y="9"/>
                      <a:pt x="21" y="9"/>
                    </a:cubicBezTo>
                    <a:cubicBezTo>
                      <a:pt x="20" y="9"/>
                      <a:pt x="20" y="7"/>
                      <a:pt x="17" y="3"/>
                    </a:cubicBezTo>
                    <a:cubicBezTo>
                      <a:pt x="14" y="0"/>
                      <a:pt x="12" y="0"/>
                      <a:pt x="10" y="1"/>
                    </a:cubicBezTo>
                    <a:cubicBezTo>
                      <a:pt x="10" y="1"/>
                      <a:pt x="9" y="1"/>
                      <a:pt x="8" y="1"/>
                    </a:cubicBezTo>
                    <a:cubicBezTo>
                      <a:pt x="6" y="3"/>
                      <a:pt x="5" y="4"/>
                      <a:pt x="5" y="6"/>
                    </a:cubicBezTo>
                    <a:cubicBezTo>
                      <a:pt x="5" y="9"/>
                      <a:pt x="3" y="13"/>
                      <a:pt x="3" y="19"/>
                    </a:cubicBezTo>
                    <a:cubicBezTo>
                      <a:pt x="2" y="26"/>
                      <a:pt x="1" y="25"/>
                      <a:pt x="0" y="30"/>
                    </a:cubicBezTo>
                    <a:cubicBezTo>
                      <a:pt x="0" y="35"/>
                      <a:pt x="2" y="34"/>
                      <a:pt x="3" y="35"/>
                    </a:cubicBezTo>
                    <a:cubicBezTo>
                      <a:pt x="3" y="35"/>
                      <a:pt x="3" y="37"/>
                      <a:pt x="2" y="38"/>
                    </a:cubicBezTo>
                    <a:cubicBezTo>
                      <a:pt x="3" y="39"/>
                      <a:pt x="4" y="40"/>
                      <a:pt x="5" y="40"/>
                    </a:cubicBezTo>
                    <a:cubicBezTo>
                      <a:pt x="9" y="39"/>
                      <a:pt x="12" y="41"/>
                      <a:pt x="16" y="42"/>
                    </a:cubicBezTo>
                    <a:cubicBezTo>
                      <a:pt x="20" y="44"/>
                      <a:pt x="18" y="42"/>
                      <a:pt x="22" y="42"/>
                    </a:cubicBezTo>
                    <a:cubicBezTo>
                      <a:pt x="26" y="43"/>
                      <a:pt x="30" y="43"/>
                      <a:pt x="34" y="41"/>
                    </a:cubicBezTo>
                    <a:cubicBezTo>
                      <a:pt x="37" y="39"/>
                      <a:pt x="38" y="36"/>
                      <a:pt x="40" y="33"/>
                    </a:cubicBezTo>
                    <a:cubicBezTo>
                      <a:pt x="38" y="29"/>
                      <a:pt x="40" y="24"/>
                      <a:pt x="40" y="2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2" name="Freeform 109">
                <a:extLst>
                  <a:ext uri="{FF2B5EF4-FFF2-40B4-BE49-F238E27FC236}">
                    <a16:creationId xmlns:a16="http://schemas.microsoft.com/office/drawing/2014/main" id="{99E2CA1F-A1D0-4B23-B3F8-DC21D7D13DD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542025" y="4501348"/>
                <a:ext cx="376418" cy="740288"/>
              </a:xfrm>
              <a:custGeom>
                <a:avLst/>
                <a:gdLst>
                  <a:gd name="T0" fmla="*/ 46 w 163"/>
                  <a:gd name="T1" fmla="*/ 304 h 321"/>
                  <a:gd name="T2" fmla="*/ 43 w 163"/>
                  <a:gd name="T3" fmla="*/ 297 h 321"/>
                  <a:gd name="T4" fmla="*/ 40 w 163"/>
                  <a:gd name="T5" fmla="*/ 319 h 321"/>
                  <a:gd name="T6" fmla="*/ 58 w 163"/>
                  <a:gd name="T7" fmla="*/ 320 h 321"/>
                  <a:gd name="T8" fmla="*/ 62 w 163"/>
                  <a:gd name="T9" fmla="*/ 315 h 321"/>
                  <a:gd name="T10" fmla="*/ 156 w 163"/>
                  <a:gd name="T11" fmla="*/ 33 h 321"/>
                  <a:gd name="T12" fmla="*/ 152 w 163"/>
                  <a:gd name="T13" fmla="*/ 46 h 321"/>
                  <a:gd name="T14" fmla="*/ 138 w 163"/>
                  <a:gd name="T15" fmla="*/ 50 h 321"/>
                  <a:gd name="T16" fmla="*/ 123 w 163"/>
                  <a:gd name="T17" fmla="*/ 48 h 321"/>
                  <a:gd name="T18" fmla="*/ 132 w 163"/>
                  <a:gd name="T19" fmla="*/ 32 h 321"/>
                  <a:gd name="T20" fmla="*/ 108 w 163"/>
                  <a:gd name="T21" fmla="*/ 20 h 321"/>
                  <a:gd name="T22" fmla="*/ 88 w 163"/>
                  <a:gd name="T23" fmla="*/ 3 h 321"/>
                  <a:gd name="T24" fmla="*/ 75 w 163"/>
                  <a:gd name="T25" fmla="*/ 7 h 321"/>
                  <a:gd name="T26" fmla="*/ 59 w 163"/>
                  <a:gd name="T27" fmla="*/ 4 h 321"/>
                  <a:gd name="T28" fmla="*/ 52 w 163"/>
                  <a:gd name="T29" fmla="*/ 18 h 321"/>
                  <a:gd name="T30" fmla="*/ 42 w 163"/>
                  <a:gd name="T31" fmla="*/ 31 h 321"/>
                  <a:gd name="T32" fmla="*/ 43 w 163"/>
                  <a:gd name="T33" fmla="*/ 45 h 321"/>
                  <a:gd name="T34" fmla="*/ 36 w 163"/>
                  <a:gd name="T35" fmla="*/ 56 h 321"/>
                  <a:gd name="T36" fmla="*/ 30 w 163"/>
                  <a:gd name="T37" fmla="*/ 67 h 321"/>
                  <a:gd name="T38" fmla="*/ 26 w 163"/>
                  <a:gd name="T39" fmla="*/ 82 h 321"/>
                  <a:gd name="T40" fmla="*/ 29 w 163"/>
                  <a:gd name="T41" fmla="*/ 98 h 321"/>
                  <a:gd name="T42" fmla="*/ 29 w 163"/>
                  <a:gd name="T43" fmla="*/ 112 h 321"/>
                  <a:gd name="T44" fmla="*/ 26 w 163"/>
                  <a:gd name="T45" fmla="*/ 128 h 321"/>
                  <a:gd name="T46" fmla="*/ 21 w 163"/>
                  <a:gd name="T47" fmla="*/ 147 h 321"/>
                  <a:gd name="T48" fmla="*/ 18 w 163"/>
                  <a:gd name="T49" fmla="*/ 154 h 321"/>
                  <a:gd name="T50" fmla="*/ 15 w 163"/>
                  <a:gd name="T51" fmla="*/ 166 h 321"/>
                  <a:gd name="T52" fmla="*/ 15 w 163"/>
                  <a:gd name="T53" fmla="*/ 177 h 321"/>
                  <a:gd name="T54" fmla="*/ 13 w 163"/>
                  <a:gd name="T55" fmla="*/ 194 h 321"/>
                  <a:gd name="T56" fmla="*/ 15 w 163"/>
                  <a:gd name="T57" fmla="*/ 203 h 321"/>
                  <a:gd name="T58" fmla="*/ 19 w 163"/>
                  <a:gd name="T59" fmla="*/ 211 h 321"/>
                  <a:gd name="T60" fmla="*/ 17 w 163"/>
                  <a:gd name="T61" fmla="*/ 218 h 321"/>
                  <a:gd name="T62" fmla="*/ 15 w 163"/>
                  <a:gd name="T63" fmla="*/ 231 h 321"/>
                  <a:gd name="T64" fmla="*/ 10 w 163"/>
                  <a:gd name="T65" fmla="*/ 241 h 321"/>
                  <a:gd name="T66" fmla="*/ 6 w 163"/>
                  <a:gd name="T67" fmla="*/ 253 h 321"/>
                  <a:gd name="T68" fmla="*/ 2 w 163"/>
                  <a:gd name="T69" fmla="*/ 266 h 321"/>
                  <a:gd name="T70" fmla="*/ 11 w 163"/>
                  <a:gd name="T71" fmla="*/ 274 h 321"/>
                  <a:gd name="T72" fmla="*/ 16 w 163"/>
                  <a:gd name="T73" fmla="*/ 286 h 321"/>
                  <a:gd name="T74" fmla="*/ 34 w 163"/>
                  <a:gd name="T75" fmla="*/ 289 h 321"/>
                  <a:gd name="T76" fmla="*/ 38 w 163"/>
                  <a:gd name="T77" fmla="*/ 282 h 321"/>
                  <a:gd name="T78" fmla="*/ 38 w 163"/>
                  <a:gd name="T79" fmla="*/ 269 h 321"/>
                  <a:gd name="T80" fmla="*/ 47 w 163"/>
                  <a:gd name="T81" fmla="*/ 260 h 321"/>
                  <a:gd name="T82" fmla="*/ 63 w 163"/>
                  <a:gd name="T83" fmla="*/ 243 h 321"/>
                  <a:gd name="T84" fmla="*/ 56 w 163"/>
                  <a:gd name="T85" fmla="*/ 233 h 321"/>
                  <a:gd name="T86" fmla="*/ 64 w 163"/>
                  <a:gd name="T87" fmla="*/ 213 h 321"/>
                  <a:gd name="T88" fmla="*/ 68 w 163"/>
                  <a:gd name="T89" fmla="*/ 203 h 321"/>
                  <a:gd name="T90" fmla="*/ 73 w 163"/>
                  <a:gd name="T91" fmla="*/ 192 h 321"/>
                  <a:gd name="T92" fmla="*/ 78 w 163"/>
                  <a:gd name="T93" fmla="*/ 192 h 321"/>
                  <a:gd name="T94" fmla="*/ 76 w 163"/>
                  <a:gd name="T95" fmla="*/ 187 h 321"/>
                  <a:gd name="T96" fmla="*/ 70 w 163"/>
                  <a:gd name="T97" fmla="*/ 179 h 321"/>
                  <a:gd name="T98" fmla="*/ 82 w 163"/>
                  <a:gd name="T99" fmla="*/ 175 h 321"/>
                  <a:gd name="T100" fmla="*/ 92 w 163"/>
                  <a:gd name="T101" fmla="*/ 162 h 321"/>
                  <a:gd name="T102" fmla="*/ 95 w 163"/>
                  <a:gd name="T103" fmla="*/ 154 h 321"/>
                  <a:gd name="T104" fmla="*/ 131 w 163"/>
                  <a:gd name="T105" fmla="*/ 145 h 321"/>
                  <a:gd name="T106" fmla="*/ 135 w 163"/>
                  <a:gd name="T107" fmla="*/ 129 h 321"/>
                  <a:gd name="T108" fmla="*/ 129 w 163"/>
                  <a:gd name="T109" fmla="*/ 117 h 321"/>
                  <a:gd name="T110" fmla="*/ 126 w 163"/>
                  <a:gd name="T111" fmla="*/ 111 h 321"/>
                  <a:gd name="T112" fmla="*/ 124 w 163"/>
                  <a:gd name="T113" fmla="*/ 103 h 321"/>
                  <a:gd name="T114" fmla="*/ 129 w 163"/>
                  <a:gd name="T115" fmla="*/ 79 h 321"/>
                  <a:gd name="T116" fmla="*/ 153 w 163"/>
                  <a:gd name="T117" fmla="*/ 51 h 321"/>
                  <a:gd name="T118" fmla="*/ 161 w 163"/>
                  <a:gd name="T119" fmla="*/ 33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63" h="321">
                    <a:moveTo>
                      <a:pt x="62" y="315"/>
                    </a:moveTo>
                    <a:cubicBezTo>
                      <a:pt x="58" y="315"/>
                      <a:pt x="49" y="307"/>
                      <a:pt x="46" y="304"/>
                    </a:cubicBezTo>
                    <a:cubicBezTo>
                      <a:pt x="44" y="302"/>
                      <a:pt x="46" y="300"/>
                      <a:pt x="43" y="301"/>
                    </a:cubicBezTo>
                    <a:cubicBezTo>
                      <a:pt x="39" y="301"/>
                      <a:pt x="41" y="298"/>
                      <a:pt x="43" y="297"/>
                    </a:cubicBezTo>
                    <a:cubicBezTo>
                      <a:pt x="45" y="296"/>
                      <a:pt x="43" y="293"/>
                      <a:pt x="40" y="293"/>
                    </a:cubicBezTo>
                    <a:cubicBezTo>
                      <a:pt x="40" y="298"/>
                      <a:pt x="39" y="319"/>
                      <a:pt x="40" y="319"/>
                    </a:cubicBezTo>
                    <a:cubicBezTo>
                      <a:pt x="42" y="320"/>
                      <a:pt x="51" y="318"/>
                      <a:pt x="54" y="320"/>
                    </a:cubicBezTo>
                    <a:cubicBezTo>
                      <a:pt x="55" y="320"/>
                      <a:pt x="57" y="321"/>
                      <a:pt x="58" y="320"/>
                    </a:cubicBezTo>
                    <a:cubicBezTo>
                      <a:pt x="59" y="318"/>
                      <a:pt x="65" y="319"/>
                      <a:pt x="68" y="317"/>
                    </a:cubicBezTo>
                    <a:cubicBezTo>
                      <a:pt x="71" y="316"/>
                      <a:pt x="67" y="315"/>
                      <a:pt x="62" y="315"/>
                    </a:cubicBezTo>
                    <a:close/>
                    <a:moveTo>
                      <a:pt x="161" y="33"/>
                    </a:moveTo>
                    <a:cubicBezTo>
                      <a:pt x="160" y="33"/>
                      <a:pt x="158" y="33"/>
                      <a:pt x="156" y="33"/>
                    </a:cubicBezTo>
                    <a:cubicBezTo>
                      <a:pt x="156" y="33"/>
                      <a:pt x="156" y="34"/>
                      <a:pt x="156" y="34"/>
                    </a:cubicBezTo>
                    <a:cubicBezTo>
                      <a:pt x="156" y="37"/>
                      <a:pt x="154" y="46"/>
                      <a:pt x="152" y="46"/>
                    </a:cubicBezTo>
                    <a:cubicBezTo>
                      <a:pt x="149" y="45"/>
                      <a:pt x="147" y="49"/>
                      <a:pt x="145" y="49"/>
                    </a:cubicBezTo>
                    <a:cubicBezTo>
                      <a:pt x="144" y="48"/>
                      <a:pt x="141" y="52"/>
                      <a:pt x="138" y="50"/>
                    </a:cubicBezTo>
                    <a:cubicBezTo>
                      <a:pt x="136" y="49"/>
                      <a:pt x="133" y="51"/>
                      <a:pt x="131" y="49"/>
                    </a:cubicBezTo>
                    <a:cubicBezTo>
                      <a:pt x="129" y="48"/>
                      <a:pt x="123" y="49"/>
                      <a:pt x="123" y="48"/>
                    </a:cubicBezTo>
                    <a:cubicBezTo>
                      <a:pt x="123" y="46"/>
                      <a:pt x="126" y="47"/>
                      <a:pt x="126" y="42"/>
                    </a:cubicBezTo>
                    <a:cubicBezTo>
                      <a:pt x="126" y="38"/>
                      <a:pt x="133" y="33"/>
                      <a:pt x="132" y="32"/>
                    </a:cubicBezTo>
                    <a:cubicBezTo>
                      <a:pt x="131" y="30"/>
                      <a:pt x="119" y="26"/>
                      <a:pt x="117" y="24"/>
                    </a:cubicBezTo>
                    <a:cubicBezTo>
                      <a:pt x="116" y="22"/>
                      <a:pt x="113" y="20"/>
                      <a:pt x="108" y="20"/>
                    </a:cubicBezTo>
                    <a:cubicBezTo>
                      <a:pt x="103" y="19"/>
                      <a:pt x="104" y="17"/>
                      <a:pt x="99" y="14"/>
                    </a:cubicBezTo>
                    <a:cubicBezTo>
                      <a:pt x="96" y="12"/>
                      <a:pt x="90" y="6"/>
                      <a:pt x="88" y="3"/>
                    </a:cubicBezTo>
                    <a:cubicBezTo>
                      <a:pt x="85" y="2"/>
                      <a:pt x="81" y="2"/>
                      <a:pt x="80" y="3"/>
                    </a:cubicBezTo>
                    <a:cubicBezTo>
                      <a:pt x="79" y="4"/>
                      <a:pt x="77" y="11"/>
                      <a:pt x="75" y="7"/>
                    </a:cubicBezTo>
                    <a:cubicBezTo>
                      <a:pt x="74" y="4"/>
                      <a:pt x="70" y="4"/>
                      <a:pt x="66" y="4"/>
                    </a:cubicBezTo>
                    <a:cubicBezTo>
                      <a:pt x="63" y="3"/>
                      <a:pt x="63" y="0"/>
                      <a:pt x="59" y="4"/>
                    </a:cubicBezTo>
                    <a:cubicBezTo>
                      <a:pt x="57" y="6"/>
                      <a:pt x="55" y="7"/>
                      <a:pt x="53" y="9"/>
                    </a:cubicBezTo>
                    <a:cubicBezTo>
                      <a:pt x="53" y="13"/>
                      <a:pt x="52" y="17"/>
                      <a:pt x="52" y="18"/>
                    </a:cubicBezTo>
                    <a:cubicBezTo>
                      <a:pt x="51" y="20"/>
                      <a:pt x="43" y="23"/>
                      <a:pt x="42" y="25"/>
                    </a:cubicBezTo>
                    <a:cubicBezTo>
                      <a:pt x="42" y="27"/>
                      <a:pt x="43" y="30"/>
                      <a:pt x="42" y="31"/>
                    </a:cubicBezTo>
                    <a:cubicBezTo>
                      <a:pt x="40" y="32"/>
                      <a:pt x="45" y="38"/>
                      <a:pt x="43" y="40"/>
                    </a:cubicBezTo>
                    <a:cubicBezTo>
                      <a:pt x="40" y="41"/>
                      <a:pt x="45" y="44"/>
                      <a:pt x="43" y="45"/>
                    </a:cubicBezTo>
                    <a:cubicBezTo>
                      <a:pt x="41" y="47"/>
                      <a:pt x="38" y="47"/>
                      <a:pt x="38" y="49"/>
                    </a:cubicBezTo>
                    <a:cubicBezTo>
                      <a:pt x="38" y="51"/>
                      <a:pt x="38" y="55"/>
                      <a:pt x="36" y="56"/>
                    </a:cubicBezTo>
                    <a:cubicBezTo>
                      <a:pt x="33" y="57"/>
                      <a:pt x="32" y="60"/>
                      <a:pt x="32" y="63"/>
                    </a:cubicBezTo>
                    <a:cubicBezTo>
                      <a:pt x="32" y="66"/>
                      <a:pt x="29" y="64"/>
                      <a:pt x="30" y="67"/>
                    </a:cubicBezTo>
                    <a:cubicBezTo>
                      <a:pt x="31" y="71"/>
                      <a:pt x="32" y="75"/>
                      <a:pt x="30" y="76"/>
                    </a:cubicBezTo>
                    <a:cubicBezTo>
                      <a:pt x="27" y="76"/>
                      <a:pt x="28" y="82"/>
                      <a:pt x="26" y="82"/>
                    </a:cubicBezTo>
                    <a:cubicBezTo>
                      <a:pt x="25" y="82"/>
                      <a:pt x="24" y="88"/>
                      <a:pt x="26" y="91"/>
                    </a:cubicBezTo>
                    <a:cubicBezTo>
                      <a:pt x="29" y="93"/>
                      <a:pt x="29" y="96"/>
                      <a:pt x="29" y="98"/>
                    </a:cubicBezTo>
                    <a:cubicBezTo>
                      <a:pt x="29" y="101"/>
                      <a:pt x="32" y="103"/>
                      <a:pt x="31" y="105"/>
                    </a:cubicBezTo>
                    <a:cubicBezTo>
                      <a:pt x="30" y="108"/>
                      <a:pt x="31" y="111"/>
                      <a:pt x="29" y="112"/>
                    </a:cubicBezTo>
                    <a:cubicBezTo>
                      <a:pt x="27" y="113"/>
                      <a:pt x="29" y="117"/>
                      <a:pt x="26" y="118"/>
                    </a:cubicBezTo>
                    <a:cubicBezTo>
                      <a:pt x="24" y="119"/>
                      <a:pt x="28" y="127"/>
                      <a:pt x="26" y="128"/>
                    </a:cubicBezTo>
                    <a:cubicBezTo>
                      <a:pt x="25" y="130"/>
                      <a:pt x="20" y="131"/>
                      <a:pt x="20" y="136"/>
                    </a:cubicBezTo>
                    <a:cubicBezTo>
                      <a:pt x="20" y="141"/>
                      <a:pt x="21" y="144"/>
                      <a:pt x="21" y="147"/>
                    </a:cubicBezTo>
                    <a:cubicBezTo>
                      <a:pt x="20" y="149"/>
                      <a:pt x="23" y="148"/>
                      <a:pt x="23" y="151"/>
                    </a:cubicBezTo>
                    <a:cubicBezTo>
                      <a:pt x="22" y="154"/>
                      <a:pt x="18" y="153"/>
                      <a:pt x="18" y="154"/>
                    </a:cubicBezTo>
                    <a:cubicBezTo>
                      <a:pt x="18" y="156"/>
                      <a:pt x="19" y="160"/>
                      <a:pt x="18" y="161"/>
                    </a:cubicBezTo>
                    <a:cubicBezTo>
                      <a:pt x="16" y="161"/>
                      <a:pt x="15" y="162"/>
                      <a:pt x="15" y="166"/>
                    </a:cubicBezTo>
                    <a:cubicBezTo>
                      <a:pt x="15" y="169"/>
                      <a:pt x="13" y="169"/>
                      <a:pt x="13" y="171"/>
                    </a:cubicBezTo>
                    <a:cubicBezTo>
                      <a:pt x="13" y="173"/>
                      <a:pt x="15" y="175"/>
                      <a:pt x="15" y="177"/>
                    </a:cubicBezTo>
                    <a:cubicBezTo>
                      <a:pt x="15" y="179"/>
                      <a:pt x="16" y="185"/>
                      <a:pt x="14" y="185"/>
                    </a:cubicBezTo>
                    <a:cubicBezTo>
                      <a:pt x="13" y="186"/>
                      <a:pt x="12" y="193"/>
                      <a:pt x="13" y="194"/>
                    </a:cubicBezTo>
                    <a:cubicBezTo>
                      <a:pt x="15" y="195"/>
                      <a:pt x="15" y="197"/>
                      <a:pt x="14" y="198"/>
                    </a:cubicBezTo>
                    <a:cubicBezTo>
                      <a:pt x="13" y="200"/>
                      <a:pt x="17" y="201"/>
                      <a:pt x="15" y="203"/>
                    </a:cubicBezTo>
                    <a:cubicBezTo>
                      <a:pt x="13" y="205"/>
                      <a:pt x="15" y="208"/>
                      <a:pt x="18" y="207"/>
                    </a:cubicBezTo>
                    <a:cubicBezTo>
                      <a:pt x="20" y="207"/>
                      <a:pt x="21" y="211"/>
                      <a:pt x="19" y="211"/>
                    </a:cubicBezTo>
                    <a:cubicBezTo>
                      <a:pt x="16" y="211"/>
                      <a:pt x="13" y="211"/>
                      <a:pt x="16" y="213"/>
                    </a:cubicBezTo>
                    <a:cubicBezTo>
                      <a:pt x="18" y="214"/>
                      <a:pt x="20" y="217"/>
                      <a:pt x="17" y="218"/>
                    </a:cubicBezTo>
                    <a:cubicBezTo>
                      <a:pt x="14" y="219"/>
                      <a:pt x="16" y="221"/>
                      <a:pt x="16" y="224"/>
                    </a:cubicBezTo>
                    <a:cubicBezTo>
                      <a:pt x="15" y="227"/>
                      <a:pt x="18" y="230"/>
                      <a:pt x="15" y="231"/>
                    </a:cubicBezTo>
                    <a:cubicBezTo>
                      <a:pt x="13" y="231"/>
                      <a:pt x="16" y="236"/>
                      <a:pt x="13" y="236"/>
                    </a:cubicBezTo>
                    <a:cubicBezTo>
                      <a:pt x="10" y="237"/>
                      <a:pt x="12" y="240"/>
                      <a:pt x="10" y="241"/>
                    </a:cubicBezTo>
                    <a:cubicBezTo>
                      <a:pt x="7" y="243"/>
                      <a:pt x="12" y="246"/>
                      <a:pt x="10" y="248"/>
                    </a:cubicBezTo>
                    <a:cubicBezTo>
                      <a:pt x="7" y="249"/>
                      <a:pt x="9" y="253"/>
                      <a:pt x="6" y="253"/>
                    </a:cubicBezTo>
                    <a:cubicBezTo>
                      <a:pt x="4" y="253"/>
                      <a:pt x="2" y="257"/>
                      <a:pt x="2" y="259"/>
                    </a:cubicBezTo>
                    <a:cubicBezTo>
                      <a:pt x="2" y="260"/>
                      <a:pt x="0" y="264"/>
                      <a:pt x="2" y="266"/>
                    </a:cubicBezTo>
                    <a:cubicBezTo>
                      <a:pt x="4" y="268"/>
                      <a:pt x="2" y="270"/>
                      <a:pt x="4" y="271"/>
                    </a:cubicBezTo>
                    <a:cubicBezTo>
                      <a:pt x="6" y="272"/>
                      <a:pt x="12" y="271"/>
                      <a:pt x="11" y="274"/>
                    </a:cubicBezTo>
                    <a:cubicBezTo>
                      <a:pt x="10" y="277"/>
                      <a:pt x="11" y="283"/>
                      <a:pt x="12" y="283"/>
                    </a:cubicBezTo>
                    <a:cubicBezTo>
                      <a:pt x="13" y="283"/>
                      <a:pt x="14" y="287"/>
                      <a:pt x="16" y="286"/>
                    </a:cubicBezTo>
                    <a:cubicBezTo>
                      <a:pt x="18" y="286"/>
                      <a:pt x="26" y="285"/>
                      <a:pt x="30" y="286"/>
                    </a:cubicBezTo>
                    <a:cubicBezTo>
                      <a:pt x="32" y="287"/>
                      <a:pt x="33" y="288"/>
                      <a:pt x="34" y="289"/>
                    </a:cubicBezTo>
                    <a:cubicBezTo>
                      <a:pt x="36" y="288"/>
                      <a:pt x="41" y="291"/>
                      <a:pt x="42" y="290"/>
                    </a:cubicBezTo>
                    <a:cubicBezTo>
                      <a:pt x="43" y="288"/>
                      <a:pt x="37" y="284"/>
                      <a:pt x="38" y="282"/>
                    </a:cubicBezTo>
                    <a:cubicBezTo>
                      <a:pt x="38" y="280"/>
                      <a:pt x="37" y="278"/>
                      <a:pt x="37" y="276"/>
                    </a:cubicBezTo>
                    <a:cubicBezTo>
                      <a:pt x="37" y="274"/>
                      <a:pt x="36" y="270"/>
                      <a:pt x="38" y="269"/>
                    </a:cubicBezTo>
                    <a:cubicBezTo>
                      <a:pt x="41" y="267"/>
                      <a:pt x="41" y="265"/>
                      <a:pt x="43" y="265"/>
                    </a:cubicBezTo>
                    <a:cubicBezTo>
                      <a:pt x="44" y="266"/>
                      <a:pt x="47" y="264"/>
                      <a:pt x="47" y="260"/>
                    </a:cubicBezTo>
                    <a:cubicBezTo>
                      <a:pt x="48" y="255"/>
                      <a:pt x="50" y="254"/>
                      <a:pt x="53" y="251"/>
                    </a:cubicBezTo>
                    <a:cubicBezTo>
                      <a:pt x="57" y="247"/>
                      <a:pt x="64" y="244"/>
                      <a:pt x="63" y="243"/>
                    </a:cubicBezTo>
                    <a:cubicBezTo>
                      <a:pt x="62" y="241"/>
                      <a:pt x="64" y="237"/>
                      <a:pt x="64" y="235"/>
                    </a:cubicBezTo>
                    <a:cubicBezTo>
                      <a:pt x="64" y="233"/>
                      <a:pt x="58" y="234"/>
                      <a:pt x="56" y="233"/>
                    </a:cubicBezTo>
                    <a:cubicBezTo>
                      <a:pt x="54" y="232"/>
                      <a:pt x="47" y="227"/>
                      <a:pt x="51" y="221"/>
                    </a:cubicBezTo>
                    <a:cubicBezTo>
                      <a:pt x="54" y="214"/>
                      <a:pt x="62" y="213"/>
                      <a:pt x="64" y="213"/>
                    </a:cubicBezTo>
                    <a:cubicBezTo>
                      <a:pt x="66" y="213"/>
                      <a:pt x="64" y="210"/>
                      <a:pt x="66" y="209"/>
                    </a:cubicBezTo>
                    <a:cubicBezTo>
                      <a:pt x="67" y="208"/>
                      <a:pt x="68" y="206"/>
                      <a:pt x="68" y="203"/>
                    </a:cubicBezTo>
                    <a:cubicBezTo>
                      <a:pt x="68" y="200"/>
                      <a:pt x="68" y="195"/>
                      <a:pt x="71" y="195"/>
                    </a:cubicBezTo>
                    <a:cubicBezTo>
                      <a:pt x="74" y="195"/>
                      <a:pt x="75" y="193"/>
                      <a:pt x="73" y="192"/>
                    </a:cubicBezTo>
                    <a:cubicBezTo>
                      <a:pt x="71" y="192"/>
                      <a:pt x="70" y="190"/>
                      <a:pt x="74" y="189"/>
                    </a:cubicBezTo>
                    <a:cubicBezTo>
                      <a:pt x="77" y="189"/>
                      <a:pt x="76" y="192"/>
                      <a:pt x="78" y="192"/>
                    </a:cubicBezTo>
                    <a:cubicBezTo>
                      <a:pt x="80" y="192"/>
                      <a:pt x="84" y="188"/>
                      <a:pt x="81" y="186"/>
                    </a:cubicBezTo>
                    <a:cubicBezTo>
                      <a:pt x="78" y="183"/>
                      <a:pt x="77" y="187"/>
                      <a:pt x="76" y="187"/>
                    </a:cubicBezTo>
                    <a:cubicBezTo>
                      <a:pt x="74" y="187"/>
                      <a:pt x="73" y="185"/>
                      <a:pt x="71" y="185"/>
                    </a:cubicBezTo>
                    <a:cubicBezTo>
                      <a:pt x="70" y="185"/>
                      <a:pt x="71" y="180"/>
                      <a:pt x="70" y="179"/>
                    </a:cubicBezTo>
                    <a:cubicBezTo>
                      <a:pt x="69" y="177"/>
                      <a:pt x="68" y="173"/>
                      <a:pt x="70" y="171"/>
                    </a:cubicBezTo>
                    <a:cubicBezTo>
                      <a:pt x="71" y="169"/>
                      <a:pt x="77" y="174"/>
                      <a:pt x="82" y="175"/>
                    </a:cubicBezTo>
                    <a:cubicBezTo>
                      <a:pt x="88" y="175"/>
                      <a:pt x="92" y="172"/>
                      <a:pt x="92" y="170"/>
                    </a:cubicBezTo>
                    <a:cubicBezTo>
                      <a:pt x="92" y="168"/>
                      <a:pt x="89" y="165"/>
                      <a:pt x="92" y="162"/>
                    </a:cubicBezTo>
                    <a:cubicBezTo>
                      <a:pt x="96" y="160"/>
                      <a:pt x="93" y="160"/>
                      <a:pt x="92" y="157"/>
                    </a:cubicBezTo>
                    <a:cubicBezTo>
                      <a:pt x="91" y="154"/>
                      <a:pt x="94" y="152"/>
                      <a:pt x="95" y="154"/>
                    </a:cubicBezTo>
                    <a:cubicBezTo>
                      <a:pt x="96" y="155"/>
                      <a:pt x="107" y="154"/>
                      <a:pt x="116" y="152"/>
                    </a:cubicBezTo>
                    <a:cubicBezTo>
                      <a:pt x="124" y="150"/>
                      <a:pt x="130" y="147"/>
                      <a:pt x="131" y="145"/>
                    </a:cubicBezTo>
                    <a:cubicBezTo>
                      <a:pt x="131" y="142"/>
                      <a:pt x="137" y="136"/>
                      <a:pt x="138" y="134"/>
                    </a:cubicBezTo>
                    <a:cubicBezTo>
                      <a:pt x="140" y="132"/>
                      <a:pt x="138" y="129"/>
                      <a:pt x="135" y="129"/>
                    </a:cubicBezTo>
                    <a:cubicBezTo>
                      <a:pt x="131" y="128"/>
                      <a:pt x="131" y="124"/>
                      <a:pt x="133" y="122"/>
                    </a:cubicBezTo>
                    <a:cubicBezTo>
                      <a:pt x="135" y="120"/>
                      <a:pt x="132" y="117"/>
                      <a:pt x="129" y="117"/>
                    </a:cubicBezTo>
                    <a:cubicBezTo>
                      <a:pt x="126" y="117"/>
                      <a:pt x="120" y="114"/>
                      <a:pt x="123" y="112"/>
                    </a:cubicBezTo>
                    <a:cubicBezTo>
                      <a:pt x="125" y="110"/>
                      <a:pt x="125" y="110"/>
                      <a:pt x="126" y="111"/>
                    </a:cubicBezTo>
                    <a:cubicBezTo>
                      <a:pt x="127" y="110"/>
                      <a:pt x="127" y="108"/>
                      <a:pt x="127" y="108"/>
                    </a:cubicBezTo>
                    <a:cubicBezTo>
                      <a:pt x="126" y="107"/>
                      <a:pt x="124" y="108"/>
                      <a:pt x="124" y="103"/>
                    </a:cubicBezTo>
                    <a:cubicBezTo>
                      <a:pt x="125" y="98"/>
                      <a:pt x="126" y="99"/>
                      <a:pt x="127" y="92"/>
                    </a:cubicBezTo>
                    <a:cubicBezTo>
                      <a:pt x="127" y="86"/>
                      <a:pt x="129" y="82"/>
                      <a:pt x="129" y="79"/>
                    </a:cubicBezTo>
                    <a:cubicBezTo>
                      <a:pt x="129" y="75"/>
                      <a:pt x="135" y="71"/>
                      <a:pt x="139" y="66"/>
                    </a:cubicBezTo>
                    <a:cubicBezTo>
                      <a:pt x="142" y="60"/>
                      <a:pt x="150" y="53"/>
                      <a:pt x="153" y="51"/>
                    </a:cubicBezTo>
                    <a:cubicBezTo>
                      <a:pt x="156" y="49"/>
                      <a:pt x="162" y="47"/>
                      <a:pt x="163" y="46"/>
                    </a:cubicBezTo>
                    <a:cubicBezTo>
                      <a:pt x="163" y="44"/>
                      <a:pt x="163" y="34"/>
                      <a:pt x="161" y="3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3" name="Freeform 110">
                <a:extLst>
                  <a:ext uri="{FF2B5EF4-FFF2-40B4-BE49-F238E27FC236}">
                    <a16:creationId xmlns:a16="http://schemas.microsoft.com/office/drawing/2014/main" id="{E4F95AF0-685F-4209-8EC3-F5B3ABB953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03129" y="4418536"/>
                <a:ext cx="163114" cy="836902"/>
              </a:xfrm>
              <a:custGeom>
                <a:avLst/>
                <a:gdLst>
                  <a:gd name="T0" fmla="*/ 28 w 71"/>
                  <a:gd name="T1" fmla="*/ 310 h 363"/>
                  <a:gd name="T2" fmla="*/ 19 w 71"/>
                  <a:gd name="T3" fmla="*/ 295 h 363"/>
                  <a:gd name="T4" fmla="*/ 27 w 71"/>
                  <a:gd name="T5" fmla="*/ 277 h 363"/>
                  <a:gd name="T6" fmla="*/ 33 w 71"/>
                  <a:gd name="T7" fmla="*/ 260 h 363"/>
                  <a:gd name="T8" fmla="*/ 36 w 71"/>
                  <a:gd name="T9" fmla="*/ 247 h 363"/>
                  <a:gd name="T10" fmla="*/ 31 w 71"/>
                  <a:gd name="T11" fmla="*/ 234 h 363"/>
                  <a:gd name="T12" fmla="*/ 32 w 71"/>
                  <a:gd name="T13" fmla="*/ 213 h 363"/>
                  <a:gd name="T14" fmla="*/ 35 w 71"/>
                  <a:gd name="T15" fmla="*/ 197 h 363"/>
                  <a:gd name="T16" fmla="*/ 38 w 71"/>
                  <a:gd name="T17" fmla="*/ 183 h 363"/>
                  <a:gd name="T18" fmla="*/ 43 w 71"/>
                  <a:gd name="T19" fmla="*/ 154 h 363"/>
                  <a:gd name="T20" fmla="*/ 46 w 71"/>
                  <a:gd name="T21" fmla="*/ 134 h 363"/>
                  <a:gd name="T22" fmla="*/ 47 w 71"/>
                  <a:gd name="T23" fmla="*/ 112 h 363"/>
                  <a:gd name="T24" fmla="*/ 53 w 71"/>
                  <a:gd name="T25" fmla="*/ 92 h 363"/>
                  <a:gd name="T26" fmla="*/ 60 w 71"/>
                  <a:gd name="T27" fmla="*/ 76 h 363"/>
                  <a:gd name="T28" fmla="*/ 69 w 71"/>
                  <a:gd name="T29" fmla="*/ 54 h 363"/>
                  <a:gd name="T30" fmla="*/ 63 w 71"/>
                  <a:gd name="T31" fmla="*/ 37 h 363"/>
                  <a:gd name="T32" fmla="*/ 59 w 71"/>
                  <a:gd name="T33" fmla="*/ 18 h 363"/>
                  <a:gd name="T34" fmla="*/ 50 w 71"/>
                  <a:gd name="T35" fmla="*/ 1 h 363"/>
                  <a:gd name="T36" fmla="*/ 45 w 71"/>
                  <a:gd name="T37" fmla="*/ 16 h 363"/>
                  <a:gd name="T38" fmla="*/ 44 w 71"/>
                  <a:gd name="T39" fmla="*/ 53 h 363"/>
                  <a:gd name="T40" fmla="*/ 37 w 71"/>
                  <a:gd name="T41" fmla="*/ 91 h 363"/>
                  <a:gd name="T42" fmla="*/ 34 w 71"/>
                  <a:gd name="T43" fmla="*/ 116 h 363"/>
                  <a:gd name="T44" fmla="*/ 29 w 71"/>
                  <a:gd name="T45" fmla="*/ 149 h 363"/>
                  <a:gd name="T46" fmla="*/ 18 w 71"/>
                  <a:gd name="T47" fmla="*/ 179 h 363"/>
                  <a:gd name="T48" fmla="*/ 17 w 71"/>
                  <a:gd name="T49" fmla="*/ 204 h 363"/>
                  <a:gd name="T50" fmla="*/ 12 w 71"/>
                  <a:gd name="T51" fmla="*/ 227 h 363"/>
                  <a:gd name="T52" fmla="*/ 22 w 71"/>
                  <a:gd name="T53" fmla="*/ 215 h 363"/>
                  <a:gd name="T54" fmla="*/ 24 w 71"/>
                  <a:gd name="T55" fmla="*/ 228 h 363"/>
                  <a:gd name="T56" fmla="*/ 21 w 71"/>
                  <a:gd name="T57" fmla="*/ 244 h 363"/>
                  <a:gd name="T58" fmla="*/ 17 w 71"/>
                  <a:gd name="T59" fmla="*/ 254 h 363"/>
                  <a:gd name="T60" fmla="*/ 16 w 71"/>
                  <a:gd name="T61" fmla="*/ 252 h 363"/>
                  <a:gd name="T62" fmla="*/ 10 w 71"/>
                  <a:gd name="T63" fmla="*/ 255 h 363"/>
                  <a:gd name="T64" fmla="*/ 1 w 71"/>
                  <a:gd name="T65" fmla="*/ 267 h 363"/>
                  <a:gd name="T66" fmla="*/ 11 w 71"/>
                  <a:gd name="T67" fmla="*/ 268 h 363"/>
                  <a:gd name="T68" fmla="*/ 17 w 71"/>
                  <a:gd name="T69" fmla="*/ 277 h 363"/>
                  <a:gd name="T70" fmla="*/ 7 w 71"/>
                  <a:gd name="T71" fmla="*/ 280 h 363"/>
                  <a:gd name="T72" fmla="*/ 9 w 71"/>
                  <a:gd name="T73" fmla="*/ 285 h 363"/>
                  <a:gd name="T74" fmla="*/ 4 w 71"/>
                  <a:gd name="T75" fmla="*/ 294 h 363"/>
                  <a:gd name="T76" fmla="*/ 10 w 71"/>
                  <a:gd name="T77" fmla="*/ 297 h 363"/>
                  <a:gd name="T78" fmla="*/ 11 w 71"/>
                  <a:gd name="T79" fmla="*/ 305 h 363"/>
                  <a:gd name="T80" fmla="*/ 6 w 71"/>
                  <a:gd name="T81" fmla="*/ 315 h 363"/>
                  <a:gd name="T82" fmla="*/ 16 w 71"/>
                  <a:gd name="T83" fmla="*/ 316 h 363"/>
                  <a:gd name="T84" fmla="*/ 20 w 71"/>
                  <a:gd name="T85" fmla="*/ 320 h 363"/>
                  <a:gd name="T86" fmla="*/ 15 w 71"/>
                  <a:gd name="T87" fmla="*/ 329 h 363"/>
                  <a:gd name="T88" fmla="*/ 29 w 71"/>
                  <a:gd name="T89" fmla="*/ 329 h 363"/>
                  <a:gd name="T90" fmla="*/ 19 w 71"/>
                  <a:gd name="T91" fmla="*/ 336 h 363"/>
                  <a:gd name="T92" fmla="*/ 30 w 71"/>
                  <a:gd name="T93" fmla="*/ 335 h 363"/>
                  <a:gd name="T94" fmla="*/ 18 w 71"/>
                  <a:gd name="T95" fmla="*/ 343 h 363"/>
                  <a:gd name="T96" fmla="*/ 29 w 71"/>
                  <a:gd name="T97" fmla="*/ 344 h 363"/>
                  <a:gd name="T98" fmla="*/ 45 w 71"/>
                  <a:gd name="T99" fmla="*/ 328 h 363"/>
                  <a:gd name="T100" fmla="*/ 50 w 71"/>
                  <a:gd name="T101" fmla="*/ 337 h 363"/>
                  <a:gd name="T102" fmla="*/ 43 w 71"/>
                  <a:gd name="T103" fmla="*/ 340 h 363"/>
                  <a:gd name="T104" fmla="*/ 35 w 71"/>
                  <a:gd name="T105" fmla="*/ 347 h 363"/>
                  <a:gd name="T106" fmla="*/ 41 w 71"/>
                  <a:gd name="T107" fmla="*/ 358 h 363"/>
                  <a:gd name="T108" fmla="*/ 52 w 71"/>
                  <a:gd name="T109" fmla="*/ 357 h 363"/>
                  <a:gd name="T110" fmla="*/ 64 w 71"/>
                  <a:gd name="T111" fmla="*/ 357 h 363"/>
                  <a:gd name="T112" fmla="*/ 57 w 71"/>
                  <a:gd name="T113" fmla="*/ 355 h 363"/>
                  <a:gd name="T114" fmla="*/ 50 w 71"/>
                  <a:gd name="T115" fmla="*/ 326 h 363"/>
                  <a:gd name="T116" fmla="*/ 33 w 71"/>
                  <a:gd name="T117" fmla="*/ 322 h 3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71" h="363">
                    <a:moveTo>
                      <a:pt x="33" y="322"/>
                    </a:moveTo>
                    <a:cubicBezTo>
                      <a:pt x="31" y="323"/>
                      <a:pt x="30" y="319"/>
                      <a:pt x="29" y="319"/>
                    </a:cubicBezTo>
                    <a:cubicBezTo>
                      <a:pt x="28" y="319"/>
                      <a:pt x="27" y="313"/>
                      <a:pt x="28" y="310"/>
                    </a:cubicBezTo>
                    <a:cubicBezTo>
                      <a:pt x="29" y="307"/>
                      <a:pt x="23" y="308"/>
                      <a:pt x="21" y="307"/>
                    </a:cubicBezTo>
                    <a:cubicBezTo>
                      <a:pt x="19" y="306"/>
                      <a:pt x="21" y="304"/>
                      <a:pt x="19" y="302"/>
                    </a:cubicBezTo>
                    <a:cubicBezTo>
                      <a:pt x="17" y="300"/>
                      <a:pt x="19" y="296"/>
                      <a:pt x="19" y="295"/>
                    </a:cubicBezTo>
                    <a:cubicBezTo>
                      <a:pt x="19" y="293"/>
                      <a:pt x="21" y="289"/>
                      <a:pt x="23" y="289"/>
                    </a:cubicBezTo>
                    <a:cubicBezTo>
                      <a:pt x="26" y="289"/>
                      <a:pt x="24" y="285"/>
                      <a:pt x="27" y="284"/>
                    </a:cubicBezTo>
                    <a:cubicBezTo>
                      <a:pt x="29" y="282"/>
                      <a:pt x="24" y="279"/>
                      <a:pt x="27" y="277"/>
                    </a:cubicBezTo>
                    <a:cubicBezTo>
                      <a:pt x="29" y="276"/>
                      <a:pt x="27" y="273"/>
                      <a:pt x="30" y="272"/>
                    </a:cubicBezTo>
                    <a:cubicBezTo>
                      <a:pt x="33" y="272"/>
                      <a:pt x="30" y="267"/>
                      <a:pt x="32" y="267"/>
                    </a:cubicBezTo>
                    <a:cubicBezTo>
                      <a:pt x="35" y="266"/>
                      <a:pt x="32" y="263"/>
                      <a:pt x="33" y="260"/>
                    </a:cubicBezTo>
                    <a:cubicBezTo>
                      <a:pt x="33" y="257"/>
                      <a:pt x="31" y="255"/>
                      <a:pt x="34" y="254"/>
                    </a:cubicBezTo>
                    <a:cubicBezTo>
                      <a:pt x="37" y="253"/>
                      <a:pt x="35" y="250"/>
                      <a:pt x="33" y="249"/>
                    </a:cubicBezTo>
                    <a:cubicBezTo>
                      <a:pt x="30" y="247"/>
                      <a:pt x="33" y="247"/>
                      <a:pt x="36" y="247"/>
                    </a:cubicBezTo>
                    <a:cubicBezTo>
                      <a:pt x="38" y="247"/>
                      <a:pt x="37" y="243"/>
                      <a:pt x="35" y="243"/>
                    </a:cubicBezTo>
                    <a:cubicBezTo>
                      <a:pt x="32" y="244"/>
                      <a:pt x="30" y="241"/>
                      <a:pt x="32" y="239"/>
                    </a:cubicBezTo>
                    <a:cubicBezTo>
                      <a:pt x="34" y="237"/>
                      <a:pt x="30" y="236"/>
                      <a:pt x="31" y="234"/>
                    </a:cubicBezTo>
                    <a:cubicBezTo>
                      <a:pt x="32" y="233"/>
                      <a:pt x="32" y="231"/>
                      <a:pt x="30" y="230"/>
                    </a:cubicBezTo>
                    <a:cubicBezTo>
                      <a:pt x="29" y="229"/>
                      <a:pt x="30" y="222"/>
                      <a:pt x="31" y="221"/>
                    </a:cubicBezTo>
                    <a:cubicBezTo>
                      <a:pt x="33" y="221"/>
                      <a:pt x="32" y="215"/>
                      <a:pt x="32" y="213"/>
                    </a:cubicBezTo>
                    <a:cubicBezTo>
                      <a:pt x="32" y="211"/>
                      <a:pt x="30" y="209"/>
                      <a:pt x="30" y="207"/>
                    </a:cubicBezTo>
                    <a:cubicBezTo>
                      <a:pt x="30" y="205"/>
                      <a:pt x="32" y="205"/>
                      <a:pt x="32" y="202"/>
                    </a:cubicBezTo>
                    <a:cubicBezTo>
                      <a:pt x="32" y="198"/>
                      <a:pt x="33" y="197"/>
                      <a:pt x="35" y="197"/>
                    </a:cubicBezTo>
                    <a:cubicBezTo>
                      <a:pt x="36" y="196"/>
                      <a:pt x="35" y="192"/>
                      <a:pt x="35" y="190"/>
                    </a:cubicBezTo>
                    <a:cubicBezTo>
                      <a:pt x="35" y="189"/>
                      <a:pt x="39" y="190"/>
                      <a:pt x="40" y="187"/>
                    </a:cubicBezTo>
                    <a:cubicBezTo>
                      <a:pt x="40" y="184"/>
                      <a:pt x="37" y="185"/>
                      <a:pt x="38" y="183"/>
                    </a:cubicBezTo>
                    <a:cubicBezTo>
                      <a:pt x="38" y="180"/>
                      <a:pt x="37" y="177"/>
                      <a:pt x="37" y="172"/>
                    </a:cubicBezTo>
                    <a:cubicBezTo>
                      <a:pt x="37" y="167"/>
                      <a:pt x="42" y="166"/>
                      <a:pt x="43" y="164"/>
                    </a:cubicBezTo>
                    <a:cubicBezTo>
                      <a:pt x="45" y="163"/>
                      <a:pt x="41" y="155"/>
                      <a:pt x="43" y="154"/>
                    </a:cubicBezTo>
                    <a:cubicBezTo>
                      <a:pt x="46" y="153"/>
                      <a:pt x="44" y="149"/>
                      <a:pt x="46" y="148"/>
                    </a:cubicBezTo>
                    <a:cubicBezTo>
                      <a:pt x="48" y="147"/>
                      <a:pt x="47" y="144"/>
                      <a:pt x="48" y="141"/>
                    </a:cubicBezTo>
                    <a:cubicBezTo>
                      <a:pt x="49" y="139"/>
                      <a:pt x="46" y="137"/>
                      <a:pt x="46" y="134"/>
                    </a:cubicBezTo>
                    <a:cubicBezTo>
                      <a:pt x="46" y="132"/>
                      <a:pt x="46" y="129"/>
                      <a:pt x="43" y="127"/>
                    </a:cubicBezTo>
                    <a:cubicBezTo>
                      <a:pt x="41" y="124"/>
                      <a:pt x="42" y="118"/>
                      <a:pt x="43" y="118"/>
                    </a:cubicBezTo>
                    <a:cubicBezTo>
                      <a:pt x="45" y="118"/>
                      <a:pt x="44" y="112"/>
                      <a:pt x="47" y="112"/>
                    </a:cubicBezTo>
                    <a:cubicBezTo>
                      <a:pt x="49" y="111"/>
                      <a:pt x="48" y="107"/>
                      <a:pt x="47" y="103"/>
                    </a:cubicBezTo>
                    <a:cubicBezTo>
                      <a:pt x="46" y="100"/>
                      <a:pt x="49" y="102"/>
                      <a:pt x="49" y="99"/>
                    </a:cubicBezTo>
                    <a:cubicBezTo>
                      <a:pt x="49" y="96"/>
                      <a:pt x="50" y="93"/>
                      <a:pt x="53" y="92"/>
                    </a:cubicBezTo>
                    <a:cubicBezTo>
                      <a:pt x="55" y="91"/>
                      <a:pt x="55" y="87"/>
                      <a:pt x="55" y="85"/>
                    </a:cubicBezTo>
                    <a:cubicBezTo>
                      <a:pt x="55" y="83"/>
                      <a:pt x="58" y="83"/>
                      <a:pt x="60" y="81"/>
                    </a:cubicBezTo>
                    <a:cubicBezTo>
                      <a:pt x="62" y="80"/>
                      <a:pt x="57" y="77"/>
                      <a:pt x="60" y="76"/>
                    </a:cubicBezTo>
                    <a:cubicBezTo>
                      <a:pt x="62" y="74"/>
                      <a:pt x="57" y="68"/>
                      <a:pt x="59" y="67"/>
                    </a:cubicBezTo>
                    <a:cubicBezTo>
                      <a:pt x="60" y="66"/>
                      <a:pt x="59" y="63"/>
                      <a:pt x="59" y="61"/>
                    </a:cubicBezTo>
                    <a:cubicBezTo>
                      <a:pt x="60" y="59"/>
                      <a:pt x="68" y="56"/>
                      <a:pt x="69" y="54"/>
                    </a:cubicBezTo>
                    <a:cubicBezTo>
                      <a:pt x="69" y="53"/>
                      <a:pt x="70" y="49"/>
                      <a:pt x="70" y="45"/>
                    </a:cubicBezTo>
                    <a:cubicBezTo>
                      <a:pt x="68" y="46"/>
                      <a:pt x="66" y="47"/>
                      <a:pt x="65" y="46"/>
                    </a:cubicBezTo>
                    <a:cubicBezTo>
                      <a:pt x="64" y="45"/>
                      <a:pt x="65" y="40"/>
                      <a:pt x="63" y="37"/>
                    </a:cubicBezTo>
                    <a:cubicBezTo>
                      <a:pt x="61" y="35"/>
                      <a:pt x="63" y="31"/>
                      <a:pt x="60" y="30"/>
                    </a:cubicBezTo>
                    <a:cubicBezTo>
                      <a:pt x="58" y="29"/>
                      <a:pt x="56" y="25"/>
                      <a:pt x="58" y="23"/>
                    </a:cubicBezTo>
                    <a:cubicBezTo>
                      <a:pt x="59" y="22"/>
                      <a:pt x="58" y="19"/>
                      <a:pt x="59" y="18"/>
                    </a:cubicBezTo>
                    <a:cubicBezTo>
                      <a:pt x="61" y="16"/>
                      <a:pt x="58" y="16"/>
                      <a:pt x="56" y="13"/>
                    </a:cubicBezTo>
                    <a:cubicBezTo>
                      <a:pt x="54" y="10"/>
                      <a:pt x="57" y="7"/>
                      <a:pt x="54" y="5"/>
                    </a:cubicBezTo>
                    <a:cubicBezTo>
                      <a:pt x="51" y="2"/>
                      <a:pt x="51" y="0"/>
                      <a:pt x="50" y="1"/>
                    </a:cubicBezTo>
                    <a:cubicBezTo>
                      <a:pt x="50" y="2"/>
                      <a:pt x="49" y="6"/>
                      <a:pt x="47" y="7"/>
                    </a:cubicBezTo>
                    <a:cubicBezTo>
                      <a:pt x="47" y="8"/>
                      <a:pt x="46" y="8"/>
                      <a:pt x="45" y="9"/>
                    </a:cubicBezTo>
                    <a:cubicBezTo>
                      <a:pt x="45" y="11"/>
                      <a:pt x="45" y="14"/>
                      <a:pt x="45" y="16"/>
                    </a:cubicBezTo>
                    <a:cubicBezTo>
                      <a:pt x="46" y="19"/>
                      <a:pt x="47" y="32"/>
                      <a:pt x="46" y="37"/>
                    </a:cubicBezTo>
                    <a:cubicBezTo>
                      <a:pt x="45" y="42"/>
                      <a:pt x="44" y="46"/>
                      <a:pt x="43" y="49"/>
                    </a:cubicBezTo>
                    <a:cubicBezTo>
                      <a:pt x="42" y="52"/>
                      <a:pt x="45" y="52"/>
                      <a:pt x="44" y="53"/>
                    </a:cubicBezTo>
                    <a:cubicBezTo>
                      <a:pt x="42" y="55"/>
                      <a:pt x="43" y="58"/>
                      <a:pt x="43" y="64"/>
                    </a:cubicBezTo>
                    <a:cubicBezTo>
                      <a:pt x="43" y="70"/>
                      <a:pt x="40" y="79"/>
                      <a:pt x="39" y="83"/>
                    </a:cubicBezTo>
                    <a:cubicBezTo>
                      <a:pt x="39" y="86"/>
                      <a:pt x="37" y="87"/>
                      <a:pt x="37" y="91"/>
                    </a:cubicBezTo>
                    <a:cubicBezTo>
                      <a:pt x="38" y="94"/>
                      <a:pt x="36" y="96"/>
                      <a:pt x="34" y="98"/>
                    </a:cubicBezTo>
                    <a:cubicBezTo>
                      <a:pt x="32" y="99"/>
                      <a:pt x="37" y="105"/>
                      <a:pt x="37" y="107"/>
                    </a:cubicBezTo>
                    <a:cubicBezTo>
                      <a:pt x="36" y="110"/>
                      <a:pt x="33" y="112"/>
                      <a:pt x="34" y="116"/>
                    </a:cubicBezTo>
                    <a:cubicBezTo>
                      <a:pt x="35" y="122"/>
                      <a:pt x="34" y="132"/>
                      <a:pt x="34" y="134"/>
                    </a:cubicBezTo>
                    <a:cubicBezTo>
                      <a:pt x="34" y="136"/>
                      <a:pt x="31" y="136"/>
                      <a:pt x="32" y="139"/>
                    </a:cubicBezTo>
                    <a:cubicBezTo>
                      <a:pt x="32" y="143"/>
                      <a:pt x="30" y="144"/>
                      <a:pt x="29" y="149"/>
                    </a:cubicBezTo>
                    <a:cubicBezTo>
                      <a:pt x="28" y="155"/>
                      <a:pt x="24" y="162"/>
                      <a:pt x="23" y="167"/>
                    </a:cubicBezTo>
                    <a:cubicBezTo>
                      <a:pt x="21" y="171"/>
                      <a:pt x="21" y="173"/>
                      <a:pt x="19" y="173"/>
                    </a:cubicBezTo>
                    <a:cubicBezTo>
                      <a:pt x="17" y="173"/>
                      <a:pt x="16" y="175"/>
                      <a:pt x="18" y="179"/>
                    </a:cubicBezTo>
                    <a:cubicBezTo>
                      <a:pt x="20" y="182"/>
                      <a:pt x="17" y="185"/>
                      <a:pt x="19" y="189"/>
                    </a:cubicBezTo>
                    <a:cubicBezTo>
                      <a:pt x="21" y="193"/>
                      <a:pt x="20" y="194"/>
                      <a:pt x="19" y="197"/>
                    </a:cubicBezTo>
                    <a:cubicBezTo>
                      <a:pt x="18" y="201"/>
                      <a:pt x="17" y="201"/>
                      <a:pt x="17" y="204"/>
                    </a:cubicBezTo>
                    <a:cubicBezTo>
                      <a:pt x="17" y="207"/>
                      <a:pt x="14" y="210"/>
                      <a:pt x="16" y="213"/>
                    </a:cubicBezTo>
                    <a:cubicBezTo>
                      <a:pt x="17" y="217"/>
                      <a:pt x="17" y="218"/>
                      <a:pt x="15" y="218"/>
                    </a:cubicBezTo>
                    <a:cubicBezTo>
                      <a:pt x="13" y="218"/>
                      <a:pt x="12" y="221"/>
                      <a:pt x="12" y="227"/>
                    </a:cubicBezTo>
                    <a:cubicBezTo>
                      <a:pt x="11" y="233"/>
                      <a:pt x="11" y="233"/>
                      <a:pt x="15" y="232"/>
                    </a:cubicBezTo>
                    <a:cubicBezTo>
                      <a:pt x="20" y="232"/>
                      <a:pt x="16" y="218"/>
                      <a:pt x="19" y="218"/>
                    </a:cubicBezTo>
                    <a:cubicBezTo>
                      <a:pt x="22" y="218"/>
                      <a:pt x="19" y="216"/>
                      <a:pt x="22" y="215"/>
                    </a:cubicBezTo>
                    <a:cubicBezTo>
                      <a:pt x="25" y="214"/>
                      <a:pt x="22" y="217"/>
                      <a:pt x="24" y="218"/>
                    </a:cubicBezTo>
                    <a:cubicBezTo>
                      <a:pt x="26" y="218"/>
                      <a:pt x="27" y="220"/>
                      <a:pt x="25" y="221"/>
                    </a:cubicBezTo>
                    <a:cubicBezTo>
                      <a:pt x="22" y="223"/>
                      <a:pt x="25" y="226"/>
                      <a:pt x="24" y="228"/>
                    </a:cubicBezTo>
                    <a:cubicBezTo>
                      <a:pt x="23" y="230"/>
                      <a:pt x="21" y="232"/>
                      <a:pt x="22" y="235"/>
                    </a:cubicBezTo>
                    <a:cubicBezTo>
                      <a:pt x="23" y="237"/>
                      <a:pt x="21" y="237"/>
                      <a:pt x="21" y="240"/>
                    </a:cubicBezTo>
                    <a:cubicBezTo>
                      <a:pt x="20" y="243"/>
                      <a:pt x="22" y="243"/>
                      <a:pt x="21" y="244"/>
                    </a:cubicBezTo>
                    <a:cubicBezTo>
                      <a:pt x="20" y="244"/>
                      <a:pt x="23" y="247"/>
                      <a:pt x="21" y="247"/>
                    </a:cubicBezTo>
                    <a:cubicBezTo>
                      <a:pt x="19" y="247"/>
                      <a:pt x="20" y="250"/>
                      <a:pt x="21" y="252"/>
                    </a:cubicBezTo>
                    <a:cubicBezTo>
                      <a:pt x="22" y="254"/>
                      <a:pt x="19" y="253"/>
                      <a:pt x="17" y="254"/>
                    </a:cubicBezTo>
                    <a:cubicBezTo>
                      <a:pt x="15" y="256"/>
                      <a:pt x="19" y="258"/>
                      <a:pt x="18" y="260"/>
                    </a:cubicBezTo>
                    <a:cubicBezTo>
                      <a:pt x="17" y="262"/>
                      <a:pt x="14" y="259"/>
                      <a:pt x="13" y="257"/>
                    </a:cubicBezTo>
                    <a:cubicBezTo>
                      <a:pt x="11" y="256"/>
                      <a:pt x="15" y="254"/>
                      <a:pt x="16" y="252"/>
                    </a:cubicBezTo>
                    <a:cubicBezTo>
                      <a:pt x="18" y="250"/>
                      <a:pt x="15" y="245"/>
                      <a:pt x="12" y="246"/>
                    </a:cubicBezTo>
                    <a:cubicBezTo>
                      <a:pt x="9" y="247"/>
                      <a:pt x="15" y="250"/>
                      <a:pt x="15" y="253"/>
                    </a:cubicBezTo>
                    <a:cubicBezTo>
                      <a:pt x="15" y="255"/>
                      <a:pt x="10" y="252"/>
                      <a:pt x="10" y="255"/>
                    </a:cubicBezTo>
                    <a:cubicBezTo>
                      <a:pt x="10" y="257"/>
                      <a:pt x="7" y="256"/>
                      <a:pt x="6" y="258"/>
                    </a:cubicBezTo>
                    <a:cubicBezTo>
                      <a:pt x="4" y="260"/>
                      <a:pt x="8" y="261"/>
                      <a:pt x="6" y="262"/>
                    </a:cubicBezTo>
                    <a:cubicBezTo>
                      <a:pt x="4" y="262"/>
                      <a:pt x="1" y="265"/>
                      <a:pt x="1" y="267"/>
                    </a:cubicBezTo>
                    <a:cubicBezTo>
                      <a:pt x="1" y="269"/>
                      <a:pt x="3" y="269"/>
                      <a:pt x="3" y="267"/>
                    </a:cubicBezTo>
                    <a:cubicBezTo>
                      <a:pt x="3" y="265"/>
                      <a:pt x="6" y="265"/>
                      <a:pt x="7" y="267"/>
                    </a:cubicBezTo>
                    <a:cubicBezTo>
                      <a:pt x="8" y="269"/>
                      <a:pt x="9" y="267"/>
                      <a:pt x="11" y="268"/>
                    </a:cubicBezTo>
                    <a:cubicBezTo>
                      <a:pt x="14" y="268"/>
                      <a:pt x="13" y="272"/>
                      <a:pt x="12" y="272"/>
                    </a:cubicBezTo>
                    <a:cubicBezTo>
                      <a:pt x="11" y="272"/>
                      <a:pt x="9" y="274"/>
                      <a:pt x="10" y="277"/>
                    </a:cubicBezTo>
                    <a:cubicBezTo>
                      <a:pt x="10" y="279"/>
                      <a:pt x="15" y="277"/>
                      <a:pt x="17" y="277"/>
                    </a:cubicBezTo>
                    <a:cubicBezTo>
                      <a:pt x="19" y="278"/>
                      <a:pt x="18" y="282"/>
                      <a:pt x="17" y="281"/>
                    </a:cubicBezTo>
                    <a:cubicBezTo>
                      <a:pt x="16" y="279"/>
                      <a:pt x="13" y="277"/>
                      <a:pt x="12" y="279"/>
                    </a:cubicBezTo>
                    <a:cubicBezTo>
                      <a:pt x="11" y="282"/>
                      <a:pt x="9" y="280"/>
                      <a:pt x="7" y="280"/>
                    </a:cubicBezTo>
                    <a:cubicBezTo>
                      <a:pt x="5" y="279"/>
                      <a:pt x="0" y="283"/>
                      <a:pt x="2" y="284"/>
                    </a:cubicBezTo>
                    <a:cubicBezTo>
                      <a:pt x="4" y="286"/>
                      <a:pt x="4" y="288"/>
                      <a:pt x="5" y="288"/>
                    </a:cubicBezTo>
                    <a:cubicBezTo>
                      <a:pt x="6" y="288"/>
                      <a:pt x="8" y="287"/>
                      <a:pt x="9" y="285"/>
                    </a:cubicBezTo>
                    <a:cubicBezTo>
                      <a:pt x="9" y="284"/>
                      <a:pt x="12" y="282"/>
                      <a:pt x="12" y="286"/>
                    </a:cubicBezTo>
                    <a:cubicBezTo>
                      <a:pt x="12" y="289"/>
                      <a:pt x="9" y="287"/>
                      <a:pt x="8" y="289"/>
                    </a:cubicBezTo>
                    <a:cubicBezTo>
                      <a:pt x="7" y="291"/>
                      <a:pt x="6" y="292"/>
                      <a:pt x="4" y="294"/>
                    </a:cubicBezTo>
                    <a:cubicBezTo>
                      <a:pt x="2" y="295"/>
                      <a:pt x="4" y="298"/>
                      <a:pt x="5" y="297"/>
                    </a:cubicBezTo>
                    <a:cubicBezTo>
                      <a:pt x="7" y="296"/>
                      <a:pt x="5" y="299"/>
                      <a:pt x="7" y="300"/>
                    </a:cubicBezTo>
                    <a:cubicBezTo>
                      <a:pt x="10" y="300"/>
                      <a:pt x="10" y="298"/>
                      <a:pt x="10" y="297"/>
                    </a:cubicBezTo>
                    <a:cubicBezTo>
                      <a:pt x="9" y="295"/>
                      <a:pt x="11" y="291"/>
                      <a:pt x="13" y="293"/>
                    </a:cubicBezTo>
                    <a:cubicBezTo>
                      <a:pt x="15" y="295"/>
                      <a:pt x="12" y="297"/>
                      <a:pt x="12" y="298"/>
                    </a:cubicBezTo>
                    <a:cubicBezTo>
                      <a:pt x="12" y="300"/>
                      <a:pt x="11" y="303"/>
                      <a:pt x="11" y="305"/>
                    </a:cubicBezTo>
                    <a:cubicBezTo>
                      <a:pt x="11" y="307"/>
                      <a:pt x="9" y="305"/>
                      <a:pt x="9" y="308"/>
                    </a:cubicBezTo>
                    <a:cubicBezTo>
                      <a:pt x="9" y="310"/>
                      <a:pt x="4" y="308"/>
                      <a:pt x="6" y="310"/>
                    </a:cubicBezTo>
                    <a:cubicBezTo>
                      <a:pt x="8" y="311"/>
                      <a:pt x="5" y="313"/>
                      <a:pt x="6" y="315"/>
                    </a:cubicBezTo>
                    <a:cubicBezTo>
                      <a:pt x="7" y="316"/>
                      <a:pt x="8" y="313"/>
                      <a:pt x="10" y="313"/>
                    </a:cubicBezTo>
                    <a:cubicBezTo>
                      <a:pt x="12" y="314"/>
                      <a:pt x="12" y="315"/>
                      <a:pt x="14" y="313"/>
                    </a:cubicBezTo>
                    <a:cubicBezTo>
                      <a:pt x="17" y="312"/>
                      <a:pt x="18" y="315"/>
                      <a:pt x="16" y="316"/>
                    </a:cubicBezTo>
                    <a:cubicBezTo>
                      <a:pt x="14" y="317"/>
                      <a:pt x="11" y="320"/>
                      <a:pt x="12" y="320"/>
                    </a:cubicBezTo>
                    <a:cubicBezTo>
                      <a:pt x="13" y="320"/>
                      <a:pt x="16" y="318"/>
                      <a:pt x="17" y="320"/>
                    </a:cubicBezTo>
                    <a:cubicBezTo>
                      <a:pt x="18" y="323"/>
                      <a:pt x="20" y="322"/>
                      <a:pt x="20" y="320"/>
                    </a:cubicBezTo>
                    <a:cubicBezTo>
                      <a:pt x="20" y="317"/>
                      <a:pt x="24" y="319"/>
                      <a:pt x="25" y="321"/>
                    </a:cubicBezTo>
                    <a:cubicBezTo>
                      <a:pt x="26" y="323"/>
                      <a:pt x="20" y="325"/>
                      <a:pt x="18" y="324"/>
                    </a:cubicBezTo>
                    <a:cubicBezTo>
                      <a:pt x="15" y="324"/>
                      <a:pt x="14" y="327"/>
                      <a:pt x="15" y="329"/>
                    </a:cubicBezTo>
                    <a:cubicBezTo>
                      <a:pt x="17" y="331"/>
                      <a:pt x="19" y="329"/>
                      <a:pt x="21" y="327"/>
                    </a:cubicBezTo>
                    <a:cubicBezTo>
                      <a:pt x="23" y="325"/>
                      <a:pt x="33" y="326"/>
                      <a:pt x="34" y="328"/>
                    </a:cubicBezTo>
                    <a:cubicBezTo>
                      <a:pt x="34" y="330"/>
                      <a:pt x="29" y="328"/>
                      <a:pt x="29" y="329"/>
                    </a:cubicBezTo>
                    <a:cubicBezTo>
                      <a:pt x="28" y="331"/>
                      <a:pt x="24" y="332"/>
                      <a:pt x="24" y="330"/>
                    </a:cubicBezTo>
                    <a:cubicBezTo>
                      <a:pt x="23" y="329"/>
                      <a:pt x="19" y="331"/>
                      <a:pt x="19" y="333"/>
                    </a:cubicBezTo>
                    <a:cubicBezTo>
                      <a:pt x="19" y="335"/>
                      <a:pt x="16" y="335"/>
                      <a:pt x="19" y="336"/>
                    </a:cubicBezTo>
                    <a:cubicBezTo>
                      <a:pt x="23" y="337"/>
                      <a:pt x="22" y="333"/>
                      <a:pt x="27" y="333"/>
                    </a:cubicBezTo>
                    <a:cubicBezTo>
                      <a:pt x="32" y="334"/>
                      <a:pt x="34" y="329"/>
                      <a:pt x="36" y="331"/>
                    </a:cubicBezTo>
                    <a:cubicBezTo>
                      <a:pt x="37" y="334"/>
                      <a:pt x="32" y="337"/>
                      <a:pt x="30" y="335"/>
                    </a:cubicBezTo>
                    <a:cubicBezTo>
                      <a:pt x="28" y="333"/>
                      <a:pt x="25" y="336"/>
                      <a:pt x="26" y="339"/>
                    </a:cubicBezTo>
                    <a:cubicBezTo>
                      <a:pt x="26" y="341"/>
                      <a:pt x="20" y="338"/>
                      <a:pt x="17" y="338"/>
                    </a:cubicBezTo>
                    <a:cubicBezTo>
                      <a:pt x="14" y="337"/>
                      <a:pt x="15" y="340"/>
                      <a:pt x="18" y="343"/>
                    </a:cubicBezTo>
                    <a:cubicBezTo>
                      <a:pt x="20" y="346"/>
                      <a:pt x="22" y="343"/>
                      <a:pt x="25" y="345"/>
                    </a:cubicBezTo>
                    <a:cubicBezTo>
                      <a:pt x="28" y="347"/>
                      <a:pt x="28" y="349"/>
                      <a:pt x="30" y="347"/>
                    </a:cubicBezTo>
                    <a:cubicBezTo>
                      <a:pt x="32" y="345"/>
                      <a:pt x="30" y="345"/>
                      <a:pt x="29" y="344"/>
                    </a:cubicBezTo>
                    <a:cubicBezTo>
                      <a:pt x="27" y="343"/>
                      <a:pt x="28" y="340"/>
                      <a:pt x="32" y="342"/>
                    </a:cubicBezTo>
                    <a:cubicBezTo>
                      <a:pt x="35" y="343"/>
                      <a:pt x="39" y="340"/>
                      <a:pt x="38" y="336"/>
                    </a:cubicBezTo>
                    <a:cubicBezTo>
                      <a:pt x="37" y="332"/>
                      <a:pt x="41" y="330"/>
                      <a:pt x="45" y="328"/>
                    </a:cubicBezTo>
                    <a:cubicBezTo>
                      <a:pt x="49" y="327"/>
                      <a:pt x="47" y="331"/>
                      <a:pt x="44" y="332"/>
                    </a:cubicBezTo>
                    <a:cubicBezTo>
                      <a:pt x="41" y="334"/>
                      <a:pt x="41" y="335"/>
                      <a:pt x="43" y="337"/>
                    </a:cubicBezTo>
                    <a:cubicBezTo>
                      <a:pt x="45" y="339"/>
                      <a:pt x="48" y="335"/>
                      <a:pt x="50" y="337"/>
                    </a:cubicBezTo>
                    <a:cubicBezTo>
                      <a:pt x="52" y="339"/>
                      <a:pt x="47" y="339"/>
                      <a:pt x="46" y="341"/>
                    </a:cubicBezTo>
                    <a:cubicBezTo>
                      <a:pt x="45" y="343"/>
                      <a:pt x="49" y="345"/>
                      <a:pt x="46" y="347"/>
                    </a:cubicBezTo>
                    <a:cubicBezTo>
                      <a:pt x="43" y="348"/>
                      <a:pt x="45" y="341"/>
                      <a:pt x="43" y="340"/>
                    </a:cubicBezTo>
                    <a:cubicBezTo>
                      <a:pt x="41" y="339"/>
                      <a:pt x="39" y="341"/>
                      <a:pt x="41" y="345"/>
                    </a:cubicBezTo>
                    <a:cubicBezTo>
                      <a:pt x="43" y="349"/>
                      <a:pt x="39" y="346"/>
                      <a:pt x="37" y="344"/>
                    </a:cubicBezTo>
                    <a:cubicBezTo>
                      <a:pt x="35" y="342"/>
                      <a:pt x="33" y="344"/>
                      <a:pt x="35" y="347"/>
                    </a:cubicBezTo>
                    <a:cubicBezTo>
                      <a:pt x="37" y="349"/>
                      <a:pt x="31" y="346"/>
                      <a:pt x="31" y="350"/>
                    </a:cubicBezTo>
                    <a:cubicBezTo>
                      <a:pt x="31" y="353"/>
                      <a:pt x="34" y="350"/>
                      <a:pt x="37" y="351"/>
                    </a:cubicBezTo>
                    <a:cubicBezTo>
                      <a:pt x="40" y="352"/>
                      <a:pt x="39" y="356"/>
                      <a:pt x="41" y="358"/>
                    </a:cubicBezTo>
                    <a:cubicBezTo>
                      <a:pt x="43" y="360"/>
                      <a:pt x="41" y="353"/>
                      <a:pt x="44" y="352"/>
                    </a:cubicBezTo>
                    <a:cubicBezTo>
                      <a:pt x="46" y="351"/>
                      <a:pt x="44" y="358"/>
                      <a:pt x="50" y="359"/>
                    </a:cubicBezTo>
                    <a:cubicBezTo>
                      <a:pt x="55" y="361"/>
                      <a:pt x="50" y="358"/>
                      <a:pt x="52" y="357"/>
                    </a:cubicBezTo>
                    <a:cubicBezTo>
                      <a:pt x="55" y="355"/>
                      <a:pt x="58" y="362"/>
                      <a:pt x="61" y="363"/>
                    </a:cubicBezTo>
                    <a:cubicBezTo>
                      <a:pt x="63" y="363"/>
                      <a:pt x="62" y="359"/>
                      <a:pt x="60" y="357"/>
                    </a:cubicBezTo>
                    <a:cubicBezTo>
                      <a:pt x="58" y="355"/>
                      <a:pt x="62" y="356"/>
                      <a:pt x="64" y="357"/>
                    </a:cubicBezTo>
                    <a:cubicBezTo>
                      <a:pt x="67" y="358"/>
                      <a:pt x="69" y="359"/>
                      <a:pt x="70" y="357"/>
                    </a:cubicBezTo>
                    <a:cubicBezTo>
                      <a:pt x="70" y="356"/>
                      <a:pt x="70" y="356"/>
                      <a:pt x="71" y="356"/>
                    </a:cubicBezTo>
                    <a:cubicBezTo>
                      <a:pt x="68" y="354"/>
                      <a:pt x="59" y="356"/>
                      <a:pt x="57" y="355"/>
                    </a:cubicBezTo>
                    <a:cubicBezTo>
                      <a:pt x="56" y="355"/>
                      <a:pt x="57" y="334"/>
                      <a:pt x="57" y="329"/>
                    </a:cubicBezTo>
                    <a:cubicBezTo>
                      <a:pt x="57" y="329"/>
                      <a:pt x="57" y="329"/>
                      <a:pt x="57" y="329"/>
                    </a:cubicBezTo>
                    <a:cubicBezTo>
                      <a:pt x="55" y="329"/>
                      <a:pt x="49" y="329"/>
                      <a:pt x="50" y="326"/>
                    </a:cubicBezTo>
                    <a:cubicBezTo>
                      <a:pt x="50" y="325"/>
                      <a:pt x="51" y="325"/>
                      <a:pt x="51" y="325"/>
                    </a:cubicBezTo>
                    <a:cubicBezTo>
                      <a:pt x="50" y="324"/>
                      <a:pt x="49" y="323"/>
                      <a:pt x="47" y="322"/>
                    </a:cubicBezTo>
                    <a:cubicBezTo>
                      <a:pt x="43" y="321"/>
                      <a:pt x="35" y="322"/>
                      <a:pt x="33" y="32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4" name="Freeform 111">
                <a:extLst>
                  <a:ext uri="{FF2B5EF4-FFF2-40B4-BE49-F238E27FC236}">
                    <a16:creationId xmlns:a16="http://schemas.microsoft.com/office/drawing/2014/main" id="{B03CEC0E-7512-4246-8F1E-DA7C4B7A2B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5291" y="4454923"/>
                <a:ext cx="163114" cy="166878"/>
              </a:xfrm>
              <a:custGeom>
                <a:avLst/>
                <a:gdLst>
                  <a:gd name="T0" fmla="*/ 69 w 71"/>
                  <a:gd name="T1" fmla="*/ 39 h 72"/>
                  <a:gd name="T2" fmla="*/ 62 w 71"/>
                  <a:gd name="T3" fmla="*/ 40 h 72"/>
                  <a:gd name="T4" fmla="*/ 58 w 71"/>
                  <a:gd name="T5" fmla="*/ 31 h 72"/>
                  <a:gd name="T6" fmla="*/ 52 w 71"/>
                  <a:gd name="T7" fmla="*/ 24 h 72"/>
                  <a:gd name="T8" fmla="*/ 45 w 71"/>
                  <a:gd name="T9" fmla="*/ 24 h 72"/>
                  <a:gd name="T10" fmla="*/ 41 w 71"/>
                  <a:gd name="T11" fmla="*/ 17 h 72"/>
                  <a:gd name="T12" fmla="*/ 40 w 71"/>
                  <a:gd name="T13" fmla="*/ 7 h 72"/>
                  <a:gd name="T14" fmla="*/ 40 w 71"/>
                  <a:gd name="T15" fmla="*/ 3 h 72"/>
                  <a:gd name="T16" fmla="*/ 38 w 71"/>
                  <a:gd name="T17" fmla="*/ 3 h 72"/>
                  <a:gd name="T18" fmla="*/ 31 w 71"/>
                  <a:gd name="T19" fmla="*/ 0 h 72"/>
                  <a:gd name="T20" fmla="*/ 21 w 71"/>
                  <a:gd name="T21" fmla="*/ 1 h 72"/>
                  <a:gd name="T22" fmla="*/ 12 w 71"/>
                  <a:gd name="T23" fmla="*/ 3 h 72"/>
                  <a:gd name="T24" fmla="*/ 5 w 71"/>
                  <a:gd name="T25" fmla="*/ 10 h 72"/>
                  <a:gd name="T26" fmla="*/ 3 w 71"/>
                  <a:gd name="T27" fmla="*/ 23 h 72"/>
                  <a:gd name="T28" fmla="*/ 0 w 71"/>
                  <a:gd name="T29" fmla="*/ 23 h 72"/>
                  <a:gd name="T30" fmla="*/ 11 w 71"/>
                  <a:gd name="T31" fmla="*/ 34 h 72"/>
                  <a:gd name="T32" fmla="*/ 20 w 71"/>
                  <a:gd name="T33" fmla="*/ 40 h 72"/>
                  <a:gd name="T34" fmla="*/ 29 w 71"/>
                  <a:gd name="T35" fmla="*/ 44 h 72"/>
                  <a:gd name="T36" fmla="*/ 44 w 71"/>
                  <a:gd name="T37" fmla="*/ 52 h 72"/>
                  <a:gd name="T38" fmla="*/ 38 w 71"/>
                  <a:gd name="T39" fmla="*/ 62 h 72"/>
                  <a:gd name="T40" fmla="*/ 35 w 71"/>
                  <a:gd name="T41" fmla="*/ 68 h 72"/>
                  <a:gd name="T42" fmla="*/ 43 w 71"/>
                  <a:gd name="T43" fmla="*/ 69 h 72"/>
                  <a:gd name="T44" fmla="*/ 50 w 71"/>
                  <a:gd name="T45" fmla="*/ 70 h 72"/>
                  <a:gd name="T46" fmla="*/ 57 w 71"/>
                  <a:gd name="T47" fmla="*/ 69 h 72"/>
                  <a:gd name="T48" fmla="*/ 64 w 71"/>
                  <a:gd name="T49" fmla="*/ 66 h 72"/>
                  <a:gd name="T50" fmla="*/ 68 w 71"/>
                  <a:gd name="T51" fmla="*/ 54 h 72"/>
                  <a:gd name="T52" fmla="*/ 69 w 71"/>
                  <a:gd name="T53" fmla="*/ 39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1" h="72">
                    <a:moveTo>
                      <a:pt x="69" y="39"/>
                    </a:moveTo>
                    <a:cubicBezTo>
                      <a:pt x="66" y="37"/>
                      <a:pt x="63" y="40"/>
                      <a:pt x="62" y="40"/>
                    </a:cubicBezTo>
                    <a:cubicBezTo>
                      <a:pt x="61" y="40"/>
                      <a:pt x="59" y="34"/>
                      <a:pt x="58" y="31"/>
                    </a:cubicBezTo>
                    <a:cubicBezTo>
                      <a:pt x="57" y="28"/>
                      <a:pt x="54" y="23"/>
                      <a:pt x="52" y="24"/>
                    </a:cubicBezTo>
                    <a:cubicBezTo>
                      <a:pt x="50" y="26"/>
                      <a:pt x="51" y="24"/>
                      <a:pt x="45" y="24"/>
                    </a:cubicBezTo>
                    <a:cubicBezTo>
                      <a:pt x="40" y="23"/>
                      <a:pt x="40" y="22"/>
                      <a:pt x="41" y="17"/>
                    </a:cubicBezTo>
                    <a:cubicBezTo>
                      <a:pt x="43" y="12"/>
                      <a:pt x="38" y="8"/>
                      <a:pt x="40" y="7"/>
                    </a:cubicBezTo>
                    <a:cubicBezTo>
                      <a:pt x="41" y="6"/>
                      <a:pt x="41" y="5"/>
                      <a:pt x="40" y="3"/>
                    </a:cubicBezTo>
                    <a:cubicBezTo>
                      <a:pt x="39" y="3"/>
                      <a:pt x="39" y="3"/>
                      <a:pt x="38" y="3"/>
                    </a:cubicBezTo>
                    <a:cubicBezTo>
                      <a:pt x="36" y="3"/>
                      <a:pt x="34" y="0"/>
                      <a:pt x="31" y="0"/>
                    </a:cubicBezTo>
                    <a:cubicBezTo>
                      <a:pt x="27" y="0"/>
                      <a:pt x="24" y="0"/>
                      <a:pt x="21" y="1"/>
                    </a:cubicBezTo>
                    <a:cubicBezTo>
                      <a:pt x="19" y="2"/>
                      <a:pt x="14" y="1"/>
                      <a:pt x="12" y="3"/>
                    </a:cubicBezTo>
                    <a:cubicBezTo>
                      <a:pt x="9" y="5"/>
                      <a:pt x="5" y="9"/>
                      <a:pt x="5" y="10"/>
                    </a:cubicBezTo>
                    <a:cubicBezTo>
                      <a:pt x="6" y="12"/>
                      <a:pt x="4" y="22"/>
                      <a:pt x="3" y="23"/>
                    </a:cubicBezTo>
                    <a:cubicBezTo>
                      <a:pt x="3" y="23"/>
                      <a:pt x="1" y="23"/>
                      <a:pt x="0" y="23"/>
                    </a:cubicBezTo>
                    <a:cubicBezTo>
                      <a:pt x="2" y="26"/>
                      <a:pt x="8" y="32"/>
                      <a:pt x="11" y="34"/>
                    </a:cubicBezTo>
                    <a:cubicBezTo>
                      <a:pt x="16" y="37"/>
                      <a:pt x="15" y="39"/>
                      <a:pt x="20" y="40"/>
                    </a:cubicBezTo>
                    <a:cubicBezTo>
                      <a:pt x="25" y="40"/>
                      <a:pt x="28" y="42"/>
                      <a:pt x="29" y="44"/>
                    </a:cubicBezTo>
                    <a:cubicBezTo>
                      <a:pt x="31" y="46"/>
                      <a:pt x="43" y="50"/>
                      <a:pt x="44" y="52"/>
                    </a:cubicBezTo>
                    <a:cubicBezTo>
                      <a:pt x="45" y="53"/>
                      <a:pt x="38" y="58"/>
                      <a:pt x="38" y="62"/>
                    </a:cubicBezTo>
                    <a:cubicBezTo>
                      <a:pt x="38" y="67"/>
                      <a:pt x="35" y="66"/>
                      <a:pt x="35" y="68"/>
                    </a:cubicBezTo>
                    <a:cubicBezTo>
                      <a:pt x="35" y="69"/>
                      <a:pt x="41" y="68"/>
                      <a:pt x="43" y="69"/>
                    </a:cubicBezTo>
                    <a:cubicBezTo>
                      <a:pt x="45" y="71"/>
                      <a:pt x="48" y="69"/>
                      <a:pt x="50" y="70"/>
                    </a:cubicBezTo>
                    <a:cubicBezTo>
                      <a:pt x="53" y="72"/>
                      <a:pt x="56" y="68"/>
                      <a:pt x="57" y="69"/>
                    </a:cubicBezTo>
                    <a:cubicBezTo>
                      <a:pt x="59" y="69"/>
                      <a:pt x="61" y="65"/>
                      <a:pt x="64" y="66"/>
                    </a:cubicBezTo>
                    <a:cubicBezTo>
                      <a:pt x="66" y="66"/>
                      <a:pt x="68" y="57"/>
                      <a:pt x="68" y="54"/>
                    </a:cubicBezTo>
                    <a:cubicBezTo>
                      <a:pt x="67" y="50"/>
                      <a:pt x="71" y="40"/>
                      <a:pt x="69" y="3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5" name="Freeform 112">
                <a:extLst>
                  <a:ext uri="{FF2B5EF4-FFF2-40B4-BE49-F238E27FC236}">
                    <a16:creationId xmlns:a16="http://schemas.microsoft.com/office/drawing/2014/main" id="{6B5C1B4F-ECCE-4281-8A4B-D501B43624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13665" y="3881514"/>
                <a:ext cx="62736" cy="50189"/>
              </a:xfrm>
              <a:custGeom>
                <a:avLst/>
                <a:gdLst>
                  <a:gd name="T0" fmla="*/ 26 w 27"/>
                  <a:gd name="T1" fmla="*/ 17 h 22"/>
                  <a:gd name="T2" fmla="*/ 27 w 27"/>
                  <a:gd name="T3" fmla="*/ 12 h 22"/>
                  <a:gd name="T4" fmla="*/ 19 w 27"/>
                  <a:gd name="T5" fmla="*/ 2 h 22"/>
                  <a:gd name="T6" fmla="*/ 15 w 27"/>
                  <a:gd name="T7" fmla="*/ 2 h 22"/>
                  <a:gd name="T8" fmla="*/ 7 w 27"/>
                  <a:gd name="T9" fmla="*/ 0 h 22"/>
                  <a:gd name="T10" fmla="*/ 3 w 27"/>
                  <a:gd name="T11" fmla="*/ 0 h 22"/>
                  <a:gd name="T12" fmla="*/ 2 w 27"/>
                  <a:gd name="T13" fmla="*/ 3 h 22"/>
                  <a:gd name="T14" fmla="*/ 4 w 27"/>
                  <a:gd name="T15" fmla="*/ 10 h 22"/>
                  <a:gd name="T16" fmla="*/ 9 w 27"/>
                  <a:gd name="T17" fmla="*/ 9 h 22"/>
                  <a:gd name="T18" fmla="*/ 12 w 27"/>
                  <a:gd name="T19" fmla="*/ 12 h 22"/>
                  <a:gd name="T20" fmla="*/ 18 w 27"/>
                  <a:gd name="T21" fmla="*/ 17 h 22"/>
                  <a:gd name="T22" fmla="*/ 23 w 27"/>
                  <a:gd name="T23" fmla="*/ 22 h 22"/>
                  <a:gd name="T24" fmla="*/ 25 w 27"/>
                  <a:gd name="T25" fmla="*/ 22 h 22"/>
                  <a:gd name="T26" fmla="*/ 26 w 27"/>
                  <a:gd name="T27" fmla="*/ 17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7" h="22">
                    <a:moveTo>
                      <a:pt x="26" y="17"/>
                    </a:moveTo>
                    <a:cubicBezTo>
                      <a:pt x="25" y="16"/>
                      <a:pt x="26" y="14"/>
                      <a:pt x="27" y="12"/>
                    </a:cubicBezTo>
                    <a:cubicBezTo>
                      <a:pt x="24" y="9"/>
                      <a:pt x="21" y="5"/>
                      <a:pt x="19" y="2"/>
                    </a:cubicBezTo>
                    <a:cubicBezTo>
                      <a:pt x="17" y="2"/>
                      <a:pt x="16" y="2"/>
                      <a:pt x="15" y="2"/>
                    </a:cubicBezTo>
                    <a:cubicBezTo>
                      <a:pt x="13" y="0"/>
                      <a:pt x="9" y="1"/>
                      <a:pt x="7" y="0"/>
                    </a:cubicBezTo>
                    <a:cubicBezTo>
                      <a:pt x="6" y="0"/>
                      <a:pt x="4" y="0"/>
                      <a:pt x="3" y="0"/>
                    </a:cubicBezTo>
                    <a:cubicBezTo>
                      <a:pt x="3" y="2"/>
                      <a:pt x="3" y="3"/>
                      <a:pt x="2" y="3"/>
                    </a:cubicBezTo>
                    <a:cubicBezTo>
                      <a:pt x="0" y="4"/>
                      <a:pt x="0" y="9"/>
                      <a:pt x="4" y="10"/>
                    </a:cubicBezTo>
                    <a:cubicBezTo>
                      <a:pt x="8" y="12"/>
                      <a:pt x="7" y="9"/>
                      <a:pt x="9" y="9"/>
                    </a:cubicBezTo>
                    <a:cubicBezTo>
                      <a:pt x="11" y="9"/>
                      <a:pt x="11" y="12"/>
                      <a:pt x="12" y="12"/>
                    </a:cubicBezTo>
                    <a:cubicBezTo>
                      <a:pt x="14" y="12"/>
                      <a:pt x="18" y="15"/>
                      <a:pt x="18" y="17"/>
                    </a:cubicBezTo>
                    <a:cubicBezTo>
                      <a:pt x="18" y="20"/>
                      <a:pt x="20" y="22"/>
                      <a:pt x="23" y="22"/>
                    </a:cubicBezTo>
                    <a:cubicBezTo>
                      <a:pt x="23" y="22"/>
                      <a:pt x="24" y="22"/>
                      <a:pt x="25" y="22"/>
                    </a:cubicBezTo>
                    <a:cubicBezTo>
                      <a:pt x="25" y="20"/>
                      <a:pt x="26" y="18"/>
                      <a:pt x="26" y="1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6" name="Freeform 113">
                <a:extLst>
                  <a:ext uri="{FF2B5EF4-FFF2-40B4-BE49-F238E27FC236}">
                    <a16:creationId xmlns:a16="http://schemas.microsoft.com/office/drawing/2014/main" id="{E11AF6E2-AF0F-4D82-B08F-14B9C0B30A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71383" y="3906608"/>
                <a:ext cx="109161" cy="50189"/>
              </a:xfrm>
              <a:custGeom>
                <a:avLst/>
                <a:gdLst>
                  <a:gd name="T0" fmla="*/ 42 w 47"/>
                  <a:gd name="T1" fmla="*/ 6 h 22"/>
                  <a:gd name="T2" fmla="*/ 30 w 47"/>
                  <a:gd name="T3" fmla="*/ 1 h 22"/>
                  <a:gd name="T4" fmla="*/ 19 w 47"/>
                  <a:gd name="T5" fmla="*/ 5 h 22"/>
                  <a:gd name="T6" fmla="*/ 6 w 47"/>
                  <a:gd name="T7" fmla="*/ 5 h 22"/>
                  <a:gd name="T8" fmla="*/ 2 w 47"/>
                  <a:gd name="T9" fmla="*/ 1 h 22"/>
                  <a:gd name="T10" fmla="*/ 1 w 47"/>
                  <a:gd name="T11" fmla="*/ 6 h 22"/>
                  <a:gd name="T12" fmla="*/ 0 w 47"/>
                  <a:gd name="T13" fmla="*/ 11 h 22"/>
                  <a:gd name="T14" fmla="*/ 10 w 47"/>
                  <a:gd name="T15" fmla="*/ 15 h 22"/>
                  <a:gd name="T16" fmla="*/ 16 w 47"/>
                  <a:gd name="T17" fmla="*/ 19 h 22"/>
                  <a:gd name="T18" fmla="*/ 22 w 47"/>
                  <a:gd name="T19" fmla="*/ 18 h 22"/>
                  <a:gd name="T20" fmla="*/ 20 w 47"/>
                  <a:gd name="T21" fmla="*/ 13 h 22"/>
                  <a:gd name="T22" fmla="*/ 24 w 47"/>
                  <a:gd name="T23" fmla="*/ 9 h 22"/>
                  <a:gd name="T24" fmla="*/ 33 w 47"/>
                  <a:gd name="T25" fmla="*/ 6 h 22"/>
                  <a:gd name="T26" fmla="*/ 35 w 47"/>
                  <a:gd name="T27" fmla="*/ 12 h 22"/>
                  <a:gd name="T28" fmla="*/ 40 w 47"/>
                  <a:gd name="T29" fmla="*/ 20 h 22"/>
                  <a:gd name="T30" fmla="*/ 46 w 47"/>
                  <a:gd name="T31" fmla="*/ 15 h 22"/>
                  <a:gd name="T32" fmla="*/ 47 w 47"/>
                  <a:gd name="T33" fmla="*/ 13 h 22"/>
                  <a:gd name="T34" fmla="*/ 42 w 47"/>
                  <a:gd name="T35" fmla="*/ 6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7" h="22">
                    <a:moveTo>
                      <a:pt x="42" y="6"/>
                    </a:moveTo>
                    <a:cubicBezTo>
                      <a:pt x="39" y="2"/>
                      <a:pt x="34" y="2"/>
                      <a:pt x="30" y="1"/>
                    </a:cubicBezTo>
                    <a:cubicBezTo>
                      <a:pt x="27" y="0"/>
                      <a:pt x="23" y="1"/>
                      <a:pt x="19" y="5"/>
                    </a:cubicBezTo>
                    <a:cubicBezTo>
                      <a:pt x="15" y="9"/>
                      <a:pt x="10" y="7"/>
                      <a:pt x="6" y="5"/>
                    </a:cubicBezTo>
                    <a:cubicBezTo>
                      <a:pt x="5" y="4"/>
                      <a:pt x="4" y="3"/>
                      <a:pt x="2" y="1"/>
                    </a:cubicBezTo>
                    <a:cubicBezTo>
                      <a:pt x="1" y="3"/>
                      <a:pt x="0" y="5"/>
                      <a:pt x="1" y="6"/>
                    </a:cubicBezTo>
                    <a:cubicBezTo>
                      <a:pt x="1" y="7"/>
                      <a:pt x="0" y="9"/>
                      <a:pt x="0" y="11"/>
                    </a:cubicBezTo>
                    <a:cubicBezTo>
                      <a:pt x="3" y="11"/>
                      <a:pt x="8" y="13"/>
                      <a:pt x="10" y="15"/>
                    </a:cubicBezTo>
                    <a:cubicBezTo>
                      <a:pt x="13" y="19"/>
                      <a:pt x="14" y="16"/>
                      <a:pt x="16" y="19"/>
                    </a:cubicBezTo>
                    <a:cubicBezTo>
                      <a:pt x="18" y="22"/>
                      <a:pt x="21" y="20"/>
                      <a:pt x="22" y="18"/>
                    </a:cubicBezTo>
                    <a:cubicBezTo>
                      <a:pt x="23" y="16"/>
                      <a:pt x="20" y="15"/>
                      <a:pt x="20" y="13"/>
                    </a:cubicBezTo>
                    <a:cubicBezTo>
                      <a:pt x="19" y="11"/>
                      <a:pt x="23" y="12"/>
                      <a:pt x="24" y="9"/>
                    </a:cubicBezTo>
                    <a:cubicBezTo>
                      <a:pt x="25" y="7"/>
                      <a:pt x="31" y="5"/>
                      <a:pt x="33" y="6"/>
                    </a:cubicBezTo>
                    <a:cubicBezTo>
                      <a:pt x="36" y="8"/>
                      <a:pt x="38" y="9"/>
                      <a:pt x="35" y="12"/>
                    </a:cubicBezTo>
                    <a:cubicBezTo>
                      <a:pt x="34" y="14"/>
                      <a:pt x="37" y="18"/>
                      <a:pt x="40" y="20"/>
                    </a:cubicBezTo>
                    <a:cubicBezTo>
                      <a:pt x="42" y="18"/>
                      <a:pt x="45" y="16"/>
                      <a:pt x="46" y="15"/>
                    </a:cubicBezTo>
                    <a:cubicBezTo>
                      <a:pt x="46" y="15"/>
                      <a:pt x="46" y="14"/>
                      <a:pt x="47" y="13"/>
                    </a:cubicBezTo>
                    <a:cubicBezTo>
                      <a:pt x="45" y="12"/>
                      <a:pt x="44" y="9"/>
                      <a:pt x="42" y="6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7" name="Freeform 114">
                <a:extLst>
                  <a:ext uri="{FF2B5EF4-FFF2-40B4-BE49-F238E27FC236}">
                    <a16:creationId xmlns:a16="http://schemas.microsoft.com/office/drawing/2014/main" id="{78F346BA-FA7E-4DF8-ACE9-939A3B8FCA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45411" y="3851400"/>
                <a:ext cx="220832" cy="316191"/>
              </a:xfrm>
              <a:custGeom>
                <a:avLst/>
                <a:gdLst>
                  <a:gd name="T0" fmla="*/ 15 w 96"/>
                  <a:gd name="T1" fmla="*/ 100 h 137"/>
                  <a:gd name="T2" fmla="*/ 21 w 96"/>
                  <a:gd name="T3" fmla="*/ 100 h 137"/>
                  <a:gd name="T4" fmla="*/ 26 w 96"/>
                  <a:gd name="T5" fmla="*/ 105 h 137"/>
                  <a:gd name="T6" fmla="*/ 27 w 96"/>
                  <a:gd name="T7" fmla="*/ 105 h 137"/>
                  <a:gd name="T8" fmla="*/ 34 w 96"/>
                  <a:gd name="T9" fmla="*/ 105 h 137"/>
                  <a:gd name="T10" fmla="*/ 39 w 96"/>
                  <a:gd name="T11" fmla="*/ 112 h 137"/>
                  <a:gd name="T12" fmla="*/ 44 w 96"/>
                  <a:gd name="T13" fmla="*/ 117 h 137"/>
                  <a:gd name="T14" fmla="*/ 47 w 96"/>
                  <a:gd name="T15" fmla="*/ 122 h 137"/>
                  <a:gd name="T16" fmla="*/ 56 w 96"/>
                  <a:gd name="T17" fmla="*/ 123 h 137"/>
                  <a:gd name="T18" fmla="*/ 61 w 96"/>
                  <a:gd name="T19" fmla="*/ 122 h 137"/>
                  <a:gd name="T20" fmla="*/ 66 w 96"/>
                  <a:gd name="T21" fmla="*/ 122 h 137"/>
                  <a:gd name="T22" fmla="*/ 72 w 96"/>
                  <a:gd name="T23" fmla="*/ 127 h 137"/>
                  <a:gd name="T24" fmla="*/ 68 w 96"/>
                  <a:gd name="T25" fmla="*/ 133 h 137"/>
                  <a:gd name="T26" fmla="*/ 72 w 96"/>
                  <a:gd name="T27" fmla="*/ 137 h 137"/>
                  <a:gd name="T28" fmla="*/ 73 w 96"/>
                  <a:gd name="T29" fmla="*/ 137 h 137"/>
                  <a:gd name="T30" fmla="*/ 76 w 96"/>
                  <a:gd name="T31" fmla="*/ 126 h 137"/>
                  <a:gd name="T32" fmla="*/ 78 w 96"/>
                  <a:gd name="T33" fmla="*/ 115 h 137"/>
                  <a:gd name="T34" fmla="*/ 72 w 96"/>
                  <a:gd name="T35" fmla="*/ 102 h 137"/>
                  <a:gd name="T36" fmla="*/ 78 w 96"/>
                  <a:gd name="T37" fmla="*/ 98 h 137"/>
                  <a:gd name="T38" fmla="*/ 76 w 96"/>
                  <a:gd name="T39" fmla="*/ 95 h 137"/>
                  <a:gd name="T40" fmla="*/ 74 w 96"/>
                  <a:gd name="T41" fmla="*/ 90 h 137"/>
                  <a:gd name="T42" fmla="*/ 86 w 96"/>
                  <a:gd name="T43" fmla="*/ 89 h 137"/>
                  <a:gd name="T44" fmla="*/ 95 w 96"/>
                  <a:gd name="T45" fmla="*/ 86 h 137"/>
                  <a:gd name="T46" fmla="*/ 94 w 96"/>
                  <a:gd name="T47" fmla="*/ 82 h 137"/>
                  <a:gd name="T48" fmla="*/ 94 w 96"/>
                  <a:gd name="T49" fmla="*/ 76 h 137"/>
                  <a:gd name="T50" fmla="*/ 91 w 96"/>
                  <a:gd name="T51" fmla="*/ 70 h 137"/>
                  <a:gd name="T52" fmla="*/ 93 w 96"/>
                  <a:gd name="T53" fmla="*/ 55 h 137"/>
                  <a:gd name="T54" fmla="*/ 84 w 96"/>
                  <a:gd name="T55" fmla="*/ 53 h 137"/>
                  <a:gd name="T56" fmla="*/ 72 w 96"/>
                  <a:gd name="T57" fmla="*/ 48 h 137"/>
                  <a:gd name="T58" fmla="*/ 59 w 96"/>
                  <a:gd name="T59" fmla="*/ 47 h 137"/>
                  <a:gd name="T60" fmla="*/ 53 w 96"/>
                  <a:gd name="T61" fmla="*/ 36 h 137"/>
                  <a:gd name="T62" fmla="*/ 50 w 96"/>
                  <a:gd name="T63" fmla="*/ 31 h 137"/>
                  <a:gd name="T64" fmla="*/ 46 w 96"/>
                  <a:gd name="T65" fmla="*/ 29 h 137"/>
                  <a:gd name="T66" fmla="*/ 47 w 96"/>
                  <a:gd name="T67" fmla="*/ 25 h 137"/>
                  <a:gd name="T68" fmla="*/ 48 w 96"/>
                  <a:gd name="T69" fmla="*/ 19 h 137"/>
                  <a:gd name="T70" fmla="*/ 55 w 96"/>
                  <a:gd name="T71" fmla="*/ 10 h 137"/>
                  <a:gd name="T72" fmla="*/ 58 w 96"/>
                  <a:gd name="T73" fmla="*/ 9 h 137"/>
                  <a:gd name="T74" fmla="*/ 60 w 96"/>
                  <a:gd name="T75" fmla="*/ 7 h 137"/>
                  <a:gd name="T76" fmla="*/ 62 w 96"/>
                  <a:gd name="T77" fmla="*/ 2 h 137"/>
                  <a:gd name="T78" fmla="*/ 53 w 96"/>
                  <a:gd name="T79" fmla="*/ 6 h 137"/>
                  <a:gd name="T80" fmla="*/ 46 w 96"/>
                  <a:gd name="T81" fmla="*/ 11 h 137"/>
                  <a:gd name="T82" fmla="*/ 38 w 96"/>
                  <a:gd name="T83" fmla="*/ 13 h 137"/>
                  <a:gd name="T84" fmla="*/ 35 w 96"/>
                  <a:gd name="T85" fmla="*/ 12 h 137"/>
                  <a:gd name="T86" fmla="*/ 27 w 96"/>
                  <a:gd name="T87" fmla="*/ 19 h 137"/>
                  <a:gd name="T88" fmla="*/ 24 w 96"/>
                  <a:gd name="T89" fmla="*/ 27 h 137"/>
                  <a:gd name="T90" fmla="*/ 16 w 96"/>
                  <a:gd name="T91" fmla="*/ 36 h 137"/>
                  <a:gd name="T92" fmla="*/ 15 w 96"/>
                  <a:gd name="T93" fmla="*/ 37 h 137"/>
                  <a:gd name="T94" fmla="*/ 14 w 96"/>
                  <a:gd name="T95" fmla="*/ 39 h 137"/>
                  <a:gd name="T96" fmla="*/ 8 w 96"/>
                  <a:gd name="T97" fmla="*/ 44 h 137"/>
                  <a:gd name="T98" fmla="*/ 11 w 96"/>
                  <a:gd name="T99" fmla="*/ 47 h 137"/>
                  <a:gd name="T100" fmla="*/ 12 w 96"/>
                  <a:gd name="T101" fmla="*/ 53 h 137"/>
                  <a:gd name="T102" fmla="*/ 12 w 96"/>
                  <a:gd name="T103" fmla="*/ 58 h 137"/>
                  <a:gd name="T104" fmla="*/ 14 w 96"/>
                  <a:gd name="T105" fmla="*/ 70 h 137"/>
                  <a:gd name="T106" fmla="*/ 12 w 96"/>
                  <a:gd name="T107" fmla="*/ 77 h 137"/>
                  <a:gd name="T108" fmla="*/ 5 w 96"/>
                  <a:gd name="T109" fmla="*/ 82 h 137"/>
                  <a:gd name="T110" fmla="*/ 1 w 96"/>
                  <a:gd name="T111" fmla="*/ 88 h 137"/>
                  <a:gd name="T112" fmla="*/ 0 w 96"/>
                  <a:gd name="T113" fmla="*/ 91 h 137"/>
                  <a:gd name="T114" fmla="*/ 10 w 96"/>
                  <a:gd name="T115" fmla="*/ 96 h 137"/>
                  <a:gd name="T116" fmla="*/ 15 w 96"/>
                  <a:gd name="T117" fmla="*/ 100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96" h="137">
                    <a:moveTo>
                      <a:pt x="15" y="100"/>
                    </a:moveTo>
                    <a:cubicBezTo>
                      <a:pt x="17" y="102"/>
                      <a:pt x="20" y="101"/>
                      <a:pt x="21" y="100"/>
                    </a:cubicBezTo>
                    <a:cubicBezTo>
                      <a:pt x="21" y="99"/>
                      <a:pt x="23" y="101"/>
                      <a:pt x="26" y="105"/>
                    </a:cubicBezTo>
                    <a:cubicBezTo>
                      <a:pt x="27" y="105"/>
                      <a:pt x="27" y="105"/>
                      <a:pt x="27" y="105"/>
                    </a:cubicBezTo>
                    <a:cubicBezTo>
                      <a:pt x="29" y="105"/>
                      <a:pt x="32" y="104"/>
                      <a:pt x="34" y="105"/>
                    </a:cubicBezTo>
                    <a:cubicBezTo>
                      <a:pt x="36" y="106"/>
                      <a:pt x="35" y="111"/>
                      <a:pt x="39" y="112"/>
                    </a:cubicBezTo>
                    <a:cubicBezTo>
                      <a:pt x="42" y="112"/>
                      <a:pt x="44" y="115"/>
                      <a:pt x="44" y="117"/>
                    </a:cubicBezTo>
                    <a:cubicBezTo>
                      <a:pt x="43" y="118"/>
                      <a:pt x="47" y="119"/>
                      <a:pt x="47" y="122"/>
                    </a:cubicBezTo>
                    <a:cubicBezTo>
                      <a:pt x="46" y="124"/>
                      <a:pt x="55" y="124"/>
                      <a:pt x="56" y="123"/>
                    </a:cubicBezTo>
                    <a:cubicBezTo>
                      <a:pt x="57" y="122"/>
                      <a:pt x="59" y="121"/>
                      <a:pt x="61" y="122"/>
                    </a:cubicBezTo>
                    <a:cubicBezTo>
                      <a:pt x="62" y="123"/>
                      <a:pt x="65" y="121"/>
                      <a:pt x="66" y="122"/>
                    </a:cubicBezTo>
                    <a:cubicBezTo>
                      <a:pt x="67" y="122"/>
                      <a:pt x="73" y="125"/>
                      <a:pt x="72" y="127"/>
                    </a:cubicBezTo>
                    <a:cubicBezTo>
                      <a:pt x="71" y="129"/>
                      <a:pt x="67" y="132"/>
                      <a:pt x="68" y="133"/>
                    </a:cubicBezTo>
                    <a:cubicBezTo>
                      <a:pt x="68" y="135"/>
                      <a:pt x="71" y="136"/>
                      <a:pt x="72" y="137"/>
                    </a:cubicBezTo>
                    <a:cubicBezTo>
                      <a:pt x="73" y="137"/>
                      <a:pt x="73" y="137"/>
                      <a:pt x="73" y="137"/>
                    </a:cubicBezTo>
                    <a:cubicBezTo>
                      <a:pt x="75" y="137"/>
                      <a:pt x="76" y="129"/>
                      <a:pt x="76" y="126"/>
                    </a:cubicBezTo>
                    <a:cubicBezTo>
                      <a:pt x="76" y="124"/>
                      <a:pt x="77" y="118"/>
                      <a:pt x="78" y="115"/>
                    </a:cubicBezTo>
                    <a:cubicBezTo>
                      <a:pt x="79" y="111"/>
                      <a:pt x="72" y="107"/>
                      <a:pt x="72" y="102"/>
                    </a:cubicBezTo>
                    <a:cubicBezTo>
                      <a:pt x="72" y="97"/>
                      <a:pt x="75" y="100"/>
                      <a:pt x="78" y="98"/>
                    </a:cubicBezTo>
                    <a:cubicBezTo>
                      <a:pt x="81" y="96"/>
                      <a:pt x="78" y="95"/>
                      <a:pt x="76" y="95"/>
                    </a:cubicBezTo>
                    <a:cubicBezTo>
                      <a:pt x="75" y="94"/>
                      <a:pt x="74" y="92"/>
                      <a:pt x="74" y="90"/>
                    </a:cubicBezTo>
                    <a:cubicBezTo>
                      <a:pt x="75" y="89"/>
                      <a:pt x="83" y="89"/>
                      <a:pt x="86" y="89"/>
                    </a:cubicBezTo>
                    <a:cubicBezTo>
                      <a:pt x="89" y="89"/>
                      <a:pt x="95" y="87"/>
                      <a:pt x="95" y="86"/>
                    </a:cubicBezTo>
                    <a:cubicBezTo>
                      <a:pt x="95" y="86"/>
                      <a:pt x="96" y="84"/>
                      <a:pt x="94" y="82"/>
                    </a:cubicBezTo>
                    <a:cubicBezTo>
                      <a:pt x="92" y="81"/>
                      <a:pt x="92" y="78"/>
                      <a:pt x="94" y="76"/>
                    </a:cubicBezTo>
                    <a:cubicBezTo>
                      <a:pt x="96" y="74"/>
                      <a:pt x="93" y="72"/>
                      <a:pt x="91" y="70"/>
                    </a:cubicBezTo>
                    <a:cubicBezTo>
                      <a:pt x="89" y="68"/>
                      <a:pt x="91" y="59"/>
                      <a:pt x="93" y="55"/>
                    </a:cubicBezTo>
                    <a:cubicBezTo>
                      <a:pt x="95" y="51"/>
                      <a:pt x="88" y="52"/>
                      <a:pt x="84" y="53"/>
                    </a:cubicBezTo>
                    <a:cubicBezTo>
                      <a:pt x="79" y="53"/>
                      <a:pt x="75" y="52"/>
                      <a:pt x="72" y="48"/>
                    </a:cubicBezTo>
                    <a:cubicBezTo>
                      <a:pt x="69" y="44"/>
                      <a:pt x="65" y="47"/>
                      <a:pt x="59" y="47"/>
                    </a:cubicBezTo>
                    <a:cubicBezTo>
                      <a:pt x="52" y="47"/>
                      <a:pt x="53" y="39"/>
                      <a:pt x="53" y="36"/>
                    </a:cubicBezTo>
                    <a:cubicBezTo>
                      <a:pt x="54" y="33"/>
                      <a:pt x="50" y="33"/>
                      <a:pt x="50" y="31"/>
                    </a:cubicBezTo>
                    <a:cubicBezTo>
                      <a:pt x="50" y="29"/>
                      <a:pt x="48" y="29"/>
                      <a:pt x="46" y="29"/>
                    </a:cubicBezTo>
                    <a:cubicBezTo>
                      <a:pt x="44" y="29"/>
                      <a:pt x="46" y="27"/>
                      <a:pt x="47" y="25"/>
                    </a:cubicBezTo>
                    <a:cubicBezTo>
                      <a:pt x="48" y="24"/>
                      <a:pt x="48" y="23"/>
                      <a:pt x="48" y="19"/>
                    </a:cubicBezTo>
                    <a:cubicBezTo>
                      <a:pt x="49" y="16"/>
                      <a:pt x="53" y="13"/>
                      <a:pt x="55" y="10"/>
                    </a:cubicBezTo>
                    <a:cubicBezTo>
                      <a:pt x="56" y="9"/>
                      <a:pt x="57" y="9"/>
                      <a:pt x="58" y="9"/>
                    </a:cubicBezTo>
                    <a:cubicBezTo>
                      <a:pt x="58" y="8"/>
                      <a:pt x="59" y="7"/>
                      <a:pt x="60" y="7"/>
                    </a:cubicBezTo>
                    <a:cubicBezTo>
                      <a:pt x="63" y="6"/>
                      <a:pt x="65" y="4"/>
                      <a:pt x="62" y="2"/>
                    </a:cubicBezTo>
                    <a:cubicBezTo>
                      <a:pt x="58" y="0"/>
                      <a:pt x="57" y="6"/>
                      <a:pt x="53" y="6"/>
                    </a:cubicBezTo>
                    <a:cubicBezTo>
                      <a:pt x="49" y="7"/>
                      <a:pt x="48" y="9"/>
                      <a:pt x="46" y="11"/>
                    </a:cubicBezTo>
                    <a:cubicBezTo>
                      <a:pt x="43" y="12"/>
                      <a:pt x="39" y="11"/>
                      <a:pt x="38" y="13"/>
                    </a:cubicBezTo>
                    <a:cubicBezTo>
                      <a:pt x="38" y="15"/>
                      <a:pt x="37" y="13"/>
                      <a:pt x="35" y="12"/>
                    </a:cubicBezTo>
                    <a:cubicBezTo>
                      <a:pt x="33" y="12"/>
                      <a:pt x="27" y="17"/>
                      <a:pt x="27" y="19"/>
                    </a:cubicBezTo>
                    <a:cubicBezTo>
                      <a:pt x="27" y="22"/>
                      <a:pt x="28" y="24"/>
                      <a:pt x="24" y="27"/>
                    </a:cubicBezTo>
                    <a:cubicBezTo>
                      <a:pt x="20" y="29"/>
                      <a:pt x="18" y="34"/>
                      <a:pt x="16" y="36"/>
                    </a:cubicBezTo>
                    <a:cubicBezTo>
                      <a:pt x="16" y="37"/>
                      <a:pt x="15" y="37"/>
                      <a:pt x="15" y="37"/>
                    </a:cubicBezTo>
                    <a:cubicBezTo>
                      <a:pt x="14" y="38"/>
                      <a:pt x="14" y="39"/>
                      <a:pt x="14" y="39"/>
                    </a:cubicBezTo>
                    <a:cubicBezTo>
                      <a:pt x="13" y="40"/>
                      <a:pt x="10" y="42"/>
                      <a:pt x="8" y="44"/>
                    </a:cubicBezTo>
                    <a:cubicBezTo>
                      <a:pt x="9" y="45"/>
                      <a:pt x="10" y="46"/>
                      <a:pt x="11" y="47"/>
                    </a:cubicBezTo>
                    <a:cubicBezTo>
                      <a:pt x="13" y="50"/>
                      <a:pt x="12" y="52"/>
                      <a:pt x="12" y="53"/>
                    </a:cubicBezTo>
                    <a:cubicBezTo>
                      <a:pt x="13" y="55"/>
                      <a:pt x="14" y="57"/>
                      <a:pt x="12" y="58"/>
                    </a:cubicBezTo>
                    <a:cubicBezTo>
                      <a:pt x="11" y="58"/>
                      <a:pt x="12" y="68"/>
                      <a:pt x="14" y="70"/>
                    </a:cubicBezTo>
                    <a:cubicBezTo>
                      <a:pt x="15" y="72"/>
                      <a:pt x="14" y="73"/>
                      <a:pt x="12" y="77"/>
                    </a:cubicBezTo>
                    <a:cubicBezTo>
                      <a:pt x="10" y="81"/>
                      <a:pt x="9" y="82"/>
                      <a:pt x="5" y="82"/>
                    </a:cubicBezTo>
                    <a:cubicBezTo>
                      <a:pt x="2" y="83"/>
                      <a:pt x="2" y="88"/>
                      <a:pt x="1" y="88"/>
                    </a:cubicBezTo>
                    <a:cubicBezTo>
                      <a:pt x="0" y="88"/>
                      <a:pt x="0" y="89"/>
                      <a:pt x="0" y="91"/>
                    </a:cubicBezTo>
                    <a:cubicBezTo>
                      <a:pt x="3" y="93"/>
                      <a:pt x="8" y="96"/>
                      <a:pt x="10" y="96"/>
                    </a:cubicBezTo>
                    <a:cubicBezTo>
                      <a:pt x="11" y="96"/>
                      <a:pt x="12" y="99"/>
                      <a:pt x="15" y="10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8" name="Freeform 115">
                <a:extLst>
                  <a:ext uri="{FF2B5EF4-FFF2-40B4-BE49-F238E27FC236}">
                    <a16:creationId xmlns:a16="http://schemas.microsoft.com/office/drawing/2014/main" id="{51396BE7-D131-40D1-A7E9-8BA8F52C49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18564" y="4270479"/>
                <a:ext cx="228360" cy="258473"/>
              </a:xfrm>
              <a:custGeom>
                <a:avLst/>
                <a:gdLst>
                  <a:gd name="T0" fmla="*/ 98 w 99"/>
                  <a:gd name="T1" fmla="*/ 67 h 112"/>
                  <a:gd name="T2" fmla="*/ 93 w 99"/>
                  <a:gd name="T3" fmla="*/ 59 h 112"/>
                  <a:gd name="T4" fmla="*/ 86 w 99"/>
                  <a:gd name="T5" fmla="*/ 55 h 112"/>
                  <a:gd name="T6" fmla="*/ 78 w 99"/>
                  <a:gd name="T7" fmla="*/ 51 h 112"/>
                  <a:gd name="T8" fmla="*/ 77 w 99"/>
                  <a:gd name="T9" fmla="*/ 44 h 112"/>
                  <a:gd name="T10" fmla="*/ 76 w 99"/>
                  <a:gd name="T11" fmla="*/ 38 h 112"/>
                  <a:gd name="T12" fmla="*/ 72 w 99"/>
                  <a:gd name="T13" fmla="*/ 33 h 112"/>
                  <a:gd name="T14" fmla="*/ 64 w 99"/>
                  <a:gd name="T15" fmla="*/ 31 h 112"/>
                  <a:gd name="T16" fmla="*/ 57 w 99"/>
                  <a:gd name="T17" fmla="*/ 28 h 112"/>
                  <a:gd name="T18" fmla="*/ 54 w 99"/>
                  <a:gd name="T19" fmla="*/ 25 h 112"/>
                  <a:gd name="T20" fmla="*/ 48 w 99"/>
                  <a:gd name="T21" fmla="*/ 24 h 112"/>
                  <a:gd name="T22" fmla="*/ 38 w 99"/>
                  <a:gd name="T23" fmla="*/ 18 h 112"/>
                  <a:gd name="T24" fmla="*/ 36 w 99"/>
                  <a:gd name="T25" fmla="*/ 2 h 112"/>
                  <a:gd name="T26" fmla="*/ 28 w 99"/>
                  <a:gd name="T27" fmla="*/ 2 h 112"/>
                  <a:gd name="T28" fmla="*/ 19 w 99"/>
                  <a:gd name="T29" fmla="*/ 6 h 112"/>
                  <a:gd name="T30" fmla="*/ 12 w 99"/>
                  <a:gd name="T31" fmla="*/ 10 h 112"/>
                  <a:gd name="T32" fmla="*/ 5 w 99"/>
                  <a:gd name="T33" fmla="*/ 11 h 112"/>
                  <a:gd name="T34" fmla="*/ 2 w 99"/>
                  <a:gd name="T35" fmla="*/ 11 h 112"/>
                  <a:gd name="T36" fmla="*/ 8 w 99"/>
                  <a:gd name="T37" fmla="*/ 22 h 112"/>
                  <a:gd name="T38" fmla="*/ 6 w 99"/>
                  <a:gd name="T39" fmla="*/ 26 h 112"/>
                  <a:gd name="T40" fmla="*/ 6 w 99"/>
                  <a:gd name="T41" fmla="*/ 38 h 112"/>
                  <a:gd name="T42" fmla="*/ 4 w 99"/>
                  <a:gd name="T43" fmla="*/ 44 h 112"/>
                  <a:gd name="T44" fmla="*/ 3 w 99"/>
                  <a:gd name="T45" fmla="*/ 51 h 112"/>
                  <a:gd name="T46" fmla="*/ 6 w 99"/>
                  <a:gd name="T47" fmla="*/ 55 h 112"/>
                  <a:gd name="T48" fmla="*/ 1 w 99"/>
                  <a:gd name="T49" fmla="*/ 61 h 112"/>
                  <a:gd name="T50" fmla="*/ 1 w 99"/>
                  <a:gd name="T51" fmla="*/ 65 h 112"/>
                  <a:gd name="T52" fmla="*/ 4 w 99"/>
                  <a:gd name="T53" fmla="*/ 69 h 112"/>
                  <a:gd name="T54" fmla="*/ 6 w 99"/>
                  <a:gd name="T55" fmla="*/ 77 h 112"/>
                  <a:gd name="T56" fmla="*/ 9 w 99"/>
                  <a:gd name="T57" fmla="*/ 82 h 112"/>
                  <a:gd name="T58" fmla="*/ 8 w 99"/>
                  <a:gd name="T59" fmla="*/ 87 h 112"/>
                  <a:gd name="T60" fmla="*/ 10 w 99"/>
                  <a:gd name="T61" fmla="*/ 94 h 112"/>
                  <a:gd name="T62" fmla="*/ 13 w 99"/>
                  <a:gd name="T63" fmla="*/ 101 h 112"/>
                  <a:gd name="T64" fmla="*/ 15 w 99"/>
                  <a:gd name="T65" fmla="*/ 110 h 112"/>
                  <a:gd name="T66" fmla="*/ 26 w 99"/>
                  <a:gd name="T67" fmla="*/ 104 h 112"/>
                  <a:gd name="T68" fmla="*/ 33 w 99"/>
                  <a:gd name="T69" fmla="*/ 104 h 112"/>
                  <a:gd name="T70" fmla="*/ 42 w 99"/>
                  <a:gd name="T71" fmla="*/ 107 h 112"/>
                  <a:gd name="T72" fmla="*/ 47 w 99"/>
                  <a:gd name="T73" fmla="*/ 103 h 112"/>
                  <a:gd name="T74" fmla="*/ 58 w 99"/>
                  <a:gd name="T75" fmla="*/ 103 h 112"/>
                  <a:gd name="T76" fmla="*/ 60 w 99"/>
                  <a:gd name="T77" fmla="*/ 90 h 112"/>
                  <a:gd name="T78" fmla="*/ 67 w 99"/>
                  <a:gd name="T79" fmla="*/ 83 h 112"/>
                  <a:gd name="T80" fmla="*/ 76 w 99"/>
                  <a:gd name="T81" fmla="*/ 81 h 112"/>
                  <a:gd name="T82" fmla="*/ 86 w 99"/>
                  <a:gd name="T83" fmla="*/ 80 h 112"/>
                  <a:gd name="T84" fmla="*/ 93 w 99"/>
                  <a:gd name="T85" fmla="*/ 83 h 112"/>
                  <a:gd name="T86" fmla="*/ 97 w 99"/>
                  <a:gd name="T87" fmla="*/ 77 h 112"/>
                  <a:gd name="T88" fmla="*/ 98 w 99"/>
                  <a:gd name="T89" fmla="*/ 67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99" h="112">
                    <a:moveTo>
                      <a:pt x="98" y="67"/>
                    </a:moveTo>
                    <a:cubicBezTo>
                      <a:pt x="97" y="63"/>
                      <a:pt x="93" y="63"/>
                      <a:pt x="93" y="59"/>
                    </a:cubicBezTo>
                    <a:cubicBezTo>
                      <a:pt x="93" y="55"/>
                      <a:pt x="92" y="55"/>
                      <a:pt x="86" y="55"/>
                    </a:cubicBezTo>
                    <a:cubicBezTo>
                      <a:pt x="81" y="55"/>
                      <a:pt x="78" y="54"/>
                      <a:pt x="78" y="51"/>
                    </a:cubicBezTo>
                    <a:cubicBezTo>
                      <a:pt x="77" y="48"/>
                      <a:pt x="74" y="46"/>
                      <a:pt x="77" y="44"/>
                    </a:cubicBezTo>
                    <a:cubicBezTo>
                      <a:pt x="79" y="43"/>
                      <a:pt x="75" y="41"/>
                      <a:pt x="76" y="38"/>
                    </a:cubicBezTo>
                    <a:cubicBezTo>
                      <a:pt x="76" y="35"/>
                      <a:pt x="74" y="34"/>
                      <a:pt x="72" y="33"/>
                    </a:cubicBezTo>
                    <a:cubicBezTo>
                      <a:pt x="71" y="31"/>
                      <a:pt x="64" y="33"/>
                      <a:pt x="64" y="31"/>
                    </a:cubicBezTo>
                    <a:cubicBezTo>
                      <a:pt x="64" y="28"/>
                      <a:pt x="59" y="28"/>
                      <a:pt x="57" y="28"/>
                    </a:cubicBezTo>
                    <a:cubicBezTo>
                      <a:pt x="55" y="28"/>
                      <a:pt x="56" y="25"/>
                      <a:pt x="54" y="25"/>
                    </a:cubicBezTo>
                    <a:cubicBezTo>
                      <a:pt x="51" y="25"/>
                      <a:pt x="52" y="23"/>
                      <a:pt x="48" y="24"/>
                    </a:cubicBezTo>
                    <a:cubicBezTo>
                      <a:pt x="44" y="24"/>
                      <a:pt x="42" y="22"/>
                      <a:pt x="38" y="18"/>
                    </a:cubicBezTo>
                    <a:cubicBezTo>
                      <a:pt x="35" y="13"/>
                      <a:pt x="35" y="5"/>
                      <a:pt x="36" y="2"/>
                    </a:cubicBezTo>
                    <a:cubicBezTo>
                      <a:pt x="37" y="0"/>
                      <a:pt x="31" y="2"/>
                      <a:pt x="28" y="2"/>
                    </a:cubicBezTo>
                    <a:cubicBezTo>
                      <a:pt x="25" y="2"/>
                      <a:pt x="22" y="4"/>
                      <a:pt x="19" y="6"/>
                    </a:cubicBezTo>
                    <a:cubicBezTo>
                      <a:pt x="15" y="8"/>
                      <a:pt x="13" y="8"/>
                      <a:pt x="12" y="10"/>
                    </a:cubicBezTo>
                    <a:cubicBezTo>
                      <a:pt x="10" y="11"/>
                      <a:pt x="8" y="12"/>
                      <a:pt x="5" y="11"/>
                    </a:cubicBezTo>
                    <a:cubicBezTo>
                      <a:pt x="4" y="11"/>
                      <a:pt x="3" y="11"/>
                      <a:pt x="2" y="11"/>
                    </a:cubicBezTo>
                    <a:cubicBezTo>
                      <a:pt x="4" y="14"/>
                      <a:pt x="7" y="20"/>
                      <a:pt x="8" y="22"/>
                    </a:cubicBezTo>
                    <a:cubicBezTo>
                      <a:pt x="9" y="25"/>
                      <a:pt x="7" y="25"/>
                      <a:pt x="6" y="26"/>
                    </a:cubicBezTo>
                    <a:cubicBezTo>
                      <a:pt x="5" y="27"/>
                      <a:pt x="6" y="36"/>
                      <a:pt x="6" y="38"/>
                    </a:cubicBezTo>
                    <a:cubicBezTo>
                      <a:pt x="7" y="40"/>
                      <a:pt x="3" y="43"/>
                      <a:pt x="4" y="44"/>
                    </a:cubicBezTo>
                    <a:cubicBezTo>
                      <a:pt x="6" y="46"/>
                      <a:pt x="3" y="49"/>
                      <a:pt x="3" y="51"/>
                    </a:cubicBezTo>
                    <a:cubicBezTo>
                      <a:pt x="3" y="53"/>
                      <a:pt x="6" y="53"/>
                      <a:pt x="6" y="55"/>
                    </a:cubicBezTo>
                    <a:cubicBezTo>
                      <a:pt x="6" y="57"/>
                      <a:pt x="3" y="61"/>
                      <a:pt x="1" y="61"/>
                    </a:cubicBezTo>
                    <a:cubicBezTo>
                      <a:pt x="0" y="62"/>
                      <a:pt x="0" y="63"/>
                      <a:pt x="1" y="65"/>
                    </a:cubicBezTo>
                    <a:cubicBezTo>
                      <a:pt x="1" y="65"/>
                      <a:pt x="2" y="67"/>
                      <a:pt x="4" y="69"/>
                    </a:cubicBezTo>
                    <a:cubicBezTo>
                      <a:pt x="7" y="71"/>
                      <a:pt x="4" y="74"/>
                      <a:pt x="6" y="77"/>
                    </a:cubicBezTo>
                    <a:cubicBezTo>
                      <a:pt x="8" y="80"/>
                      <a:pt x="11" y="80"/>
                      <a:pt x="9" y="82"/>
                    </a:cubicBezTo>
                    <a:cubicBezTo>
                      <a:pt x="8" y="83"/>
                      <a:pt x="9" y="86"/>
                      <a:pt x="8" y="87"/>
                    </a:cubicBezTo>
                    <a:cubicBezTo>
                      <a:pt x="6" y="89"/>
                      <a:pt x="8" y="93"/>
                      <a:pt x="10" y="94"/>
                    </a:cubicBezTo>
                    <a:cubicBezTo>
                      <a:pt x="13" y="95"/>
                      <a:pt x="11" y="99"/>
                      <a:pt x="13" y="101"/>
                    </a:cubicBezTo>
                    <a:cubicBezTo>
                      <a:pt x="15" y="104"/>
                      <a:pt x="14" y="109"/>
                      <a:pt x="15" y="110"/>
                    </a:cubicBezTo>
                    <a:cubicBezTo>
                      <a:pt x="16" y="112"/>
                      <a:pt x="22" y="108"/>
                      <a:pt x="26" y="104"/>
                    </a:cubicBezTo>
                    <a:cubicBezTo>
                      <a:pt x="30" y="100"/>
                      <a:pt x="30" y="103"/>
                      <a:pt x="33" y="104"/>
                    </a:cubicBezTo>
                    <a:cubicBezTo>
                      <a:pt x="37" y="104"/>
                      <a:pt x="41" y="104"/>
                      <a:pt x="42" y="107"/>
                    </a:cubicBezTo>
                    <a:cubicBezTo>
                      <a:pt x="44" y="111"/>
                      <a:pt x="46" y="104"/>
                      <a:pt x="47" y="103"/>
                    </a:cubicBezTo>
                    <a:cubicBezTo>
                      <a:pt x="48" y="101"/>
                      <a:pt x="57" y="103"/>
                      <a:pt x="58" y="103"/>
                    </a:cubicBezTo>
                    <a:cubicBezTo>
                      <a:pt x="59" y="102"/>
                      <a:pt x="61" y="92"/>
                      <a:pt x="60" y="90"/>
                    </a:cubicBezTo>
                    <a:cubicBezTo>
                      <a:pt x="60" y="89"/>
                      <a:pt x="64" y="85"/>
                      <a:pt x="67" y="83"/>
                    </a:cubicBezTo>
                    <a:cubicBezTo>
                      <a:pt x="69" y="81"/>
                      <a:pt x="74" y="82"/>
                      <a:pt x="76" y="81"/>
                    </a:cubicBezTo>
                    <a:cubicBezTo>
                      <a:pt x="79" y="80"/>
                      <a:pt x="82" y="80"/>
                      <a:pt x="86" y="80"/>
                    </a:cubicBezTo>
                    <a:cubicBezTo>
                      <a:pt x="89" y="80"/>
                      <a:pt x="91" y="83"/>
                      <a:pt x="93" y="83"/>
                    </a:cubicBezTo>
                    <a:cubicBezTo>
                      <a:pt x="95" y="83"/>
                      <a:pt x="97" y="80"/>
                      <a:pt x="97" y="77"/>
                    </a:cubicBezTo>
                    <a:cubicBezTo>
                      <a:pt x="96" y="75"/>
                      <a:pt x="99" y="71"/>
                      <a:pt x="98" y="6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9" name="Freeform 116">
                <a:extLst>
                  <a:ext uri="{FF2B5EF4-FFF2-40B4-BE49-F238E27FC236}">
                    <a16:creationId xmlns:a16="http://schemas.microsoft.com/office/drawing/2014/main" id="{E8319A9F-CD41-4CD4-91DC-0CDBCF7F1E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8987" y="4091053"/>
                <a:ext cx="239653" cy="348814"/>
              </a:xfrm>
              <a:custGeom>
                <a:avLst/>
                <a:gdLst>
                  <a:gd name="T0" fmla="*/ 95 w 104"/>
                  <a:gd name="T1" fmla="*/ 143 h 151"/>
                  <a:gd name="T2" fmla="*/ 96 w 104"/>
                  <a:gd name="T3" fmla="*/ 143 h 151"/>
                  <a:gd name="T4" fmla="*/ 96 w 104"/>
                  <a:gd name="T5" fmla="*/ 139 h 151"/>
                  <a:gd name="T6" fmla="*/ 101 w 104"/>
                  <a:gd name="T7" fmla="*/ 133 h 151"/>
                  <a:gd name="T8" fmla="*/ 98 w 104"/>
                  <a:gd name="T9" fmla="*/ 129 h 151"/>
                  <a:gd name="T10" fmla="*/ 99 w 104"/>
                  <a:gd name="T11" fmla="*/ 122 h 151"/>
                  <a:gd name="T12" fmla="*/ 101 w 104"/>
                  <a:gd name="T13" fmla="*/ 116 h 151"/>
                  <a:gd name="T14" fmla="*/ 101 w 104"/>
                  <a:gd name="T15" fmla="*/ 104 h 151"/>
                  <a:gd name="T16" fmla="*/ 103 w 104"/>
                  <a:gd name="T17" fmla="*/ 100 h 151"/>
                  <a:gd name="T18" fmla="*/ 97 w 104"/>
                  <a:gd name="T19" fmla="*/ 89 h 151"/>
                  <a:gd name="T20" fmla="*/ 89 w 104"/>
                  <a:gd name="T21" fmla="*/ 89 h 151"/>
                  <a:gd name="T22" fmla="*/ 88 w 104"/>
                  <a:gd name="T23" fmla="*/ 79 h 151"/>
                  <a:gd name="T24" fmla="*/ 84 w 104"/>
                  <a:gd name="T25" fmla="*/ 79 h 151"/>
                  <a:gd name="T26" fmla="*/ 75 w 104"/>
                  <a:gd name="T27" fmla="*/ 81 h 151"/>
                  <a:gd name="T28" fmla="*/ 71 w 104"/>
                  <a:gd name="T29" fmla="*/ 76 h 151"/>
                  <a:gd name="T30" fmla="*/ 67 w 104"/>
                  <a:gd name="T31" fmla="*/ 73 h 151"/>
                  <a:gd name="T32" fmla="*/ 64 w 104"/>
                  <a:gd name="T33" fmla="*/ 66 h 151"/>
                  <a:gd name="T34" fmla="*/ 62 w 104"/>
                  <a:gd name="T35" fmla="*/ 59 h 151"/>
                  <a:gd name="T36" fmla="*/ 63 w 104"/>
                  <a:gd name="T37" fmla="*/ 54 h 151"/>
                  <a:gd name="T38" fmla="*/ 66 w 104"/>
                  <a:gd name="T39" fmla="*/ 50 h 151"/>
                  <a:gd name="T40" fmla="*/ 69 w 104"/>
                  <a:gd name="T41" fmla="*/ 42 h 151"/>
                  <a:gd name="T42" fmla="*/ 76 w 104"/>
                  <a:gd name="T43" fmla="*/ 37 h 151"/>
                  <a:gd name="T44" fmla="*/ 86 w 104"/>
                  <a:gd name="T45" fmla="*/ 34 h 151"/>
                  <a:gd name="T46" fmla="*/ 92 w 104"/>
                  <a:gd name="T47" fmla="*/ 33 h 151"/>
                  <a:gd name="T48" fmla="*/ 88 w 104"/>
                  <a:gd name="T49" fmla="*/ 29 h 151"/>
                  <a:gd name="T50" fmla="*/ 92 w 104"/>
                  <a:gd name="T51" fmla="*/ 23 h 151"/>
                  <a:gd name="T52" fmla="*/ 86 w 104"/>
                  <a:gd name="T53" fmla="*/ 18 h 151"/>
                  <a:gd name="T54" fmla="*/ 81 w 104"/>
                  <a:gd name="T55" fmla="*/ 18 h 151"/>
                  <a:gd name="T56" fmla="*/ 76 w 104"/>
                  <a:gd name="T57" fmla="*/ 19 h 151"/>
                  <a:gd name="T58" fmla="*/ 67 w 104"/>
                  <a:gd name="T59" fmla="*/ 18 h 151"/>
                  <a:gd name="T60" fmla="*/ 64 w 104"/>
                  <a:gd name="T61" fmla="*/ 13 h 151"/>
                  <a:gd name="T62" fmla="*/ 59 w 104"/>
                  <a:gd name="T63" fmla="*/ 8 h 151"/>
                  <a:gd name="T64" fmla="*/ 54 w 104"/>
                  <a:gd name="T65" fmla="*/ 1 h 151"/>
                  <a:gd name="T66" fmla="*/ 47 w 104"/>
                  <a:gd name="T67" fmla="*/ 1 h 151"/>
                  <a:gd name="T68" fmla="*/ 49 w 104"/>
                  <a:gd name="T69" fmla="*/ 7 h 151"/>
                  <a:gd name="T70" fmla="*/ 44 w 104"/>
                  <a:gd name="T71" fmla="*/ 15 h 151"/>
                  <a:gd name="T72" fmla="*/ 28 w 104"/>
                  <a:gd name="T73" fmla="*/ 24 h 151"/>
                  <a:gd name="T74" fmla="*/ 21 w 104"/>
                  <a:gd name="T75" fmla="*/ 36 h 151"/>
                  <a:gd name="T76" fmla="*/ 15 w 104"/>
                  <a:gd name="T77" fmla="*/ 37 h 151"/>
                  <a:gd name="T78" fmla="*/ 9 w 104"/>
                  <a:gd name="T79" fmla="*/ 35 h 151"/>
                  <a:gd name="T80" fmla="*/ 9 w 104"/>
                  <a:gd name="T81" fmla="*/ 31 h 151"/>
                  <a:gd name="T82" fmla="*/ 8 w 104"/>
                  <a:gd name="T83" fmla="*/ 27 h 151"/>
                  <a:gd name="T84" fmla="*/ 1 w 104"/>
                  <a:gd name="T85" fmla="*/ 34 h 151"/>
                  <a:gd name="T86" fmla="*/ 4 w 104"/>
                  <a:gd name="T87" fmla="*/ 45 h 151"/>
                  <a:gd name="T88" fmla="*/ 2 w 104"/>
                  <a:gd name="T89" fmla="*/ 47 h 151"/>
                  <a:gd name="T90" fmla="*/ 10 w 104"/>
                  <a:gd name="T91" fmla="*/ 54 h 151"/>
                  <a:gd name="T92" fmla="*/ 18 w 104"/>
                  <a:gd name="T93" fmla="*/ 65 h 151"/>
                  <a:gd name="T94" fmla="*/ 24 w 104"/>
                  <a:gd name="T95" fmla="*/ 77 h 151"/>
                  <a:gd name="T96" fmla="*/ 37 w 104"/>
                  <a:gd name="T97" fmla="*/ 101 h 151"/>
                  <a:gd name="T98" fmla="*/ 41 w 104"/>
                  <a:gd name="T99" fmla="*/ 111 h 151"/>
                  <a:gd name="T100" fmla="*/ 44 w 104"/>
                  <a:gd name="T101" fmla="*/ 119 h 151"/>
                  <a:gd name="T102" fmla="*/ 57 w 104"/>
                  <a:gd name="T103" fmla="*/ 128 h 151"/>
                  <a:gd name="T104" fmla="*/ 80 w 104"/>
                  <a:gd name="T105" fmla="*/ 142 h 151"/>
                  <a:gd name="T106" fmla="*/ 90 w 104"/>
                  <a:gd name="T107" fmla="*/ 149 h 151"/>
                  <a:gd name="T108" fmla="*/ 90 w 104"/>
                  <a:gd name="T109" fmla="*/ 151 h 151"/>
                  <a:gd name="T110" fmla="*/ 92 w 104"/>
                  <a:gd name="T111" fmla="*/ 149 h 151"/>
                  <a:gd name="T112" fmla="*/ 95 w 104"/>
                  <a:gd name="T113" fmla="*/ 143 h 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04" h="151">
                    <a:moveTo>
                      <a:pt x="95" y="143"/>
                    </a:moveTo>
                    <a:cubicBezTo>
                      <a:pt x="96" y="143"/>
                      <a:pt x="96" y="143"/>
                      <a:pt x="96" y="143"/>
                    </a:cubicBezTo>
                    <a:cubicBezTo>
                      <a:pt x="95" y="141"/>
                      <a:pt x="95" y="140"/>
                      <a:pt x="96" y="139"/>
                    </a:cubicBezTo>
                    <a:cubicBezTo>
                      <a:pt x="98" y="139"/>
                      <a:pt x="101" y="135"/>
                      <a:pt x="101" y="133"/>
                    </a:cubicBezTo>
                    <a:cubicBezTo>
                      <a:pt x="101" y="131"/>
                      <a:pt x="98" y="131"/>
                      <a:pt x="98" y="129"/>
                    </a:cubicBezTo>
                    <a:cubicBezTo>
                      <a:pt x="98" y="127"/>
                      <a:pt x="101" y="124"/>
                      <a:pt x="99" y="122"/>
                    </a:cubicBezTo>
                    <a:cubicBezTo>
                      <a:pt x="98" y="121"/>
                      <a:pt x="102" y="118"/>
                      <a:pt x="101" y="116"/>
                    </a:cubicBezTo>
                    <a:cubicBezTo>
                      <a:pt x="101" y="114"/>
                      <a:pt x="100" y="105"/>
                      <a:pt x="101" y="104"/>
                    </a:cubicBezTo>
                    <a:cubicBezTo>
                      <a:pt x="102" y="103"/>
                      <a:pt x="104" y="103"/>
                      <a:pt x="103" y="100"/>
                    </a:cubicBezTo>
                    <a:cubicBezTo>
                      <a:pt x="102" y="98"/>
                      <a:pt x="99" y="92"/>
                      <a:pt x="97" y="89"/>
                    </a:cubicBezTo>
                    <a:cubicBezTo>
                      <a:pt x="95" y="88"/>
                      <a:pt x="91" y="88"/>
                      <a:pt x="89" y="89"/>
                    </a:cubicBezTo>
                    <a:cubicBezTo>
                      <a:pt x="87" y="90"/>
                      <a:pt x="88" y="82"/>
                      <a:pt x="88" y="79"/>
                    </a:cubicBezTo>
                    <a:cubicBezTo>
                      <a:pt x="88" y="76"/>
                      <a:pt x="85" y="77"/>
                      <a:pt x="84" y="79"/>
                    </a:cubicBezTo>
                    <a:cubicBezTo>
                      <a:pt x="83" y="81"/>
                      <a:pt x="79" y="81"/>
                      <a:pt x="75" y="81"/>
                    </a:cubicBezTo>
                    <a:cubicBezTo>
                      <a:pt x="72" y="81"/>
                      <a:pt x="74" y="76"/>
                      <a:pt x="71" y="76"/>
                    </a:cubicBezTo>
                    <a:cubicBezTo>
                      <a:pt x="69" y="76"/>
                      <a:pt x="67" y="75"/>
                      <a:pt x="67" y="73"/>
                    </a:cubicBezTo>
                    <a:cubicBezTo>
                      <a:pt x="67" y="71"/>
                      <a:pt x="65" y="69"/>
                      <a:pt x="64" y="66"/>
                    </a:cubicBezTo>
                    <a:cubicBezTo>
                      <a:pt x="62" y="63"/>
                      <a:pt x="60" y="61"/>
                      <a:pt x="62" y="59"/>
                    </a:cubicBezTo>
                    <a:cubicBezTo>
                      <a:pt x="63" y="57"/>
                      <a:pt x="61" y="56"/>
                      <a:pt x="63" y="54"/>
                    </a:cubicBezTo>
                    <a:cubicBezTo>
                      <a:pt x="65" y="52"/>
                      <a:pt x="67" y="52"/>
                      <a:pt x="66" y="50"/>
                    </a:cubicBezTo>
                    <a:cubicBezTo>
                      <a:pt x="66" y="47"/>
                      <a:pt x="69" y="45"/>
                      <a:pt x="69" y="42"/>
                    </a:cubicBezTo>
                    <a:cubicBezTo>
                      <a:pt x="69" y="39"/>
                      <a:pt x="73" y="40"/>
                      <a:pt x="76" y="37"/>
                    </a:cubicBezTo>
                    <a:cubicBezTo>
                      <a:pt x="79" y="35"/>
                      <a:pt x="83" y="36"/>
                      <a:pt x="86" y="34"/>
                    </a:cubicBezTo>
                    <a:cubicBezTo>
                      <a:pt x="89" y="31"/>
                      <a:pt x="90" y="33"/>
                      <a:pt x="92" y="33"/>
                    </a:cubicBezTo>
                    <a:cubicBezTo>
                      <a:pt x="91" y="32"/>
                      <a:pt x="88" y="31"/>
                      <a:pt x="88" y="29"/>
                    </a:cubicBezTo>
                    <a:cubicBezTo>
                      <a:pt x="87" y="28"/>
                      <a:pt x="91" y="25"/>
                      <a:pt x="92" y="23"/>
                    </a:cubicBezTo>
                    <a:cubicBezTo>
                      <a:pt x="93" y="21"/>
                      <a:pt x="87" y="18"/>
                      <a:pt x="86" y="18"/>
                    </a:cubicBezTo>
                    <a:cubicBezTo>
                      <a:pt x="85" y="17"/>
                      <a:pt x="82" y="19"/>
                      <a:pt x="81" y="18"/>
                    </a:cubicBezTo>
                    <a:cubicBezTo>
                      <a:pt x="79" y="17"/>
                      <a:pt x="77" y="18"/>
                      <a:pt x="76" y="19"/>
                    </a:cubicBezTo>
                    <a:cubicBezTo>
                      <a:pt x="75" y="20"/>
                      <a:pt x="66" y="20"/>
                      <a:pt x="67" y="18"/>
                    </a:cubicBezTo>
                    <a:cubicBezTo>
                      <a:pt x="67" y="15"/>
                      <a:pt x="63" y="14"/>
                      <a:pt x="64" y="13"/>
                    </a:cubicBezTo>
                    <a:cubicBezTo>
                      <a:pt x="64" y="11"/>
                      <a:pt x="62" y="8"/>
                      <a:pt x="59" y="8"/>
                    </a:cubicBezTo>
                    <a:cubicBezTo>
                      <a:pt x="55" y="7"/>
                      <a:pt x="56" y="2"/>
                      <a:pt x="54" y="1"/>
                    </a:cubicBezTo>
                    <a:cubicBezTo>
                      <a:pt x="52" y="0"/>
                      <a:pt x="49" y="1"/>
                      <a:pt x="47" y="1"/>
                    </a:cubicBezTo>
                    <a:cubicBezTo>
                      <a:pt x="50" y="4"/>
                      <a:pt x="50" y="5"/>
                      <a:pt x="49" y="7"/>
                    </a:cubicBezTo>
                    <a:cubicBezTo>
                      <a:pt x="46" y="9"/>
                      <a:pt x="49" y="9"/>
                      <a:pt x="44" y="15"/>
                    </a:cubicBezTo>
                    <a:cubicBezTo>
                      <a:pt x="40" y="21"/>
                      <a:pt x="32" y="22"/>
                      <a:pt x="28" y="24"/>
                    </a:cubicBezTo>
                    <a:cubicBezTo>
                      <a:pt x="25" y="25"/>
                      <a:pt x="23" y="32"/>
                      <a:pt x="21" y="36"/>
                    </a:cubicBezTo>
                    <a:cubicBezTo>
                      <a:pt x="19" y="41"/>
                      <a:pt x="17" y="40"/>
                      <a:pt x="15" y="37"/>
                    </a:cubicBezTo>
                    <a:cubicBezTo>
                      <a:pt x="13" y="34"/>
                      <a:pt x="12" y="37"/>
                      <a:pt x="9" y="35"/>
                    </a:cubicBezTo>
                    <a:cubicBezTo>
                      <a:pt x="7" y="33"/>
                      <a:pt x="8" y="33"/>
                      <a:pt x="9" y="31"/>
                    </a:cubicBezTo>
                    <a:cubicBezTo>
                      <a:pt x="10" y="30"/>
                      <a:pt x="9" y="28"/>
                      <a:pt x="8" y="27"/>
                    </a:cubicBezTo>
                    <a:cubicBezTo>
                      <a:pt x="5" y="27"/>
                      <a:pt x="2" y="31"/>
                      <a:pt x="1" y="34"/>
                    </a:cubicBezTo>
                    <a:cubicBezTo>
                      <a:pt x="0" y="37"/>
                      <a:pt x="4" y="43"/>
                      <a:pt x="4" y="45"/>
                    </a:cubicBezTo>
                    <a:cubicBezTo>
                      <a:pt x="5" y="47"/>
                      <a:pt x="2" y="45"/>
                      <a:pt x="2" y="47"/>
                    </a:cubicBezTo>
                    <a:cubicBezTo>
                      <a:pt x="1" y="49"/>
                      <a:pt x="7" y="52"/>
                      <a:pt x="10" y="54"/>
                    </a:cubicBezTo>
                    <a:cubicBezTo>
                      <a:pt x="13" y="56"/>
                      <a:pt x="16" y="62"/>
                      <a:pt x="18" y="65"/>
                    </a:cubicBezTo>
                    <a:cubicBezTo>
                      <a:pt x="21" y="68"/>
                      <a:pt x="21" y="70"/>
                      <a:pt x="24" y="77"/>
                    </a:cubicBezTo>
                    <a:cubicBezTo>
                      <a:pt x="27" y="84"/>
                      <a:pt x="33" y="96"/>
                      <a:pt x="37" y="101"/>
                    </a:cubicBezTo>
                    <a:cubicBezTo>
                      <a:pt x="40" y="106"/>
                      <a:pt x="42" y="110"/>
                      <a:pt x="41" y="111"/>
                    </a:cubicBezTo>
                    <a:cubicBezTo>
                      <a:pt x="40" y="113"/>
                      <a:pt x="42" y="117"/>
                      <a:pt x="44" y="119"/>
                    </a:cubicBezTo>
                    <a:cubicBezTo>
                      <a:pt x="47" y="121"/>
                      <a:pt x="50" y="124"/>
                      <a:pt x="57" y="128"/>
                    </a:cubicBezTo>
                    <a:cubicBezTo>
                      <a:pt x="65" y="131"/>
                      <a:pt x="78" y="139"/>
                      <a:pt x="80" y="142"/>
                    </a:cubicBezTo>
                    <a:cubicBezTo>
                      <a:pt x="82" y="145"/>
                      <a:pt x="89" y="149"/>
                      <a:pt x="90" y="149"/>
                    </a:cubicBezTo>
                    <a:cubicBezTo>
                      <a:pt x="90" y="149"/>
                      <a:pt x="90" y="150"/>
                      <a:pt x="90" y="151"/>
                    </a:cubicBezTo>
                    <a:cubicBezTo>
                      <a:pt x="91" y="150"/>
                      <a:pt x="92" y="150"/>
                      <a:pt x="92" y="149"/>
                    </a:cubicBezTo>
                    <a:cubicBezTo>
                      <a:pt x="94" y="148"/>
                      <a:pt x="95" y="144"/>
                      <a:pt x="95" y="14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0" name="Freeform 117">
                <a:extLst>
                  <a:ext uri="{FF2B5EF4-FFF2-40B4-BE49-F238E27FC236}">
                    <a16:creationId xmlns:a16="http://schemas.microsoft.com/office/drawing/2014/main" id="{5E4708E0-AE1E-45EE-925E-74560B2A37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47044" y="3860183"/>
                <a:ext cx="258474" cy="217068"/>
              </a:xfrm>
              <a:custGeom>
                <a:avLst/>
                <a:gdLst>
                  <a:gd name="T0" fmla="*/ 11 w 112"/>
                  <a:gd name="T1" fmla="*/ 6 h 94"/>
                  <a:gd name="T2" fmla="*/ 4 w 112"/>
                  <a:gd name="T3" fmla="*/ 15 h 94"/>
                  <a:gd name="T4" fmla="*/ 3 w 112"/>
                  <a:gd name="T5" fmla="*/ 21 h 94"/>
                  <a:gd name="T6" fmla="*/ 2 w 112"/>
                  <a:gd name="T7" fmla="*/ 25 h 94"/>
                  <a:gd name="T8" fmla="*/ 6 w 112"/>
                  <a:gd name="T9" fmla="*/ 27 h 94"/>
                  <a:gd name="T10" fmla="*/ 9 w 112"/>
                  <a:gd name="T11" fmla="*/ 32 h 94"/>
                  <a:gd name="T12" fmla="*/ 15 w 112"/>
                  <a:gd name="T13" fmla="*/ 43 h 94"/>
                  <a:gd name="T14" fmla="*/ 28 w 112"/>
                  <a:gd name="T15" fmla="*/ 44 h 94"/>
                  <a:gd name="T16" fmla="*/ 40 w 112"/>
                  <a:gd name="T17" fmla="*/ 49 h 94"/>
                  <a:gd name="T18" fmla="*/ 49 w 112"/>
                  <a:gd name="T19" fmla="*/ 51 h 94"/>
                  <a:gd name="T20" fmla="*/ 47 w 112"/>
                  <a:gd name="T21" fmla="*/ 66 h 94"/>
                  <a:gd name="T22" fmla="*/ 50 w 112"/>
                  <a:gd name="T23" fmla="*/ 72 h 94"/>
                  <a:gd name="T24" fmla="*/ 50 w 112"/>
                  <a:gd name="T25" fmla="*/ 78 h 94"/>
                  <a:gd name="T26" fmla="*/ 51 w 112"/>
                  <a:gd name="T27" fmla="*/ 82 h 94"/>
                  <a:gd name="T28" fmla="*/ 50 w 112"/>
                  <a:gd name="T29" fmla="*/ 83 h 94"/>
                  <a:gd name="T30" fmla="*/ 56 w 112"/>
                  <a:gd name="T31" fmla="*/ 91 h 94"/>
                  <a:gd name="T32" fmla="*/ 61 w 112"/>
                  <a:gd name="T33" fmla="*/ 93 h 94"/>
                  <a:gd name="T34" fmla="*/ 65 w 112"/>
                  <a:gd name="T35" fmla="*/ 92 h 94"/>
                  <a:gd name="T36" fmla="*/ 71 w 112"/>
                  <a:gd name="T37" fmla="*/ 89 h 94"/>
                  <a:gd name="T38" fmla="*/ 76 w 112"/>
                  <a:gd name="T39" fmla="*/ 87 h 94"/>
                  <a:gd name="T40" fmla="*/ 81 w 112"/>
                  <a:gd name="T41" fmla="*/ 82 h 94"/>
                  <a:gd name="T42" fmla="*/ 82 w 112"/>
                  <a:gd name="T43" fmla="*/ 79 h 94"/>
                  <a:gd name="T44" fmla="*/ 78 w 112"/>
                  <a:gd name="T45" fmla="*/ 78 h 94"/>
                  <a:gd name="T46" fmla="*/ 76 w 112"/>
                  <a:gd name="T47" fmla="*/ 73 h 94"/>
                  <a:gd name="T48" fmla="*/ 72 w 112"/>
                  <a:gd name="T49" fmla="*/ 67 h 94"/>
                  <a:gd name="T50" fmla="*/ 78 w 112"/>
                  <a:gd name="T51" fmla="*/ 66 h 94"/>
                  <a:gd name="T52" fmla="*/ 85 w 112"/>
                  <a:gd name="T53" fmla="*/ 68 h 94"/>
                  <a:gd name="T54" fmla="*/ 88 w 112"/>
                  <a:gd name="T55" fmla="*/ 69 h 94"/>
                  <a:gd name="T56" fmla="*/ 93 w 112"/>
                  <a:gd name="T57" fmla="*/ 66 h 94"/>
                  <a:gd name="T58" fmla="*/ 103 w 112"/>
                  <a:gd name="T59" fmla="*/ 62 h 94"/>
                  <a:gd name="T60" fmla="*/ 106 w 112"/>
                  <a:gd name="T61" fmla="*/ 59 h 94"/>
                  <a:gd name="T62" fmla="*/ 100 w 112"/>
                  <a:gd name="T63" fmla="*/ 52 h 94"/>
                  <a:gd name="T64" fmla="*/ 101 w 112"/>
                  <a:gd name="T65" fmla="*/ 48 h 94"/>
                  <a:gd name="T66" fmla="*/ 105 w 112"/>
                  <a:gd name="T67" fmla="*/ 44 h 94"/>
                  <a:gd name="T68" fmla="*/ 106 w 112"/>
                  <a:gd name="T69" fmla="*/ 40 h 94"/>
                  <a:gd name="T70" fmla="*/ 109 w 112"/>
                  <a:gd name="T71" fmla="*/ 34 h 94"/>
                  <a:gd name="T72" fmla="*/ 112 w 112"/>
                  <a:gd name="T73" fmla="*/ 31 h 94"/>
                  <a:gd name="T74" fmla="*/ 100 w 112"/>
                  <a:gd name="T75" fmla="*/ 29 h 94"/>
                  <a:gd name="T76" fmla="*/ 102 w 112"/>
                  <a:gd name="T77" fmla="*/ 23 h 94"/>
                  <a:gd name="T78" fmla="*/ 90 w 112"/>
                  <a:gd name="T79" fmla="*/ 18 h 94"/>
                  <a:gd name="T80" fmla="*/ 92 w 112"/>
                  <a:gd name="T81" fmla="*/ 14 h 94"/>
                  <a:gd name="T82" fmla="*/ 85 w 112"/>
                  <a:gd name="T83" fmla="*/ 12 h 94"/>
                  <a:gd name="T84" fmla="*/ 69 w 112"/>
                  <a:gd name="T85" fmla="*/ 17 h 94"/>
                  <a:gd name="T86" fmla="*/ 54 w 112"/>
                  <a:gd name="T87" fmla="*/ 13 h 94"/>
                  <a:gd name="T88" fmla="*/ 44 w 112"/>
                  <a:gd name="T89" fmla="*/ 11 h 94"/>
                  <a:gd name="T90" fmla="*/ 37 w 112"/>
                  <a:gd name="T91" fmla="*/ 5 h 94"/>
                  <a:gd name="T92" fmla="*/ 31 w 112"/>
                  <a:gd name="T93" fmla="*/ 0 h 94"/>
                  <a:gd name="T94" fmla="*/ 28 w 112"/>
                  <a:gd name="T95" fmla="*/ 6 h 94"/>
                  <a:gd name="T96" fmla="*/ 17 w 112"/>
                  <a:gd name="T97" fmla="*/ 12 h 94"/>
                  <a:gd name="T98" fmla="*/ 20 w 112"/>
                  <a:gd name="T99" fmla="*/ 24 h 94"/>
                  <a:gd name="T100" fmla="*/ 11 w 112"/>
                  <a:gd name="T101" fmla="*/ 21 h 94"/>
                  <a:gd name="T102" fmla="*/ 15 w 112"/>
                  <a:gd name="T103" fmla="*/ 10 h 94"/>
                  <a:gd name="T104" fmla="*/ 14 w 112"/>
                  <a:gd name="T105" fmla="*/ 5 h 94"/>
                  <a:gd name="T106" fmla="*/ 11 w 112"/>
                  <a:gd name="T107" fmla="*/ 6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12" h="94">
                    <a:moveTo>
                      <a:pt x="11" y="6"/>
                    </a:moveTo>
                    <a:cubicBezTo>
                      <a:pt x="9" y="9"/>
                      <a:pt x="5" y="12"/>
                      <a:pt x="4" y="15"/>
                    </a:cubicBezTo>
                    <a:cubicBezTo>
                      <a:pt x="4" y="19"/>
                      <a:pt x="4" y="20"/>
                      <a:pt x="3" y="21"/>
                    </a:cubicBezTo>
                    <a:cubicBezTo>
                      <a:pt x="2" y="23"/>
                      <a:pt x="0" y="25"/>
                      <a:pt x="2" y="25"/>
                    </a:cubicBezTo>
                    <a:cubicBezTo>
                      <a:pt x="4" y="25"/>
                      <a:pt x="6" y="25"/>
                      <a:pt x="6" y="27"/>
                    </a:cubicBezTo>
                    <a:cubicBezTo>
                      <a:pt x="6" y="29"/>
                      <a:pt x="10" y="29"/>
                      <a:pt x="9" y="32"/>
                    </a:cubicBezTo>
                    <a:cubicBezTo>
                      <a:pt x="9" y="35"/>
                      <a:pt x="8" y="43"/>
                      <a:pt x="15" y="43"/>
                    </a:cubicBezTo>
                    <a:cubicBezTo>
                      <a:pt x="21" y="43"/>
                      <a:pt x="25" y="40"/>
                      <a:pt x="28" y="44"/>
                    </a:cubicBezTo>
                    <a:cubicBezTo>
                      <a:pt x="31" y="48"/>
                      <a:pt x="35" y="49"/>
                      <a:pt x="40" y="49"/>
                    </a:cubicBezTo>
                    <a:cubicBezTo>
                      <a:pt x="44" y="48"/>
                      <a:pt x="51" y="47"/>
                      <a:pt x="49" y="51"/>
                    </a:cubicBezTo>
                    <a:cubicBezTo>
                      <a:pt x="47" y="55"/>
                      <a:pt x="45" y="64"/>
                      <a:pt x="47" y="66"/>
                    </a:cubicBezTo>
                    <a:cubicBezTo>
                      <a:pt x="49" y="68"/>
                      <a:pt x="52" y="70"/>
                      <a:pt x="50" y="72"/>
                    </a:cubicBezTo>
                    <a:cubicBezTo>
                      <a:pt x="48" y="74"/>
                      <a:pt x="48" y="77"/>
                      <a:pt x="50" y="78"/>
                    </a:cubicBezTo>
                    <a:cubicBezTo>
                      <a:pt x="52" y="80"/>
                      <a:pt x="51" y="82"/>
                      <a:pt x="51" y="82"/>
                    </a:cubicBezTo>
                    <a:cubicBezTo>
                      <a:pt x="51" y="82"/>
                      <a:pt x="51" y="83"/>
                      <a:pt x="50" y="83"/>
                    </a:cubicBezTo>
                    <a:cubicBezTo>
                      <a:pt x="53" y="86"/>
                      <a:pt x="55" y="90"/>
                      <a:pt x="56" y="91"/>
                    </a:cubicBezTo>
                    <a:cubicBezTo>
                      <a:pt x="59" y="93"/>
                      <a:pt x="59" y="94"/>
                      <a:pt x="61" y="93"/>
                    </a:cubicBezTo>
                    <a:cubicBezTo>
                      <a:pt x="63" y="92"/>
                      <a:pt x="64" y="91"/>
                      <a:pt x="65" y="92"/>
                    </a:cubicBezTo>
                    <a:cubicBezTo>
                      <a:pt x="67" y="93"/>
                      <a:pt x="69" y="91"/>
                      <a:pt x="71" y="89"/>
                    </a:cubicBezTo>
                    <a:cubicBezTo>
                      <a:pt x="73" y="87"/>
                      <a:pt x="76" y="89"/>
                      <a:pt x="76" y="87"/>
                    </a:cubicBezTo>
                    <a:cubicBezTo>
                      <a:pt x="77" y="84"/>
                      <a:pt x="78" y="83"/>
                      <a:pt x="81" y="82"/>
                    </a:cubicBezTo>
                    <a:cubicBezTo>
                      <a:pt x="84" y="82"/>
                      <a:pt x="84" y="79"/>
                      <a:pt x="82" y="79"/>
                    </a:cubicBezTo>
                    <a:cubicBezTo>
                      <a:pt x="80" y="79"/>
                      <a:pt x="78" y="81"/>
                      <a:pt x="78" y="78"/>
                    </a:cubicBezTo>
                    <a:cubicBezTo>
                      <a:pt x="78" y="75"/>
                      <a:pt x="76" y="76"/>
                      <a:pt x="76" y="73"/>
                    </a:cubicBezTo>
                    <a:cubicBezTo>
                      <a:pt x="76" y="70"/>
                      <a:pt x="75" y="69"/>
                      <a:pt x="72" y="67"/>
                    </a:cubicBezTo>
                    <a:cubicBezTo>
                      <a:pt x="70" y="65"/>
                      <a:pt x="76" y="65"/>
                      <a:pt x="78" y="66"/>
                    </a:cubicBezTo>
                    <a:cubicBezTo>
                      <a:pt x="79" y="67"/>
                      <a:pt x="84" y="66"/>
                      <a:pt x="85" y="68"/>
                    </a:cubicBezTo>
                    <a:cubicBezTo>
                      <a:pt x="85" y="71"/>
                      <a:pt x="88" y="71"/>
                      <a:pt x="88" y="69"/>
                    </a:cubicBezTo>
                    <a:cubicBezTo>
                      <a:pt x="88" y="66"/>
                      <a:pt x="91" y="65"/>
                      <a:pt x="93" y="66"/>
                    </a:cubicBezTo>
                    <a:cubicBezTo>
                      <a:pt x="96" y="66"/>
                      <a:pt x="101" y="62"/>
                      <a:pt x="103" y="62"/>
                    </a:cubicBezTo>
                    <a:cubicBezTo>
                      <a:pt x="105" y="61"/>
                      <a:pt x="105" y="60"/>
                      <a:pt x="106" y="59"/>
                    </a:cubicBezTo>
                    <a:cubicBezTo>
                      <a:pt x="104" y="57"/>
                      <a:pt x="101" y="53"/>
                      <a:pt x="100" y="52"/>
                    </a:cubicBezTo>
                    <a:cubicBezTo>
                      <a:pt x="99" y="51"/>
                      <a:pt x="101" y="50"/>
                      <a:pt x="101" y="48"/>
                    </a:cubicBezTo>
                    <a:cubicBezTo>
                      <a:pt x="101" y="46"/>
                      <a:pt x="101" y="44"/>
                      <a:pt x="105" y="44"/>
                    </a:cubicBezTo>
                    <a:cubicBezTo>
                      <a:pt x="109" y="44"/>
                      <a:pt x="108" y="41"/>
                      <a:pt x="106" y="40"/>
                    </a:cubicBezTo>
                    <a:cubicBezTo>
                      <a:pt x="104" y="39"/>
                      <a:pt x="107" y="36"/>
                      <a:pt x="109" y="34"/>
                    </a:cubicBezTo>
                    <a:cubicBezTo>
                      <a:pt x="110" y="34"/>
                      <a:pt x="111" y="32"/>
                      <a:pt x="112" y="31"/>
                    </a:cubicBezTo>
                    <a:cubicBezTo>
                      <a:pt x="108" y="29"/>
                      <a:pt x="103" y="29"/>
                      <a:pt x="100" y="29"/>
                    </a:cubicBezTo>
                    <a:cubicBezTo>
                      <a:pt x="97" y="30"/>
                      <a:pt x="102" y="26"/>
                      <a:pt x="102" y="23"/>
                    </a:cubicBezTo>
                    <a:cubicBezTo>
                      <a:pt x="103" y="20"/>
                      <a:pt x="94" y="19"/>
                      <a:pt x="90" y="18"/>
                    </a:cubicBezTo>
                    <a:cubicBezTo>
                      <a:pt x="87" y="18"/>
                      <a:pt x="88" y="14"/>
                      <a:pt x="92" y="14"/>
                    </a:cubicBezTo>
                    <a:cubicBezTo>
                      <a:pt x="95" y="14"/>
                      <a:pt x="90" y="11"/>
                      <a:pt x="85" y="12"/>
                    </a:cubicBezTo>
                    <a:cubicBezTo>
                      <a:pt x="80" y="13"/>
                      <a:pt x="73" y="15"/>
                      <a:pt x="69" y="17"/>
                    </a:cubicBezTo>
                    <a:cubicBezTo>
                      <a:pt x="65" y="20"/>
                      <a:pt x="59" y="11"/>
                      <a:pt x="54" y="13"/>
                    </a:cubicBezTo>
                    <a:cubicBezTo>
                      <a:pt x="50" y="15"/>
                      <a:pt x="43" y="15"/>
                      <a:pt x="44" y="11"/>
                    </a:cubicBezTo>
                    <a:cubicBezTo>
                      <a:pt x="44" y="8"/>
                      <a:pt x="42" y="5"/>
                      <a:pt x="37" y="5"/>
                    </a:cubicBezTo>
                    <a:cubicBezTo>
                      <a:pt x="33" y="5"/>
                      <a:pt x="34" y="0"/>
                      <a:pt x="31" y="0"/>
                    </a:cubicBezTo>
                    <a:cubicBezTo>
                      <a:pt x="27" y="0"/>
                      <a:pt x="31" y="5"/>
                      <a:pt x="28" y="6"/>
                    </a:cubicBezTo>
                    <a:cubicBezTo>
                      <a:pt x="26" y="7"/>
                      <a:pt x="18" y="9"/>
                      <a:pt x="17" y="12"/>
                    </a:cubicBezTo>
                    <a:cubicBezTo>
                      <a:pt x="17" y="15"/>
                      <a:pt x="22" y="20"/>
                      <a:pt x="20" y="24"/>
                    </a:cubicBezTo>
                    <a:cubicBezTo>
                      <a:pt x="18" y="27"/>
                      <a:pt x="13" y="24"/>
                      <a:pt x="11" y="21"/>
                    </a:cubicBezTo>
                    <a:cubicBezTo>
                      <a:pt x="10" y="17"/>
                      <a:pt x="16" y="12"/>
                      <a:pt x="15" y="10"/>
                    </a:cubicBezTo>
                    <a:cubicBezTo>
                      <a:pt x="14" y="9"/>
                      <a:pt x="13" y="6"/>
                      <a:pt x="14" y="5"/>
                    </a:cubicBezTo>
                    <a:cubicBezTo>
                      <a:pt x="13" y="5"/>
                      <a:pt x="12" y="5"/>
                      <a:pt x="11" y="6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1" name="Freeform 118">
                <a:extLst>
                  <a:ext uri="{FF2B5EF4-FFF2-40B4-BE49-F238E27FC236}">
                    <a16:creationId xmlns:a16="http://schemas.microsoft.com/office/drawing/2014/main" id="{1F08A624-547B-48B0-8DC1-03FE5729F9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4376" y="3970599"/>
                <a:ext cx="81557" cy="85321"/>
              </a:xfrm>
              <a:custGeom>
                <a:avLst/>
                <a:gdLst>
                  <a:gd name="T0" fmla="*/ 9 w 35"/>
                  <a:gd name="T1" fmla="*/ 8 h 37"/>
                  <a:gd name="T2" fmla="*/ 5 w 35"/>
                  <a:gd name="T3" fmla="*/ 12 h 37"/>
                  <a:gd name="T4" fmla="*/ 2 w 35"/>
                  <a:gd name="T5" fmla="*/ 18 h 37"/>
                  <a:gd name="T6" fmla="*/ 8 w 35"/>
                  <a:gd name="T7" fmla="*/ 27 h 37"/>
                  <a:gd name="T8" fmla="*/ 13 w 35"/>
                  <a:gd name="T9" fmla="*/ 36 h 37"/>
                  <a:gd name="T10" fmla="*/ 17 w 35"/>
                  <a:gd name="T11" fmla="*/ 36 h 37"/>
                  <a:gd name="T12" fmla="*/ 20 w 35"/>
                  <a:gd name="T13" fmla="*/ 31 h 37"/>
                  <a:gd name="T14" fmla="*/ 29 w 35"/>
                  <a:gd name="T15" fmla="*/ 31 h 37"/>
                  <a:gd name="T16" fmla="*/ 30 w 35"/>
                  <a:gd name="T17" fmla="*/ 32 h 37"/>
                  <a:gd name="T18" fmla="*/ 33 w 35"/>
                  <a:gd name="T19" fmla="*/ 29 h 37"/>
                  <a:gd name="T20" fmla="*/ 32 w 35"/>
                  <a:gd name="T21" fmla="*/ 18 h 37"/>
                  <a:gd name="T22" fmla="*/ 33 w 35"/>
                  <a:gd name="T23" fmla="*/ 8 h 37"/>
                  <a:gd name="T24" fmla="*/ 35 w 35"/>
                  <a:gd name="T25" fmla="*/ 4 h 37"/>
                  <a:gd name="T26" fmla="*/ 27 w 35"/>
                  <a:gd name="T27" fmla="*/ 2 h 37"/>
                  <a:gd name="T28" fmla="*/ 16 w 35"/>
                  <a:gd name="T29" fmla="*/ 3 h 37"/>
                  <a:gd name="T30" fmla="*/ 10 w 35"/>
                  <a:gd name="T31" fmla="*/ 2 h 37"/>
                  <a:gd name="T32" fmla="*/ 9 w 35"/>
                  <a:gd name="T33" fmla="*/ 3 h 37"/>
                  <a:gd name="T34" fmla="*/ 9 w 35"/>
                  <a:gd name="T35" fmla="*/ 8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5" h="37">
                    <a:moveTo>
                      <a:pt x="9" y="8"/>
                    </a:moveTo>
                    <a:cubicBezTo>
                      <a:pt x="10" y="10"/>
                      <a:pt x="7" y="11"/>
                      <a:pt x="5" y="12"/>
                    </a:cubicBezTo>
                    <a:cubicBezTo>
                      <a:pt x="2" y="12"/>
                      <a:pt x="3" y="17"/>
                      <a:pt x="2" y="18"/>
                    </a:cubicBezTo>
                    <a:cubicBezTo>
                      <a:pt x="0" y="20"/>
                      <a:pt x="7" y="24"/>
                      <a:pt x="8" y="27"/>
                    </a:cubicBezTo>
                    <a:cubicBezTo>
                      <a:pt x="9" y="29"/>
                      <a:pt x="11" y="33"/>
                      <a:pt x="13" y="36"/>
                    </a:cubicBezTo>
                    <a:cubicBezTo>
                      <a:pt x="15" y="36"/>
                      <a:pt x="16" y="37"/>
                      <a:pt x="17" y="36"/>
                    </a:cubicBezTo>
                    <a:cubicBezTo>
                      <a:pt x="19" y="35"/>
                      <a:pt x="17" y="31"/>
                      <a:pt x="20" y="31"/>
                    </a:cubicBezTo>
                    <a:cubicBezTo>
                      <a:pt x="24" y="31"/>
                      <a:pt x="28" y="29"/>
                      <a:pt x="29" y="31"/>
                    </a:cubicBezTo>
                    <a:cubicBezTo>
                      <a:pt x="30" y="32"/>
                      <a:pt x="30" y="32"/>
                      <a:pt x="30" y="32"/>
                    </a:cubicBezTo>
                    <a:cubicBezTo>
                      <a:pt x="31" y="31"/>
                      <a:pt x="32" y="29"/>
                      <a:pt x="33" y="29"/>
                    </a:cubicBezTo>
                    <a:cubicBezTo>
                      <a:pt x="33" y="27"/>
                      <a:pt x="33" y="21"/>
                      <a:pt x="32" y="18"/>
                    </a:cubicBezTo>
                    <a:cubicBezTo>
                      <a:pt x="30" y="14"/>
                      <a:pt x="31" y="10"/>
                      <a:pt x="33" y="8"/>
                    </a:cubicBezTo>
                    <a:cubicBezTo>
                      <a:pt x="33" y="8"/>
                      <a:pt x="34" y="6"/>
                      <a:pt x="35" y="4"/>
                    </a:cubicBezTo>
                    <a:cubicBezTo>
                      <a:pt x="32" y="3"/>
                      <a:pt x="29" y="2"/>
                      <a:pt x="27" y="2"/>
                    </a:cubicBezTo>
                    <a:cubicBezTo>
                      <a:pt x="22" y="3"/>
                      <a:pt x="18" y="5"/>
                      <a:pt x="16" y="3"/>
                    </a:cubicBezTo>
                    <a:cubicBezTo>
                      <a:pt x="15" y="0"/>
                      <a:pt x="12" y="1"/>
                      <a:pt x="10" y="2"/>
                    </a:cubicBezTo>
                    <a:cubicBezTo>
                      <a:pt x="10" y="3"/>
                      <a:pt x="10" y="3"/>
                      <a:pt x="9" y="3"/>
                    </a:cubicBezTo>
                    <a:cubicBezTo>
                      <a:pt x="9" y="5"/>
                      <a:pt x="8" y="7"/>
                      <a:pt x="9" y="8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2" name="Freeform 119">
                <a:extLst>
                  <a:ext uri="{FF2B5EF4-FFF2-40B4-BE49-F238E27FC236}">
                    <a16:creationId xmlns:a16="http://schemas.microsoft.com/office/drawing/2014/main" id="{74E32B58-E4F8-4E88-A5CB-8EDD35949A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75404" y="3931703"/>
                <a:ext cx="89086" cy="136765"/>
              </a:xfrm>
              <a:custGeom>
                <a:avLst/>
                <a:gdLst>
                  <a:gd name="T0" fmla="*/ 10 w 39"/>
                  <a:gd name="T1" fmla="*/ 3 h 59"/>
                  <a:gd name="T2" fmla="*/ 7 w 39"/>
                  <a:gd name="T3" fmla="*/ 9 h 59"/>
                  <a:gd name="T4" fmla="*/ 6 w 39"/>
                  <a:gd name="T5" fmla="*/ 13 h 59"/>
                  <a:gd name="T6" fmla="*/ 2 w 39"/>
                  <a:gd name="T7" fmla="*/ 17 h 59"/>
                  <a:gd name="T8" fmla="*/ 1 w 39"/>
                  <a:gd name="T9" fmla="*/ 21 h 59"/>
                  <a:gd name="T10" fmla="*/ 7 w 39"/>
                  <a:gd name="T11" fmla="*/ 28 h 59"/>
                  <a:gd name="T12" fmla="*/ 9 w 39"/>
                  <a:gd name="T13" fmla="*/ 26 h 59"/>
                  <a:gd name="T14" fmla="*/ 13 w 39"/>
                  <a:gd name="T15" fmla="*/ 33 h 59"/>
                  <a:gd name="T16" fmla="*/ 14 w 39"/>
                  <a:gd name="T17" fmla="*/ 40 h 59"/>
                  <a:gd name="T18" fmla="*/ 15 w 39"/>
                  <a:gd name="T19" fmla="*/ 54 h 59"/>
                  <a:gd name="T20" fmla="*/ 24 w 39"/>
                  <a:gd name="T21" fmla="*/ 57 h 59"/>
                  <a:gd name="T22" fmla="*/ 29 w 39"/>
                  <a:gd name="T23" fmla="*/ 55 h 59"/>
                  <a:gd name="T24" fmla="*/ 33 w 39"/>
                  <a:gd name="T25" fmla="*/ 53 h 59"/>
                  <a:gd name="T26" fmla="*/ 39 w 39"/>
                  <a:gd name="T27" fmla="*/ 53 h 59"/>
                  <a:gd name="T28" fmla="*/ 34 w 39"/>
                  <a:gd name="T29" fmla="*/ 44 h 59"/>
                  <a:gd name="T30" fmla="*/ 28 w 39"/>
                  <a:gd name="T31" fmla="*/ 35 h 59"/>
                  <a:gd name="T32" fmla="*/ 31 w 39"/>
                  <a:gd name="T33" fmla="*/ 29 h 59"/>
                  <a:gd name="T34" fmla="*/ 35 w 39"/>
                  <a:gd name="T35" fmla="*/ 25 h 59"/>
                  <a:gd name="T36" fmla="*/ 35 w 39"/>
                  <a:gd name="T37" fmla="*/ 20 h 59"/>
                  <a:gd name="T38" fmla="*/ 28 w 39"/>
                  <a:gd name="T39" fmla="*/ 13 h 59"/>
                  <a:gd name="T40" fmla="*/ 24 w 39"/>
                  <a:gd name="T41" fmla="*/ 8 h 59"/>
                  <a:gd name="T42" fmla="*/ 16 w 39"/>
                  <a:gd name="T43" fmla="*/ 1 h 59"/>
                  <a:gd name="T44" fmla="*/ 13 w 39"/>
                  <a:gd name="T45" fmla="*/ 0 h 59"/>
                  <a:gd name="T46" fmla="*/ 10 w 39"/>
                  <a:gd name="T47" fmla="*/ 3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9" h="59">
                    <a:moveTo>
                      <a:pt x="10" y="3"/>
                    </a:moveTo>
                    <a:cubicBezTo>
                      <a:pt x="8" y="5"/>
                      <a:pt x="5" y="8"/>
                      <a:pt x="7" y="9"/>
                    </a:cubicBezTo>
                    <a:cubicBezTo>
                      <a:pt x="9" y="10"/>
                      <a:pt x="10" y="13"/>
                      <a:pt x="6" y="13"/>
                    </a:cubicBezTo>
                    <a:cubicBezTo>
                      <a:pt x="2" y="13"/>
                      <a:pt x="2" y="15"/>
                      <a:pt x="2" y="17"/>
                    </a:cubicBezTo>
                    <a:cubicBezTo>
                      <a:pt x="2" y="19"/>
                      <a:pt x="0" y="20"/>
                      <a:pt x="1" y="21"/>
                    </a:cubicBezTo>
                    <a:cubicBezTo>
                      <a:pt x="2" y="22"/>
                      <a:pt x="5" y="26"/>
                      <a:pt x="7" y="28"/>
                    </a:cubicBezTo>
                    <a:cubicBezTo>
                      <a:pt x="7" y="27"/>
                      <a:pt x="8" y="26"/>
                      <a:pt x="9" y="26"/>
                    </a:cubicBezTo>
                    <a:cubicBezTo>
                      <a:pt x="13" y="27"/>
                      <a:pt x="10" y="32"/>
                      <a:pt x="13" y="33"/>
                    </a:cubicBezTo>
                    <a:cubicBezTo>
                      <a:pt x="16" y="34"/>
                      <a:pt x="16" y="38"/>
                      <a:pt x="14" y="40"/>
                    </a:cubicBezTo>
                    <a:cubicBezTo>
                      <a:pt x="12" y="41"/>
                      <a:pt x="11" y="49"/>
                      <a:pt x="15" y="54"/>
                    </a:cubicBezTo>
                    <a:cubicBezTo>
                      <a:pt x="20" y="59"/>
                      <a:pt x="23" y="58"/>
                      <a:pt x="24" y="57"/>
                    </a:cubicBezTo>
                    <a:cubicBezTo>
                      <a:pt x="25" y="56"/>
                      <a:pt x="28" y="57"/>
                      <a:pt x="29" y="55"/>
                    </a:cubicBezTo>
                    <a:cubicBezTo>
                      <a:pt x="30" y="53"/>
                      <a:pt x="31" y="55"/>
                      <a:pt x="33" y="53"/>
                    </a:cubicBezTo>
                    <a:cubicBezTo>
                      <a:pt x="34" y="52"/>
                      <a:pt x="37" y="52"/>
                      <a:pt x="39" y="53"/>
                    </a:cubicBezTo>
                    <a:cubicBezTo>
                      <a:pt x="37" y="50"/>
                      <a:pt x="35" y="46"/>
                      <a:pt x="34" y="44"/>
                    </a:cubicBezTo>
                    <a:cubicBezTo>
                      <a:pt x="33" y="41"/>
                      <a:pt x="26" y="37"/>
                      <a:pt x="28" y="35"/>
                    </a:cubicBezTo>
                    <a:cubicBezTo>
                      <a:pt x="29" y="34"/>
                      <a:pt x="28" y="29"/>
                      <a:pt x="31" y="29"/>
                    </a:cubicBezTo>
                    <a:cubicBezTo>
                      <a:pt x="33" y="28"/>
                      <a:pt x="36" y="27"/>
                      <a:pt x="35" y="25"/>
                    </a:cubicBezTo>
                    <a:cubicBezTo>
                      <a:pt x="34" y="24"/>
                      <a:pt x="35" y="22"/>
                      <a:pt x="35" y="20"/>
                    </a:cubicBezTo>
                    <a:cubicBezTo>
                      <a:pt x="33" y="19"/>
                      <a:pt x="30" y="13"/>
                      <a:pt x="28" y="13"/>
                    </a:cubicBezTo>
                    <a:cubicBezTo>
                      <a:pt x="26" y="13"/>
                      <a:pt x="23" y="11"/>
                      <a:pt x="24" y="8"/>
                    </a:cubicBezTo>
                    <a:cubicBezTo>
                      <a:pt x="24" y="5"/>
                      <a:pt x="19" y="5"/>
                      <a:pt x="16" y="1"/>
                    </a:cubicBezTo>
                    <a:cubicBezTo>
                      <a:pt x="15" y="1"/>
                      <a:pt x="14" y="0"/>
                      <a:pt x="13" y="0"/>
                    </a:cubicBezTo>
                    <a:cubicBezTo>
                      <a:pt x="12" y="1"/>
                      <a:pt x="11" y="3"/>
                      <a:pt x="10" y="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3" name="Freeform 120">
                <a:extLst>
                  <a:ext uri="{FF2B5EF4-FFF2-40B4-BE49-F238E27FC236}">
                    <a16:creationId xmlns:a16="http://schemas.microsoft.com/office/drawing/2014/main" id="{172AAA69-DB34-4044-9451-5621A8CEDC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4641" y="3980637"/>
                <a:ext cx="56463" cy="71519"/>
              </a:xfrm>
              <a:custGeom>
                <a:avLst/>
                <a:gdLst>
                  <a:gd name="T0" fmla="*/ 2 w 25"/>
                  <a:gd name="T1" fmla="*/ 14 h 31"/>
                  <a:gd name="T2" fmla="*/ 3 w 25"/>
                  <a:gd name="T3" fmla="*/ 25 h 31"/>
                  <a:gd name="T4" fmla="*/ 0 w 25"/>
                  <a:gd name="T5" fmla="*/ 28 h 31"/>
                  <a:gd name="T6" fmla="*/ 7 w 25"/>
                  <a:gd name="T7" fmla="*/ 30 h 31"/>
                  <a:gd name="T8" fmla="*/ 16 w 25"/>
                  <a:gd name="T9" fmla="*/ 26 h 31"/>
                  <a:gd name="T10" fmla="*/ 25 w 25"/>
                  <a:gd name="T11" fmla="*/ 13 h 31"/>
                  <a:gd name="T12" fmla="*/ 25 w 25"/>
                  <a:gd name="T13" fmla="*/ 13 h 31"/>
                  <a:gd name="T14" fmla="*/ 11 w 25"/>
                  <a:gd name="T15" fmla="*/ 2 h 31"/>
                  <a:gd name="T16" fmla="*/ 5 w 25"/>
                  <a:gd name="T17" fmla="*/ 0 h 31"/>
                  <a:gd name="T18" fmla="*/ 3 w 25"/>
                  <a:gd name="T19" fmla="*/ 4 h 31"/>
                  <a:gd name="T20" fmla="*/ 2 w 25"/>
                  <a:gd name="T21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" h="31">
                    <a:moveTo>
                      <a:pt x="2" y="14"/>
                    </a:moveTo>
                    <a:cubicBezTo>
                      <a:pt x="3" y="17"/>
                      <a:pt x="3" y="23"/>
                      <a:pt x="3" y="25"/>
                    </a:cubicBezTo>
                    <a:cubicBezTo>
                      <a:pt x="2" y="25"/>
                      <a:pt x="1" y="27"/>
                      <a:pt x="0" y="28"/>
                    </a:cubicBezTo>
                    <a:cubicBezTo>
                      <a:pt x="1" y="30"/>
                      <a:pt x="4" y="31"/>
                      <a:pt x="7" y="30"/>
                    </a:cubicBezTo>
                    <a:cubicBezTo>
                      <a:pt x="12" y="28"/>
                      <a:pt x="14" y="31"/>
                      <a:pt x="16" y="26"/>
                    </a:cubicBezTo>
                    <a:cubicBezTo>
                      <a:pt x="17" y="22"/>
                      <a:pt x="22" y="17"/>
                      <a:pt x="25" y="13"/>
                    </a:cubicBezTo>
                    <a:cubicBezTo>
                      <a:pt x="25" y="13"/>
                      <a:pt x="25" y="13"/>
                      <a:pt x="25" y="13"/>
                    </a:cubicBezTo>
                    <a:cubicBezTo>
                      <a:pt x="22" y="12"/>
                      <a:pt x="17" y="4"/>
                      <a:pt x="11" y="2"/>
                    </a:cubicBezTo>
                    <a:cubicBezTo>
                      <a:pt x="9" y="2"/>
                      <a:pt x="7" y="1"/>
                      <a:pt x="5" y="0"/>
                    </a:cubicBezTo>
                    <a:cubicBezTo>
                      <a:pt x="4" y="2"/>
                      <a:pt x="3" y="4"/>
                      <a:pt x="3" y="4"/>
                    </a:cubicBezTo>
                    <a:cubicBezTo>
                      <a:pt x="1" y="6"/>
                      <a:pt x="0" y="10"/>
                      <a:pt x="2" y="14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4" name="Freeform 121">
                <a:extLst>
                  <a:ext uri="{FF2B5EF4-FFF2-40B4-BE49-F238E27FC236}">
                    <a16:creationId xmlns:a16="http://schemas.microsoft.com/office/drawing/2014/main" id="{EA3A0EB4-A1E4-49B0-8E77-8B2085E7F5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38760" y="3641861"/>
                <a:ext cx="196992" cy="69010"/>
              </a:xfrm>
              <a:custGeom>
                <a:avLst/>
                <a:gdLst>
                  <a:gd name="T0" fmla="*/ 69 w 85"/>
                  <a:gd name="T1" fmla="*/ 19 h 30"/>
                  <a:gd name="T2" fmla="*/ 30 w 85"/>
                  <a:gd name="T3" fmla="*/ 4 h 30"/>
                  <a:gd name="T4" fmla="*/ 1 w 85"/>
                  <a:gd name="T5" fmla="*/ 14 h 30"/>
                  <a:gd name="T6" fmla="*/ 15 w 85"/>
                  <a:gd name="T7" fmla="*/ 7 h 30"/>
                  <a:gd name="T8" fmla="*/ 23 w 85"/>
                  <a:gd name="T9" fmla="*/ 10 h 30"/>
                  <a:gd name="T10" fmla="*/ 37 w 85"/>
                  <a:gd name="T11" fmla="*/ 14 h 30"/>
                  <a:gd name="T12" fmla="*/ 54 w 85"/>
                  <a:gd name="T13" fmla="*/ 23 h 30"/>
                  <a:gd name="T14" fmla="*/ 58 w 85"/>
                  <a:gd name="T15" fmla="*/ 29 h 30"/>
                  <a:gd name="T16" fmla="*/ 84 w 85"/>
                  <a:gd name="T17" fmla="*/ 28 h 30"/>
                  <a:gd name="T18" fmla="*/ 69 w 85"/>
                  <a:gd name="T19" fmla="*/ 19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5" h="30">
                    <a:moveTo>
                      <a:pt x="69" y="19"/>
                    </a:moveTo>
                    <a:cubicBezTo>
                      <a:pt x="63" y="19"/>
                      <a:pt x="46" y="7"/>
                      <a:pt x="30" y="4"/>
                    </a:cubicBezTo>
                    <a:cubicBezTo>
                      <a:pt x="14" y="0"/>
                      <a:pt x="0" y="12"/>
                      <a:pt x="1" y="14"/>
                    </a:cubicBezTo>
                    <a:cubicBezTo>
                      <a:pt x="3" y="16"/>
                      <a:pt x="11" y="10"/>
                      <a:pt x="15" y="7"/>
                    </a:cubicBezTo>
                    <a:cubicBezTo>
                      <a:pt x="19" y="4"/>
                      <a:pt x="23" y="9"/>
                      <a:pt x="23" y="10"/>
                    </a:cubicBezTo>
                    <a:cubicBezTo>
                      <a:pt x="23" y="12"/>
                      <a:pt x="28" y="13"/>
                      <a:pt x="37" y="14"/>
                    </a:cubicBezTo>
                    <a:cubicBezTo>
                      <a:pt x="45" y="14"/>
                      <a:pt x="46" y="21"/>
                      <a:pt x="54" y="23"/>
                    </a:cubicBezTo>
                    <a:cubicBezTo>
                      <a:pt x="61" y="24"/>
                      <a:pt x="54" y="27"/>
                      <a:pt x="58" y="29"/>
                    </a:cubicBezTo>
                    <a:cubicBezTo>
                      <a:pt x="61" y="30"/>
                      <a:pt x="82" y="30"/>
                      <a:pt x="84" y="28"/>
                    </a:cubicBezTo>
                    <a:cubicBezTo>
                      <a:pt x="85" y="26"/>
                      <a:pt x="74" y="19"/>
                      <a:pt x="69" y="1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5" name="Freeform 122">
                <a:extLst>
                  <a:ext uri="{FF2B5EF4-FFF2-40B4-BE49-F238E27FC236}">
                    <a16:creationId xmlns:a16="http://schemas.microsoft.com/office/drawing/2014/main" id="{2D847BCB-CE0B-47A3-A342-080BC988D3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1685" y="3735965"/>
                <a:ext cx="43915" cy="21330"/>
              </a:xfrm>
              <a:custGeom>
                <a:avLst/>
                <a:gdLst>
                  <a:gd name="T0" fmla="*/ 1 w 19"/>
                  <a:gd name="T1" fmla="*/ 3 h 9"/>
                  <a:gd name="T2" fmla="*/ 18 w 19"/>
                  <a:gd name="T3" fmla="*/ 6 h 9"/>
                  <a:gd name="T4" fmla="*/ 1 w 19"/>
                  <a:gd name="T5" fmla="*/ 3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9" h="9">
                    <a:moveTo>
                      <a:pt x="1" y="3"/>
                    </a:moveTo>
                    <a:cubicBezTo>
                      <a:pt x="3" y="5"/>
                      <a:pt x="16" y="9"/>
                      <a:pt x="18" y="6"/>
                    </a:cubicBezTo>
                    <a:cubicBezTo>
                      <a:pt x="19" y="3"/>
                      <a:pt x="0" y="0"/>
                      <a:pt x="1" y="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6" name="Freeform 123">
                <a:extLst>
                  <a:ext uri="{FF2B5EF4-FFF2-40B4-BE49-F238E27FC236}">
                    <a16:creationId xmlns:a16="http://schemas.microsoft.com/office/drawing/2014/main" id="{57A08BF3-BA9E-4B6E-BC54-44D43F883E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59970" y="3733456"/>
                <a:ext cx="41406" cy="23840"/>
              </a:xfrm>
              <a:custGeom>
                <a:avLst/>
                <a:gdLst>
                  <a:gd name="T0" fmla="*/ 3 w 18"/>
                  <a:gd name="T1" fmla="*/ 5 h 10"/>
                  <a:gd name="T2" fmla="*/ 16 w 18"/>
                  <a:gd name="T3" fmla="*/ 5 h 10"/>
                  <a:gd name="T4" fmla="*/ 3 w 18"/>
                  <a:gd name="T5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10">
                    <a:moveTo>
                      <a:pt x="3" y="5"/>
                    </a:moveTo>
                    <a:cubicBezTo>
                      <a:pt x="6" y="10"/>
                      <a:pt x="15" y="7"/>
                      <a:pt x="16" y="5"/>
                    </a:cubicBezTo>
                    <a:cubicBezTo>
                      <a:pt x="18" y="1"/>
                      <a:pt x="0" y="0"/>
                      <a:pt x="3" y="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7" name="Freeform 124">
                <a:extLst>
                  <a:ext uri="{FF2B5EF4-FFF2-40B4-BE49-F238E27FC236}">
                    <a16:creationId xmlns:a16="http://schemas.microsoft.com/office/drawing/2014/main" id="{637D32A7-F7AA-428E-AA41-97308E4D8C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4005" y="4060939"/>
                <a:ext cx="112925" cy="124218"/>
              </a:xfrm>
              <a:custGeom>
                <a:avLst/>
                <a:gdLst>
                  <a:gd name="T0" fmla="*/ 44 w 49"/>
                  <a:gd name="T1" fmla="*/ 14 h 54"/>
                  <a:gd name="T2" fmla="*/ 39 w 49"/>
                  <a:gd name="T3" fmla="*/ 9 h 54"/>
                  <a:gd name="T4" fmla="*/ 33 w 49"/>
                  <a:gd name="T5" fmla="*/ 9 h 54"/>
                  <a:gd name="T6" fmla="*/ 28 w 49"/>
                  <a:gd name="T7" fmla="*/ 5 h 54"/>
                  <a:gd name="T8" fmla="*/ 18 w 49"/>
                  <a:gd name="T9" fmla="*/ 0 h 54"/>
                  <a:gd name="T10" fmla="*/ 18 w 49"/>
                  <a:gd name="T11" fmla="*/ 1 h 54"/>
                  <a:gd name="T12" fmla="*/ 12 w 49"/>
                  <a:gd name="T13" fmla="*/ 4 h 54"/>
                  <a:gd name="T14" fmla="*/ 9 w 49"/>
                  <a:gd name="T15" fmla="*/ 10 h 54"/>
                  <a:gd name="T16" fmla="*/ 6 w 49"/>
                  <a:gd name="T17" fmla="*/ 15 h 54"/>
                  <a:gd name="T18" fmla="*/ 4 w 49"/>
                  <a:gd name="T19" fmla="*/ 19 h 54"/>
                  <a:gd name="T20" fmla="*/ 2 w 49"/>
                  <a:gd name="T21" fmla="*/ 24 h 54"/>
                  <a:gd name="T22" fmla="*/ 1 w 49"/>
                  <a:gd name="T23" fmla="*/ 30 h 54"/>
                  <a:gd name="T24" fmla="*/ 6 w 49"/>
                  <a:gd name="T25" fmla="*/ 34 h 54"/>
                  <a:gd name="T26" fmla="*/ 10 w 49"/>
                  <a:gd name="T27" fmla="*/ 35 h 54"/>
                  <a:gd name="T28" fmla="*/ 6 w 49"/>
                  <a:gd name="T29" fmla="*/ 40 h 54"/>
                  <a:gd name="T30" fmla="*/ 6 w 49"/>
                  <a:gd name="T31" fmla="*/ 40 h 54"/>
                  <a:gd name="T32" fmla="*/ 7 w 49"/>
                  <a:gd name="T33" fmla="*/ 44 h 54"/>
                  <a:gd name="T34" fmla="*/ 7 w 49"/>
                  <a:gd name="T35" fmla="*/ 48 h 54"/>
                  <a:gd name="T36" fmla="*/ 13 w 49"/>
                  <a:gd name="T37" fmla="*/ 50 h 54"/>
                  <a:gd name="T38" fmla="*/ 19 w 49"/>
                  <a:gd name="T39" fmla="*/ 49 h 54"/>
                  <a:gd name="T40" fmla="*/ 26 w 49"/>
                  <a:gd name="T41" fmla="*/ 37 h 54"/>
                  <a:gd name="T42" fmla="*/ 42 w 49"/>
                  <a:gd name="T43" fmla="*/ 28 h 54"/>
                  <a:gd name="T44" fmla="*/ 47 w 49"/>
                  <a:gd name="T45" fmla="*/ 20 h 54"/>
                  <a:gd name="T46" fmla="*/ 44 w 49"/>
                  <a:gd name="T47" fmla="*/ 1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9" h="54">
                    <a:moveTo>
                      <a:pt x="44" y="14"/>
                    </a:moveTo>
                    <a:cubicBezTo>
                      <a:pt x="41" y="10"/>
                      <a:pt x="39" y="8"/>
                      <a:pt x="39" y="9"/>
                    </a:cubicBezTo>
                    <a:cubicBezTo>
                      <a:pt x="38" y="10"/>
                      <a:pt x="35" y="11"/>
                      <a:pt x="33" y="9"/>
                    </a:cubicBezTo>
                    <a:cubicBezTo>
                      <a:pt x="30" y="8"/>
                      <a:pt x="29" y="5"/>
                      <a:pt x="28" y="5"/>
                    </a:cubicBezTo>
                    <a:cubicBezTo>
                      <a:pt x="26" y="5"/>
                      <a:pt x="21" y="2"/>
                      <a:pt x="18" y="0"/>
                    </a:cubicBezTo>
                    <a:cubicBezTo>
                      <a:pt x="18" y="0"/>
                      <a:pt x="18" y="1"/>
                      <a:pt x="18" y="1"/>
                    </a:cubicBezTo>
                    <a:cubicBezTo>
                      <a:pt x="18" y="3"/>
                      <a:pt x="15" y="4"/>
                      <a:pt x="12" y="4"/>
                    </a:cubicBezTo>
                    <a:cubicBezTo>
                      <a:pt x="9" y="4"/>
                      <a:pt x="9" y="7"/>
                      <a:pt x="9" y="10"/>
                    </a:cubicBezTo>
                    <a:cubicBezTo>
                      <a:pt x="9" y="12"/>
                      <a:pt x="7" y="12"/>
                      <a:pt x="6" y="15"/>
                    </a:cubicBezTo>
                    <a:cubicBezTo>
                      <a:pt x="5" y="17"/>
                      <a:pt x="6" y="18"/>
                      <a:pt x="4" y="19"/>
                    </a:cubicBezTo>
                    <a:cubicBezTo>
                      <a:pt x="1" y="20"/>
                      <a:pt x="0" y="22"/>
                      <a:pt x="2" y="24"/>
                    </a:cubicBezTo>
                    <a:cubicBezTo>
                      <a:pt x="3" y="27"/>
                      <a:pt x="2" y="28"/>
                      <a:pt x="1" y="30"/>
                    </a:cubicBezTo>
                    <a:cubicBezTo>
                      <a:pt x="1" y="31"/>
                      <a:pt x="4" y="32"/>
                      <a:pt x="6" y="34"/>
                    </a:cubicBezTo>
                    <a:cubicBezTo>
                      <a:pt x="9" y="36"/>
                      <a:pt x="9" y="33"/>
                      <a:pt x="10" y="35"/>
                    </a:cubicBezTo>
                    <a:cubicBezTo>
                      <a:pt x="11" y="37"/>
                      <a:pt x="9" y="40"/>
                      <a:pt x="6" y="40"/>
                    </a:cubicBezTo>
                    <a:cubicBezTo>
                      <a:pt x="6" y="40"/>
                      <a:pt x="6" y="40"/>
                      <a:pt x="6" y="40"/>
                    </a:cubicBezTo>
                    <a:cubicBezTo>
                      <a:pt x="7" y="41"/>
                      <a:pt x="8" y="43"/>
                      <a:pt x="7" y="44"/>
                    </a:cubicBezTo>
                    <a:cubicBezTo>
                      <a:pt x="6" y="46"/>
                      <a:pt x="5" y="46"/>
                      <a:pt x="7" y="48"/>
                    </a:cubicBezTo>
                    <a:cubicBezTo>
                      <a:pt x="10" y="50"/>
                      <a:pt x="11" y="47"/>
                      <a:pt x="13" y="50"/>
                    </a:cubicBezTo>
                    <a:cubicBezTo>
                      <a:pt x="15" y="53"/>
                      <a:pt x="17" y="54"/>
                      <a:pt x="19" y="49"/>
                    </a:cubicBezTo>
                    <a:cubicBezTo>
                      <a:pt x="21" y="45"/>
                      <a:pt x="23" y="38"/>
                      <a:pt x="26" y="37"/>
                    </a:cubicBezTo>
                    <a:cubicBezTo>
                      <a:pt x="30" y="35"/>
                      <a:pt x="38" y="34"/>
                      <a:pt x="42" y="28"/>
                    </a:cubicBezTo>
                    <a:cubicBezTo>
                      <a:pt x="47" y="22"/>
                      <a:pt x="44" y="22"/>
                      <a:pt x="47" y="20"/>
                    </a:cubicBezTo>
                    <a:cubicBezTo>
                      <a:pt x="49" y="18"/>
                      <a:pt x="47" y="17"/>
                      <a:pt x="44" y="14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8" name="Freeform 125">
                <a:extLst>
                  <a:ext uri="{FF2B5EF4-FFF2-40B4-BE49-F238E27FC236}">
                    <a16:creationId xmlns:a16="http://schemas.microsoft.com/office/drawing/2014/main" id="{72613661-F14C-43F3-80EC-589B945A73D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563356" y="1960529"/>
                <a:ext cx="1135527" cy="848194"/>
              </a:xfrm>
              <a:custGeom>
                <a:avLst/>
                <a:gdLst>
                  <a:gd name="T0" fmla="*/ 432 w 493"/>
                  <a:gd name="T1" fmla="*/ 42 h 368"/>
                  <a:gd name="T2" fmla="*/ 396 w 493"/>
                  <a:gd name="T3" fmla="*/ 59 h 368"/>
                  <a:gd name="T4" fmla="*/ 394 w 493"/>
                  <a:gd name="T5" fmla="*/ 37 h 368"/>
                  <a:gd name="T6" fmla="*/ 352 w 493"/>
                  <a:gd name="T7" fmla="*/ 34 h 368"/>
                  <a:gd name="T8" fmla="*/ 393 w 493"/>
                  <a:gd name="T9" fmla="*/ 27 h 368"/>
                  <a:gd name="T10" fmla="*/ 390 w 493"/>
                  <a:gd name="T11" fmla="*/ 12 h 368"/>
                  <a:gd name="T12" fmla="*/ 333 w 493"/>
                  <a:gd name="T13" fmla="*/ 0 h 368"/>
                  <a:gd name="T14" fmla="*/ 280 w 493"/>
                  <a:gd name="T15" fmla="*/ 7 h 368"/>
                  <a:gd name="T16" fmla="*/ 240 w 493"/>
                  <a:gd name="T17" fmla="*/ 7 h 368"/>
                  <a:gd name="T18" fmla="*/ 207 w 493"/>
                  <a:gd name="T19" fmla="*/ 22 h 368"/>
                  <a:gd name="T20" fmla="*/ 199 w 493"/>
                  <a:gd name="T21" fmla="*/ 26 h 368"/>
                  <a:gd name="T22" fmla="*/ 176 w 493"/>
                  <a:gd name="T23" fmla="*/ 33 h 368"/>
                  <a:gd name="T24" fmla="*/ 154 w 493"/>
                  <a:gd name="T25" fmla="*/ 41 h 368"/>
                  <a:gd name="T26" fmla="*/ 116 w 493"/>
                  <a:gd name="T27" fmla="*/ 34 h 368"/>
                  <a:gd name="T28" fmla="*/ 95 w 493"/>
                  <a:gd name="T29" fmla="*/ 50 h 368"/>
                  <a:gd name="T30" fmla="*/ 63 w 493"/>
                  <a:gd name="T31" fmla="*/ 70 h 368"/>
                  <a:gd name="T32" fmla="*/ 0 w 493"/>
                  <a:gd name="T33" fmla="*/ 101 h 368"/>
                  <a:gd name="T34" fmla="*/ 40 w 493"/>
                  <a:gd name="T35" fmla="*/ 113 h 368"/>
                  <a:gd name="T36" fmla="*/ 11 w 493"/>
                  <a:gd name="T37" fmla="*/ 123 h 368"/>
                  <a:gd name="T38" fmla="*/ 36 w 493"/>
                  <a:gd name="T39" fmla="*/ 138 h 368"/>
                  <a:gd name="T40" fmla="*/ 67 w 493"/>
                  <a:gd name="T41" fmla="*/ 137 h 368"/>
                  <a:gd name="T42" fmla="*/ 116 w 493"/>
                  <a:gd name="T43" fmla="*/ 150 h 368"/>
                  <a:gd name="T44" fmla="*/ 140 w 493"/>
                  <a:gd name="T45" fmla="*/ 183 h 368"/>
                  <a:gd name="T46" fmla="*/ 144 w 493"/>
                  <a:gd name="T47" fmla="*/ 212 h 368"/>
                  <a:gd name="T48" fmla="*/ 174 w 493"/>
                  <a:gd name="T49" fmla="*/ 222 h 368"/>
                  <a:gd name="T50" fmla="*/ 171 w 493"/>
                  <a:gd name="T51" fmla="*/ 234 h 368"/>
                  <a:gd name="T52" fmla="*/ 167 w 493"/>
                  <a:gd name="T53" fmla="*/ 254 h 368"/>
                  <a:gd name="T54" fmla="*/ 161 w 493"/>
                  <a:gd name="T55" fmla="*/ 278 h 368"/>
                  <a:gd name="T56" fmla="*/ 168 w 493"/>
                  <a:gd name="T57" fmla="*/ 311 h 368"/>
                  <a:gd name="T58" fmla="*/ 183 w 493"/>
                  <a:gd name="T59" fmla="*/ 330 h 368"/>
                  <a:gd name="T60" fmla="*/ 205 w 493"/>
                  <a:gd name="T61" fmla="*/ 355 h 368"/>
                  <a:gd name="T62" fmla="*/ 236 w 493"/>
                  <a:gd name="T63" fmla="*/ 367 h 368"/>
                  <a:gd name="T64" fmla="*/ 245 w 493"/>
                  <a:gd name="T65" fmla="*/ 336 h 368"/>
                  <a:gd name="T66" fmla="*/ 259 w 493"/>
                  <a:gd name="T67" fmla="*/ 320 h 368"/>
                  <a:gd name="T68" fmla="*/ 261 w 493"/>
                  <a:gd name="T69" fmla="*/ 305 h 368"/>
                  <a:gd name="T70" fmla="*/ 274 w 493"/>
                  <a:gd name="T71" fmla="*/ 295 h 368"/>
                  <a:gd name="T72" fmla="*/ 286 w 493"/>
                  <a:gd name="T73" fmla="*/ 292 h 368"/>
                  <a:gd name="T74" fmla="*/ 329 w 493"/>
                  <a:gd name="T75" fmla="*/ 263 h 368"/>
                  <a:gd name="T76" fmla="*/ 356 w 493"/>
                  <a:gd name="T77" fmla="*/ 256 h 368"/>
                  <a:gd name="T78" fmla="*/ 411 w 493"/>
                  <a:gd name="T79" fmla="*/ 232 h 368"/>
                  <a:gd name="T80" fmla="*/ 381 w 493"/>
                  <a:gd name="T81" fmla="*/ 225 h 368"/>
                  <a:gd name="T82" fmla="*/ 412 w 493"/>
                  <a:gd name="T83" fmla="*/ 227 h 368"/>
                  <a:gd name="T84" fmla="*/ 406 w 493"/>
                  <a:gd name="T85" fmla="*/ 200 h 368"/>
                  <a:gd name="T86" fmla="*/ 390 w 493"/>
                  <a:gd name="T87" fmla="*/ 186 h 368"/>
                  <a:gd name="T88" fmla="*/ 425 w 493"/>
                  <a:gd name="T89" fmla="*/ 181 h 368"/>
                  <a:gd name="T90" fmla="*/ 434 w 493"/>
                  <a:gd name="T91" fmla="*/ 164 h 368"/>
                  <a:gd name="T92" fmla="*/ 430 w 493"/>
                  <a:gd name="T93" fmla="*/ 138 h 368"/>
                  <a:gd name="T94" fmla="*/ 421 w 493"/>
                  <a:gd name="T95" fmla="*/ 127 h 368"/>
                  <a:gd name="T96" fmla="*/ 424 w 493"/>
                  <a:gd name="T97" fmla="*/ 115 h 368"/>
                  <a:gd name="T98" fmla="*/ 412 w 493"/>
                  <a:gd name="T99" fmla="*/ 110 h 368"/>
                  <a:gd name="T100" fmla="*/ 445 w 493"/>
                  <a:gd name="T101" fmla="*/ 76 h 368"/>
                  <a:gd name="T102" fmla="*/ 437 w 493"/>
                  <a:gd name="T103" fmla="*/ 67 h 368"/>
                  <a:gd name="T104" fmla="*/ 446 w 493"/>
                  <a:gd name="T105" fmla="*/ 58 h 368"/>
                  <a:gd name="T106" fmla="*/ 493 w 493"/>
                  <a:gd name="T107" fmla="*/ 41 h 368"/>
                  <a:gd name="T108" fmla="*/ 162 w 493"/>
                  <a:gd name="T109" fmla="*/ 235 h 368"/>
                  <a:gd name="T110" fmla="*/ 154 w 493"/>
                  <a:gd name="T111" fmla="*/ 244 h 3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493" h="368">
                    <a:moveTo>
                      <a:pt x="465" y="34"/>
                    </a:moveTo>
                    <a:cubicBezTo>
                      <a:pt x="456" y="34"/>
                      <a:pt x="449" y="35"/>
                      <a:pt x="449" y="41"/>
                    </a:cubicBezTo>
                    <a:cubicBezTo>
                      <a:pt x="448" y="47"/>
                      <a:pt x="437" y="40"/>
                      <a:pt x="432" y="42"/>
                    </a:cubicBezTo>
                    <a:cubicBezTo>
                      <a:pt x="427" y="44"/>
                      <a:pt x="430" y="37"/>
                      <a:pt x="425" y="40"/>
                    </a:cubicBezTo>
                    <a:cubicBezTo>
                      <a:pt x="420" y="42"/>
                      <a:pt x="415" y="48"/>
                      <a:pt x="409" y="50"/>
                    </a:cubicBezTo>
                    <a:cubicBezTo>
                      <a:pt x="404" y="52"/>
                      <a:pt x="399" y="58"/>
                      <a:pt x="396" y="59"/>
                    </a:cubicBezTo>
                    <a:cubicBezTo>
                      <a:pt x="392" y="59"/>
                      <a:pt x="403" y="48"/>
                      <a:pt x="409" y="42"/>
                    </a:cubicBezTo>
                    <a:cubicBezTo>
                      <a:pt x="415" y="36"/>
                      <a:pt x="412" y="30"/>
                      <a:pt x="404" y="31"/>
                    </a:cubicBezTo>
                    <a:cubicBezTo>
                      <a:pt x="397" y="31"/>
                      <a:pt x="398" y="36"/>
                      <a:pt x="394" y="37"/>
                    </a:cubicBezTo>
                    <a:cubicBezTo>
                      <a:pt x="390" y="38"/>
                      <a:pt x="369" y="48"/>
                      <a:pt x="368" y="45"/>
                    </a:cubicBezTo>
                    <a:cubicBezTo>
                      <a:pt x="367" y="42"/>
                      <a:pt x="385" y="37"/>
                      <a:pt x="385" y="35"/>
                    </a:cubicBezTo>
                    <a:cubicBezTo>
                      <a:pt x="385" y="32"/>
                      <a:pt x="362" y="32"/>
                      <a:pt x="352" y="34"/>
                    </a:cubicBezTo>
                    <a:cubicBezTo>
                      <a:pt x="342" y="35"/>
                      <a:pt x="325" y="41"/>
                      <a:pt x="325" y="38"/>
                    </a:cubicBezTo>
                    <a:cubicBezTo>
                      <a:pt x="324" y="35"/>
                      <a:pt x="345" y="31"/>
                      <a:pt x="355" y="30"/>
                    </a:cubicBezTo>
                    <a:cubicBezTo>
                      <a:pt x="366" y="29"/>
                      <a:pt x="385" y="31"/>
                      <a:pt x="393" y="27"/>
                    </a:cubicBezTo>
                    <a:cubicBezTo>
                      <a:pt x="401" y="24"/>
                      <a:pt x="413" y="24"/>
                      <a:pt x="416" y="21"/>
                    </a:cubicBezTo>
                    <a:cubicBezTo>
                      <a:pt x="418" y="18"/>
                      <a:pt x="406" y="15"/>
                      <a:pt x="401" y="15"/>
                    </a:cubicBezTo>
                    <a:cubicBezTo>
                      <a:pt x="395" y="15"/>
                      <a:pt x="389" y="15"/>
                      <a:pt x="390" y="12"/>
                    </a:cubicBezTo>
                    <a:cubicBezTo>
                      <a:pt x="390" y="9"/>
                      <a:pt x="381" y="8"/>
                      <a:pt x="380" y="6"/>
                    </a:cubicBezTo>
                    <a:cubicBezTo>
                      <a:pt x="379" y="4"/>
                      <a:pt x="361" y="6"/>
                      <a:pt x="357" y="3"/>
                    </a:cubicBezTo>
                    <a:cubicBezTo>
                      <a:pt x="354" y="1"/>
                      <a:pt x="342" y="0"/>
                      <a:pt x="333" y="0"/>
                    </a:cubicBezTo>
                    <a:cubicBezTo>
                      <a:pt x="323" y="1"/>
                      <a:pt x="304" y="1"/>
                      <a:pt x="299" y="1"/>
                    </a:cubicBezTo>
                    <a:cubicBezTo>
                      <a:pt x="295" y="2"/>
                      <a:pt x="292" y="3"/>
                      <a:pt x="288" y="3"/>
                    </a:cubicBezTo>
                    <a:cubicBezTo>
                      <a:pt x="284" y="3"/>
                      <a:pt x="278" y="4"/>
                      <a:pt x="280" y="7"/>
                    </a:cubicBezTo>
                    <a:cubicBezTo>
                      <a:pt x="284" y="12"/>
                      <a:pt x="274" y="14"/>
                      <a:pt x="274" y="10"/>
                    </a:cubicBezTo>
                    <a:cubicBezTo>
                      <a:pt x="275" y="6"/>
                      <a:pt x="265" y="5"/>
                      <a:pt x="262" y="7"/>
                    </a:cubicBezTo>
                    <a:cubicBezTo>
                      <a:pt x="258" y="10"/>
                      <a:pt x="242" y="4"/>
                      <a:pt x="240" y="7"/>
                    </a:cubicBezTo>
                    <a:cubicBezTo>
                      <a:pt x="238" y="11"/>
                      <a:pt x="219" y="10"/>
                      <a:pt x="213" y="11"/>
                    </a:cubicBezTo>
                    <a:cubicBezTo>
                      <a:pt x="208" y="11"/>
                      <a:pt x="222" y="16"/>
                      <a:pt x="222" y="18"/>
                    </a:cubicBezTo>
                    <a:cubicBezTo>
                      <a:pt x="221" y="20"/>
                      <a:pt x="204" y="18"/>
                      <a:pt x="207" y="22"/>
                    </a:cubicBezTo>
                    <a:cubicBezTo>
                      <a:pt x="211" y="26"/>
                      <a:pt x="222" y="30"/>
                      <a:pt x="228" y="35"/>
                    </a:cubicBezTo>
                    <a:cubicBezTo>
                      <a:pt x="233" y="40"/>
                      <a:pt x="223" y="37"/>
                      <a:pt x="217" y="33"/>
                    </a:cubicBezTo>
                    <a:cubicBezTo>
                      <a:pt x="211" y="29"/>
                      <a:pt x="203" y="31"/>
                      <a:pt x="199" y="26"/>
                    </a:cubicBezTo>
                    <a:cubicBezTo>
                      <a:pt x="196" y="22"/>
                      <a:pt x="181" y="19"/>
                      <a:pt x="178" y="22"/>
                    </a:cubicBezTo>
                    <a:cubicBezTo>
                      <a:pt x="174" y="25"/>
                      <a:pt x="188" y="30"/>
                      <a:pt x="188" y="33"/>
                    </a:cubicBezTo>
                    <a:cubicBezTo>
                      <a:pt x="188" y="36"/>
                      <a:pt x="178" y="32"/>
                      <a:pt x="176" y="33"/>
                    </a:cubicBezTo>
                    <a:cubicBezTo>
                      <a:pt x="175" y="35"/>
                      <a:pt x="166" y="25"/>
                      <a:pt x="162" y="25"/>
                    </a:cubicBezTo>
                    <a:cubicBezTo>
                      <a:pt x="157" y="25"/>
                      <a:pt x="161" y="30"/>
                      <a:pt x="161" y="36"/>
                    </a:cubicBezTo>
                    <a:cubicBezTo>
                      <a:pt x="161" y="41"/>
                      <a:pt x="152" y="45"/>
                      <a:pt x="154" y="41"/>
                    </a:cubicBezTo>
                    <a:cubicBezTo>
                      <a:pt x="157" y="37"/>
                      <a:pt x="155" y="26"/>
                      <a:pt x="150" y="25"/>
                    </a:cubicBezTo>
                    <a:cubicBezTo>
                      <a:pt x="145" y="23"/>
                      <a:pt x="132" y="29"/>
                      <a:pt x="125" y="28"/>
                    </a:cubicBezTo>
                    <a:cubicBezTo>
                      <a:pt x="119" y="28"/>
                      <a:pt x="110" y="30"/>
                      <a:pt x="116" y="34"/>
                    </a:cubicBezTo>
                    <a:cubicBezTo>
                      <a:pt x="121" y="37"/>
                      <a:pt x="115" y="39"/>
                      <a:pt x="110" y="35"/>
                    </a:cubicBezTo>
                    <a:cubicBezTo>
                      <a:pt x="105" y="32"/>
                      <a:pt x="89" y="35"/>
                      <a:pt x="92" y="38"/>
                    </a:cubicBezTo>
                    <a:cubicBezTo>
                      <a:pt x="96" y="40"/>
                      <a:pt x="97" y="47"/>
                      <a:pt x="95" y="50"/>
                    </a:cubicBezTo>
                    <a:cubicBezTo>
                      <a:pt x="93" y="53"/>
                      <a:pt x="86" y="47"/>
                      <a:pt x="79" y="47"/>
                    </a:cubicBezTo>
                    <a:cubicBezTo>
                      <a:pt x="73" y="48"/>
                      <a:pt x="41" y="63"/>
                      <a:pt x="43" y="67"/>
                    </a:cubicBezTo>
                    <a:cubicBezTo>
                      <a:pt x="45" y="71"/>
                      <a:pt x="58" y="68"/>
                      <a:pt x="63" y="70"/>
                    </a:cubicBezTo>
                    <a:cubicBezTo>
                      <a:pt x="67" y="73"/>
                      <a:pt x="61" y="81"/>
                      <a:pt x="56" y="85"/>
                    </a:cubicBezTo>
                    <a:cubicBezTo>
                      <a:pt x="51" y="89"/>
                      <a:pt x="31" y="85"/>
                      <a:pt x="31" y="89"/>
                    </a:cubicBezTo>
                    <a:cubicBezTo>
                      <a:pt x="30" y="94"/>
                      <a:pt x="0" y="94"/>
                      <a:pt x="0" y="101"/>
                    </a:cubicBezTo>
                    <a:cubicBezTo>
                      <a:pt x="0" y="104"/>
                      <a:pt x="2" y="107"/>
                      <a:pt x="5" y="107"/>
                    </a:cubicBezTo>
                    <a:cubicBezTo>
                      <a:pt x="9" y="108"/>
                      <a:pt x="14" y="107"/>
                      <a:pt x="18" y="111"/>
                    </a:cubicBezTo>
                    <a:cubicBezTo>
                      <a:pt x="22" y="115"/>
                      <a:pt x="33" y="116"/>
                      <a:pt x="40" y="113"/>
                    </a:cubicBezTo>
                    <a:cubicBezTo>
                      <a:pt x="47" y="110"/>
                      <a:pt x="53" y="113"/>
                      <a:pt x="53" y="118"/>
                    </a:cubicBezTo>
                    <a:cubicBezTo>
                      <a:pt x="52" y="122"/>
                      <a:pt x="36" y="116"/>
                      <a:pt x="31" y="119"/>
                    </a:cubicBezTo>
                    <a:cubicBezTo>
                      <a:pt x="26" y="122"/>
                      <a:pt x="11" y="119"/>
                      <a:pt x="11" y="123"/>
                    </a:cubicBezTo>
                    <a:cubicBezTo>
                      <a:pt x="12" y="126"/>
                      <a:pt x="20" y="125"/>
                      <a:pt x="26" y="127"/>
                    </a:cubicBezTo>
                    <a:cubicBezTo>
                      <a:pt x="32" y="128"/>
                      <a:pt x="26" y="130"/>
                      <a:pt x="26" y="133"/>
                    </a:cubicBezTo>
                    <a:cubicBezTo>
                      <a:pt x="26" y="136"/>
                      <a:pt x="29" y="135"/>
                      <a:pt x="36" y="138"/>
                    </a:cubicBezTo>
                    <a:cubicBezTo>
                      <a:pt x="42" y="141"/>
                      <a:pt x="52" y="143"/>
                      <a:pt x="49" y="140"/>
                    </a:cubicBezTo>
                    <a:cubicBezTo>
                      <a:pt x="45" y="136"/>
                      <a:pt x="55" y="137"/>
                      <a:pt x="57" y="139"/>
                    </a:cubicBezTo>
                    <a:cubicBezTo>
                      <a:pt x="58" y="141"/>
                      <a:pt x="63" y="136"/>
                      <a:pt x="67" y="137"/>
                    </a:cubicBezTo>
                    <a:cubicBezTo>
                      <a:pt x="72" y="138"/>
                      <a:pt x="74" y="133"/>
                      <a:pt x="77" y="135"/>
                    </a:cubicBezTo>
                    <a:cubicBezTo>
                      <a:pt x="81" y="137"/>
                      <a:pt x="97" y="139"/>
                      <a:pt x="103" y="142"/>
                    </a:cubicBezTo>
                    <a:cubicBezTo>
                      <a:pt x="109" y="145"/>
                      <a:pt x="117" y="146"/>
                      <a:pt x="116" y="150"/>
                    </a:cubicBezTo>
                    <a:cubicBezTo>
                      <a:pt x="115" y="155"/>
                      <a:pt x="121" y="158"/>
                      <a:pt x="127" y="161"/>
                    </a:cubicBezTo>
                    <a:cubicBezTo>
                      <a:pt x="134" y="164"/>
                      <a:pt x="135" y="170"/>
                      <a:pt x="135" y="174"/>
                    </a:cubicBezTo>
                    <a:cubicBezTo>
                      <a:pt x="134" y="178"/>
                      <a:pt x="141" y="181"/>
                      <a:pt x="140" y="183"/>
                    </a:cubicBezTo>
                    <a:cubicBezTo>
                      <a:pt x="139" y="185"/>
                      <a:pt x="140" y="187"/>
                      <a:pt x="144" y="191"/>
                    </a:cubicBezTo>
                    <a:cubicBezTo>
                      <a:pt x="149" y="195"/>
                      <a:pt x="138" y="198"/>
                      <a:pt x="140" y="201"/>
                    </a:cubicBezTo>
                    <a:cubicBezTo>
                      <a:pt x="143" y="204"/>
                      <a:pt x="136" y="211"/>
                      <a:pt x="144" y="212"/>
                    </a:cubicBezTo>
                    <a:cubicBezTo>
                      <a:pt x="152" y="213"/>
                      <a:pt x="150" y="207"/>
                      <a:pt x="156" y="207"/>
                    </a:cubicBezTo>
                    <a:cubicBezTo>
                      <a:pt x="162" y="207"/>
                      <a:pt x="156" y="212"/>
                      <a:pt x="159" y="215"/>
                    </a:cubicBezTo>
                    <a:cubicBezTo>
                      <a:pt x="162" y="218"/>
                      <a:pt x="169" y="217"/>
                      <a:pt x="174" y="222"/>
                    </a:cubicBezTo>
                    <a:cubicBezTo>
                      <a:pt x="180" y="227"/>
                      <a:pt x="177" y="230"/>
                      <a:pt x="171" y="226"/>
                    </a:cubicBezTo>
                    <a:cubicBezTo>
                      <a:pt x="166" y="221"/>
                      <a:pt x="150" y="222"/>
                      <a:pt x="150" y="224"/>
                    </a:cubicBezTo>
                    <a:cubicBezTo>
                      <a:pt x="150" y="225"/>
                      <a:pt x="167" y="235"/>
                      <a:pt x="171" y="234"/>
                    </a:cubicBezTo>
                    <a:cubicBezTo>
                      <a:pt x="175" y="232"/>
                      <a:pt x="181" y="240"/>
                      <a:pt x="178" y="242"/>
                    </a:cubicBezTo>
                    <a:cubicBezTo>
                      <a:pt x="176" y="245"/>
                      <a:pt x="177" y="250"/>
                      <a:pt x="177" y="253"/>
                    </a:cubicBezTo>
                    <a:cubicBezTo>
                      <a:pt x="176" y="256"/>
                      <a:pt x="170" y="253"/>
                      <a:pt x="167" y="254"/>
                    </a:cubicBezTo>
                    <a:cubicBezTo>
                      <a:pt x="163" y="254"/>
                      <a:pt x="160" y="255"/>
                      <a:pt x="160" y="260"/>
                    </a:cubicBezTo>
                    <a:cubicBezTo>
                      <a:pt x="160" y="264"/>
                      <a:pt x="154" y="266"/>
                      <a:pt x="154" y="271"/>
                    </a:cubicBezTo>
                    <a:cubicBezTo>
                      <a:pt x="153" y="276"/>
                      <a:pt x="158" y="276"/>
                      <a:pt x="161" y="278"/>
                    </a:cubicBezTo>
                    <a:cubicBezTo>
                      <a:pt x="164" y="280"/>
                      <a:pt x="156" y="282"/>
                      <a:pt x="155" y="285"/>
                    </a:cubicBezTo>
                    <a:cubicBezTo>
                      <a:pt x="155" y="289"/>
                      <a:pt x="163" y="295"/>
                      <a:pt x="166" y="297"/>
                    </a:cubicBezTo>
                    <a:cubicBezTo>
                      <a:pt x="169" y="299"/>
                      <a:pt x="167" y="307"/>
                      <a:pt x="168" y="311"/>
                    </a:cubicBezTo>
                    <a:cubicBezTo>
                      <a:pt x="169" y="315"/>
                      <a:pt x="173" y="310"/>
                      <a:pt x="173" y="315"/>
                    </a:cubicBezTo>
                    <a:cubicBezTo>
                      <a:pt x="172" y="320"/>
                      <a:pt x="176" y="320"/>
                      <a:pt x="177" y="323"/>
                    </a:cubicBezTo>
                    <a:cubicBezTo>
                      <a:pt x="177" y="326"/>
                      <a:pt x="184" y="326"/>
                      <a:pt x="183" y="330"/>
                    </a:cubicBezTo>
                    <a:cubicBezTo>
                      <a:pt x="181" y="334"/>
                      <a:pt x="185" y="338"/>
                      <a:pt x="187" y="340"/>
                    </a:cubicBezTo>
                    <a:cubicBezTo>
                      <a:pt x="188" y="342"/>
                      <a:pt x="194" y="346"/>
                      <a:pt x="196" y="349"/>
                    </a:cubicBezTo>
                    <a:cubicBezTo>
                      <a:pt x="197" y="352"/>
                      <a:pt x="200" y="357"/>
                      <a:pt x="205" y="355"/>
                    </a:cubicBezTo>
                    <a:cubicBezTo>
                      <a:pt x="209" y="354"/>
                      <a:pt x="209" y="358"/>
                      <a:pt x="213" y="358"/>
                    </a:cubicBezTo>
                    <a:cubicBezTo>
                      <a:pt x="216" y="357"/>
                      <a:pt x="221" y="359"/>
                      <a:pt x="222" y="362"/>
                    </a:cubicBezTo>
                    <a:cubicBezTo>
                      <a:pt x="223" y="364"/>
                      <a:pt x="233" y="367"/>
                      <a:pt x="236" y="367"/>
                    </a:cubicBezTo>
                    <a:cubicBezTo>
                      <a:pt x="239" y="368"/>
                      <a:pt x="239" y="362"/>
                      <a:pt x="242" y="361"/>
                    </a:cubicBezTo>
                    <a:cubicBezTo>
                      <a:pt x="245" y="360"/>
                      <a:pt x="244" y="349"/>
                      <a:pt x="246" y="348"/>
                    </a:cubicBezTo>
                    <a:cubicBezTo>
                      <a:pt x="248" y="348"/>
                      <a:pt x="248" y="337"/>
                      <a:pt x="245" y="336"/>
                    </a:cubicBezTo>
                    <a:cubicBezTo>
                      <a:pt x="243" y="335"/>
                      <a:pt x="244" y="331"/>
                      <a:pt x="249" y="332"/>
                    </a:cubicBezTo>
                    <a:cubicBezTo>
                      <a:pt x="255" y="333"/>
                      <a:pt x="253" y="327"/>
                      <a:pt x="256" y="326"/>
                    </a:cubicBezTo>
                    <a:cubicBezTo>
                      <a:pt x="258" y="326"/>
                      <a:pt x="257" y="321"/>
                      <a:pt x="259" y="320"/>
                    </a:cubicBezTo>
                    <a:cubicBezTo>
                      <a:pt x="261" y="320"/>
                      <a:pt x="261" y="316"/>
                      <a:pt x="259" y="314"/>
                    </a:cubicBezTo>
                    <a:cubicBezTo>
                      <a:pt x="258" y="313"/>
                      <a:pt x="259" y="311"/>
                      <a:pt x="262" y="311"/>
                    </a:cubicBezTo>
                    <a:cubicBezTo>
                      <a:pt x="265" y="310"/>
                      <a:pt x="264" y="306"/>
                      <a:pt x="261" y="305"/>
                    </a:cubicBezTo>
                    <a:cubicBezTo>
                      <a:pt x="257" y="303"/>
                      <a:pt x="258" y="299"/>
                      <a:pt x="262" y="302"/>
                    </a:cubicBezTo>
                    <a:cubicBezTo>
                      <a:pt x="266" y="304"/>
                      <a:pt x="268" y="302"/>
                      <a:pt x="266" y="299"/>
                    </a:cubicBezTo>
                    <a:cubicBezTo>
                      <a:pt x="264" y="297"/>
                      <a:pt x="269" y="295"/>
                      <a:pt x="274" y="295"/>
                    </a:cubicBezTo>
                    <a:cubicBezTo>
                      <a:pt x="279" y="294"/>
                      <a:pt x="281" y="292"/>
                      <a:pt x="281" y="288"/>
                    </a:cubicBezTo>
                    <a:cubicBezTo>
                      <a:pt x="280" y="284"/>
                      <a:pt x="286" y="284"/>
                      <a:pt x="285" y="288"/>
                    </a:cubicBezTo>
                    <a:cubicBezTo>
                      <a:pt x="283" y="291"/>
                      <a:pt x="284" y="294"/>
                      <a:pt x="286" y="292"/>
                    </a:cubicBezTo>
                    <a:cubicBezTo>
                      <a:pt x="289" y="289"/>
                      <a:pt x="293" y="291"/>
                      <a:pt x="301" y="289"/>
                    </a:cubicBezTo>
                    <a:cubicBezTo>
                      <a:pt x="309" y="286"/>
                      <a:pt x="317" y="280"/>
                      <a:pt x="319" y="273"/>
                    </a:cubicBezTo>
                    <a:cubicBezTo>
                      <a:pt x="321" y="267"/>
                      <a:pt x="330" y="268"/>
                      <a:pt x="329" y="263"/>
                    </a:cubicBezTo>
                    <a:cubicBezTo>
                      <a:pt x="328" y="259"/>
                      <a:pt x="331" y="257"/>
                      <a:pt x="337" y="260"/>
                    </a:cubicBezTo>
                    <a:cubicBezTo>
                      <a:pt x="343" y="263"/>
                      <a:pt x="338" y="258"/>
                      <a:pt x="344" y="258"/>
                    </a:cubicBezTo>
                    <a:cubicBezTo>
                      <a:pt x="351" y="258"/>
                      <a:pt x="350" y="256"/>
                      <a:pt x="356" y="256"/>
                    </a:cubicBezTo>
                    <a:cubicBezTo>
                      <a:pt x="363" y="255"/>
                      <a:pt x="379" y="253"/>
                      <a:pt x="385" y="248"/>
                    </a:cubicBezTo>
                    <a:cubicBezTo>
                      <a:pt x="391" y="243"/>
                      <a:pt x="403" y="239"/>
                      <a:pt x="408" y="236"/>
                    </a:cubicBezTo>
                    <a:cubicBezTo>
                      <a:pt x="413" y="233"/>
                      <a:pt x="414" y="230"/>
                      <a:pt x="411" y="232"/>
                    </a:cubicBezTo>
                    <a:cubicBezTo>
                      <a:pt x="408" y="234"/>
                      <a:pt x="402" y="234"/>
                      <a:pt x="397" y="233"/>
                    </a:cubicBezTo>
                    <a:cubicBezTo>
                      <a:pt x="392" y="231"/>
                      <a:pt x="384" y="227"/>
                      <a:pt x="379" y="230"/>
                    </a:cubicBezTo>
                    <a:cubicBezTo>
                      <a:pt x="373" y="234"/>
                      <a:pt x="377" y="226"/>
                      <a:pt x="381" y="225"/>
                    </a:cubicBezTo>
                    <a:cubicBezTo>
                      <a:pt x="386" y="225"/>
                      <a:pt x="384" y="222"/>
                      <a:pt x="383" y="218"/>
                    </a:cubicBezTo>
                    <a:cubicBezTo>
                      <a:pt x="382" y="213"/>
                      <a:pt x="390" y="216"/>
                      <a:pt x="394" y="221"/>
                    </a:cubicBezTo>
                    <a:cubicBezTo>
                      <a:pt x="398" y="227"/>
                      <a:pt x="405" y="229"/>
                      <a:pt x="412" y="227"/>
                    </a:cubicBezTo>
                    <a:cubicBezTo>
                      <a:pt x="418" y="226"/>
                      <a:pt x="412" y="220"/>
                      <a:pt x="415" y="217"/>
                    </a:cubicBezTo>
                    <a:cubicBezTo>
                      <a:pt x="417" y="213"/>
                      <a:pt x="395" y="202"/>
                      <a:pt x="394" y="198"/>
                    </a:cubicBezTo>
                    <a:cubicBezTo>
                      <a:pt x="393" y="194"/>
                      <a:pt x="399" y="197"/>
                      <a:pt x="406" y="200"/>
                    </a:cubicBezTo>
                    <a:cubicBezTo>
                      <a:pt x="412" y="202"/>
                      <a:pt x="413" y="195"/>
                      <a:pt x="413" y="191"/>
                    </a:cubicBezTo>
                    <a:cubicBezTo>
                      <a:pt x="413" y="188"/>
                      <a:pt x="400" y="188"/>
                      <a:pt x="394" y="191"/>
                    </a:cubicBezTo>
                    <a:cubicBezTo>
                      <a:pt x="388" y="194"/>
                      <a:pt x="382" y="187"/>
                      <a:pt x="390" y="186"/>
                    </a:cubicBezTo>
                    <a:cubicBezTo>
                      <a:pt x="398" y="185"/>
                      <a:pt x="391" y="182"/>
                      <a:pt x="393" y="179"/>
                    </a:cubicBezTo>
                    <a:cubicBezTo>
                      <a:pt x="396" y="177"/>
                      <a:pt x="406" y="186"/>
                      <a:pt x="411" y="184"/>
                    </a:cubicBezTo>
                    <a:cubicBezTo>
                      <a:pt x="417" y="183"/>
                      <a:pt x="420" y="185"/>
                      <a:pt x="425" y="181"/>
                    </a:cubicBezTo>
                    <a:cubicBezTo>
                      <a:pt x="429" y="177"/>
                      <a:pt x="417" y="174"/>
                      <a:pt x="414" y="171"/>
                    </a:cubicBezTo>
                    <a:cubicBezTo>
                      <a:pt x="412" y="168"/>
                      <a:pt x="427" y="169"/>
                      <a:pt x="432" y="169"/>
                    </a:cubicBezTo>
                    <a:cubicBezTo>
                      <a:pt x="437" y="170"/>
                      <a:pt x="438" y="162"/>
                      <a:pt x="434" y="164"/>
                    </a:cubicBezTo>
                    <a:cubicBezTo>
                      <a:pt x="430" y="165"/>
                      <a:pt x="417" y="159"/>
                      <a:pt x="420" y="155"/>
                    </a:cubicBezTo>
                    <a:cubicBezTo>
                      <a:pt x="422" y="151"/>
                      <a:pt x="428" y="156"/>
                      <a:pt x="434" y="152"/>
                    </a:cubicBezTo>
                    <a:cubicBezTo>
                      <a:pt x="440" y="149"/>
                      <a:pt x="434" y="138"/>
                      <a:pt x="430" y="138"/>
                    </a:cubicBezTo>
                    <a:cubicBezTo>
                      <a:pt x="426" y="138"/>
                      <a:pt x="416" y="136"/>
                      <a:pt x="416" y="134"/>
                    </a:cubicBezTo>
                    <a:cubicBezTo>
                      <a:pt x="416" y="132"/>
                      <a:pt x="407" y="130"/>
                      <a:pt x="410" y="128"/>
                    </a:cubicBezTo>
                    <a:cubicBezTo>
                      <a:pt x="412" y="126"/>
                      <a:pt x="415" y="131"/>
                      <a:pt x="421" y="127"/>
                    </a:cubicBezTo>
                    <a:cubicBezTo>
                      <a:pt x="426" y="123"/>
                      <a:pt x="437" y="128"/>
                      <a:pt x="442" y="127"/>
                    </a:cubicBezTo>
                    <a:cubicBezTo>
                      <a:pt x="447" y="126"/>
                      <a:pt x="440" y="116"/>
                      <a:pt x="437" y="118"/>
                    </a:cubicBezTo>
                    <a:cubicBezTo>
                      <a:pt x="435" y="120"/>
                      <a:pt x="425" y="120"/>
                      <a:pt x="424" y="115"/>
                    </a:cubicBezTo>
                    <a:cubicBezTo>
                      <a:pt x="423" y="110"/>
                      <a:pt x="433" y="115"/>
                      <a:pt x="435" y="113"/>
                    </a:cubicBezTo>
                    <a:cubicBezTo>
                      <a:pt x="437" y="110"/>
                      <a:pt x="421" y="104"/>
                      <a:pt x="419" y="109"/>
                    </a:cubicBezTo>
                    <a:cubicBezTo>
                      <a:pt x="417" y="114"/>
                      <a:pt x="408" y="113"/>
                      <a:pt x="412" y="110"/>
                    </a:cubicBezTo>
                    <a:cubicBezTo>
                      <a:pt x="417" y="107"/>
                      <a:pt x="418" y="99"/>
                      <a:pt x="417" y="95"/>
                    </a:cubicBezTo>
                    <a:cubicBezTo>
                      <a:pt x="417" y="91"/>
                      <a:pt x="434" y="90"/>
                      <a:pt x="432" y="84"/>
                    </a:cubicBezTo>
                    <a:cubicBezTo>
                      <a:pt x="430" y="77"/>
                      <a:pt x="440" y="76"/>
                      <a:pt x="445" y="76"/>
                    </a:cubicBezTo>
                    <a:cubicBezTo>
                      <a:pt x="451" y="76"/>
                      <a:pt x="445" y="69"/>
                      <a:pt x="440" y="69"/>
                    </a:cubicBezTo>
                    <a:cubicBezTo>
                      <a:pt x="434" y="70"/>
                      <a:pt x="429" y="76"/>
                      <a:pt x="426" y="74"/>
                    </a:cubicBezTo>
                    <a:cubicBezTo>
                      <a:pt x="424" y="71"/>
                      <a:pt x="432" y="67"/>
                      <a:pt x="437" y="67"/>
                    </a:cubicBezTo>
                    <a:cubicBezTo>
                      <a:pt x="442" y="67"/>
                      <a:pt x="453" y="66"/>
                      <a:pt x="457" y="64"/>
                    </a:cubicBezTo>
                    <a:cubicBezTo>
                      <a:pt x="461" y="62"/>
                      <a:pt x="450" y="60"/>
                      <a:pt x="443" y="60"/>
                    </a:cubicBezTo>
                    <a:cubicBezTo>
                      <a:pt x="435" y="61"/>
                      <a:pt x="435" y="58"/>
                      <a:pt x="446" y="58"/>
                    </a:cubicBezTo>
                    <a:cubicBezTo>
                      <a:pt x="458" y="58"/>
                      <a:pt x="456" y="55"/>
                      <a:pt x="464" y="54"/>
                    </a:cubicBezTo>
                    <a:cubicBezTo>
                      <a:pt x="472" y="53"/>
                      <a:pt x="470" y="50"/>
                      <a:pt x="475" y="50"/>
                    </a:cubicBezTo>
                    <a:cubicBezTo>
                      <a:pt x="480" y="50"/>
                      <a:pt x="493" y="44"/>
                      <a:pt x="493" y="41"/>
                    </a:cubicBezTo>
                    <a:cubicBezTo>
                      <a:pt x="493" y="39"/>
                      <a:pt x="474" y="34"/>
                      <a:pt x="465" y="34"/>
                    </a:cubicBezTo>
                    <a:close/>
                    <a:moveTo>
                      <a:pt x="169" y="241"/>
                    </a:moveTo>
                    <a:cubicBezTo>
                      <a:pt x="169" y="237"/>
                      <a:pt x="165" y="239"/>
                      <a:pt x="162" y="235"/>
                    </a:cubicBezTo>
                    <a:cubicBezTo>
                      <a:pt x="160" y="230"/>
                      <a:pt x="148" y="228"/>
                      <a:pt x="147" y="232"/>
                    </a:cubicBezTo>
                    <a:cubicBezTo>
                      <a:pt x="146" y="233"/>
                      <a:pt x="142" y="235"/>
                      <a:pt x="145" y="239"/>
                    </a:cubicBezTo>
                    <a:cubicBezTo>
                      <a:pt x="149" y="242"/>
                      <a:pt x="151" y="241"/>
                      <a:pt x="154" y="244"/>
                    </a:cubicBezTo>
                    <a:cubicBezTo>
                      <a:pt x="158" y="247"/>
                      <a:pt x="169" y="245"/>
                      <a:pt x="169" y="24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9" name="Freeform 127">
                <a:extLst>
                  <a:ext uri="{FF2B5EF4-FFF2-40B4-BE49-F238E27FC236}">
                    <a16:creationId xmlns:a16="http://schemas.microsoft.com/office/drawing/2014/main" id="{7F1FC9B7-0096-47E5-A400-B2BBDD7BE3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5409" y="2456146"/>
                <a:ext cx="718958" cy="495617"/>
              </a:xfrm>
              <a:custGeom>
                <a:avLst/>
                <a:gdLst>
                  <a:gd name="T0" fmla="*/ 285 w 312"/>
                  <a:gd name="T1" fmla="*/ 178 h 215"/>
                  <a:gd name="T2" fmla="*/ 249 w 312"/>
                  <a:gd name="T3" fmla="*/ 163 h 215"/>
                  <a:gd name="T4" fmla="*/ 230 w 312"/>
                  <a:gd name="T5" fmla="*/ 147 h 215"/>
                  <a:gd name="T6" fmla="*/ 218 w 312"/>
                  <a:gd name="T7" fmla="*/ 25 h 215"/>
                  <a:gd name="T8" fmla="*/ 182 w 312"/>
                  <a:gd name="T9" fmla="*/ 20 h 215"/>
                  <a:gd name="T10" fmla="*/ 132 w 312"/>
                  <a:gd name="T11" fmla="*/ 14 h 215"/>
                  <a:gd name="T12" fmla="*/ 110 w 312"/>
                  <a:gd name="T13" fmla="*/ 8 h 215"/>
                  <a:gd name="T14" fmla="*/ 96 w 312"/>
                  <a:gd name="T15" fmla="*/ 7 h 215"/>
                  <a:gd name="T16" fmla="*/ 85 w 312"/>
                  <a:gd name="T17" fmla="*/ 6 h 215"/>
                  <a:gd name="T18" fmla="*/ 66 w 312"/>
                  <a:gd name="T19" fmla="*/ 15 h 215"/>
                  <a:gd name="T20" fmla="*/ 39 w 312"/>
                  <a:gd name="T21" fmla="*/ 24 h 215"/>
                  <a:gd name="T22" fmla="*/ 13 w 312"/>
                  <a:gd name="T23" fmla="*/ 42 h 215"/>
                  <a:gd name="T24" fmla="*/ 49 w 312"/>
                  <a:gd name="T25" fmla="*/ 62 h 215"/>
                  <a:gd name="T26" fmla="*/ 50 w 312"/>
                  <a:gd name="T27" fmla="*/ 73 h 215"/>
                  <a:gd name="T28" fmla="*/ 33 w 312"/>
                  <a:gd name="T29" fmla="*/ 69 h 215"/>
                  <a:gd name="T30" fmla="*/ 12 w 312"/>
                  <a:gd name="T31" fmla="*/ 75 h 215"/>
                  <a:gd name="T32" fmla="*/ 11 w 312"/>
                  <a:gd name="T33" fmla="*/ 90 h 215"/>
                  <a:gd name="T34" fmla="*/ 42 w 312"/>
                  <a:gd name="T35" fmla="*/ 97 h 215"/>
                  <a:gd name="T36" fmla="*/ 55 w 312"/>
                  <a:gd name="T37" fmla="*/ 108 h 215"/>
                  <a:gd name="T38" fmla="*/ 30 w 312"/>
                  <a:gd name="T39" fmla="*/ 112 h 215"/>
                  <a:gd name="T40" fmla="*/ 15 w 312"/>
                  <a:gd name="T41" fmla="*/ 134 h 215"/>
                  <a:gd name="T42" fmla="*/ 32 w 312"/>
                  <a:gd name="T43" fmla="*/ 156 h 215"/>
                  <a:gd name="T44" fmla="*/ 49 w 312"/>
                  <a:gd name="T45" fmla="*/ 160 h 215"/>
                  <a:gd name="T46" fmla="*/ 68 w 312"/>
                  <a:gd name="T47" fmla="*/ 168 h 215"/>
                  <a:gd name="T48" fmla="*/ 85 w 312"/>
                  <a:gd name="T49" fmla="*/ 166 h 215"/>
                  <a:gd name="T50" fmla="*/ 73 w 312"/>
                  <a:gd name="T51" fmla="*/ 191 h 215"/>
                  <a:gd name="T52" fmla="*/ 41 w 312"/>
                  <a:gd name="T53" fmla="*/ 212 h 215"/>
                  <a:gd name="T54" fmla="*/ 60 w 312"/>
                  <a:gd name="T55" fmla="*/ 204 h 215"/>
                  <a:gd name="T56" fmla="*/ 78 w 312"/>
                  <a:gd name="T57" fmla="*/ 196 h 215"/>
                  <a:gd name="T58" fmla="*/ 104 w 312"/>
                  <a:gd name="T59" fmla="*/ 178 h 215"/>
                  <a:gd name="T60" fmla="*/ 117 w 312"/>
                  <a:gd name="T61" fmla="*/ 166 h 215"/>
                  <a:gd name="T62" fmla="*/ 123 w 312"/>
                  <a:gd name="T63" fmla="*/ 152 h 215"/>
                  <a:gd name="T64" fmla="*/ 139 w 312"/>
                  <a:gd name="T65" fmla="*/ 136 h 215"/>
                  <a:gd name="T66" fmla="*/ 136 w 312"/>
                  <a:gd name="T67" fmla="*/ 143 h 215"/>
                  <a:gd name="T68" fmla="*/ 130 w 312"/>
                  <a:gd name="T69" fmla="*/ 160 h 215"/>
                  <a:gd name="T70" fmla="*/ 161 w 312"/>
                  <a:gd name="T71" fmla="*/ 153 h 215"/>
                  <a:gd name="T72" fmla="*/ 160 w 312"/>
                  <a:gd name="T73" fmla="*/ 140 h 215"/>
                  <a:gd name="T74" fmla="*/ 177 w 312"/>
                  <a:gd name="T75" fmla="*/ 143 h 215"/>
                  <a:gd name="T76" fmla="*/ 181 w 312"/>
                  <a:gd name="T77" fmla="*/ 148 h 215"/>
                  <a:gd name="T78" fmla="*/ 196 w 312"/>
                  <a:gd name="T79" fmla="*/ 151 h 215"/>
                  <a:gd name="T80" fmla="*/ 231 w 312"/>
                  <a:gd name="T81" fmla="*/ 153 h 215"/>
                  <a:gd name="T82" fmla="*/ 243 w 312"/>
                  <a:gd name="T83" fmla="*/ 165 h 215"/>
                  <a:gd name="T84" fmla="*/ 263 w 312"/>
                  <a:gd name="T85" fmla="*/ 172 h 215"/>
                  <a:gd name="T86" fmla="*/ 268 w 312"/>
                  <a:gd name="T87" fmla="*/ 177 h 215"/>
                  <a:gd name="T88" fmla="*/ 263 w 312"/>
                  <a:gd name="T89" fmla="*/ 185 h 215"/>
                  <a:gd name="T90" fmla="*/ 268 w 312"/>
                  <a:gd name="T91" fmla="*/ 186 h 215"/>
                  <a:gd name="T92" fmla="*/ 275 w 312"/>
                  <a:gd name="T93" fmla="*/ 184 h 215"/>
                  <a:gd name="T94" fmla="*/ 277 w 312"/>
                  <a:gd name="T95" fmla="*/ 187 h 215"/>
                  <a:gd name="T96" fmla="*/ 277 w 312"/>
                  <a:gd name="T97" fmla="*/ 195 h 215"/>
                  <a:gd name="T98" fmla="*/ 286 w 312"/>
                  <a:gd name="T99" fmla="*/ 195 h 215"/>
                  <a:gd name="T100" fmla="*/ 288 w 312"/>
                  <a:gd name="T101" fmla="*/ 203 h 215"/>
                  <a:gd name="T102" fmla="*/ 282 w 312"/>
                  <a:gd name="T103" fmla="*/ 214 h 215"/>
                  <a:gd name="T104" fmla="*/ 291 w 312"/>
                  <a:gd name="T105" fmla="*/ 208 h 215"/>
                  <a:gd name="T106" fmla="*/ 300 w 312"/>
                  <a:gd name="T107" fmla="*/ 213 h 215"/>
                  <a:gd name="T108" fmla="*/ 309 w 312"/>
                  <a:gd name="T109" fmla="*/ 211 h 2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312" h="215">
                    <a:moveTo>
                      <a:pt x="307" y="203"/>
                    </a:moveTo>
                    <a:cubicBezTo>
                      <a:pt x="308" y="200"/>
                      <a:pt x="308" y="198"/>
                      <a:pt x="299" y="195"/>
                    </a:cubicBezTo>
                    <a:cubicBezTo>
                      <a:pt x="290" y="191"/>
                      <a:pt x="291" y="189"/>
                      <a:pt x="285" y="178"/>
                    </a:cubicBezTo>
                    <a:cubicBezTo>
                      <a:pt x="279" y="167"/>
                      <a:pt x="268" y="162"/>
                      <a:pt x="268" y="158"/>
                    </a:cubicBezTo>
                    <a:cubicBezTo>
                      <a:pt x="268" y="154"/>
                      <a:pt x="257" y="155"/>
                      <a:pt x="257" y="158"/>
                    </a:cubicBezTo>
                    <a:cubicBezTo>
                      <a:pt x="257" y="161"/>
                      <a:pt x="252" y="162"/>
                      <a:pt x="249" y="163"/>
                    </a:cubicBezTo>
                    <a:cubicBezTo>
                      <a:pt x="247" y="165"/>
                      <a:pt x="246" y="162"/>
                      <a:pt x="243" y="159"/>
                    </a:cubicBezTo>
                    <a:cubicBezTo>
                      <a:pt x="241" y="156"/>
                      <a:pt x="235" y="153"/>
                      <a:pt x="235" y="151"/>
                    </a:cubicBezTo>
                    <a:cubicBezTo>
                      <a:pt x="235" y="149"/>
                      <a:pt x="234" y="145"/>
                      <a:pt x="230" y="147"/>
                    </a:cubicBezTo>
                    <a:cubicBezTo>
                      <a:pt x="226" y="149"/>
                      <a:pt x="224" y="147"/>
                      <a:pt x="222" y="149"/>
                    </a:cubicBezTo>
                    <a:cubicBezTo>
                      <a:pt x="221" y="150"/>
                      <a:pt x="218" y="148"/>
                      <a:pt x="218" y="148"/>
                    </a:cubicBezTo>
                    <a:cubicBezTo>
                      <a:pt x="218" y="25"/>
                      <a:pt x="218" y="25"/>
                      <a:pt x="218" y="25"/>
                    </a:cubicBezTo>
                    <a:cubicBezTo>
                      <a:pt x="217" y="24"/>
                      <a:pt x="215" y="24"/>
                      <a:pt x="214" y="24"/>
                    </a:cubicBezTo>
                    <a:cubicBezTo>
                      <a:pt x="209" y="22"/>
                      <a:pt x="202" y="18"/>
                      <a:pt x="197" y="19"/>
                    </a:cubicBezTo>
                    <a:cubicBezTo>
                      <a:pt x="193" y="20"/>
                      <a:pt x="185" y="21"/>
                      <a:pt x="182" y="20"/>
                    </a:cubicBezTo>
                    <a:cubicBezTo>
                      <a:pt x="179" y="18"/>
                      <a:pt x="175" y="17"/>
                      <a:pt x="170" y="18"/>
                    </a:cubicBezTo>
                    <a:cubicBezTo>
                      <a:pt x="164" y="19"/>
                      <a:pt x="160" y="15"/>
                      <a:pt x="152" y="13"/>
                    </a:cubicBezTo>
                    <a:cubicBezTo>
                      <a:pt x="145" y="11"/>
                      <a:pt x="134" y="13"/>
                      <a:pt x="132" y="14"/>
                    </a:cubicBezTo>
                    <a:cubicBezTo>
                      <a:pt x="129" y="15"/>
                      <a:pt x="130" y="12"/>
                      <a:pt x="127" y="12"/>
                    </a:cubicBezTo>
                    <a:cubicBezTo>
                      <a:pt x="124" y="12"/>
                      <a:pt x="126" y="11"/>
                      <a:pt x="124" y="8"/>
                    </a:cubicBezTo>
                    <a:cubicBezTo>
                      <a:pt x="123" y="5"/>
                      <a:pt x="114" y="8"/>
                      <a:pt x="110" y="8"/>
                    </a:cubicBezTo>
                    <a:cubicBezTo>
                      <a:pt x="107" y="8"/>
                      <a:pt x="106" y="6"/>
                      <a:pt x="106" y="5"/>
                    </a:cubicBezTo>
                    <a:cubicBezTo>
                      <a:pt x="107" y="3"/>
                      <a:pt x="104" y="4"/>
                      <a:pt x="102" y="6"/>
                    </a:cubicBezTo>
                    <a:cubicBezTo>
                      <a:pt x="101" y="8"/>
                      <a:pt x="98" y="8"/>
                      <a:pt x="96" y="7"/>
                    </a:cubicBezTo>
                    <a:cubicBezTo>
                      <a:pt x="95" y="6"/>
                      <a:pt x="99" y="5"/>
                      <a:pt x="99" y="3"/>
                    </a:cubicBezTo>
                    <a:cubicBezTo>
                      <a:pt x="100" y="2"/>
                      <a:pt x="95" y="1"/>
                      <a:pt x="93" y="0"/>
                    </a:cubicBezTo>
                    <a:cubicBezTo>
                      <a:pt x="91" y="0"/>
                      <a:pt x="88" y="2"/>
                      <a:pt x="85" y="6"/>
                    </a:cubicBezTo>
                    <a:cubicBezTo>
                      <a:pt x="81" y="9"/>
                      <a:pt x="75" y="9"/>
                      <a:pt x="72" y="8"/>
                    </a:cubicBezTo>
                    <a:cubicBezTo>
                      <a:pt x="68" y="8"/>
                      <a:pt x="64" y="9"/>
                      <a:pt x="64" y="11"/>
                    </a:cubicBezTo>
                    <a:cubicBezTo>
                      <a:pt x="65" y="13"/>
                      <a:pt x="69" y="12"/>
                      <a:pt x="66" y="15"/>
                    </a:cubicBezTo>
                    <a:cubicBezTo>
                      <a:pt x="64" y="17"/>
                      <a:pt x="63" y="11"/>
                      <a:pt x="60" y="14"/>
                    </a:cubicBezTo>
                    <a:cubicBezTo>
                      <a:pt x="58" y="17"/>
                      <a:pt x="50" y="17"/>
                      <a:pt x="48" y="16"/>
                    </a:cubicBezTo>
                    <a:cubicBezTo>
                      <a:pt x="47" y="16"/>
                      <a:pt x="41" y="22"/>
                      <a:pt x="39" y="24"/>
                    </a:cubicBezTo>
                    <a:cubicBezTo>
                      <a:pt x="37" y="26"/>
                      <a:pt x="40" y="28"/>
                      <a:pt x="36" y="33"/>
                    </a:cubicBezTo>
                    <a:cubicBezTo>
                      <a:pt x="31" y="38"/>
                      <a:pt x="18" y="37"/>
                      <a:pt x="15" y="37"/>
                    </a:cubicBezTo>
                    <a:cubicBezTo>
                      <a:pt x="13" y="37"/>
                      <a:pt x="15" y="40"/>
                      <a:pt x="13" y="42"/>
                    </a:cubicBezTo>
                    <a:cubicBezTo>
                      <a:pt x="12" y="44"/>
                      <a:pt x="15" y="46"/>
                      <a:pt x="22" y="47"/>
                    </a:cubicBezTo>
                    <a:cubicBezTo>
                      <a:pt x="29" y="49"/>
                      <a:pt x="34" y="59"/>
                      <a:pt x="35" y="61"/>
                    </a:cubicBezTo>
                    <a:cubicBezTo>
                      <a:pt x="36" y="64"/>
                      <a:pt x="45" y="61"/>
                      <a:pt x="49" y="62"/>
                    </a:cubicBezTo>
                    <a:cubicBezTo>
                      <a:pt x="52" y="62"/>
                      <a:pt x="48" y="67"/>
                      <a:pt x="52" y="69"/>
                    </a:cubicBezTo>
                    <a:cubicBezTo>
                      <a:pt x="55" y="70"/>
                      <a:pt x="59" y="68"/>
                      <a:pt x="60" y="70"/>
                    </a:cubicBezTo>
                    <a:cubicBezTo>
                      <a:pt x="61" y="73"/>
                      <a:pt x="54" y="70"/>
                      <a:pt x="50" y="73"/>
                    </a:cubicBezTo>
                    <a:cubicBezTo>
                      <a:pt x="47" y="76"/>
                      <a:pt x="45" y="77"/>
                      <a:pt x="44" y="75"/>
                    </a:cubicBezTo>
                    <a:cubicBezTo>
                      <a:pt x="42" y="73"/>
                      <a:pt x="36" y="74"/>
                      <a:pt x="33" y="75"/>
                    </a:cubicBezTo>
                    <a:cubicBezTo>
                      <a:pt x="30" y="75"/>
                      <a:pt x="33" y="71"/>
                      <a:pt x="33" y="69"/>
                    </a:cubicBezTo>
                    <a:cubicBezTo>
                      <a:pt x="34" y="67"/>
                      <a:pt x="29" y="66"/>
                      <a:pt x="23" y="70"/>
                    </a:cubicBezTo>
                    <a:cubicBezTo>
                      <a:pt x="17" y="73"/>
                      <a:pt x="20" y="72"/>
                      <a:pt x="19" y="74"/>
                    </a:cubicBezTo>
                    <a:cubicBezTo>
                      <a:pt x="18" y="77"/>
                      <a:pt x="16" y="73"/>
                      <a:pt x="12" y="75"/>
                    </a:cubicBezTo>
                    <a:cubicBezTo>
                      <a:pt x="8" y="77"/>
                      <a:pt x="2" y="79"/>
                      <a:pt x="1" y="81"/>
                    </a:cubicBezTo>
                    <a:cubicBezTo>
                      <a:pt x="0" y="84"/>
                      <a:pt x="9" y="85"/>
                      <a:pt x="13" y="86"/>
                    </a:cubicBezTo>
                    <a:cubicBezTo>
                      <a:pt x="16" y="87"/>
                      <a:pt x="8" y="89"/>
                      <a:pt x="11" y="90"/>
                    </a:cubicBezTo>
                    <a:cubicBezTo>
                      <a:pt x="14" y="91"/>
                      <a:pt x="13" y="93"/>
                      <a:pt x="17" y="96"/>
                    </a:cubicBezTo>
                    <a:cubicBezTo>
                      <a:pt x="22" y="98"/>
                      <a:pt x="32" y="96"/>
                      <a:pt x="34" y="96"/>
                    </a:cubicBezTo>
                    <a:cubicBezTo>
                      <a:pt x="37" y="96"/>
                      <a:pt x="40" y="99"/>
                      <a:pt x="42" y="97"/>
                    </a:cubicBezTo>
                    <a:cubicBezTo>
                      <a:pt x="44" y="94"/>
                      <a:pt x="52" y="88"/>
                      <a:pt x="56" y="92"/>
                    </a:cubicBezTo>
                    <a:cubicBezTo>
                      <a:pt x="60" y="95"/>
                      <a:pt x="52" y="95"/>
                      <a:pt x="54" y="97"/>
                    </a:cubicBezTo>
                    <a:cubicBezTo>
                      <a:pt x="56" y="100"/>
                      <a:pt x="58" y="105"/>
                      <a:pt x="55" y="108"/>
                    </a:cubicBezTo>
                    <a:cubicBezTo>
                      <a:pt x="51" y="111"/>
                      <a:pt x="47" y="109"/>
                      <a:pt x="45" y="109"/>
                    </a:cubicBezTo>
                    <a:cubicBezTo>
                      <a:pt x="43" y="108"/>
                      <a:pt x="44" y="113"/>
                      <a:pt x="40" y="115"/>
                    </a:cubicBezTo>
                    <a:cubicBezTo>
                      <a:pt x="37" y="118"/>
                      <a:pt x="35" y="112"/>
                      <a:pt x="30" y="112"/>
                    </a:cubicBezTo>
                    <a:cubicBezTo>
                      <a:pt x="26" y="112"/>
                      <a:pt x="27" y="118"/>
                      <a:pt x="27" y="121"/>
                    </a:cubicBezTo>
                    <a:cubicBezTo>
                      <a:pt x="27" y="123"/>
                      <a:pt x="21" y="120"/>
                      <a:pt x="19" y="126"/>
                    </a:cubicBezTo>
                    <a:cubicBezTo>
                      <a:pt x="17" y="133"/>
                      <a:pt x="11" y="127"/>
                      <a:pt x="15" y="134"/>
                    </a:cubicBezTo>
                    <a:cubicBezTo>
                      <a:pt x="20" y="140"/>
                      <a:pt x="19" y="136"/>
                      <a:pt x="22" y="138"/>
                    </a:cubicBezTo>
                    <a:cubicBezTo>
                      <a:pt x="26" y="141"/>
                      <a:pt x="19" y="145"/>
                      <a:pt x="22" y="146"/>
                    </a:cubicBezTo>
                    <a:cubicBezTo>
                      <a:pt x="26" y="147"/>
                      <a:pt x="30" y="153"/>
                      <a:pt x="32" y="156"/>
                    </a:cubicBezTo>
                    <a:cubicBezTo>
                      <a:pt x="35" y="158"/>
                      <a:pt x="38" y="154"/>
                      <a:pt x="42" y="154"/>
                    </a:cubicBezTo>
                    <a:cubicBezTo>
                      <a:pt x="45" y="154"/>
                      <a:pt x="44" y="149"/>
                      <a:pt x="46" y="151"/>
                    </a:cubicBezTo>
                    <a:cubicBezTo>
                      <a:pt x="48" y="153"/>
                      <a:pt x="51" y="158"/>
                      <a:pt x="49" y="160"/>
                    </a:cubicBezTo>
                    <a:cubicBezTo>
                      <a:pt x="47" y="161"/>
                      <a:pt x="48" y="166"/>
                      <a:pt x="48" y="168"/>
                    </a:cubicBezTo>
                    <a:cubicBezTo>
                      <a:pt x="48" y="170"/>
                      <a:pt x="56" y="169"/>
                      <a:pt x="57" y="167"/>
                    </a:cubicBezTo>
                    <a:cubicBezTo>
                      <a:pt x="57" y="164"/>
                      <a:pt x="64" y="164"/>
                      <a:pt x="68" y="168"/>
                    </a:cubicBezTo>
                    <a:cubicBezTo>
                      <a:pt x="72" y="172"/>
                      <a:pt x="73" y="172"/>
                      <a:pt x="73" y="169"/>
                    </a:cubicBezTo>
                    <a:cubicBezTo>
                      <a:pt x="73" y="166"/>
                      <a:pt x="76" y="163"/>
                      <a:pt x="76" y="165"/>
                    </a:cubicBezTo>
                    <a:cubicBezTo>
                      <a:pt x="76" y="168"/>
                      <a:pt x="80" y="169"/>
                      <a:pt x="85" y="166"/>
                    </a:cubicBezTo>
                    <a:cubicBezTo>
                      <a:pt x="91" y="164"/>
                      <a:pt x="88" y="166"/>
                      <a:pt x="85" y="170"/>
                    </a:cubicBezTo>
                    <a:cubicBezTo>
                      <a:pt x="81" y="175"/>
                      <a:pt x="85" y="182"/>
                      <a:pt x="82" y="183"/>
                    </a:cubicBezTo>
                    <a:cubicBezTo>
                      <a:pt x="80" y="183"/>
                      <a:pt x="77" y="191"/>
                      <a:pt x="73" y="191"/>
                    </a:cubicBezTo>
                    <a:cubicBezTo>
                      <a:pt x="68" y="192"/>
                      <a:pt x="60" y="201"/>
                      <a:pt x="59" y="202"/>
                    </a:cubicBezTo>
                    <a:cubicBezTo>
                      <a:pt x="58" y="203"/>
                      <a:pt x="48" y="199"/>
                      <a:pt x="47" y="203"/>
                    </a:cubicBezTo>
                    <a:cubicBezTo>
                      <a:pt x="45" y="207"/>
                      <a:pt x="39" y="210"/>
                      <a:pt x="41" y="212"/>
                    </a:cubicBezTo>
                    <a:cubicBezTo>
                      <a:pt x="42" y="213"/>
                      <a:pt x="50" y="209"/>
                      <a:pt x="50" y="207"/>
                    </a:cubicBezTo>
                    <a:cubicBezTo>
                      <a:pt x="51" y="205"/>
                      <a:pt x="52" y="205"/>
                      <a:pt x="53" y="207"/>
                    </a:cubicBezTo>
                    <a:cubicBezTo>
                      <a:pt x="55" y="208"/>
                      <a:pt x="58" y="206"/>
                      <a:pt x="60" y="204"/>
                    </a:cubicBezTo>
                    <a:cubicBezTo>
                      <a:pt x="61" y="203"/>
                      <a:pt x="64" y="204"/>
                      <a:pt x="66" y="204"/>
                    </a:cubicBezTo>
                    <a:cubicBezTo>
                      <a:pt x="67" y="204"/>
                      <a:pt x="68" y="202"/>
                      <a:pt x="73" y="201"/>
                    </a:cubicBezTo>
                    <a:cubicBezTo>
                      <a:pt x="78" y="200"/>
                      <a:pt x="76" y="199"/>
                      <a:pt x="78" y="196"/>
                    </a:cubicBezTo>
                    <a:cubicBezTo>
                      <a:pt x="79" y="194"/>
                      <a:pt x="90" y="188"/>
                      <a:pt x="92" y="188"/>
                    </a:cubicBezTo>
                    <a:cubicBezTo>
                      <a:pt x="94" y="187"/>
                      <a:pt x="93" y="184"/>
                      <a:pt x="95" y="183"/>
                    </a:cubicBezTo>
                    <a:cubicBezTo>
                      <a:pt x="98" y="183"/>
                      <a:pt x="101" y="180"/>
                      <a:pt x="104" y="178"/>
                    </a:cubicBezTo>
                    <a:cubicBezTo>
                      <a:pt x="107" y="175"/>
                      <a:pt x="108" y="176"/>
                      <a:pt x="110" y="176"/>
                    </a:cubicBezTo>
                    <a:cubicBezTo>
                      <a:pt x="113" y="175"/>
                      <a:pt x="111" y="170"/>
                      <a:pt x="113" y="170"/>
                    </a:cubicBezTo>
                    <a:cubicBezTo>
                      <a:pt x="116" y="169"/>
                      <a:pt x="117" y="168"/>
                      <a:pt x="117" y="166"/>
                    </a:cubicBezTo>
                    <a:cubicBezTo>
                      <a:pt x="117" y="164"/>
                      <a:pt x="111" y="164"/>
                      <a:pt x="111" y="162"/>
                    </a:cubicBezTo>
                    <a:cubicBezTo>
                      <a:pt x="110" y="161"/>
                      <a:pt x="116" y="156"/>
                      <a:pt x="118" y="157"/>
                    </a:cubicBezTo>
                    <a:cubicBezTo>
                      <a:pt x="119" y="157"/>
                      <a:pt x="123" y="155"/>
                      <a:pt x="123" y="152"/>
                    </a:cubicBezTo>
                    <a:cubicBezTo>
                      <a:pt x="123" y="149"/>
                      <a:pt x="126" y="148"/>
                      <a:pt x="128" y="146"/>
                    </a:cubicBezTo>
                    <a:cubicBezTo>
                      <a:pt x="131" y="143"/>
                      <a:pt x="130" y="141"/>
                      <a:pt x="132" y="141"/>
                    </a:cubicBezTo>
                    <a:cubicBezTo>
                      <a:pt x="135" y="141"/>
                      <a:pt x="137" y="138"/>
                      <a:pt x="139" y="136"/>
                    </a:cubicBezTo>
                    <a:cubicBezTo>
                      <a:pt x="142" y="135"/>
                      <a:pt x="139" y="138"/>
                      <a:pt x="144" y="138"/>
                    </a:cubicBezTo>
                    <a:cubicBezTo>
                      <a:pt x="149" y="138"/>
                      <a:pt x="148" y="143"/>
                      <a:pt x="144" y="141"/>
                    </a:cubicBezTo>
                    <a:cubicBezTo>
                      <a:pt x="141" y="140"/>
                      <a:pt x="139" y="140"/>
                      <a:pt x="136" y="143"/>
                    </a:cubicBezTo>
                    <a:cubicBezTo>
                      <a:pt x="133" y="146"/>
                      <a:pt x="135" y="147"/>
                      <a:pt x="133" y="150"/>
                    </a:cubicBezTo>
                    <a:cubicBezTo>
                      <a:pt x="130" y="154"/>
                      <a:pt x="130" y="156"/>
                      <a:pt x="133" y="156"/>
                    </a:cubicBezTo>
                    <a:cubicBezTo>
                      <a:pt x="136" y="156"/>
                      <a:pt x="133" y="159"/>
                      <a:pt x="130" y="160"/>
                    </a:cubicBezTo>
                    <a:cubicBezTo>
                      <a:pt x="127" y="161"/>
                      <a:pt x="129" y="162"/>
                      <a:pt x="134" y="162"/>
                    </a:cubicBezTo>
                    <a:cubicBezTo>
                      <a:pt x="138" y="162"/>
                      <a:pt x="144" y="156"/>
                      <a:pt x="149" y="154"/>
                    </a:cubicBezTo>
                    <a:cubicBezTo>
                      <a:pt x="155" y="151"/>
                      <a:pt x="159" y="154"/>
                      <a:pt x="161" y="153"/>
                    </a:cubicBezTo>
                    <a:cubicBezTo>
                      <a:pt x="163" y="153"/>
                      <a:pt x="159" y="150"/>
                      <a:pt x="161" y="149"/>
                    </a:cubicBezTo>
                    <a:cubicBezTo>
                      <a:pt x="163" y="148"/>
                      <a:pt x="159" y="148"/>
                      <a:pt x="158" y="144"/>
                    </a:cubicBezTo>
                    <a:cubicBezTo>
                      <a:pt x="156" y="141"/>
                      <a:pt x="160" y="143"/>
                      <a:pt x="160" y="140"/>
                    </a:cubicBezTo>
                    <a:cubicBezTo>
                      <a:pt x="161" y="138"/>
                      <a:pt x="163" y="139"/>
                      <a:pt x="165" y="140"/>
                    </a:cubicBezTo>
                    <a:cubicBezTo>
                      <a:pt x="167" y="141"/>
                      <a:pt x="169" y="139"/>
                      <a:pt x="171" y="142"/>
                    </a:cubicBezTo>
                    <a:cubicBezTo>
                      <a:pt x="172" y="145"/>
                      <a:pt x="174" y="141"/>
                      <a:pt x="177" y="143"/>
                    </a:cubicBezTo>
                    <a:cubicBezTo>
                      <a:pt x="180" y="146"/>
                      <a:pt x="176" y="145"/>
                      <a:pt x="173" y="146"/>
                    </a:cubicBezTo>
                    <a:cubicBezTo>
                      <a:pt x="170" y="147"/>
                      <a:pt x="172" y="151"/>
                      <a:pt x="174" y="149"/>
                    </a:cubicBezTo>
                    <a:cubicBezTo>
                      <a:pt x="177" y="147"/>
                      <a:pt x="179" y="146"/>
                      <a:pt x="181" y="148"/>
                    </a:cubicBezTo>
                    <a:cubicBezTo>
                      <a:pt x="183" y="150"/>
                      <a:pt x="184" y="149"/>
                      <a:pt x="185" y="147"/>
                    </a:cubicBezTo>
                    <a:cubicBezTo>
                      <a:pt x="187" y="145"/>
                      <a:pt x="187" y="147"/>
                      <a:pt x="187" y="149"/>
                    </a:cubicBezTo>
                    <a:cubicBezTo>
                      <a:pt x="187" y="150"/>
                      <a:pt x="191" y="151"/>
                      <a:pt x="196" y="151"/>
                    </a:cubicBezTo>
                    <a:cubicBezTo>
                      <a:pt x="202" y="152"/>
                      <a:pt x="211" y="151"/>
                      <a:pt x="214" y="151"/>
                    </a:cubicBezTo>
                    <a:cubicBezTo>
                      <a:pt x="216" y="151"/>
                      <a:pt x="215" y="155"/>
                      <a:pt x="221" y="156"/>
                    </a:cubicBezTo>
                    <a:cubicBezTo>
                      <a:pt x="226" y="157"/>
                      <a:pt x="228" y="150"/>
                      <a:pt x="231" y="153"/>
                    </a:cubicBezTo>
                    <a:cubicBezTo>
                      <a:pt x="234" y="155"/>
                      <a:pt x="231" y="156"/>
                      <a:pt x="229" y="158"/>
                    </a:cubicBezTo>
                    <a:cubicBezTo>
                      <a:pt x="228" y="159"/>
                      <a:pt x="231" y="159"/>
                      <a:pt x="233" y="160"/>
                    </a:cubicBezTo>
                    <a:cubicBezTo>
                      <a:pt x="235" y="161"/>
                      <a:pt x="240" y="163"/>
                      <a:pt x="243" y="165"/>
                    </a:cubicBezTo>
                    <a:cubicBezTo>
                      <a:pt x="245" y="167"/>
                      <a:pt x="246" y="170"/>
                      <a:pt x="252" y="173"/>
                    </a:cubicBezTo>
                    <a:cubicBezTo>
                      <a:pt x="258" y="176"/>
                      <a:pt x="252" y="166"/>
                      <a:pt x="257" y="169"/>
                    </a:cubicBezTo>
                    <a:cubicBezTo>
                      <a:pt x="261" y="172"/>
                      <a:pt x="259" y="169"/>
                      <a:pt x="263" y="172"/>
                    </a:cubicBezTo>
                    <a:cubicBezTo>
                      <a:pt x="267" y="175"/>
                      <a:pt x="265" y="171"/>
                      <a:pt x="264" y="165"/>
                    </a:cubicBezTo>
                    <a:cubicBezTo>
                      <a:pt x="262" y="160"/>
                      <a:pt x="265" y="164"/>
                      <a:pt x="267" y="166"/>
                    </a:cubicBezTo>
                    <a:cubicBezTo>
                      <a:pt x="269" y="169"/>
                      <a:pt x="269" y="173"/>
                      <a:pt x="268" y="177"/>
                    </a:cubicBezTo>
                    <a:cubicBezTo>
                      <a:pt x="266" y="180"/>
                      <a:pt x="261" y="177"/>
                      <a:pt x="262" y="175"/>
                    </a:cubicBezTo>
                    <a:cubicBezTo>
                      <a:pt x="262" y="174"/>
                      <a:pt x="256" y="174"/>
                      <a:pt x="256" y="177"/>
                    </a:cubicBezTo>
                    <a:cubicBezTo>
                      <a:pt x="256" y="179"/>
                      <a:pt x="260" y="184"/>
                      <a:pt x="263" y="185"/>
                    </a:cubicBezTo>
                    <a:cubicBezTo>
                      <a:pt x="266" y="185"/>
                      <a:pt x="263" y="190"/>
                      <a:pt x="265" y="190"/>
                    </a:cubicBezTo>
                    <a:cubicBezTo>
                      <a:pt x="268" y="191"/>
                      <a:pt x="268" y="196"/>
                      <a:pt x="269" y="195"/>
                    </a:cubicBezTo>
                    <a:cubicBezTo>
                      <a:pt x="270" y="194"/>
                      <a:pt x="270" y="189"/>
                      <a:pt x="268" y="186"/>
                    </a:cubicBezTo>
                    <a:cubicBezTo>
                      <a:pt x="267" y="184"/>
                      <a:pt x="267" y="180"/>
                      <a:pt x="269" y="181"/>
                    </a:cubicBezTo>
                    <a:cubicBezTo>
                      <a:pt x="272" y="181"/>
                      <a:pt x="269" y="185"/>
                      <a:pt x="271" y="186"/>
                    </a:cubicBezTo>
                    <a:cubicBezTo>
                      <a:pt x="272" y="188"/>
                      <a:pt x="273" y="185"/>
                      <a:pt x="275" y="184"/>
                    </a:cubicBezTo>
                    <a:cubicBezTo>
                      <a:pt x="278" y="182"/>
                      <a:pt x="274" y="178"/>
                      <a:pt x="275" y="176"/>
                    </a:cubicBezTo>
                    <a:cubicBezTo>
                      <a:pt x="276" y="174"/>
                      <a:pt x="279" y="178"/>
                      <a:pt x="280" y="182"/>
                    </a:cubicBezTo>
                    <a:cubicBezTo>
                      <a:pt x="281" y="185"/>
                      <a:pt x="277" y="185"/>
                      <a:pt x="277" y="187"/>
                    </a:cubicBezTo>
                    <a:cubicBezTo>
                      <a:pt x="277" y="189"/>
                      <a:pt x="274" y="188"/>
                      <a:pt x="273" y="189"/>
                    </a:cubicBezTo>
                    <a:cubicBezTo>
                      <a:pt x="272" y="190"/>
                      <a:pt x="272" y="197"/>
                      <a:pt x="274" y="198"/>
                    </a:cubicBezTo>
                    <a:cubicBezTo>
                      <a:pt x="275" y="198"/>
                      <a:pt x="276" y="192"/>
                      <a:pt x="277" y="195"/>
                    </a:cubicBezTo>
                    <a:cubicBezTo>
                      <a:pt x="278" y="198"/>
                      <a:pt x="281" y="191"/>
                      <a:pt x="282" y="194"/>
                    </a:cubicBezTo>
                    <a:cubicBezTo>
                      <a:pt x="283" y="197"/>
                      <a:pt x="287" y="200"/>
                      <a:pt x="289" y="199"/>
                    </a:cubicBezTo>
                    <a:cubicBezTo>
                      <a:pt x="291" y="198"/>
                      <a:pt x="288" y="195"/>
                      <a:pt x="286" y="195"/>
                    </a:cubicBezTo>
                    <a:cubicBezTo>
                      <a:pt x="283" y="195"/>
                      <a:pt x="284" y="191"/>
                      <a:pt x="286" y="191"/>
                    </a:cubicBezTo>
                    <a:cubicBezTo>
                      <a:pt x="288" y="191"/>
                      <a:pt x="292" y="197"/>
                      <a:pt x="292" y="199"/>
                    </a:cubicBezTo>
                    <a:cubicBezTo>
                      <a:pt x="292" y="201"/>
                      <a:pt x="290" y="201"/>
                      <a:pt x="288" y="203"/>
                    </a:cubicBezTo>
                    <a:cubicBezTo>
                      <a:pt x="286" y="205"/>
                      <a:pt x="283" y="199"/>
                      <a:pt x="281" y="199"/>
                    </a:cubicBezTo>
                    <a:cubicBezTo>
                      <a:pt x="279" y="200"/>
                      <a:pt x="281" y="203"/>
                      <a:pt x="282" y="206"/>
                    </a:cubicBezTo>
                    <a:cubicBezTo>
                      <a:pt x="283" y="208"/>
                      <a:pt x="279" y="212"/>
                      <a:pt x="282" y="214"/>
                    </a:cubicBezTo>
                    <a:cubicBezTo>
                      <a:pt x="285" y="215"/>
                      <a:pt x="284" y="212"/>
                      <a:pt x="285" y="211"/>
                    </a:cubicBezTo>
                    <a:cubicBezTo>
                      <a:pt x="286" y="209"/>
                      <a:pt x="288" y="211"/>
                      <a:pt x="289" y="212"/>
                    </a:cubicBezTo>
                    <a:cubicBezTo>
                      <a:pt x="291" y="214"/>
                      <a:pt x="291" y="210"/>
                      <a:pt x="291" y="208"/>
                    </a:cubicBezTo>
                    <a:cubicBezTo>
                      <a:pt x="291" y="206"/>
                      <a:pt x="294" y="207"/>
                      <a:pt x="295" y="209"/>
                    </a:cubicBezTo>
                    <a:cubicBezTo>
                      <a:pt x="297" y="212"/>
                      <a:pt x="297" y="207"/>
                      <a:pt x="299" y="207"/>
                    </a:cubicBezTo>
                    <a:cubicBezTo>
                      <a:pt x="301" y="208"/>
                      <a:pt x="300" y="211"/>
                      <a:pt x="300" y="213"/>
                    </a:cubicBezTo>
                    <a:cubicBezTo>
                      <a:pt x="300" y="215"/>
                      <a:pt x="304" y="212"/>
                      <a:pt x="303" y="214"/>
                    </a:cubicBezTo>
                    <a:cubicBezTo>
                      <a:pt x="303" y="214"/>
                      <a:pt x="303" y="214"/>
                      <a:pt x="303" y="215"/>
                    </a:cubicBezTo>
                    <a:cubicBezTo>
                      <a:pt x="305" y="213"/>
                      <a:pt x="307" y="212"/>
                      <a:pt x="309" y="211"/>
                    </a:cubicBezTo>
                    <a:cubicBezTo>
                      <a:pt x="312" y="208"/>
                      <a:pt x="306" y="206"/>
                      <a:pt x="307" y="20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0" name="Freeform 128">
                <a:extLst>
                  <a:ext uri="{FF2B5EF4-FFF2-40B4-BE49-F238E27FC236}">
                    <a16:creationId xmlns:a16="http://schemas.microsoft.com/office/drawing/2014/main" id="{81581C3C-7292-4593-A1AD-C818691678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92937" y="2963055"/>
                <a:ext cx="20076" cy="23840"/>
              </a:xfrm>
              <a:custGeom>
                <a:avLst/>
                <a:gdLst>
                  <a:gd name="T0" fmla="*/ 3 w 9"/>
                  <a:gd name="T1" fmla="*/ 9 h 10"/>
                  <a:gd name="T2" fmla="*/ 7 w 9"/>
                  <a:gd name="T3" fmla="*/ 3 h 10"/>
                  <a:gd name="T4" fmla="*/ 3 w 9"/>
                  <a:gd name="T5" fmla="*/ 9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10">
                    <a:moveTo>
                      <a:pt x="3" y="9"/>
                    </a:moveTo>
                    <a:cubicBezTo>
                      <a:pt x="7" y="7"/>
                      <a:pt x="9" y="5"/>
                      <a:pt x="7" y="3"/>
                    </a:cubicBezTo>
                    <a:cubicBezTo>
                      <a:pt x="6" y="0"/>
                      <a:pt x="0" y="10"/>
                      <a:pt x="3" y="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1" name="Freeform 129">
                <a:extLst>
                  <a:ext uri="{FF2B5EF4-FFF2-40B4-BE49-F238E27FC236}">
                    <a16:creationId xmlns:a16="http://schemas.microsoft.com/office/drawing/2014/main" id="{9B93C8CC-7488-4D0C-A7AA-FC3F17EAA4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36853" y="2942979"/>
                <a:ext cx="41406" cy="16311"/>
              </a:xfrm>
              <a:custGeom>
                <a:avLst/>
                <a:gdLst>
                  <a:gd name="T0" fmla="*/ 14 w 18"/>
                  <a:gd name="T1" fmla="*/ 2 h 7"/>
                  <a:gd name="T2" fmla="*/ 4 w 18"/>
                  <a:gd name="T3" fmla="*/ 7 h 7"/>
                  <a:gd name="T4" fmla="*/ 10 w 18"/>
                  <a:gd name="T5" fmla="*/ 5 h 7"/>
                  <a:gd name="T6" fmla="*/ 14 w 18"/>
                  <a:gd name="T7" fmla="*/ 2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" h="7">
                    <a:moveTo>
                      <a:pt x="14" y="2"/>
                    </a:moveTo>
                    <a:cubicBezTo>
                      <a:pt x="10" y="0"/>
                      <a:pt x="0" y="6"/>
                      <a:pt x="4" y="7"/>
                    </a:cubicBezTo>
                    <a:cubicBezTo>
                      <a:pt x="6" y="7"/>
                      <a:pt x="7" y="5"/>
                      <a:pt x="10" y="5"/>
                    </a:cubicBezTo>
                    <a:cubicBezTo>
                      <a:pt x="13" y="5"/>
                      <a:pt x="18" y="3"/>
                      <a:pt x="14" y="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2" name="Freeform 130">
                <a:extLst>
                  <a:ext uri="{FF2B5EF4-FFF2-40B4-BE49-F238E27FC236}">
                    <a16:creationId xmlns:a16="http://schemas.microsoft.com/office/drawing/2014/main" id="{E7F1CA81-F826-4DAE-B28D-137A2EF8D7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30081" y="2846365"/>
                <a:ext cx="55208" cy="50189"/>
              </a:xfrm>
              <a:custGeom>
                <a:avLst/>
                <a:gdLst>
                  <a:gd name="T0" fmla="*/ 21 w 24"/>
                  <a:gd name="T1" fmla="*/ 2 h 22"/>
                  <a:gd name="T2" fmla="*/ 15 w 24"/>
                  <a:gd name="T3" fmla="*/ 4 h 22"/>
                  <a:gd name="T4" fmla="*/ 7 w 24"/>
                  <a:gd name="T5" fmla="*/ 12 h 22"/>
                  <a:gd name="T6" fmla="*/ 2 w 24"/>
                  <a:gd name="T7" fmla="*/ 14 h 22"/>
                  <a:gd name="T8" fmla="*/ 5 w 24"/>
                  <a:gd name="T9" fmla="*/ 21 h 22"/>
                  <a:gd name="T10" fmla="*/ 9 w 24"/>
                  <a:gd name="T11" fmla="*/ 21 h 22"/>
                  <a:gd name="T12" fmla="*/ 20 w 24"/>
                  <a:gd name="T13" fmla="*/ 13 h 22"/>
                  <a:gd name="T14" fmla="*/ 17 w 24"/>
                  <a:gd name="T15" fmla="*/ 8 h 22"/>
                  <a:gd name="T16" fmla="*/ 22 w 24"/>
                  <a:gd name="T17" fmla="*/ 6 h 22"/>
                  <a:gd name="T18" fmla="*/ 21 w 24"/>
                  <a:gd name="T19" fmla="*/ 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" h="22">
                    <a:moveTo>
                      <a:pt x="21" y="2"/>
                    </a:moveTo>
                    <a:cubicBezTo>
                      <a:pt x="21" y="0"/>
                      <a:pt x="18" y="0"/>
                      <a:pt x="15" y="4"/>
                    </a:cubicBezTo>
                    <a:cubicBezTo>
                      <a:pt x="11" y="8"/>
                      <a:pt x="8" y="10"/>
                      <a:pt x="7" y="12"/>
                    </a:cubicBezTo>
                    <a:cubicBezTo>
                      <a:pt x="7" y="14"/>
                      <a:pt x="3" y="12"/>
                      <a:pt x="2" y="14"/>
                    </a:cubicBezTo>
                    <a:cubicBezTo>
                      <a:pt x="0" y="17"/>
                      <a:pt x="2" y="22"/>
                      <a:pt x="5" y="21"/>
                    </a:cubicBezTo>
                    <a:cubicBezTo>
                      <a:pt x="7" y="19"/>
                      <a:pt x="8" y="21"/>
                      <a:pt x="9" y="21"/>
                    </a:cubicBezTo>
                    <a:cubicBezTo>
                      <a:pt x="11" y="21"/>
                      <a:pt x="18" y="16"/>
                      <a:pt x="20" y="13"/>
                    </a:cubicBezTo>
                    <a:cubicBezTo>
                      <a:pt x="21" y="11"/>
                      <a:pt x="17" y="10"/>
                      <a:pt x="17" y="8"/>
                    </a:cubicBezTo>
                    <a:cubicBezTo>
                      <a:pt x="17" y="7"/>
                      <a:pt x="20" y="7"/>
                      <a:pt x="22" y="6"/>
                    </a:cubicBezTo>
                    <a:cubicBezTo>
                      <a:pt x="24" y="5"/>
                      <a:pt x="21" y="4"/>
                      <a:pt x="21" y="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3" name="Freeform 131">
                <a:extLst>
                  <a:ext uri="{FF2B5EF4-FFF2-40B4-BE49-F238E27FC236}">
                    <a16:creationId xmlns:a16="http://schemas.microsoft.com/office/drawing/2014/main" id="{6EAE9BEC-8817-40D2-B774-6FCD4B5C29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96702" y="2794921"/>
                <a:ext cx="37642" cy="23840"/>
              </a:xfrm>
              <a:custGeom>
                <a:avLst/>
                <a:gdLst>
                  <a:gd name="T0" fmla="*/ 8 w 16"/>
                  <a:gd name="T1" fmla="*/ 3 h 10"/>
                  <a:gd name="T2" fmla="*/ 1 w 16"/>
                  <a:gd name="T3" fmla="*/ 5 h 10"/>
                  <a:gd name="T4" fmla="*/ 12 w 16"/>
                  <a:gd name="T5" fmla="*/ 9 h 10"/>
                  <a:gd name="T6" fmla="*/ 14 w 16"/>
                  <a:gd name="T7" fmla="*/ 3 h 10"/>
                  <a:gd name="T8" fmla="*/ 8 w 16"/>
                  <a:gd name="T9" fmla="*/ 3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0">
                    <a:moveTo>
                      <a:pt x="8" y="3"/>
                    </a:moveTo>
                    <a:cubicBezTo>
                      <a:pt x="8" y="0"/>
                      <a:pt x="0" y="2"/>
                      <a:pt x="1" y="5"/>
                    </a:cubicBezTo>
                    <a:cubicBezTo>
                      <a:pt x="2" y="8"/>
                      <a:pt x="9" y="10"/>
                      <a:pt x="12" y="9"/>
                    </a:cubicBezTo>
                    <a:cubicBezTo>
                      <a:pt x="15" y="8"/>
                      <a:pt x="16" y="5"/>
                      <a:pt x="14" y="3"/>
                    </a:cubicBezTo>
                    <a:cubicBezTo>
                      <a:pt x="12" y="1"/>
                      <a:pt x="9" y="6"/>
                      <a:pt x="8" y="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4" name="Freeform 132">
                <a:extLst>
                  <a:ext uri="{FF2B5EF4-FFF2-40B4-BE49-F238E27FC236}">
                    <a16:creationId xmlns:a16="http://schemas.microsoft.com/office/drawing/2014/main" id="{771D0C1C-5981-4DF3-ADDA-87C59B9FAA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94707" y="3077235"/>
                <a:ext cx="1076555" cy="537022"/>
              </a:xfrm>
              <a:custGeom>
                <a:avLst/>
                <a:gdLst>
                  <a:gd name="T0" fmla="*/ 439 w 467"/>
                  <a:gd name="T1" fmla="*/ 36 h 233"/>
                  <a:gd name="T2" fmla="*/ 391 w 467"/>
                  <a:gd name="T3" fmla="*/ 55 h 233"/>
                  <a:gd name="T4" fmla="*/ 369 w 467"/>
                  <a:gd name="T5" fmla="*/ 64 h 233"/>
                  <a:gd name="T6" fmla="*/ 348 w 467"/>
                  <a:gd name="T7" fmla="*/ 81 h 233"/>
                  <a:gd name="T8" fmla="*/ 342 w 467"/>
                  <a:gd name="T9" fmla="*/ 74 h 233"/>
                  <a:gd name="T10" fmla="*/ 329 w 467"/>
                  <a:gd name="T11" fmla="*/ 59 h 233"/>
                  <a:gd name="T12" fmla="*/ 311 w 467"/>
                  <a:gd name="T13" fmla="*/ 49 h 233"/>
                  <a:gd name="T14" fmla="*/ 297 w 467"/>
                  <a:gd name="T15" fmla="*/ 63 h 233"/>
                  <a:gd name="T16" fmla="*/ 328 w 467"/>
                  <a:gd name="T17" fmla="*/ 35 h 233"/>
                  <a:gd name="T18" fmla="*/ 323 w 467"/>
                  <a:gd name="T19" fmla="*/ 32 h 233"/>
                  <a:gd name="T20" fmla="*/ 295 w 467"/>
                  <a:gd name="T21" fmla="*/ 27 h 233"/>
                  <a:gd name="T22" fmla="*/ 264 w 467"/>
                  <a:gd name="T23" fmla="*/ 29 h 233"/>
                  <a:gd name="T24" fmla="*/ 272 w 467"/>
                  <a:gd name="T25" fmla="*/ 15 h 233"/>
                  <a:gd name="T26" fmla="*/ 251 w 467"/>
                  <a:gd name="T27" fmla="*/ 11 h 233"/>
                  <a:gd name="T28" fmla="*/ 238 w 467"/>
                  <a:gd name="T29" fmla="*/ 6 h 233"/>
                  <a:gd name="T30" fmla="*/ 19 w 467"/>
                  <a:gd name="T31" fmla="*/ 17 h 233"/>
                  <a:gd name="T32" fmla="*/ 14 w 467"/>
                  <a:gd name="T33" fmla="*/ 16 h 233"/>
                  <a:gd name="T34" fmla="*/ 0 w 467"/>
                  <a:gd name="T35" fmla="*/ 13 h 233"/>
                  <a:gd name="T36" fmla="*/ 8 w 467"/>
                  <a:gd name="T37" fmla="*/ 34 h 233"/>
                  <a:gd name="T38" fmla="*/ 3 w 467"/>
                  <a:gd name="T39" fmla="*/ 74 h 233"/>
                  <a:gd name="T40" fmla="*/ 9 w 467"/>
                  <a:gd name="T41" fmla="*/ 108 h 233"/>
                  <a:gd name="T42" fmla="*/ 22 w 467"/>
                  <a:gd name="T43" fmla="*/ 124 h 233"/>
                  <a:gd name="T44" fmla="*/ 36 w 467"/>
                  <a:gd name="T45" fmla="*/ 147 h 233"/>
                  <a:gd name="T46" fmla="*/ 60 w 467"/>
                  <a:gd name="T47" fmla="*/ 162 h 233"/>
                  <a:gd name="T48" fmla="*/ 89 w 467"/>
                  <a:gd name="T49" fmla="*/ 169 h 233"/>
                  <a:gd name="T50" fmla="*/ 136 w 467"/>
                  <a:gd name="T51" fmla="*/ 173 h 233"/>
                  <a:gd name="T52" fmla="*/ 162 w 467"/>
                  <a:gd name="T53" fmla="*/ 187 h 233"/>
                  <a:gd name="T54" fmla="*/ 181 w 467"/>
                  <a:gd name="T55" fmla="*/ 190 h 233"/>
                  <a:gd name="T56" fmla="*/ 205 w 467"/>
                  <a:gd name="T57" fmla="*/ 215 h 233"/>
                  <a:gd name="T58" fmla="*/ 222 w 467"/>
                  <a:gd name="T59" fmla="*/ 225 h 233"/>
                  <a:gd name="T60" fmla="*/ 227 w 467"/>
                  <a:gd name="T61" fmla="*/ 202 h 233"/>
                  <a:gd name="T62" fmla="*/ 244 w 467"/>
                  <a:gd name="T63" fmla="*/ 192 h 233"/>
                  <a:gd name="T64" fmla="*/ 257 w 467"/>
                  <a:gd name="T65" fmla="*/ 190 h 233"/>
                  <a:gd name="T66" fmla="*/ 276 w 467"/>
                  <a:gd name="T67" fmla="*/ 195 h 233"/>
                  <a:gd name="T68" fmla="*/ 284 w 467"/>
                  <a:gd name="T69" fmla="*/ 193 h 233"/>
                  <a:gd name="T70" fmla="*/ 295 w 467"/>
                  <a:gd name="T71" fmla="*/ 183 h 233"/>
                  <a:gd name="T72" fmla="*/ 317 w 467"/>
                  <a:gd name="T73" fmla="*/ 190 h 233"/>
                  <a:gd name="T74" fmla="*/ 338 w 467"/>
                  <a:gd name="T75" fmla="*/ 197 h 233"/>
                  <a:gd name="T76" fmla="*/ 345 w 467"/>
                  <a:gd name="T77" fmla="*/ 222 h 233"/>
                  <a:gd name="T78" fmla="*/ 360 w 467"/>
                  <a:gd name="T79" fmla="*/ 221 h 233"/>
                  <a:gd name="T80" fmla="*/ 349 w 467"/>
                  <a:gd name="T81" fmla="*/ 181 h 233"/>
                  <a:gd name="T82" fmla="*/ 372 w 467"/>
                  <a:gd name="T83" fmla="*/ 154 h 233"/>
                  <a:gd name="T84" fmla="*/ 386 w 467"/>
                  <a:gd name="T85" fmla="*/ 141 h 233"/>
                  <a:gd name="T86" fmla="*/ 395 w 467"/>
                  <a:gd name="T87" fmla="*/ 134 h 233"/>
                  <a:gd name="T88" fmla="*/ 390 w 467"/>
                  <a:gd name="T89" fmla="*/ 122 h 233"/>
                  <a:gd name="T90" fmla="*/ 389 w 467"/>
                  <a:gd name="T91" fmla="*/ 101 h 233"/>
                  <a:gd name="T92" fmla="*/ 393 w 467"/>
                  <a:gd name="T93" fmla="*/ 119 h 233"/>
                  <a:gd name="T94" fmla="*/ 398 w 467"/>
                  <a:gd name="T95" fmla="*/ 103 h 233"/>
                  <a:gd name="T96" fmla="*/ 413 w 467"/>
                  <a:gd name="T97" fmla="*/ 90 h 233"/>
                  <a:gd name="T98" fmla="*/ 425 w 467"/>
                  <a:gd name="T99" fmla="*/ 82 h 233"/>
                  <a:gd name="T100" fmla="*/ 434 w 467"/>
                  <a:gd name="T101" fmla="*/ 73 h 233"/>
                  <a:gd name="T102" fmla="*/ 445 w 467"/>
                  <a:gd name="T103" fmla="*/ 58 h 233"/>
                  <a:gd name="T104" fmla="*/ 467 w 467"/>
                  <a:gd name="T105" fmla="*/ 48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467" h="233">
                    <a:moveTo>
                      <a:pt x="460" y="25"/>
                    </a:moveTo>
                    <a:cubicBezTo>
                      <a:pt x="460" y="23"/>
                      <a:pt x="452" y="25"/>
                      <a:pt x="449" y="22"/>
                    </a:cubicBezTo>
                    <a:cubicBezTo>
                      <a:pt x="446" y="19"/>
                      <a:pt x="440" y="31"/>
                      <a:pt x="439" y="36"/>
                    </a:cubicBezTo>
                    <a:cubicBezTo>
                      <a:pt x="438" y="41"/>
                      <a:pt x="429" y="47"/>
                      <a:pt x="429" y="47"/>
                    </a:cubicBezTo>
                    <a:cubicBezTo>
                      <a:pt x="429" y="47"/>
                      <a:pt x="404" y="47"/>
                      <a:pt x="401" y="47"/>
                    </a:cubicBezTo>
                    <a:cubicBezTo>
                      <a:pt x="400" y="47"/>
                      <a:pt x="394" y="52"/>
                      <a:pt x="391" y="55"/>
                    </a:cubicBezTo>
                    <a:cubicBezTo>
                      <a:pt x="391" y="55"/>
                      <a:pt x="391" y="55"/>
                      <a:pt x="391" y="56"/>
                    </a:cubicBezTo>
                    <a:cubicBezTo>
                      <a:pt x="393" y="60"/>
                      <a:pt x="384" y="63"/>
                      <a:pt x="375" y="63"/>
                    </a:cubicBezTo>
                    <a:cubicBezTo>
                      <a:pt x="372" y="64"/>
                      <a:pt x="370" y="64"/>
                      <a:pt x="369" y="64"/>
                    </a:cubicBezTo>
                    <a:cubicBezTo>
                      <a:pt x="369" y="65"/>
                      <a:pt x="369" y="66"/>
                      <a:pt x="369" y="67"/>
                    </a:cubicBezTo>
                    <a:cubicBezTo>
                      <a:pt x="369" y="68"/>
                      <a:pt x="368" y="69"/>
                      <a:pt x="367" y="69"/>
                    </a:cubicBezTo>
                    <a:cubicBezTo>
                      <a:pt x="366" y="72"/>
                      <a:pt x="355" y="77"/>
                      <a:pt x="348" y="81"/>
                    </a:cubicBezTo>
                    <a:cubicBezTo>
                      <a:pt x="342" y="84"/>
                      <a:pt x="332" y="82"/>
                      <a:pt x="332" y="77"/>
                    </a:cubicBezTo>
                    <a:cubicBezTo>
                      <a:pt x="332" y="72"/>
                      <a:pt x="337" y="73"/>
                      <a:pt x="338" y="75"/>
                    </a:cubicBezTo>
                    <a:cubicBezTo>
                      <a:pt x="339" y="76"/>
                      <a:pt x="340" y="76"/>
                      <a:pt x="342" y="74"/>
                    </a:cubicBezTo>
                    <a:cubicBezTo>
                      <a:pt x="340" y="73"/>
                      <a:pt x="340" y="70"/>
                      <a:pt x="340" y="68"/>
                    </a:cubicBezTo>
                    <a:cubicBezTo>
                      <a:pt x="338" y="67"/>
                      <a:pt x="342" y="59"/>
                      <a:pt x="337" y="58"/>
                    </a:cubicBezTo>
                    <a:cubicBezTo>
                      <a:pt x="333" y="56"/>
                      <a:pt x="328" y="64"/>
                      <a:pt x="329" y="59"/>
                    </a:cubicBezTo>
                    <a:cubicBezTo>
                      <a:pt x="330" y="55"/>
                      <a:pt x="336" y="51"/>
                      <a:pt x="332" y="45"/>
                    </a:cubicBezTo>
                    <a:cubicBezTo>
                      <a:pt x="328" y="39"/>
                      <a:pt x="321" y="39"/>
                      <a:pt x="320" y="43"/>
                    </a:cubicBezTo>
                    <a:cubicBezTo>
                      <a:pt x="318" y="48"/>
                      <a:pt x="313" y="46"/>
                      <a:pt x="311" y="49"/>
                    </a:cubicBezTo>
                    <a:cubicBezTo>
                      <a:pt x="310" y="53"/>
                      <a:pt x="308" y="61"/>
                      <a:pt x="309" y="66"/>
                    </a:cubicBezTo>
                    <a:cubicBezTo>
                      <a:pt x="311" y="72"/>
                      <a:pt x="309" y="75"/>
                      <a:pt x="304" y="78"/>
                    </a:cubicBezTo>
                    <a:cubicBezTo>
                      <a:pt x="298" y="81"/>
                      <a:pt x="295" y="73"/>
                      <a:pt x="297" y="63"/>
                    </a:cubicBezTo>
                    <a:cubicBezTo>
                      <a:pt x="299" y="56"/>
                      <a:pt x="303" y="49"/>
                      <a:pt x="299" y="49"/>
                    </a:cubicBezTo>
                    <a:cubicBezTo>
                      <a:pt x="296" y="49"/>
                      <a:pt x="304" y="40"/>
                      <a:pt x="311" y="39"/>
                    </a:cubicBezTo>
                    <a:cubicBezTo>
                      <a:pt x="319" y="37"/>
                      <a:pt x="328" y="37"/>
                      <a:pt x="328" y="35"/>
                    </a:cubicBezTo>
                    <a:cubicBezTo>
                      <a:pt x="328" y="35"/>
                      <a:pt x="328" y="35"/>
                      <a:pt x="329" y="34"/>
                    </a:cubicBezTo>
                    <a:cubicBezTo>
                      <a:pt x="328" y="33"/>
                      <a:pt x="326" y="32"/>
                      <a:pt x="324" y="31"/>
                    </a:cubicBezTo>
                    <a:cubicBezTo>
                      <a:pt x="324" y="32"/>
                      <a:pt x="324" y="32"/>
                      <a:pt x="323" y="32"/>
                    </a:cubicBezTo>
                    <a:cubicBezTo>
                      <a:pt x="321" y="34"/>
                      <a:pt x="321" y="29"/>
                      <a:pt x="316" y="29"/>
                    </a:cubicBezTo>
                    <a:cubicBezTo>
                      <a:pt x="311" y="29"/>
                      <a:pt x="305" y="34"/>
                      <a:pt x="301" y="32"/>
                    </a:cubicBezTo>
                    <a:cubicBezTo>
                      <a:pt x="297" y="30"/>
                      <a:pt x="299" y="27"/>
                      <a:pt x="295" y="27"/>
                    </a:cubicBezTo>
                    <a:cubicBezTo>
                      <a:pt x="291" y="27"/>
                      <a:pt x="298" y="20"/>
                      <a:pt x="292" y="23"/>
                    </a:cubicBezTo>
                    <a:cubicBezTo>
                      <a:pt x="286" y="26"/>
                      <a:pt x="278" y="34"/>
                      <a:pt x="274" y="30"/>
                    </a:cubicBezTo>
                    <a:cubicBezTo>
                      <a:pt x="270" y="27"/>
                      <a:pt x="266" y="31"/>
                      <a:pt x="264" y="29"/>
                    </a:cubicBezTo>
                    <a:cubicBezTo>
                      <a:pt x="261" y="26"/>
                      <a:pt x="274" y="18"/>
                      <a:pt x="280" y="18"/>
                    </a:cubicBezTo>
                    <a:cubicBezTo>
                      <a:pt x="281" y="18"/>
                      <a:pt x="282" y="18"/>
                      <a:pt x="284" y="17"/>
                    </a:cubicBezTo>
                    <a:cubicBezTo>
                      <a:pt x="281" y="15"/>
                      <a:pt x="274" y="13"/>
                      <a:pt x="272" y="15"/>
                    </a:cubicBezTo>
                    <a:cubicBezTo>
                      <a:pt x="270" y="18"/>
                      <a:pt x="267" y="16"/>
                      <a:pt x="265" y="14"/>
                    </a:cubicBezTo>
                    <a:cubicBezTo>
                      <a:pt x="264" y="12"/>
                      <a:pt x="262" y="14"/>
                      <a:pt x="259" y="11"/>
                    </a:cubicBezTo>
                    <a:cubicBezTo>
                      <a:pt x="256" y="8"/>
                      <a:pt x="253" y="10"/>
                      <a:pt x="251" y="11"/>
                    </a:cubicBezTo>
                    <a:cubicBezTo>
                      <a:pt x="250" y="12"/>
                      <a:pt x="248" y="10"/>
                      <a:pt x="244" y="9"/>
                    </a:cubicBezTo>
                    <a:cubicBezTo>
                      <a:pt x="241" y="7"/>
                      <a:pt x="244" y="4"/>
                      <a:pt x="241" y="2"/>
                    </a:cubicBezTo>
                    <a:cubicBezTo>
                      <a:pt x="238" y="0"/>
                      <a:pt x="238" y="6"/>
                      <a:pt x="238" y="6"/>
                    </a:cubicBezTo>
                    <a:cubicBezTo>
                      <a:pt x="17" y="7"/>
                      <a:pt x="17" y="7"/>
                      <a:pt x="17" y="7"/>
                    </a:cubicBezTo>
                    <a:cubicBezTo>
                      <a:pt x="17" y="8"/>
                      <a:pt x="17" y="8"/>
                      <a:pt x="17" y="8"/>
                    </a:cubicBezTo>
                    <a:cubicBezTo>
                      <a:pt x="20" y="11"/>
                      <a:pt x="18" y="13"/>
                      <a:pt x="19" y="17"/>
                    </a:cubicBezTo>
                    <a:cubicBezTo>
                      <a:pt x="20" y="20"/>
                      <a:pt x="19" y="25"/>
                      <a:pt x="16" y="25"/>
                    </a:cubicBezTo>
                    <a:cubicBezTo>
                      <a:pt x="14" y="25"/>
                      <a:pt x="13" y="22"/>
                      <a:pt x="15" y="21"/>
                    </a:cubicBezTo>
                    <a:cubicBezTo>
                      <a:pt x="17" y="20"/>
                      <a:pt x="16" y="16"/>
                      <a:pt x="14" y="16"/>
                    </a:cubicBezTo>
                    <a:cubicBezTo>
                      <a:pt x="13" y="16"/>
                      <a:pt x="13" y="14"/>
                      <a:pt x="13" y="13"/>
                    </a:cubicBezTo>
                    <a:cubicBezTo>
                      <a:pt x="9" y="14"/>
                      <a:pt x="5" y="13"/>
                      <a:pt x="0" y="13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16"/>
                      <a:pt x="1" y="20"/>
                      <a:pt x="4" y="24"/>
                    </a:cubicBezTo>
                    <a:cubicBezTo>
                      <a:pt x="7" y="28"/>
                      <a:pt x="5" y="30"/>
                      <a:pt x="8" y="32"/>
                    </a:cubicBezTo>
                    <a:cubicBezTo>
                      <a:pt x="10" y="33"/>
                      <a:pt x="10" y="35"/>
                      <a:pt x="8" y="34"/>
                    </a:cubicBezTo>
                    <a:cubicBezTo>
                      <a:pt x="5" y="34"/>
                      <a:pt x="7" y="36"/>
                      <a:pt x="6" y="42"/>
                    </a:cubicBezTo>
                    <a:cubicBezTo>
                      <a:pt x="5" y="47"/>
                      <a:pt x="5" y="58"/>
                      <a:pt x="5" y="61"/>
                    </a:cubicBezTo>
                    <a:cubicBezTo>
                      <a:pt x="4" y="65"/>
                      <a:pt x="1" y="70"/>
                      <a:pt x="3" y="74"/>
                    </a:cubicBezTo>
                    <a:cubicBezTo>
                      <a:pt x="5" y="77"/>
                      <a:pt x="7" y="82"/>
                      <a:pt x="5" y="87"/>
                    </a:cubicBezTo>
                    <a:cubicBezTo>
                      <a:pt x="4" y="91"/>
                      <a:pt x="4" y="94"/>
                      <a:pt x="6" y="97"/>
                    </a:cubicBezTo>
                    <a:cubicBezTo>
                      <a:pt x="8" y="101"/>
                      <a:pt x="7" y="107"/>
                      <a:pt x="9" y="108"/>
                    </a:cubicBezTo>
                    <a:cubicBezTo>
                      <a:pt x="11" y="109"/>
                      <a:pt x="13" y="112"/>
                      <a:pt x="15" y="115"/>
                    </a:cubicBezTo>
                    <a:cubicBezTo>
                      <a:pt x="17" y="118"/>
                      <a:pt x="19" y="116"/>
                      <a:pt x="19" y="119"/>
                    </a:cubicBezTo>
                    <a:cubicBezTo>
                      <a:pt x="19" y="123"/>
                      <a:pt x="19" y="123"/>
                      <a:pt x="22" y="124"/>
                    </a:cubicBezTo>
                    <a:cubicBezTo>
                      <a:pt x="25" y="126"/>
                      <a:pt x="23" y="129"/>
                      <a:pt x="23" y="131"/>
                    </a:cubicBezTo>
                    <a:cubicBezTo>
                      <a:pt x="23" y="132"/>
                      <a:pt x="27" y="136"/>
                      <a:pt x="32" y="140"/>
                    </a:cubicBezTo>
                    <a:cubicBezTo>
                      <a:pt x="36" y="144"/>
                      <a:pt x="32" y="147"/>
                      <a:pt x="36" y="147"/>
                    </a:cubicBezTo>
                    <a:cubicBezTo>
                      <a:pt x="39" y="147"/>
                      <a:pt x="42" y="149"/>
                      <a:pt x="46" y="151"/>
                    </a:cubicBezTo>
                    <a:cubicBezTo>
                      <a:pt x="49" y="153"/>
                      <a:pt x="50" y="152"/>
                      <a:pt x="53" y="153"/>
                    </a:cubicBezTo>
                    <a:cubicBezTo>
                      <a:pt x="55" y="153"/>
                      <a:pt x="59" y="158"/>
                      <a:pt x="60" y="162"/>
                    </a:cubicBezTo>
                    <a:cubicBezTo>
                      <a:pt x="60" y="163"/>
                      <a:pt x="61" y="165"/>
                      <a:pt x="62" y="167"/>
                    </a:cubicBezTo>
                    <a:cubicBezTo>
                      <a:pt x="80" y="164"/>
                      <a:pt x="80" y="164"/>
                      <a:pt x="80" y="164"/>
                    </a:cubicBezTo>
                    <a:cubicBezTo>
                      <a:pt x="80" y="164"/>
                      <a:pt x="86" y="168"/>
                      <a:pt x="89" y="169"/>
                    </a:cubicBezTo>
                    <a:cubicBezTo>
                      <a:pt x="93" y="170"/>
                      <a:pt x="110" y="176"/>
                      <a:pt x="110" y="176"/>
                    </a:cubicBezTo>
                    <a:cubicBezTo>
                      <a:pt x="133" y="176"/>
                      <a:pt x="133" y="176"/>
                      <a:pt x="133" y="176"/>
                    </a:cubicBezTo>
                    <a:cubicBezTo>
                      <a:pt x="136" y="173"/>
                      <a:pt x="136" y="173"/>
                      <a:pt x="136" y="173"/>
                    </a:cubicBezTo>
                    <a:cubicBezTo>
                      <a:pt x="148" y="173"/>
                      <a:pt x="148" y="173"/>
                      <a:pt x="148" y="173"/>
                    </a:cubicBezTo>
                    <a:cubicBezTo>
                      <a:pt x="148" y="173"/>
                      <a:pt x="156" y="180"/>
                      <a:pt x="157" y="181"/>
                    </a:cubicBezTo>
                    <a:cubicBezTo>
                      <a:pt x="158" y="181"/>
                      <a:pt x="162" y="185"/>
                      <a:pt x="162" y="187"/>
                    </a:cubicBezTo>
                    <a:cubicBezTo>
                      <a:pt x="162" y="189"/>
                      <a:pt x="163" y="191"/>
                      <a:pt x="165" y="192"/>
                    </a:cubicBezTo>
                    <a:cubicBezTo>
                      <a:pt x="167" y="193"/>
                      <a:pt x="174" y="197"/>
                      <a:pt x="175" y="197"/>
                    </a:cubicBezTo>
                    <a:cubicBezTo>
                      <a:pt x="176" y="197"/>
                      <a:pt x="178" y="189"/>
                      <a:pt x="181" y="190"/>
                    </a:cubicBezTo>
                    <a:cubicBezTo>
                      <a:pt x="184" y="190"/>
                      <a:pt x="194" y="192"/>
                      <a:pt x="195" y="198"/>
                    </a:cubicBezTo>
                    <a:cubicBezTo>
                      <a:pt x="197" y="203"/>
                      <a:pt x="201" y="207"/>
                      <a:pt x="203" y="209"/>
                    </a:cubicBezTo>
                    <a:cubicBezTo>
                      <a:pt x="204" y="210"/>
                      <a:pt x="204" y="213"/>
                      <a:pt x="205" y="215"/>
                    </a:cubicBezTo>
                    <a:cubicBezTo>
                      <a:pt x="206" y="216"/>
                      <a:pt x="206" y="220"/>
                      <a:pt x="207" y="220"/>
                    </a:cubicBezTo>
                    <a:cubicBezTo>
                      <a:pt x="208" y="220"/>
                      <a:pt x="215" y="224"/>
                      <a:pt x="218" y="224"/>
                    </a:cubicBezTo>
                    <a:cubicBezTo>
                      <a:pt x="219" y="224"/>
                      <a:pt x="220" y="224"/>
                      <a:pt x="222" y="225"/>
                    </a:cubicBezTo>
                    <a:cubicBezTo>
                      <a:pt x="222" y="219"/>
                      <a:pt x="215" y="217"/>
                      <a:pt x="219" y="215"/>
                    </a:cubicBezTo>
                    <a:cubicBezTo>
                      <a:pt x="224" y="211"/>
                      <a:pt x="219" y="208"/>
                      <a:pt x="221" y="207"/>
                    </a:cubicBezTo>
                    <a:cubicBezTo>
                      <a:pt x="223" y="205"/>
                      <a:pt x="227" y="204"/>
                      <a:pt x="227" y="202"/>
                    </a:cubicBezTo>
                    <a:cubicBezTo>
                      <a:pt x="227" y="200"/>
                      <a:pt x="229" y="200"/>
                      <a:pt x="232" y="200"/>
                    </a:cubicBezTo>
                    <a:cubicBezTo>
                      <a:pt x="235" y="200"/>
                      <a:pt x="240" y="195"/>
                      <a:pt x="240" y="193"/>
                    </a:cubicBezTo>
                    <a:cubicBezTo>
                      <a:pt x="239" y="192"/>
                      <a:pt x="240" y="191"/>
                      <a:pt x="244" y="192"/>
                    </a:cubicBezTo>
                    <a:cubicBezTo>
                      <a:pt x="247" y="193"/>
                      <a:pt x="247" y="188"/>
                      <a:pt x="249" y="189"/>
                    </a:cubicBezTo>
                    <a:cubicBezTo>
                      <a:pt x="251" y="189"/>
                      <a:pt x="253" y="191"/>
                      <a:pt x="253" y="189"/>
                    </a:cubicBezTo>
                    <a:cubicBezTo>
                      <a:pt x="253" y="187"/>
                      <a:pt x="255" y="188"/>
                      <a:pt x="257" y="190"/>
                    </a:cubicBezTo>
                    <a:cubicBezTo>
                      <a:pt x="258" y="192"/>
                      <a:pt x="263" y="193"/>
                      <a:pt x="263" y="190"/>
                    </a:cubicBezTo>
                    <a:cubicBezTo>
                      <a:pt x="264" y="188"/>
                      <a:pt x="266" y="190"/>
                      <a:pt x="269" y="193"/>
                    </a:cubicBezTo>
                    <a:cubicBezTo>
                      <a:pt x="271" y="195"/>
                      <a:pt x="272" y="194"/>
                      <a:pt x="276" y="195"/>
                    </a:cubicBezTo>
                    <a:cubicBezTo>
                      <a:pt x="279" y="195"/>
                      <a:pt x="279" y="194"/>
                      <a:pt x="279" y="192"/>
                    </a:cubicBezTo>
                    <a:cubicBezTo>
                      <a:pt x="279" y="190"/>
                      <a:pt x="283" y="196"/>
                      <a:pt x="286" y="197"/>
                    </a:cubicBezTo>
                    <a:cubicBezTo>
                      <a:pt x="290" y="197"/>
                      <a:pt x="287" y="195"/>
                      <a:pt x="284" y="193"/>
                    </a:cubicBezTo>
                    <a:cubicBezTo>
                      <a:pt x="282" y="191"/>
                      <a:pt x="285" y="190"/>
                      <a:pt x="283" y="188"/>
                    </a:cubicBezTo>
                    <a:cubicBezTo>
                      <a:pt x="281" y="187"/>
                      <a:pt x="286" y="184"/>
                      <a:pt x="290" y="185"/>
                    </a:cubicBezTo>
                    <a:cubicBezTo>
                      <a:pt x="294" y="185"/>
                      <a:pt x="294" y="186"/>
                      <a:pt x="295" y="183"/>
                    </a:cubicBezTo>
                    <a:cubicBezTo>
                      <a:pt x="297" y="181"/>
                      <a:pt x="299" y="183"/>
                      <a:pt x="299" y="185"/>
                    </a:cubicBezTo>
                    <a:cubicBezTo>
                      <a:pt x="299" y="188"/>
                      <a:pt x="306" y="184"/>
                      <a:pt x="309" y="184"/>
                    </a:cubicBezTo>
                    <a:cubicBezTo>
                      <a:pt x="313" y="184"/>
                      <a:pt x="317" y="187"/>
                      <a:pt x="317" y="190"/>
                    </a:cubicBezTo>
                    <a:cubicBezTo>
                      <a:pt x="317" y="192"/>
                      <a:pt x="320" y="193"/>
                      <a:pt x="322" y="190"/>
                    </a:cubicBezTo>
                    <a:cubicBezTo>
                      <a:pt x="325" y="188"/>
                      <a:pt x="327" y="185"/>
                      <a:pt x="330" y="188"/>
                    </a:cubicBezTo>
                    <a:cubicBezTo>
                      <a:pt x="332" y="190"/>
                      <a:pt x="335" y="194"/>
                      <a:pt x="338" y="197"/>
                    </a:cubicBezTo>
                    <a:cubicBezTo>
                      <a:pt x="341" y="200"/>
                      <a:pt x="337" y="204"/>
                      <a:pt x="338" y="206"/>
                    </a:cubicBezTo>
                    <a:cubicBezTo>
                      <a:pt x="340" y="208"/>
                      <a:pt x="338" y="212"/>
                      <a:pt x="342" y="214"/>
                    </a:cubicBezTo>
                    <a:cubicBezTo>
                      <a:pt x="345" y="216"/>
                      <a:pt x="342" y="222"/>
                      <a:pt x="345" y="222"/>
                    </a:cubicBezTo>
                    <a:cubicBezTo>
                      <a:pt x="348" y="223"/>
                      <a:pt x="350" y="228"/>
                      <a:pt x="350" y="229"/>
                    </a:cubicBezTo>
                    <a:cubicBezTo>
                      <a:pt x="351" y="231"/>
                      <a:pt x="356" y="233"/>
                      <a:pt x="356" y="230"/>
                    </a:cubicBezTo>
                    <a:cubicBezTo>
                      <a:pt x="357" y="227"/>
                      <a:pt x="360" y="224"/>
                      <a:pt x="360" y="221"/>
                    </a:cubicBezTo>
                    <a:cubicBezTo>
                      <a:pt x="360" y="218"/>
                      <a:pt x="358" y="208"/>
                      <a:pt x="355" y="205"/>
                    </a:cubicBezTo>
                    <a:cubicBezTo>
                      <a:pt x="353" y="202"/>
                      <a:pt x="356" y="201"/>
                      <a:pt x="353" y="197"/>
                    </a:cubicBezTo>
                    <a:cubicBezTo>
                      <a:pt x="350" y="193"/>
                      <a:pt x="348" y="187"/>
                      <a:pt x="349" y="181"/>
                    </a:cubicBezTo>
                    <a:cubicBezTo>
                      <a:pt x="349" y="176"/>
                      <a:pt x="355" y="167"/>
                      <a:pt x="358" y="165"/>
                    </a:cubicBezTo>
                    <a:cubicBezTo>
                      <a:pt x="361" y="162"/>
                      <a:pt x="365" y="163"/>
                      <a:pt x="365" y="160"/>
                    </a:cubicBezTo>
                    <a:cubicBezTo>
                      <a:pt x="366" y="158"/>
                      <a:pt x="370" y="154"/>
                      <a:pt x="372" y="154"/>
                    </a:cubicBezTo>
                    <a:cubicBezTo>
                      <a:pt x="374" y="154"/>
                      <a:pt x="376" y="155"/>
                      <a:pt x="377" y="152"/>
                    </a:cubicBezTo>
                    <a:cubicBezTo>
                      <a:pt x="377" y="150"/>
                      <a:pt x="381" y="147"/>
                      <a:pt x="385" y="146"/>
                    </a:cubicBezTo>
                    <a:cubicBezTo>
                      <a:pt x="390" y="146"/>
                      <a:pt x="387" y="143"/>
                      <a:pt x="386" y="141"/>
                    </a:cubicBezTo>
                    <a:cubicBezTo>
                      <a:pt x="385" y="139"/>
                      <a:pt x="387" y="137"/>
                      <a:pt x="388" y="138"/>
                    </a:cubicBezTo>
                    <a:cubicBezTo>
                      <a:pt x="389" y="140"/>
                      <a:pt x="392" y="140"/>
                      <a:pt x="393" y="139"/>
                    </a:cubicBezTo>
                    <a:cubicBezTo>
                      <a:pt x="395" y="137"/>
                      <a:pt x="399" y="134"/>
                      <a:pt x="395" y="134"/>
                    </a:cubicBezTo>
                    <a:cubicBezTo>
                      <a:pt x="391" y="134"/>
                      <a:pt x="391" y="132"/>
                      <a:pt x="393" y="131"/>
                    </a:cubicBezTo>
                    <a:cubicBezTo>
                      <a:pt x="395" y="130"/>
                      <a:pt x="393" y="126"/>
                      <a:pt x="390" y="126"/>
                    </a:cubicBezTo>
                    <a:cubicBezTo>
                      <a:pt x="387" y="125"/>
                      <a:pt x="388" y="124"/>
                      <a:pt x="390" y="122"/>
                    </a:cubicBezTo>
                    <a:cubicBezTo>
                      <a:pt x="392" y="120"/>
                      <a:pt x="387" y="116"/>
                      <a:pt x="385" y="115"/>
                    </a:cubicBezTo>
                    <a:cubicBezTo>
                      <a:pt x="382" y="113"/>
                      <a:pt x="386" y="112"/>
                      <a:pt x="388" y="112"/>
                    </a:cubicBezTo>
                    <a:cubicBezTo>
                      <a:pt x="390" y="112"/>
                      <a:pt x="388" y="103"/>
                      <a:pt x="389" y="101"/>
                    </a:cubicBezTo>
                    <a:cubicBezTo>
                      <a:pt x="390" y="100"/>
                      <a:pt x="393" y="100"/>
                      <a:pt x="392" y="101"/>
                    </a:cubicBezTo>
                    <a:cubicBezTo>
                      <a:pt x="391" y="103"/>
                      <a:pt x="389" y="107"/>
                      <a:pt x="391" y="109"/>
                    </a:cubicBezTo>
                    <a:cubicBezTo>
                      <a:pt x="393" y="112"/>
                      <a:pt x="394" y="115"/>
                      <a:pt x="393" y="119"/>
                    </a:cubicBezTo>
                    <a:cubicBezTo>
                      <a:pt x="392" y="123"/>
                      <a:pt x="394" y="122"/>
                      <a:pt x="397" y="117"/>
                    </a:cubicBezTo>
                    <a:cubicBezTo>
                      <a:pt x="399" y="111"/>
                      <a:pt x="400" y="107"/>
                      <a:pt x="398" y="106"/>
                    </a:cubicBezTo>
                    <a:cubicBezTo>
                      <a:pt x="396" y="106"/>
                      <a:pt x="396" y="100"/>
                      <a:pt x="398" y="103"/>
                    </a:cubicBezTo>
                    <a:cubicBezTo>
                      <a:pt x="400" y="105"/>
                      <a:pt x="401" y="106"/>
                      <a:pt x="404" y="102"/>
                    </a:cubicBezTo>
                    <a:cubicBezTo>
                      <a:pt x="407" y="99"/>
                      <a:pt x="410" y="94"/>
                      <a:pt x="408" y="92"/>
                    </a:cubicBezTo>
                    <a:cubicBezTo>
                      <a:pt x="406" y="91"/>
                      <a:pt x="409" y="90"/>
                      <a:pt x="413" y="90"/>
                    </a:cubicBezTo>
                    <a:cubicBezTo>
                      <a:pt x="416" y="90"/>
                      <a:pt x="424" y="88"/>
                      <a:pt x="425" y="87"/>
                    </a:cubicBezTo>
                    <a:cubicBezTo>
                      <a:pt x="426" y="83"/>
                      <a:pt x="412" y="88"/>
                      <a:pt x="412" y="86"/>
                    </a:cubicBezTo>
                    <a:cubicBezTo>
                      <a:pt x="412" y="85"/>
                      <a:pt x="421" y="83"/>
                      <a:pt x="425" y="82"/>
                    </a:cubicBezTo>
                    <a:cubicBezTo>
                      <a:pt x="429" y="82"/>
                      <a:pt x="427" y="77"/>
                      <a:pt x="429" y="79"/>
                    </a:cubicBezTo>
                    <a:cubicBezTo>
                      <a:pt x="431" y="81"/>
                      <a:pt x="434" y="81"/>
                      <a:pt x="436" y="80"/>
                    </a:cubicBezTo>
                    <a:cubicBezTo>
                      <a:pt x="438" y="78"/>
                      <a:pt x="437" y="74"/>
                      <a:pt x="434" y="73"/>
                    </a:cubicBezTo>
                    <a:cubicBezTo>
                      <a:pt x="431" y="73"/>
                      <a:pt x="436" y="71"/>
                      <a:pt x="435" y="69"/>
                    </a:cubicBezTo>
                    <a:cubicBezTo>
                      <a:pt x="434" y="68"/>
                      <a:pt x="437" y="61"/>
                      <a:pt x="440" y="60"/>
                    </a:cubicBezTo>
                    <a:cubicBezTo>
                      <a:pt x="444" y="60"/>
                      <a:pt x="442" y="58"/>
                      <a:pt x="445" y="58"/>
                    </a:cubicBezTo>
                    <a:cubicBezTo>
                      <a:pt x="448" y="58"/>
                      <a:pt x="448" y="54"/>
                      <a:pt x="451" y="52"/>
                    </a:cubicBezTo>
                    <a:cubicBezTo>
                      <a:pt x="453" y="49"/>
                      <a:pt x="457" y="56"/>
                      <a:pt x="461" y="52"/>
                    </a:cubicBezTo>
                    <a:cubicBezTo>
                      <a:pt x="462" y="51"/>
                      <a:pt x="464" y="49"/>
                      <a:pt x="467" y="48"/>
                    </a:cubicBezTo>
                    <a:cubicBezTo>
                      <a:pt x="457" y="35"/>
                      <a:pt x="460" y="27"/>
                      <a:pt x="460" y="2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5" name="Freeform 133">
                <a:extLst>
                  <a:ext uri="{FF2B5EF4-FFF2-40B4-BE49-F238E27FC236}">
                    <a16:creationId xmlns:a16="http://schemas.microsoft.com/office/drawing/2014/main" id="{160F79A8-FA2A-4FD8-93A6-964048DEC7C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47817" y="3212745"/>
                <a:ext cx="239653" cy="170643"/>
              </a:xfrm>
              <a:custGeom>
                <a:avLst/>
                <a:gdLst>
                  <a:gd name="T0" fmla="*/ 102 w 104"/>
                  <a:gd name="T1" fmla="*/ 13 h 74"/>
                  <a:gd name="T2" fmla="*/ 94 w 104"/>
                  <a:gd name="T3" fmla="*/ 13 h 74"/>
                  <a:gd name="T4" fmla="*/ 85 w 104"/>
                  <a:gd name="T5" fmla="*/ 11 h 74"/>
                  <a:gd name="T6" fmla="*/ 81 w 104"/>
                  <a:gd name="T7" fmla="*/ 10 h 74"/>
                  <a:gd name="T8" fmla="*/ 74 w 104"/>
                  <a:gd name="T9" fmla="*/ 11 h 74"/>
                  <a:gd name="T10" fmla="*/ 67 w 104"/>
                  <a:gd name="T11" fmla="*/ 7 h 74"/>
                  <a:gd name="T12" fmla="*/ 62 w 104"/>
                  <a:gd name="T13" fmla="*/ 5 h 74"/>
                  <a:gd name="T14" fmla="*/ 48 w 104"/>
                  <a:gd name="T15" fmla="*/ 3 h 74"/>
                  <a:gd name="T16" fmla="*/ 22 w 104"/>
                  <a:gd name="T17" fmla="*/ 3 h 74"/>
                  <a:gd name="T18" fmla="*/ 12 w 104"/>
                  <a:gd name="T19" fmla="*/ 0 h 74"/>
                  <a:gd name="T20" fmla="*/ 5 w 104"/>
                  <a:gd name="T21" fmla="*/ 4 h 74"/>
                  <a:gd name="T22" fmla="*/ 3 w 104"/>
                  <a:gd name="T23" fmla="*/ 10 h 74"/>
                  <a:gd name="T24" fmla="*/ 5 w 104"/>
                  <a:gd name="T25" fmla="*/ 18 h 74"/>
                  <a:gd name="T26" fmla="*/ 7 w 104"/>
                  <a:gd name="T27" fmla="*/ 17 h 74"/>
                  <a:gd name="T28" fmla="*/ 10 w 104"/>
                  <a:gd name="T29" fmla="*/ 18 h 74"/>
                  <a:gd name="T30" fmla="*/ 15 w 104"/>
                  <a:gd name="T31" fmla="*/ 19 h 74"/>
                  <a:gd name="T32" fmla="*/ 18 w 104"/>
                  <a:gd name="T33" fmla="*/ 19 h 74"/>
                  <a:gd name="T34" fmla="*/ 23 w 104"/>
                  <a:gd name="T35" fmla="*/ 20 h 74"/>
                  <a:gd name="T36" fmla="*/ 25 w 104"/>
                  <a:gd name="T37" fmla="*/ 23 h 74"/>
                  <a:gd name="T38" fmla="*/ 20 w 104"/>
                  <a:gd name="T39" fmla="*/ 27 h 74"/>
                  <a:gd name="T40" fmla="*/ 20 w 104"/>
                  <a:gd name="T41" fmla="*/ 35 h 74"/>
                  <a:gd name="T42" fmla="*/ 19 w 104"/>
                  <a:gd name="T43" fmla="*/ 40 h 74"/>
                  <a:gd name="T44" fmla="*/ 17 w 104"/>
                  <a:gd name="T45" fmla="*/ 44 h 74"/>
                  <a:gd name="T46" fmla="*/ 19 w 104"/>
                  <a:gd name="T47" fmla="*/ 48 h 74"/>
                  <a:gd name="T48" fmla="*/ 17 w 104"/>
                  <a:gd name="T49" fmla="*/ 52 h 74"/>
                  <a:gd name="T50" fmla="*/ 19 w 104"/>
                  <a:gd name="T51" fmla="*/ 56 h 74"/>
                  <a:gd name="T52" fmla="*/ 16 w 104"/>
                  <a:gd name="T53" fmla="*/ 61 h 74"/>
                  <a:gd name="T54" fmla="*/ 17 w 104"/>
                  <a:gd name="T55" fmla="*/ 64 h 74"/>
                  <a:gd name="T56" fmla="*/ 21 w 104"/>
                  <a:gd name="T57" fmla="*/ 64 h 74"/>
                  <a:gd name="T58" fmla="*/ 31 w 104"/>
                  <a:gd name="T59" fmla="*/ 73 h 74"/>
                  <a:gd name="T60" fmla="*/ 33 w 104"/>
                  <a:gd name="T61" fmla="*/ 71 h 74"/>
                  <a:gd name="T62" fmla="*/ 37 w 104"/>
                  <a:gd name="T63" fmla="*/ 71 h 74"/>
                  <a:gd name="T64" fmla="*/ 45 w 104"/>
                  <a:gd name="T65" fmla="*/ 68 h 74"/>
                  <a:gd name="T66" fmla="*/ 55 w 104"/>
                  <a:gd name="T67" fmla="*/ 67 h 74"/>
                  <a:gd name="T68" fmla="*/ 61 w 104"/>
                  <a:gd name="T69" fmla="*/ 65 h 74"/>
                  <a:gd name="T70" fmla="*/ 67 w 104"/>
                  <a:gd name="T71" fmla="*/ 60 h 74"/>
                  <a:gd name="T72" fmla="*/ 70 w 104"/>
                  <a:gd name="T73" fmla="*/ 55 h 74"/>
                  <a:gd name="T74" fmla="*/ 76 w 104"/>
                  <a:gd name="T75" fmla="*/ 48 h 74"/>
                  <a:gd name="T76" fmla="*/ 76 w 104"/>
                  <a:gd name="T77" fmla="*/ 37 h 74"/>
                  <a:gd name="T78" fmla="*/ 83 w 104"/>
                  <a:gd name="T79" fmla="*/ 29 h 74"/>
                  <a:gd name="T80" fmla="*/ 90 w 104"/>
                  <a:gd name="T81" fmla="*/ 25 h 74"/>
                  <a:gd name="T82" fmla="*/ 99 w 104"/>
                  <a:gd name="T83" fmla="*/ 20 h 74"/>
                  <a:gd name="T84" fmla="*/ 102 w 104"/>
                  <a:gd name="T85" fmla="*/ 13 h 74"/>
                  <a:gd name="T86" fmla="*/ 103 w 104"/>
                  <a:gd name="T87" fmla="*/ 39 h 74"/>
                  <a:gd name="T88" fmla="*/ 96 w 104"/>
                  <a:gd name="T89" fmla="*/ 42 h 74"/>
                  <a:gd name="T90" fmla="*/ 103 w 104"/>
                  <a:gd name="T91" fmla="*/ 39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04" h="74">
                    <a:moveTo>
                      <a:pt x="102" y="13"/>
                    </a:moveTo>
                    <a:cubicBezTo>
                      <a:pt x="100" y="13"/>
                      <a:pt x="96" y="14"/>
                      <a:pt x="94" y="13"/>
                    </a:cubicBezTo>
                    <a:cubicBezTo>
                      <a:pt x="92" y="13"/>
                      <a:pt x="86" y="12"/>
                      <a:pt x="85" y="11"/>
                    </a:cubicBezTo>
                    <a:cubicBezTo>
                      <a:pt x="83" y="9"/>
                      <a:pt x="81" y="8"/>
                      <a:pt x="81" y="10"/>
                    </a:cubicBezTo>
                    <a:cubicBezTo>
                      <a:pt x="81" y="12"/>
                      <a:pt x="77" y="12"/>
                      <a:pt x="74" y="11"/>
                    </a:cubicBezTo>
                    <a:cubicBezTo>
                      <a:pt x="72" y="9"/>
                      <a:pt x="68" y="8"/>
                      <a:pt x="67" y="7"/>
                    </a:cubicBezTo>
                    <a:cubicBezTo>
                      <a:pt x="66" y="6"/>
                      <a:pt x="64" y="5"/>
                      <a:pt x="62" y="5"/>
                    </a:cubicBezTo>
                    <a:cubicBezTo>
                      <a:pt x="60" y="5"/>
                      <a:pt x="53" y="2"/>
                      <a:pt x="48" y="3"/>
                    </a:cubicBezTo>
                    <a:cubicBezTo>
                      <a:pt x="43" y="4"/>
                      <a:pt x="28" y="2"/>
                      <a:pt x="22" y="3"/>
                    </a:cubicBezTo>
                    <a:cubicBezTo>
                      <a:pt x="16" y="3"/>
                      <a:pt x="15" y="0"/>
                      <a:pt x="12" y="0"/>
                    </a:cubicBezTo>
                    <a:cubicBezTo>
                      <a:pt x="9" y="0"/>
                      <a:pt x="10" y="4"/>
                      <a:pt x="5" y="4"/>
                    </a:cubicBezTo>
                    <a:cubicBezTo>
                      <a:pt x="1" y="5"/>
                      <a:pt x="0" y="8"/>
                      <a:pt x="3" y="10"/>
                    </a:cubicBezTo>
                    <a:cubicBezTo>
                      <a:pt x="5" y="12"/>
                      <a:pt x="5" y="15"/>
                      <a:pt x="5" y="18"/>
                    </a:cubicBezTo>
                    <a:cubicBezTo>
                      <a:pt x="6" y="18"/>
                      <a:pt x="7" y="18"/>
                      <a:pt x="7" y="17"/>
                    </a:cubicBezTo>
                    <a:cubicBezTo>
                      <a:pt x="9" y="16"/>
                      <a:pt x="10" y="16"/>
                      <a:pt x="10" y="18"/>
                    </a:cubicBezTo>
                    <a:cubicBezTo>
                      <a:pt x="10" y="19"/>
                      <a:pt x="13" y="19"/>
                      <a:pt x="15" y="19"/>
                    </a:cubicBezTo>
                    <a:cubicBezTo>
                      <a:pt x="17" y="19"/>
                      <a:pt x="16" y="20"/>
                      <a:pt x="18" y="19"/>
                    </a:cubicBezTo>
                    <a:cubicBezTo>
                      <a:pt x="20" y="17"/>
                      <a:pt x="23" y="18"/>
                      <a:pt x="23" y="20"/>
                    </a:cubicBezTo>
                    <a:cubicBezTo>
                      <a:pt x="23" y="21"/>
                      <a:pt x="27" y="20"/>
                      <a:pt x="25" y="23"/>
                    </a:cubicBezTo>
                    <a:cubicBezTo>
                      <a:pt x="23" y="25"/>
                      <a:pt x="20" y="26"/>
                      <a:pt x="20" y="27"/>
                    </a:cubicBezTo>
                    <a:cubicBezTo>
                      <a:pt x="20" y="29"/>
                      <a:pt x="22" y="33"/>
                      <a:pt x="20" y="35"/>
                    </a:cubicBezTo>
                    <a:cubicBezTo>
                      <a:pt x="18" y="37"/>
                      <a:pt x="21" y="40"/>
                      <a:pt x="19" y="40"/>
                    </a:cubicBezTo>
                    <a:cubicBezTo>
                      <a:pt x="17" y="40"/>
                      <a:pt x="15" y="41"/>
                      <a:pt x="17" y="44"/>
                    </a:cubicBezTo>
                    <a:cubicBezTo>
                      <a:pt x="19" y="46"/>
                      <a:pt x="21" y="48"/>
                      <a:pt x="19" y="48"/>
                    </a:cubicBezTo>
                    <a:cubicBezTo>
                      <a:pt x="17" y="48"/>
                      <a:pt x="16" y="51"/>
                      <a:pt x="17" y="52"/>
                    </a:cubicBezTo>
                    <a:cubicBezTo>
                      <a:pt x="18" y="53"/>
                      <a:pt x="22" y="56"/>
                      <a:pt x="19" y="56"/>
                    </a:cubicBezTo>
                    <a:cubicBezTo>
                      <a:pt x="16" y="57"/>
                      <a:pt x="16" y="59"/>
                      <a:pt x="16" y="61"/>
                    </a:cubicBezTo>
                    <a:cubicBezTo>
                      <a:pt x="16" y="62"/>
                      <a:pt x="16" y="63"/>
                      <a:pt x="17" y="64"/>
                    </a:cubicBezTo>
                    <a:cubicBezTo>
                      <a:pt x="18" y="64"/>
                      <a:pt x="20" y="64"/>
                      <a:pt x="21" y="64"/>
                    </a:cubicBezTo>
                    <a:cubicBezTo>
                      <a:pt x="25" y="66"/>
                      <a:pt x="26" y="74"/>
                      <a:pt x="31" y="73"/>
                    </a:cubicBezTo>
                    <a:cubicBezTo>
                      <a:pt x="33" y="73"/>
                      <a:pt x="32" y="72"/>
                      <a:pt x="33" y="71"/>
                    </a:cubicBezTo>
                    <a:cubicBezTo>
                      <a:pt x="34" y="70"/>
                      <a:pt x="36" y="71"/>
                      <a:pt x="37" y="71"/>
                    </a:cubicBezTo>
                    <a:cubicBezTo>
                      <a:pt x="39" y="71"/>
                      <a:pt x="40" y="68"/>
                      <a:pt x="45" y="68"/>
                    </a:cubicBezTo>
                    <a:cubicBezTo>
                      <a:pt x="49" y="68"/>
                      <a:pt x="52" y="67"/>
                      <a:pt x="55" y="67"/>
                    </a:cubicBezTo>
                    <a:cubicBezTo>
                      <a:pt x="58" y="67"/>
                      <a:pt x="60" y="67"/>
                      <a:pt x="61" y="65"/>
                    </a:cubicBezTo>
                    <a:cubicBezTo>
                      <a:pt x="62" y="62"/>
                      <a:pt x="64" y="61"/>
                      <a:pt x="67" y="60"/>
                    </a:cubicBezTo>
                    <a:cubicBezTo>
                      <a:pt x="70" y="60"/>
                      <a:pt x="70" y="56"/>
                      <a:pt x="70" y="55"/>
                    </a:cubicBezTo>
                    <a:cubicBezTo>
                      <a:pt x="70" y="53"/>
                      <a:pt x="76" y="50"/>
                      <a:pt x="76" y="48"/>
                    </a:cubicBezTo>
                    <a:cubicBezTo>
                      <a:pt x="76" y="47"/>
                      <a:pt x="73" y="41"/>
                      <a:pt x="76" y="37"/>
                    </a:cubicBezTo>
                    <a:cubicBezTo>
                      <a:pt x="79" y="32"/>
                      <a:pt x="83" y="31"/>
                      <a:pt x="83" y="29"/>
                    </a:cubicBezTo>
                    <a:cubicBezTo>
                      <a:pt x="83" y="26"/>
                      <a:pt x="86" y="25"/>
                      <a:pt x="90" y="25"/>
                    </a:cubicBezTo>
                    <a:cubicBezTo>
                      <a:pt x="94" y="24"/>
                      <a:pt x="96" y="22"/>
                      <a:pt x="99" y="20"/>
                    </a:cubicBezTo>
                    <a:cubicBezTo>
                      <a:pt x="102" y="19"/>
                      <a:pt x="103" y="17"/>
                      <a:pt x="102" y="13"/>
                    </a:cubicBezTo>
                    <a:close/>
                    <a:moveTo>
                      <a:pt x="103" y="39"/>
                    </a:moveTo>
                    <a:cubicBezTo>
                      <a:pt x="103" y="35"/>
                      <a:pt x="94" y="41"/>
                      <a:pt x="96" y="42"/>
                    </a:cubicBezTo>
                    <a:cubicBezTo>
                      <a:pt x="100" y="44"/>
                      <a:pt x="104" y="43"/>
                      <a:pt x="103" y="3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6" name="Freeform 134">
                <a:extLst>
                  <a:ext uri="{FF2B5EF4-FFF2-40B4-BE49-F238E27FC236}">
                    <a16:creationId xmlns:a16="http://schemas.microsoft.com/office/drawing/2014/main" id="{6A00554E-8FCA-46B9-B6EA-AA3F52C767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63131" y="3138716"/>
                <a:ext cx="61482" cy="37642"/>
              </a:xfrm>
              <a:custGeom>
                <a:avLst/>
                <a:gdLst>
                  <a:gd name="T0" fmla="*/ 0 w 27"/>
                  <a:gd name="T1" fmla="*/ 14 h 16"/>
                  <a:gd name="T2" fmla="*/ 5 w 27"/>
                  <a:gd name="T3" fmla="*/ 13 h 16"/>
                  <a:gd name="T4" fmla="*/ 7 w 27"/>
                  <a:gd name="T5" fmla="*/ 15 h 16"/>
                  <a:gd name="T6" fmla="*/ 12 w 27"/>
                  <a:gd name="T7" fmla="*/ 14 h 16"/>
                  <a:gd name="T8" fmla="*/ 17 w 27"/>
                  <a:gd name="T9" fmla="*/ 15 h 16"/>
                  <a:gd name="T10" fmla="*/ 20 w 27"/>
                  <a:gd name="T11" fmla="*/ 11 h 16"/>
                  <a:gd name="T12" fmla="*/ 22 w 27"/>
                  <a:gd name="T13" fmla="*/ 7 h 16"/>
                  <a:gd name="T14" fmla="*/ 27 w 27"/>
                  <a:gd name="T15" fmla="*/ 4 h 16"/>
                  <a:gd name="T16" fmla="*/ 25 w 27"/>
                  <a:gd name="T17" fmla="*/ 1 h 16"/>
                  <a:gd name="T18" fmla="*/ 20 w 27"/>
                  <a:gd name="T19" fmla="*/ 2 h 16"/>
                  <a:gd name="T20" fmla="*/ 13 w 27"/>
                  <a:gd name="T21" fmla="*/ 5 h 16"/>
                  <a:gd name="T22" fmla="*/ 4 w 27"/>
                  <a:gd name="T23" fmla="*/ 3 h 16"/>
                  <a:gd name="T24" fmla="*/ 0 w 27"/>
                  <a:gd name="T25" fmla="*/ 3 h 16"/>
                  <a:gd name="T26" fmla="*/ 0 w 27"/>
                  <a:gd name="T27" fmla="*/ 14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7" h="16">
                    <a:moveTo>
                      <a:pt x="0" y="14"/>
                    </a:moveTo>
                    <a:cubicBezTo>
                      <a:pt x="2" y="13"/>
                      <a:pt x="4" y="13"/>
                      <a:pt x="5" y="13"/>
                    </a:cubicBezTo>
                    <a:cubicBezTo>
                      <a:pt x="6" y="13"/>
                      <a:pt x="6" y="14"/>
                      <a:pt x="7" y="15"/>
                    </a:cubicBezTo>
                    <a:cubicBezTo>
                      <a:pt x="8" y="15"/>
                      <a:pt x="11" y="15"/>
                      <a:pt x="12" y="14"/>
                    </a:cubicBezTo>
                    <a:cubicBezTo>
                      <a:pt x="14" y="14"/>
                      <a:pt x="17" y="16"/>
                      <a:pt x="17" y="15"/>
                    </a:cubicBezTo>
                    <a:cubicBezTo>
                      <a:pt x="18" y="13"/>
                      <a:pt x="19" y="11"/>
                      <a:pt x="20" y="11"/>
                    </a:cubicBezTo>
                    <a:cubicBezTo>
                      <a:pt x="21" y="11"/>
                      <a:pt x="21" y="7"/>
                      <a:pt x="22" y="7"/>
                    </a:cubicBezTo>
                    <a:cubicBezTo>
                      <a:pt x="23" y="7"/>
                      <a:pt x="27" y="4"/>
                      <a:pt x="27" y="4"/>
                    </a:cubicBezTo>
                    <a:cubicBezTo>
                      <a:pt x="27" y="4"/>
                      <a:pt x="26" y="1"/>
                      <a:pt x="25" y="1"/>
                    </a:cubicBezTo>
                    <a:cubicBezTo>
                      <a:pt x="25" y="0"/>
                      <a:pt x="23" y="2"/>
                      <a:pt x="20" y="2"/>
                    </a:cubicBezTo>
                    <a:cubicBezTo>
                      <a:pt x="16" y="2"/>
                      <a:pt x="14" y="5"/>
                      <a:pt x="13" y="5"/>
                    </a:cubicBezTo>
                    <a:cubicBezTo>
                      <a:pt x="11" y="5"/>
                      <a:pt x="7" y="3"/>
                      <a:pt x="4" y="3"/>
                    </a:cubicBezTo>
                    <a:cubicBezTo>
                      <a:pt x="3" y="3"/>
                      <a:pt x="1" y="3"/>
                      <a:pt x="0" y="3"/>
                    </a:cubicBezTo>
                    <a:cubicBezTo>
                      <a:pt x="0" y="6"/>
                      <a:pt x="0" y="10"/>
                      <a:pt x="0" y="14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7" name="Freeform 135">
                <a:extLst>
                  <a:ext uri="{FF2B5EF4-FFF2-40B4-BE49-F238E27FC236}">
                    <a16:creationId xmlns:a16="http://schemas.microsoft.com/office/drawing/2014/main" id="{F927DA4D-607F-403D-80DF-724738CD1C1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91113" y="3259170"/>
                <a:ext cx="117944" cy="144293"/>
              </a:xfrm>
              <a:custGeom>
                <a:avLst/>
                <a:gdLst>
                  <a:gd name="T0" fmla="*/ 50 w 51"/>
                  <a:gd name="T1" fmla="*/ 0 h 63"/>
                  <a:gd name="T2" fmla="*/ 46 w 51"/>
                  <a:gd name="T3" fmla="*/ 1 h 63"/>
                  <a:gd name="T4" fmla="*/ 43 w 51"/>
                  <a:gd name="T5" fmla="*/ 3 h 63"/>
                  <a:gd name="T6" fmla="*/ 34 w 51"/>
                  <a:gd name="T7" fmla="*/ 2 h 63"/>
                  <a:gd name="T8" fmla="*/ 24 w 51"/>
                  <a:gd name="T9" fmla="*/ 2 h 63"/>
                  <a:gd name="T10" fmla="*/ 23 w 51"/>
                  <a:gd name="T11" fmla="*/ 2 h 63"/>
                  <a:gd name="T12" fmla="*/ 16 w 51"/>
                  <a:gd name="T13" fmla="*/ 6 h 63"/>
                  <a:gd name="T14" fmla="*/ 12 w 51"/>
                  <a:gd name="T15" fmla="*/ 8 h 63"/>
                  <a:gd name="T16" fmla="*/ 7 w 51"/>
                  <a:gd name="T17" fmla="*/ 9 h 63"/>
                  <a:gd name="T18" fmla="*/ 4 w 51"/>
                  <a:gd name="T19" fmla="*/ 13 h 63"/>
                  <a:gd name="T20" fmla="*/ 2 w 51"/>
                  <a:gd name="T21" fmla="*/ 16 h 63"/>
                  <a:gd name="T22" fmla="*/ 0 w 51"/>
                  <a:gd name="T23" fmla="*/ 21 h 63"/>
                  <a:gd name="T24" fmla="*/ 0 w 51"/>
                  <a:gd name="T25" fmla="*/ 21 h 63"/>
                  <a:gd name="T26" fmla="*/ 4 w 51"/>
                  <a:gd name="T27" fmla="*/ 28 h 63"/>
                  <a:gd name="T28" fmla="*/ 10 w 51"/>
                  <a:gd name="T29" fmla="*/ 30 h 63"/>
                  <a:gd name="T30" fmla="*/ 17 w 51"/>
                  <a:gd name="T31" fmla="*/ 32 h 63"/>
                  <a:gd name="T32" fmla="*/ 9 w 51"/>
                  <a:gd name="T33" fmla="*/ 33 h 63"/>
                  <a:gd name="T34" fmla="*/ 10 w 51"/>
                  <a:gd name="T35" fmla="*/ 40 h 63"/>
                  <a:gd name="T36" fmla="*/ 14 w 51"/>
                  <a:gd name="T37" fmla="*/ 45 h 63"/>
                  <a:gd name="T38" fmla="*/ 22 w 51"/>
                  <a:gd name="T39" fmla="*/ 49 h 63"/>
                  <a:gd name="T40" fmla="*/ 20 w 51"/>
                  <a:gd name="T41" fmla="*/ 41 h 63"/>
                  <a:gd name="T42" fmla="*/ 26 w 51"/>
                  <a:gd name="T43" fmla="*/ 40 h 63"/>
                  <a:gd name="T44" fmla="*/ 22 w 51"/>
                  <a:gd name="T45" fmla="*/ 37 h 63"/>
                  <a:gd name="T46" fmla="*/ 25 w 51"/>
                  <a:gd name="T47" fmla="*/ 36 h 63"/>
                  <a:gd name="T48" fmla="*/ 31 w 51"/>
                  <a:gd name="T49" fmla="*/ 35 h 63"/>
                  <a:gd name="T50" fmla="*/ 28 w 51"/>
                  <a:gd name="T51" fmla="*/ 28 h 63"/>
                  <a:gd name="T52" fmla="*/ 22 w 51"/>
                  <a:gd name="T53" fmla="*/ 29 h 63"/>
                  <a:gd name="T54" fmla="*/ 24 w 51"/>
                  <a:gd name="T55" fmla="*/ 24 h 63"/>
                  <a:gd name="T56" fmla="*/ 18 w 51"/>
                  <a:gd name="T57" fmla="*/ 15 h 63"/>
                  <a:gd name="T58" fmla="*/ 22 w 51"/>
                  <a:gd name="T59" fmla="*/ 13 h 63"/>
                  <a:gd name="T60" fmla="*/ 28 w 51"/>
                  <a:gd name="T61" fmla="*/ 14 h 63"/>
                  <a:gd name="T62" fmla="*/ 30 w 51"/>
                  <a:gd name="T63" fmla="*/ 8 h 63"/>
                  <a:gd name="T64" fmla="*/ 35 w 51"/>
                  <a:gd name="T65" fmla="*/ 10 h 63"/>
                  <a:gd name="T66" fmla="*/ 41 w 51"/>
                  <a:gd name="T67" fmla="*/ 7 h 63"/>
                  <a:gd name="T68" fmla="*/ 46 w 51"/>
                  <a:gd name="T69" fmla="*/ 9 h 63"/>
                  <a:gd name="T70" fmla="*/ 48 w 51"/>
                  <a:gd name="T71" fmla="*/ 6 h 63"/>
                  <a:gd name="T72" fmla="*/ 51 w 51"/>
                  <a:gd name="T73" fmla="*/ 3 h 63"/>
                  <a:gd name="T74" fmla="*/ 50 w 51"/>
                  <a:gd name="T75" fmla="*/ 0 h 63"/>
                  <a:gd name="T76" fmla="*/ 43 w 51"/>
                  <a:gd name="T77" fmla="*/ 59 h 63"/>
                  <a:gd name="T78" fmla="*/ 30 w 51"/>
                  <a:gd name="T79" fmla="*/ 58 h 63"/>
                  <a:gd name="T80" fmla="*/ 26 w 51"/>
                  <a:gd name="T81" fmla="*/ 60 h 63"/>
                  <a:gd name="T82" fmla="*/ 37 w 51"/>
                  <a:gd name="T83" fmla="*/ 63 h 63"/>
                  <a:gd name="T84" fmla="*/ 48 w 51"/>
                  <a:gd name="T85" fmla="*/ 60 h 63"/>
                  <a:gd name="T86" fmla="*/ 43 w 51"/>
                  <a:gd name="T87" fmla="*/ 59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51" h="63">
                    <a:moveTo>
                      <a:pt x="50" y="0"/>
                    </a:moveTo>
                    <a:cubicBezTo>
                      <a:pt x="48" y="0"/>
                      <a:pt x="46" y="0"/>
                      <a:pt x="46" y="1"/>
                    </a:cubicBezTo>
                    <a:cubicBezTo>
                      <a:pt x="47" y="3"/>
                      <a:pt x="45" y="3"/>
                      <a:pt x="43" y="3"/>
                    </a:cubicBezTo>
                    <a:cubicBezTo>
                      <a:pt x="43" y="3"/>
                      <a:pt x="36" y="3"/>
                      <a:pt x="34" y="2"/>
                    </a:cubicBezTo>
                    <a:cubicBezTo>
                      <a:pt x="33" y="1"/>
                      <a:pt x="27" y="1"/>
                      <a:pt x="24" y="2"/>
                    </a:cubicBezTo>
                    <a:cubicBezTo>
                      <a:pt x="24" y="2"/>
                      <a:pt x="24" y="2"/>
                      <a:pt x="23" y="2"/>
                    </a:cubicBezTo>
                    <a:cubicBezTo>
                      <a:pt x="23" y="3"/>
                      <a:pt x="17" y="6"/>
                      <a:pt x="16" y="6"/>
                    </a:cubicBezTo>
                    <a:cubicBezTo>
                      <a:pt x="15" y="5"/>
                      <a:pt x="14" y="7"/>
                      <a:pt x="12" y="8"/>
                    </a:cubicBezTo>
                    <a:cubicBezTo>
                      <a:pt x="10" y="8"/>
                      <a:pt x="7" y="8"/>
                      <a:pt x="7" y="9"/>
                    </a:cubicBezTo>
                    <a:cubicBezTo>
                      <a:pt x="7" y="9"/>
                      <a:pt x="5" y="12"/>
                      <a:pt x="4" y="13"/>
                    </a:cubicBezTo>
                    <a:cubicBezTo>
                      <a:pt x="3" y="14"/>
                      <a:pt x="4" y="16"/>
                      <a:pt x="2" y="16"/>
                    </a:cubicBezTo>
                    <a:cubicBezTo>
                      <a:pt x="1" y="16"/>
                      <a:pt x="0" y="19"/>
                      <a:pt x="0" y="21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3" y="22"/>
                      <a:pt x="5" y="25"/>
                      <a:pt x="4" y="28"/>
                    </a:cubicBezTo>
                    <a:cubicBezTo>
                      <a:pt x="4" y="31"/>
                      <a:pt x="8" y="32"/>
                      <a:pt x="10" y="30"/>
                    </a:cubicBezTo>
                    <a:cubicBezTo>
                      <a:pt x="12" y="27"/>
                      <a:pt x="17" y="31"/>
                      <a:pt x="17" y="32"/>
                    </a:cubicBezTo>
                    <a:cubicBezTo>
                      <a:pt x="17" y="34"/>
                      <a:pt x="12" y="31"/>
                      <a:pt x="9" y="33"/>
                    </a:cubicBezTo>
                    <a:cubicBezTo>
                      <a:pt x="6" y="35"/>
                      <a:pt x="11" y="37"/>
                      <a:pt x="10" y="40"/>
                    </a:cubicBezTo>
                    <a:cubicBezTo>
                      <a:pt x="10" y="42"/>
                      <a:pt x="12" y="45"/>
                      <a:pt x="14" y="45"/>
                    </a:cubicBezTo>
                    <a:cubicBezTo>
                      <a:pt x="17" y="45"/>
                      <a:pt x="20" y="50"/>
                      <a:pt x="22" y="49"/>
                    </a:cubicBezTo>
                    <a:cubicBezTo>
                      <a:pt x="24" y="48"/>
                      <a:pt x="20" y="42"/>
                      <a:pt x="20" y="41"/>
                    </a:cubicBezTo>
                    <a:cubicBezTo>
                      <a:pt x="21" y="40"/>
                      <a:pt x="24" y="42"/>
                      <a:pt x="26" y="40"/>
                    </a:cubicBezTo>
                    <a:cubicBezTo>
                      <a:pt x="28" y="39"/>
                      <a:pt x="25" y="37"/>
                      <a:pt x="22" y="37"/>
                    </a:cubicBezTo>
                    <a:cubicBezTo>
                      <a:pt x="20" y="37"/>
                      <a:pt x="22" y="34"/>
                      <a:pt x="25" y="36"/>
                    </a:cubicBezTo>
                    <a:cubicBezTo>
                      <a:pt x="28" y="37"/>
                      <a:pt x="30" y="35"/>
                      <a:pt x="31" y="35"/>
                    </a:cubicBezTo>
                    <a:cubicBezTo>
                      <a:pt x="32" y="35"/>
                      <a:pt x="33" y="30"/>
                      <a:pt x="28" y="28"/>
                    </a:cubicBezTo>
                    <a:cubicBezTo>
                      <a:pt x="24" y="27"/>
                      <a:pt x="25" y="32"/>
                      <a:pt x="22" y="29"/>
                    </a:cubicBezTo>
                    <a:cubicBezTo>
                      <a:pt x="19" y="26"/>
                      <a:pt x="24" y="27"/>
                      <a:pt x="24" y="24"/>
                    </a:cubicBezTo>
                    <a:cubicBezTo>
                      <a:pt x="24" y="22"/>
                      <a:pt x="20" y="18"/>
                      <a:pt x="18" y="15"/>
                    </a:cubicBezTo>
                    <a:cubicBezTo>
                      <a:pt x="16" y="12"/>
                      <a:pt x="21" y="11"/>
                      <a:pt x="22" y="13"/>
                    </a:cubicBezTo>
                    <a:cubicBezTo>
                      <a:pt x="23" y="15"/>
                      <a:pt x="26" y="15"/>
                      <a:pt x="28" y="14"/>
                    </a:cubicBezTo>
                    <a:cubicBezTo>
                      <a:pt x="30" y="13"/>
                      <a:pt x="26" y="9"/>
                      <a:pt x="30" y="8"/>
                    </a:cubicBezTo>
                    <a:cubicBezTo>
                      <a:pt x="34" y="7"/>
                      <a:pt x="34" y="9"/>
                      <a:pt x="35" y="10"/>
                    </a:cubicBezTo>
                    <a:cubicBezTo>
                      <a:pt x="36" y="10"/>
                      <a:pt x="37" y="7"/>
                      <a:pt x="41" y="7"/>
                    </a:cubicBezTo>
                    <a:cubicBezTo>
                      <a:pt x="43" y="7"/>
                      <a:pt x="45" y="8"/>
                      <a:pt x="46" y="9"/>
                    </a:cubicBezTo>
                    <a:cubicBezTo>
                      <a:pt x="47" y="8"/>
                      <a:pt x="48" y="7"/>
                      <a:pt x="48" y="6"/>
                    </a:cubicBezTo>
                    <a:cubicBezTo>
                      <a:pt x="48" y="5"/>
                      <a:pt x="51" y="5"/>
                      <a:pt x="51" y="3"/>
                    </a:cubicBezTo>
                    <a:cubicBezTo>
                      <a:pt x="51" y="2"/>
                      <a:pt x="50" y="1"/>
                      <a:pt x="50" y="0"/>
                    </a:cubicBezTo>
                    <a:close/>
                    <a:moveTo>
                      <a:pt x="43" y="59"/>
                    </a:moveTo>
                    <a:cubicBezTo>
                      <a:pt x="41" y="58"/>
                      <a:pt x="33" y="60"/>
                      <a:pt x="30" y="58"/>
                    </a:cubicBezTo>
                    <a:cubicBezTo>
                      <a:pt x="28" y="56"/>
                      <a:pt x="24" y="60"/>
                      <a:pt x="26" y="60"/>
                    </a:cubicBezTo>
                    <a:cubicBezTo>
                      <a:pt x="28" y="61"/>
                      <a:pt x="33" y="63"/>
                      <a:pt x="37" y="63"/>
                    </a:cubicBezTo>
                    <a:cubicBezTo>
                      <a:pt x="42" y="63"/>
                      <a:pt x="48" y="61"/>
                      <a:pt x="48" y="60"/>
                    </a:cubicBezTo>
                    <a:cubicBezTo>
                      <a:pt x="48" y="59"/>
                      <a:pt x="45" y="61"/>
                      <a:pt x="43" y="5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8" name="Freeform 136">
                <a:extLst>
                  <a:ext uri="{FF2B5EF4-FFF2-40B4-BE49-F238E27FC236}">
                    <a16:creationId xmlns:a16="http://schemas.microsoft.com/office/drawing/2014/main" id="{8CFF5FC1-29C9-45FF-A044-EF75EEA746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8181" y="3385897"/>
                <a:ext cx="48934" cy="30113"/>
              </a:xfrm>
              <a:custGeom>
                <a:avLst/>
                <a:gdLst>
                  <a:gd name="T0" fmla="*/ 14 w 21"/>
                  <a:gd name="T1" fmla="*/ 8 h 13"/>
                  <a:gd name="T2" fmla="*/ 19 w 21"/>
                  <a:gd name="T3" fmla="*/ 3 h 13"/>
                  <a:gd name="T4" fmla="*/ 19 w 21"/>
                  <a:gd name="T5" fmla="*/ 1 h 13"/>
                  <a:gd name="T6" fmla="*/ 7 w 21"/>
                  <a:gd name="T7" fmla="*/ 5 h 13"/>
                  <a:gd name="T8" fmla="*/ 4 w 21"/>
                  <a:gd name="T9" fmla="*/ 10 h 13"/>
                  <a:gd name="T10" fmla="*/ 14 w 21"/>
                  <a:gd name="T11" fmla="*/ 8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1" h="13">
                    <a:moveTo>
                      <a:pt x="14" y="8"/>
                    </a:moveTo>
                    <a:cubicBezTo>
                      <a:pt x="14" y="7"/>
                      <a:pt x="16" y="4"/>
                      <a:pt x="19" y="3"/>
                    </a:cubicBezTo>
                    <a:cubicBezTo>
                      <a:pt x="21" y="2"/>
                      <a:pt x="20" y="0"/>
                      <a:pt x="19" y="1"/>
                    </a:cubicBezTo>
                    <a:cubicBezTo>
                      <a:pt x="17" y="3"/>
                      <a:pt x="13" y="4"/>
                      <a:pt x="7" y="5"/>
                    </a:cubicBezTo>
                    <a:cubicBezTo>
                      <a:pt x="2" y="5"/>
                      <a:pt x="0" y="8"/>
                      <a:pt x="4" y="10"/>
                    </a:cubicBezTo>
                    <a:cubicBezTo>
                      <a:pt x="8" y="13"/>
                      <a:pt x="15" y="9"/>
                      <a:pt x="14" y="8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9" name="Freeform 137">
                <a:extLst>
                  <a:ext uri="{FF2B5EF4-FFF2-40B4-BE49-F238E27FC236}">
                    <a16:creationId xmlns:a16="http://schemas.microsoft.com/office/drawing/2014/main" id="{45733734-1382-49B3-B225-B3C64C2FC5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73032" y="2610477"/>
                <a:ext cx="198247" cy="99123"/>
              </a:xfrm>
              <a:custGeom>
                <a:avLst/>
                <a:gdLst>
                  <a:gd name="T0" fmla="*/ 72 w 86"/>
                  <a:gd name="T1" fmla="*/ 31 h 43"/>
                  <a:gd name="T2" fmla="*/ 79 w 86"/>
                  <a:gd name="T3" fmla="*/ 26 h 43"/>
                  <a:gd name="T4" fmla="*/ 85 w 86"/>
                  <a:gd name="T5" fmla="*/ 20 h 43"/>
                  <a:gd name="T6" fmla="*/ 81 w 86"/>
                  <a:gd name="T7" fmla="*/ 13 h 43"/>
                  <a:gd name="T8" fmla="*/ 76 w 86"/>
                  <a:gd name="T9" fmla="*/ 9 h 43"/>
                  <a:gd name="T10" fmla="*/ 75 w 86"/>
                  <a:gd name="T11" fmla="*/ 4 h 43"/>
                  <a:gd name="T12" fmla="*/ 69 w 86"/>
                  <a:gd name="T13" fmla="*/ 4 h 43"/>
                  <a:gd name="T14" fmla="*/ 62 w 86"/>
                  <a:gd name="T15" fmla="*/ 1 h 43"/>
                  <a:gd name="T16" fmla="*/ 61 w 86"/>
                  <a:gd name="T17" fmla="*/ 6 h 43"/>
                  <a:gd name="T18" fmla="*/ 56 w 86"/>
                  <a:gd name="T19" fmla="*/ 6 h 43"/>
                  <a:gd name="T20" fmla="*/ 53 w 86"/>
                  <a:gd name="T21" fmla="*/ 6 h 43"/>
                  <a:gd name="T22" fmla="*/ 48 w 86"/>
                  <a:gd name="T23" fmla="*/ 7 h 43"/>
                  <a:gd name="T24" fmla="*/ 44 w 86"/>
                  <a:gd name="T25" fmla="*/ 5 h 43"/>
                  <a:gd name="T26" fmla="*/ 39 w 86"/>
                  <a:gd name="T27" fmla="*/ 9 h 43"/>
                  <a:gd name="T28" fmla="*/ 35 w 86"/>
                  <a:gd name="T29" fmla="*/ 7 h 43"/>
                  <a:gd name="T30" fmla="*/ 32 w 86"/>
                  <a:gd name="T31" fmla="*/ 10 h 43"/>
                  <a:gd name="T32" fmla="*/ 31 w 86"/>
                  <a:gd name="T33" fmla="*/ 14 h 43"/>
                  <a:gd name="T34" fmla="*/ 25 w 86"/>
                  <a:gd name="T35" fmla="*/ 16 h 43"/>
                  <a:gd name="T36" fmla="*/ 23 w 86"/>
                  <a:gd name="T37" fmla="*/ 10 h 43"/>
                  <a:gd name="T38" fmla="*/ 11 w 86"/>
                  <a:gd name="T39" fmla="*/ 2 h 43"/>
                  <a:gd name="T40" fmla="*/ 12 w 86"/>
                  <a:gd name="T41" fmla="*/ 6 h 43"/>
                  <a:gd name="T42" fmla="*/ 9 w 86"/>
                  <a:gd name="T43" fmla="*/ 6 h 43"/>
                  <a:gd name="T44" fmla="*/ 4 w 86"/>
                  <a:gd name="T45" fmla="*/ 8 h 43"/>
                  <a:gd name="T46" fmla="*/ 0 w 86"/>
                  <a:gd name="T47" fmla="*/ 13 h 43"/>
                  <a:gd name="T48" fmla="*/ 8 w 86"/>
                  <a:gd name="T49" fmla="*/ 15 h 43"/>
                  <a:gd name="T50" fmla="*/ 17 w 86"/>
                  <a:gd name="T51" fmla="*/ 15 h 43"/>
                  <a:gd name="T52" fmla="*/ 16 w 86"/>
                  <a:gd name="T53" fmla="*/ 19 h 43"/>
                  <a:gd name="T54" fmla="*/ 12 w 86"/>
                  <a:gd name="T55" fmla="*/ 21 h 43"/>
                  <a:gd name="T56" fmla="*/ 3 w 86"/>
                  <a:gd name="T57" fmla="*/ 24 h 43"/>
                  <a:gd name="T58" fmla="*/ 14 w 86"/>
                  <a:gd name="T59" fmla="*/ 24 h 43"/>
                  <a:gd name="T60" fmla="*/ 17 w 86"/>
                  <a:gd name="T61" fmla="*/ 27 h 43"/>
                  <a:gd name="T62" fmla="*/ 19 w 86"/>
                  <a:gd name="T63" fmla="*/ 30 h 43"/>
                  <a:gd name="T64" fmla="*/ 17 w 86"/>
                  <a:gd name="T65" fmla="*/ 33 h 43"/>
                  <a:gd name="T66" fmla="*/ 13 w 86"/>
                  <a:gd name="T67" fmla="*/ 36 h 43"/>
                  <a:gd name="T68" fmla="*/ 23 w 86"/>
                  <a:gd name="T69" fmla="*/ 36 h 43"/>
                  <a:gd name="T70" fmla="*/ 37 w 86"/>
                  <a:gd name="T71" fmla="*/ 41 h 43"/>
                  <a:gd name="T72" fmla="*/ 51 w 86"/>
                  <a:gd name="T73" fmla="*/ 38 h 43"/>
                  <a:gd name="T74" fmla="*/ 61 w 86"/>
                  <a:gd name="T75" fmla="*/ 35 h 43"/>
                  <a:gd name="T76" fmla="*/ 72 w 86"/>
                  <a:gd name="T77" fmla="*/ 31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86" h="43">
                    <a:moveTo>
                      <a:pt x="72" y="31"/>
                    </a:moveTo>
                    <a:cubicBezTo>
                      <a:pt x="77" y="31"/>
                      <a:pt x="77" y="25"/>
                      <a:pt x="79" y="26"/>
                    </a:cubicBezTo>
                    <a:cubicBezTo>
                      <a:pt x="81" y="26"/>
                      <a:pt x="84" y="22"/>
                      <a:pt x="85" y="20"/>
                    </a:cubicBezTo>
                    <a:cubicBezTo>
                      <a:pt x="86" y="17"/>
                      <a:pt x="83" y="13"/>
                      <a:pt x="81" y="13"/>
                    </a:cubicBezTo>
                    <a:cubicBezTo>
                      <a:pt x="78" y="13"/>
                      <a:pt x="76" y="11"/>
                      <a:pt x="76" y="9"/>
                    </a:cubicBezTo>
                    <a:cubicBezTo>
                      <a:pt x="77" y="7"/>
                      <a:pt x="75" y="5"/>
                      <a:pt x="75" y="4"/>
                    </a:cubicBezTo>
                    <a:cubicBezTo>
                      <a:pt x="75" y="3"/>
                      <a:pt x="71" y="4"/>
                      <a:pt x="69" y="4"/>
                    </a:cubicBezTo>
                    <a:cubicBezTo>
                      <a:pt x="67" y="5"/>
                      <a:pt x="63" y="0"/>
                      <a:pt x="62" y="1"/>
                    </a:cubicBezTo>
                    <a:cubicBezTo>
                      <a:pt x="60" y="2"/>
                      <a:pt x="61" y="4"/>
                      <a:pt x="61" y="6"/>
                    </a:cubicBezTo>
                    <a:cubicBezTo>
                      <a:pt x="60" y="7"/>
                      <a:pt x="56" y="4"/>
                      <a:pt x="56" y="6"/>
                    </a:cubicBezTo>
                    <a:cubicBezTo>
                      <a:pt x="56" y="8"/>
                      <a:pt x="54" y="8"/>
                      <a:pt x="53" y="6"/>
                    </a:cubicBezTo>
                    <a:cubicBezTo>
                      <a:pt x="51" y="4"/>
                      <a:pt x="48" y="5"/>
                      <a:pt x="48" y="7"/>
                    </a:cubicBezTo>
                    <a:cubicBezTo>
                      <a:pt x="48" y="8"/>
                      <a:pt x="47" y="7"/>
                      <a:pt x="44" y="5"/>
                    </a:cubicBezTo>
                    <a:cubicBezTo>
                      <a:pt x="41" y="4"/>
                      <a:pt x="38" y="7"/>
                      <a:pt x="39" y="9"/>
                    </a:cubicBezTo>
                    <a:cubicBezTo>
                      <a:pt x="39" y="11"/>
                      <a:pt x="38" y="11"/>
                      <a:pt x="35" y="7"/>
                    </a:cubicBezTo>
                    <a:cubicBezTo>
                      <a:pt x="33" y="4"/>
                      <a:pt x="30" y="8"/>
                      <a:pt x="32" y="10"/>
                    </a:cubicBezTo>
                    <a:cubicBezTo>
                      <a:pt x="33" y="12"/>
                      <a:pt x="32" y="15"/>
                      <a:pt x="31" y="14"/>
                    </a:cubicBezTo>
                    <a:cubicBezTo>
                      <a:pt x="29" y="13"/>
                      <a:pt x="26" y="14"/>
                      <a:pt x="25" y="16"/>
                    </a:cubicBezTo>
                    <a:cubicBezTo>
                      <a:pt x="24" y="18"/>
                      <a:pt x="20" y="11"/>
                      <a:pt x="23" y="10"/>
                    </a:cubicBezTo>
                    <a:cubicBezTo>
                      <a:pt x="26" y="8"/>
                      <a:pt x="15" y="2"/>
                      <a:pt x="11" y="2"/>
                    </a:cubicBezTo>
                    <a:cubicBezTo>
                      <a:pt x="7" y="2"/>
                      <a:pt x="10" y="4"/>
                      <a:pt x="12" y="6"/>
                    </a:cubicBezTo>
                    <a:cubicBezTo>
                      <a:pt x="15" y="8"/>
                      <a:pt x="10" y="7"/>
                      <a:pt x="9" y="6"/>
                    </a:cubicBezTo>
                    <a:cubicBezTo>
                      <a:pt x="8" y="4"/>
                      <a:pt x="5" y="5"/>
                      <a:pt x="4" y="8"/>
                    </a:cubicBezTo>
                    <a:cubicBezTo>
                      <a:pt x="3" y="10"/>
                      <a:pt x="0" y="12"/>
                      <a:pt x="0" y="13"/>
                    </a:cubicBezTo>
                    <a:cubicBezTo>
                      <a:pt x="0" y="15"/>
                      <a:pt x="4" y="17"/>
                      <a:pt x="8" y="15"/>
                    </a:cubicBezTo>
                    <a:cubicBezTo>
                      <a:pt x="11" y="14"/>
                      <a:pt x="15" y="13"/>
                      <a:pt x="17" y="15"/>
                    </a:cubicBezTo>
                    <a:cubicBezTo>
                      <a:pt x="19" y="17"/>
                      <a:pt x="14" y="18"/>
                      <a:pt x="16" y="19"/>
                    </a:cubicBezTo>
                    <a:cubicBezTo>
                      <a:pt x="18" y="20"/>
                      <a:pt x="16" y="22"/>
                      <a:pt x="12" y="21"/>
                    </a:cubicBezTo>
                    <a:cubicBezTo>
                      <a:pt x="7" y="21"/>
                      <a:pt x="2" y="22"/>
                      <a:pt x="3" y="24"/>
                    </a:cubicBezTo>
                    <a:cubicBezTo>
                      <a:pt x="3" y="25"/>
                      <a:pt x="14" y="22"/>
                      <a:pt x="14" y="24"/>
                    </a:cubicBezTo>
                    <a:cubicBezTo>
                      <a:pt x="14" y="26"/>
                      <a:pt x="14" y="28"/>
                      <a:pt x="17" y="27"/>
                    </a:cubicBezTo>
                    <a:cubicBezTo>
                      <a:pt x="20" y="26"/>
                      <a:pt x="18" y="29"/>
                      <a:pt x="19" y="30"/>
                    </a:cubicBezTo>
                    <a:cubicBezTo>
                      <a:pt x="21" y="30"/>
                      <a:pt x="20" y="33"/>
                      <a:pt x="17" y="33"/>
                    </a:cubicBezTo>
                    <a:cubicBezTo>
                      <a:pt x="13" y="34"/>
                      <a:pt x="11" y="34"/>
                      <a:pt x="13" y="36"/>
                    </a:cubicBezTo>
                    <a:cubicBezTo>
                      <a:pt x="15" y="38"/>
                      <a:pt x="19" y="37"/>
                      <a:pt x="23" y="36"/>
                    </a:cubicBezTo>
                    <a:cubicBezTo>
                      <a:pt x="27" y="35"/>
                      <a:pt x="33" y="40"/>
                      <a:pt x="37" y="41"/>
                    </a:cubicBezTo>
                    <a:cubicBezTo>
                      <a:pt x="42" y="43"/>
                      <a:pt x="50" y="41"/>
                      <a:pt x="51" y="38"/>
                    </a:cubicBezTo>
                    <a:cubicBezTo>
                      <a:pt x="52" y="36"/>
                      <a:pt x="59" y="37"/>
                      <a:pt x="61" y="35"/>
                    </a:cubicBezTo>
                    <a:cubicBezTo>
                      <a:pt x="64" y="33"/>
                      <a:pt x="68" y="31"/>
                      <a:pt x="72" y="3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0" name="Freeform 138">
                <a:extLst>
                  <a:ext uri="{FF2B5EF4-FFF2-40B4-BE49-F238E27FC236}">
                    <a16:creationId xmlns:a16="http://schemas.microsoft.com/office/drawing/2014/main" id="{8C4A3A08-F715-4BD7-8837-6C807A9853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26487" y="2935451"/>
                <a:ext cx="85321" cy="92850"/>
              </a:xfrm>
              <a:custGeom>
                <a:avLst/>
                <a:gdLst>
                  <a:gd name="T0" fmla="*/ 33 w 37"/>
                  <a:gd name="T1" fmla="*/ 12 h 40"/>
                  <a:gd name="T2" fmla="*/ 30 w 37"/>
                  <a:gd name="T3" fmla="*/ 10 h 40"/>
                  <a:gd name="T4" fmla="*/ 26 w 37"/>
                  <a:gd name="T5" fmla="*/ 11 h 40"/>
                  <a:gd name="T6" fmla="*/ 21 w 37"/>
                  <a:gd name="T7" fmla="*/ 10 h 40"/>
                  <a:gd name="T8" fmla="*/ 22 w 37"/>
                  <a:gd name="T9" fmla="*/ 6 h 40"/>
                  <a:gd name="T10" fmla="*/ 25 w 37"/>
                  <a:gd name="T11" fmla="*/ 1 h 40"/>
                  <a:gd name="T12" fmla="*/ 24 w 37"/>
                  <a:gd name="T13" fmla="*/ 1 h 40"/>
                  <a:gd name="T14" fmla="*/ 16 w 37"/>
                  <a:gd name="T15" fmla="*/ 3 h 40"/>
                  <a:gd name="T16" fmla="*/ 19 w 37"/>
                  <a:gd name="T17" fmla="*/ 6 h 40"/>
                  <a:gd name="T18" fmla="*/ 13 w 37"/>
                  <a:gd name="T19" fmla="*/ 10 h 40"/>
                  <a:gd name="T20" fmla="*/ 4 w 37"/>
                  <a:gd name="T21" fmla="*/ 10 h 40"/>
                  <a:gd name="T22" fmla="*/ 5 w 37"/>
                  <a:gd name="T23" fmla="*/ 16 h 40"/>
                  <a:gd name="T24" fmla="*/ 9 w 37"/>
                  <a:gd name="T25" fmla="*/ 22 h 40"/>
                  <a:gd name="T26" fmla="*/ 7 w 37"/>
                  <a:gd name="T27" fmla="*/ 28 h 40"/>
                  <a:gd name="T28" fmla="*/ 1 w 37"/>
                  <a:gd name="T29" fmla="*/ 34 h 40"/>
                  <a:gd name="T30" fmla="*/ 9 w 37"/>
                  <a:gd name="T31" fmla="*/ 40 h 40"/>
                  <a:gd name="T32" fmla="*/ 23 w 37"/>
                  <a:gd name="T33" fmla="*/ 34 h 40"/>
                  <a:gd name="T34" fmla="*/ 33 w 37"/>
                  <a:gd name="T35" fmla="*/ 32 h 40"/>
                  <a:gd name="T36" fmla="*/ 33 w 37"/>
                  <a:gd name="T37" fmla="*/ 14 h 40"/>
                  <a:gd name="T38" fmla="*/ 33 w 37"/>
                  <a:gd name="T39" fmla="*/ 12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37" h="40">
                    <a:moveTo>
                      <a:pt x="33" y="12"/>
                    </a:moveTo>
                    <a:cubicBezTo>
                      <a:pt x="32" y="12"/>
                      <a:pt x="31" y="11"/>
                      <a:pt x="30" y="10"/>
                    </a:cubicBezTo>
                    <a:cubicBezTo>
                      <a:pt x="27" y="6"/>
                      <a:pt x="26" y="9"/>
                      <a:pt x="26" y="11"/>
                    </a:cubicBezTo>
                    <a:cubicBezTo>
                      <a:pt x="25" y="14"/>
                      <a:pt x="22" y="11"/>
                      <a:pt x="21" y="10"/>
                    </a:cubicBezTo>
                    <a:cubicBezTo>
                      <a:pt x="19" y="10"/>
                      <a:pt x="21" y="7"/>
                      <a:pt x="22" y="6"/>
                    </a:cubicBezTo>
                    <a:cubicBezTo>
                      <a:pt x="23" y="5"/>
                      <a:pt x="24" y="3"/>
                      <a:pt x="25" y="1"/>
                    </a:cubicBezTo>
                    <a:cubicBezTo>
                      <a:pt x="24" y="1"/>
                      <a:pt x="24" y="1"/>
                      <a:pt x="24" y="1"/>
                    </a:cubicBezTo>
                    <a:cubicBezTo>
                      <a:pt x="20" y="0"/>
                      <a:pt x="16" y="0"/>
                      <a:pt x="16" y="3"/>
                    </a:cubicBezTo>
                    <a:cubicBezTo>
                      <a:pt x="15" y="6"/>
                      <a:pt x="19" y="5"/>
                      <a:pt x="19" y="6"/>
                    </a:cubicBezTo>
                    <a:cubicBezTo>
                      <a:pt x="19" y="8"/>
                      <a:pt x="16" y="8"/>
                      <a:pt x="13" y="10"/>
                    </a:cubicBezTo>
                    <a:cubicBezTo>
                      <a:pt x="10" y="12"/>
                      <a:pt x="7" y="8"/>
                      <a:pt x="4" y="10"/>
                    </a:cubicBezTo>
                    <a:cubicBezTo>
                      <a:pt x="1" y="11"/>
                      <a:pt x="7" y="13"/>
                      <a:pt x="5" y="16"/>
                    </a:cubicBezTo>
                    <a:cubicBezTo>
                      <a:pt x="3" y="19"/>
                      <a:pt x="5" y="19"/>
                      <a:pt x="9" y="22"/>
                    </a:cubicBezTo>
                    <a:cubicBezTo>
                      <a:pt x="12" y="24"/>
                      <a:pt x="7" y="25"/>
                      <a:pt x="7" y="28"/>
                    </a:cubicBezTo>
                    <a:cubicBezTo>
                      <a:pt x="7" y="32"/>
                      <a:pt x="2" y="31"/>
                      <a:pt x="1" y="34"/>
                    </a:cubicBezTo>
                    <a:cubicBezTo>
                      <a:pt x="0" y="36"/>
                      <a:pt x="5" y="40"/>
                      <a:pt x="9" y="40"/>
                    </a:cubicBezTo>
                    <a:cubicBezTo>
                      <a:pt x="12" y="40"/>
                      <a:pt x="19" y="38"/>
                      <a:pt x="23" y="34"/>
                    </a:cubicBezTo>
                    <a:cubicBezTo>
                      <a:pt x="27" y="31"/>
                      <a:pt x="29" y="34"/>
                      <a:pt x="33" y="32"/>
                    </a:cubicBezTo>
                    <a:cubicBezTo>
                      <a:pt x="37" y="30"/>
                      <a:pt x="35" y="17"/>
                      <a:pt x="33" y="14"/>
                    </a:cubicBezTo>
                    <a:cubicBezTo>
                      <a:pt x="33" y="13"/>
                      <a:pt x="33" y="13"/>
                      <a:pt x="33" y="1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1" name="Freeform 139">
                <a:extLst>
                  <a:ext uri="{FF2B5EF4-FFF2-40B4-BE49-F238E27FC236}">
                    <a16:creationId xmlns:a16="http://schemas.microsoft.com/office/drawing/2014/main" id="{ABCD9A74-554E-4DE1-A2BF-B1F5C64068F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70402" y="2783629"/>
                <a:ext cx="186954" cy="286077"/>
              </a:xfrm>
              <a:custGeom>
                <a:avLst/>
                <a:gdLst>
                  <a:gd name="T0" fmla="*/ 6 w 81"/>
                  <a:gd name="T1" fmla="*/ 67 h 124"/>
                  <a:gd name="T2" fmla="*/ 2 w 81"/>
                  <a:gd name="T3" fmla="*/ 76 h 124"/>
                  <a:gd name="T4" fmla="*/ 11 w 81"/>
                  <a:gd name="T5" fmla="*/ 76 h 124"/>
                  <a:gd name="T6" fmla="*/ 20 w 81"/>
                  <a:gd name="T7" fmla="*/ 75 h 124"/>
                  <a:gd name="T8" fmla="*/ 81 w 81"/>
                  <a:gd name="T9" fmla="*/ 95 h 124"/>
                  <a:gd name="T10" fmla="*/ 68 w 81"/>
                  <a:gd name="T11" fmla="*/ 90 h 124"/>
                  <a:gd name="T12" fmla="*/ 66 w 81"/>
                  <a:gd name="T13" fmla="*/ 82 h 124"/>
                  <a:gd name="T14" fmla="*/ 54 w 81"/>
                  <a:gd name="T15" fmla="*/ 62 h 124"/>
                  <a:gd name="T16" fmla="*/ 42 w 81"/>
                  <a:gd name="T17" fmla="*/ 57 h 124"/>
                  <a:gd name="T18" fmla="*/ 51 w 81"/>
                  <a:gd name="T19" fmla="*/ 38 h 124"/>
                  <a:gd name="T20" fmla="*/ 33 w 81"/>
                  <a:gd name="T21" fmla="*/ 34 h 124"/>
                  <a:gd name="T22" fmla="*/ 40 w 81"/>
                  <a:gd name="T23" fmla="*/ 23 h 124"/>
                  <a:gd name="T24" fmla="*/ 28 w 81"/>
                  <a:gd name="T25" fmla="*/ 26 h 124"/>
                  <a:gd name="T26" fmla="*/ 20 w 81"/>
                  <a:gd name="T27" fmla="*/ 38 h 124"/>
                  <a:gd name="T28" fmla="*/ 13 w 81"/>
                  <a:gd name="T29" fmla="*/ 39 h 124"/>
                  <a:gd name="T30" fmla="*/ 15 w 81"/>
                  <a:gd name="T31" fmla="*/ 50 h 124"/>
                  <a:gd name="T32" fmla="*/ 13 w 81"/>
                  <a:gd name="T33" fmla="*/ 59 h 124"/>
                  <a:gd name="T34" fmla="*/ 22 w 81"/>
                  <a:gd name="T35" fmla="*/ 62 h 124"/>
                  <a:gd name="T36" fmla="*/ 27 w 81"/>
                  <a:gd name="T37" fmla="*/ 61 h 124"/>
                  <a:gd name="T38" fmla="*/ 36 w 81"/>
                  <a:gd name="T39" fmla="*/ 68 h 124"/>
                  <a:gd name="T40" fmla="*/ 39 w 81"/>
                  <a:gd name="T41" fmla="*/ 75 h 124"/>
                  <a:gd name="T42" fmla="*/ 41 w 81"/>
                  <a:gd name="T43" fmla="*/ 86 h 124"/>
                  <a:gd name="T44" fmla="*/ 30 w 81"/>
                  <a:gd name="T45" fmla="*/ 87 h 124"/>
                  <a:gd name="T46" fmla="*/ 33 w 81"/>
                  <a:gd name="T47" fmla="*/ 95 h 124"/>
                  <a:gd name="T48" fmla="*/ 28 w 81"/>
                  <a:gd name="T49" fmla="*/ 104 h 124"/>
                  <a:gd name="T50" fmla="*/ 41 w 81"/>
                  <a:gd name="T51" fmla="*/ 106 h 124"/>
                  <a:gd name="T52" fmla="*/ 33 w 81"/>
                  <a:gd name="T53" fmla="*/ 110 h 124"/>
                  <a:gd name="T54" fmla="*/ 29 w 81"/>
                  <a:gd name="T55" fmla="*/ 119 h 124"/>
                  <a:gd name="T56" fmla="*/ 38 w 81"/>
                  <a:gd name="T57" fmla="*/ 117 h 124"/>
                  <a:gd name="T58" fmla="*/ 50 w 81"/>
                  <a:gd name="T59" fmla="*/ 114 h 124"/>
                  <a:gd name="T60" fmla="*/ 66 w 81"/>
                  <a:gd name="T61" fmla="*/ 114 h 124"/>
                  <a:gd name="T62" fmla="*/ 73 w 81"/>
                  <a:gd name="T63" fmla="*/ 107 h 124"/>
                  <a:gd name="T64" fmla="*/ 81 w 81"/>
                  <a:gd name="T65" fmla="*/ 95 h 124"/>
                  <a:gd name="T66" fmla="*/ 15 w 81"/>
                  <a:gd name="T67" fmla="*/ 28 h 124"/>
                  <a:gd name="T68" fmla="*/ 55 w 81"/>
                  <a:gd name="T69" fmla="*/ 10 h 124"/>
                  <a:gd name="T70" fmla="*/ 55 w 81"/>
                  <a:gd name="T71" fmla="*/ 10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81" h="124">
                    <a:moveTo>
                      <a:pt x="16" y="66"/>
                    </a:moveTo>
                    <a:cubicBezTo>
                      <a:pt x="13" y="63"/>
                      <a:pt x="9" y="67"/>
                      <a:pt x="6" y="67"/>
                    </a:cubicBezTo>
                    <a:cubicBezTo>
                      <a:pt x="5" y="69"/>
                      <a:pt x="4" y="71"/>
                      <a:pt x="3" y="72"/>
                    </a:cubicBezTo>
                    <a:cubicBezTo>
                      <a:pt x="2" y="73"/>
                      <a:pt x="0" y="76"/>
                      <a:pt x="2" y="76"/>
                    </a:cubicBezTo>
                    <a:cubicBezTo>
                      <a:pt x="3" y="77"/>
                      <a:pt x="6" y="80"/>
                      <a:pt x="7" y="77"/>
                    </a:cubicBezTo>
                    <a:cubicBezTo>
                      <a:pt x="7" y="75"/>
                      <a:pt x="8" y="72"/>
                      <a:pt x="11" y="76"/>
                    </a:cubicBezTo>
                    <a:cubicBezTo>
                      <a:pt x="12" y="77"/>
                      <a:pt x="13" y="78"/>
                      <a:pt x="14" y="78"/>
                    </a:cubicBezTo>
                    <a:cubicBezTo>
                      <a:pt x="15" y="77"/>
                      <a:pt x="18" y="77"/>
                      <a:pt x="20" y="75"/>
                    </a:cubicBezTo>
                    <a:cubicBezTo>
                      <a:pt x="23" y="72"/>
                      <a:pt x="19" y="69"/>
                      <a:pt x="16" y="66"/>
                    </a:cubicBezTo>
                    <a:close/>
                    <a:moveTo>
                      <a:pt x="81" y="95"/>
                    </a:moveTo>
                    <a:cubicBezTo>
                      <a:pt x="81" y="91"/>
                      <a:pt x="73" y="89"/>
                      <a:pt x="72" y="91"/>
                    </a:cubicBezTo>
                    <a:cubicBezTo>
                      <a:pt x="71" y="93"/>
                      <a:pt x="70" y="93"/>
                      <a:pt x="68" y="90"/>
                    </a:cubicBezTo>
                    <a:cubicBezTo>
                      <a:pt x="67" y="88"/>
                      <a:pt x="70" y="86"/>
                      <a:pt x="68" y="86"/>
                    </a:cubicBezTo>
                    <a:cubicBezTo>
                      <a:pt x="67" y="86"/>
                      <a:pt x="65" y="83"/>
                      <a:pt x="66" y="82"/>
                    </a:cubicBezTo>
                    <a:cubicBezTo>
                      <a:pt x="66" y="80"/>
                      <a:pt x="64" y="73"/>
                      <a:pt x="60" y="72"/>
                    </a:cubicBezTo>
                    <a:cubicBezTo>
                      <a:pt x="56" y="71"/>
                      <a:pt x="55" y="65"/>
                      <a:pt x="54" y="62"/>
                    </a:cubicBezTo>
                    <a:cubicBezTo>
                      <a:pt x="54" y="59"/>
                      <a:pt x="51" y="61"/>
                      <a:pt x="49" y="58"/>
                    </a:cubicBezTo>
                    <a:cubicBezTo>
                      <a:pt x="47" y="55"/>
                      <a:pt x="43" y="57"/>
                      <a:pt x="42" y="57"/>
                    </a:cubicBezTo>
                    <a:cubicBezTo>
                      <a:pt x="40" y="57"/>
                      <a:pt x="42" y="53"/>
                      <a:pt x="44" y="52"/>
                    </a:cubicBezTo>
                    <a:cubicBezTo>
                      <a:pt x="47" y="50"/>
                      <a:pt x="51" y="40"/>
                      <a:pt x="51" y="38"/>
                    </a:cubicBezTo>
                    <a:cubicBezTo>
                      <a:pt x="51" y="36"/>
                      <a:pt x="38" y="36"/>
                      <a:pt x="36" y="37"/>
                    </a:cubicBezTo>
                    <a:cubicBezTo>
                      <a:pt x="33" y="38"/>
                      <a:pt x="31" y="35"/>
                      <a:pt x="33" y="34"/>
                    </a:cubicBezTo>
                    <a:cubicBezTo>
                      <a:pt x="35" y="33"/>
                      <a:pt x="39" y="29"/>
                      <a:pt x="39" y="28"/>
                    </a:cubicBezTo>
                    <a:cubicBezTo>
                      <a:pt x="39" y="26"/>
                      <a:pt x="42" y="24"/>
                      <a:pt x="40" y="23"/>
                    </a:cubicBezTo>
                    <a:cubicBezTo>
                      <a:pt x="39" y="21"/>
                      <a:pt x="38" y="25"/>
                      <a:pt x="37" y="26"/>
                    </a:cubicBezTo>
                    <a:cubicBezTo>
                      <a:pt x="35" y="27"/>
                      <a:pt x="32" y="27"/>
                      <a:pt x="28" y="26"/>
                    </a:cubicBezTo>
                    <a:cubicBezTo>
                      <a:pt x="24" y="25"/>
                      <a:pt x="23" y="31"/>
                      <a:pt x="23" y="33"/>
                    </a:cubicBezTo>
                    <a:cubicBezTo>
                      <a:pt x="23" y="35"/>
                      <a:pt x="19" y="37"/>
                      <a:pt x="20" y="38"/>
                    </a:cubicBezTo>
                    <a:cubicBezTo>
                      <a:pt x="20" y="40"/>
                      <a:pt x="19" y="42"/>
                      <a:pt x="17" y="41"/>
                    </a:cubicBezTo>
                    <a:cubicBezTo>
                      <a:pt x="16" y="40"/>
                      <a:pt x="15" y="37"/>
                      <a:pt x="13" y="39"/>
                    </a:cubicBezTo>
                    <a:cubicBezTo>
                      <a:pt x="10" y="41"/>
                      <a:pt x="15" y="43"/>
                      <a:pt x="18" y="44"/>
                    </a:cubicBezTo>
                    <a:cubicBezTo>
                      <a:pt x="22" y="44"/>
                      <a:pt x="16" y="46"/>
                      <a:pt x="15" y="50"/>
                    </a:cubicBezTo>
                    <a:cubicBezTo>
                      <a:pt x="15" y="53"/>
                      <a:pt x="20" y="51"/>
                      <a:pt x="20" y="54"/>
                    </a:cubicBezTo>
                    <a:cubicBezTo>
                      <a:pt x="20" y="56"/>
                      <a:pt x="13" y="57"/>
                      <a:pt x="13" y="59"/>
                    </a:cubicBezTo>
                    <a:cubicBezTo>
                      <a:pt x="13" y="61"/>
                      <a:pt x="17" y="58"/>
                      <a:pt x="19" y="57"/>
                    </a:cubicBezTo>
                    <a:cubicBezTo>
                      <a:pt x="21" y="56"/>
                      <a:pt x="18" y="62"/>
                      <a:pt x="22" y="62"/>
                    </a:cubicBezTo>
                    <a:cubicBezTo>
                      <a:pt x="26" y="61"/>
                      <a:pt x="25" y="55"/>
                      <a:pt x="27" y="55"/>
                    </a:cubicBezTo>
                    <a:cubicBezTo>
                      <a:pt x="28" y="56"/>
                      <a:pt x="26" y="58"/>
                      <a:pt x="27" y="61"/>
                    </a:cubicBezTo>
                    <a:cubicBezTo>
                      <a:pt x="29" y="63"/>
                      <a:pt x="24" y="67"/>
                      <a:pt x="25" y="69"/>
                    </a:cubicBezTo>
                    <a:cubicBezTo>
                      <a:pt x="25" y="71"/>
                      <a:pt x="33" y="71"/>
                      <a:pt x="36" y="68"/>
                    </a:cubicBezTo>
                    <a:cubicBezTo>
                      <a:pt x="39" y="65"/>
                      <a:pt x="40" y="68"/>
                      <a:pt x="38" y="70"/>
                    </a:cubicBezTo>
                    <a:cubicBezTo>
                      <a:pt x="36" y="73"/>
                      <a:pt x="37" y="75"/>
                      <a:pt x="39" y="75"/>
                    </a:cubicBezTo>
                    <a:cubicBezTo>
                      <a:pt x="42" y="76"/>
                      <a:pt x="43" y="76"/>
                      <a:pt x="42" y="78"/>
                    </a:cubicBezTo>
                    <a:cubicBezTo>
                      <a:pt x="41" y="80"/>
                      <a:pt x="42" y="84"/>
                      <a:pt x="41" y="86"/>
                    </a:cubicBezTo>
                    <a:cubicBezTo>
                      <a:pt x="40" y="87"/>
                      <a:pt x="33" y="87"/>
                      <a:pt x="33" y="86"/>
                    </a:cubicBezTo>
                    <a:cubicBezTo>
                      <a:pt x="32" y="85"/>
                      <a:pt x="29" y="86"/>
                      <a:pt x="30" y="87"/>
                    </a:cubicBezTo>
                    <a:cubicBezTo>
                      <a:pt x="31" y="89"/>
                      <a:pt x="28" y="91"/>
                      <a:pt x="28" y="92"/>
                    </a:cubicBezTo>
                    <a:cubicBezTo>
                      <a:pt x="28" y="94"/>
                      <a:pt x="32" y="93"/>
                      <a:pt x="33" y="95"/>
                    </a:cubicBezTo>
                    <a:cubicBezTo>
                      <a:pt x="33" y="97"/>
                      <a:pt x="29" y="100"/>
                      <a:pt x="25" y="101"/>
                    </a:cubicBezTo>
                    <a:cubicBezTo>
                      <a:pt x="20" y="102"/>
                      <a:pt x="26" y="106"/>
                      <a:pt x="28" y="104"/>
                    </a:cubicBezTo>
                    <a:cubicBezTo>
                      <a:pt x="30" y="103"/>
                      <a:pt x="30" y="105"/>
                      <a:pt x="33" y="105"/>
                    </a:cubicBezTo>
                    <a:cubicBezTo>
                      <a:pt x="36" y="105"/>
                      <a:pt x="38" y="108"/>
                      <a:pt x="41" y="106"/>
                    </a:cubicBezTo>
                    <a:cubicBezTo>
                      <a:pt x="45" y="105"/>
                      <a:pt x="44" y="106"/>
                      <a:pt x="42" y="108"/>
                    </a:cubicBezTo>
                    <a:cubicBezTo>
                      <a:pt x="39" y="110"/>
                      <a:pt x="35" y="108"/>
                      <a:pt x="33" y="110"/>
                    </a:cubicBezTo>
                    <a:cubicBezTo>
                      <a:pt x="31" y="111"/>
                      <a:pt x="21" y="120"/>
                      <a:pt x="23" y="122"/>
                    </a:cubicBezTo>
                    <a:cubicBezTo>
                      <a:pt x="24" y="124"/>
                      <a:pt x="25" y="120"/>
                      <a:pt x="29" y="119"/>
                    </a:cubicBezTo>
                    <a:cubicBezTo>
                      <a:pt x="32" y="117"/>
                      <a:pt x="33" y="120"/>
                      <a:pt x="35" y="120"/>
                    </a:cubicBezTo>
                    <a:cubicBezTo>
                      <a:pt x="37" y="120"/>
                      <a:pt x="37" y="116"/>
                      <a:pt x="38" y="117"/>
                    </a:cubicBezTo>
                    <a:cubicBezTo>
                      <a:pt x="40" y="117"/>
                      <a:pt x="41" y="115"/>
                      <a:pt x="44" y="116"/>
                    </a:cubicBezTo>
                    <a:cubicBezTo>
                      <a:pt x="47" y="116"/>
                      <a:pt x="49" y="115"/>
                      <a:pt x="50" y="114"/>
                    </a:cubicBezTo>
                    <a:cubicBezTo>
                      <a:pt x="52" y="113"/>
                      <a:pt x="56" y="116"/>
                      <a:pt x="57" y="115"/>
                    </a:cubicBezTo>
                    <a:cubicBezTo>
                      <a:pt x="58" y="115"/>
                      <a:pt x="63" y="114"/>
                      <a:pt x="66" y="114"/>
                    </a:cubicBezTo>
                    <a:cubicBezTo>
                      <a:pt x="68" y="114"/>
                      <a:pt x="75" y="111"/>
                      <a:pt x="77" y="109"/>
                    </a:cubicBezTo>
                    <a:cubicBezTo>
                      <a:pt x="79" y="107"/>
                      <a:pt x="76" y="107"/>
                      <a:pt x="73" y="107"/>
                    </a:cubicBezTo>
                    <a:cubicBezTo>
                      <a:pt x="71" y="108"/>
                      <a:pt x="72" y="105"/>
                      <a:pt x="74" y="103"/>
                    </a:cubicBezTo>
                    <a:cubicBezTo>
                      <a:pt x="77" y="100"/>
                      <a:pt x="81" y="99"/>
                      <a:pt x="81" y="95"/>
                    </a:cubicBezTo>
                    <a:close/>
                    <a:moveTo>
                      <a:pt x="9" y="35"/>
                    </a:moveTo>
                    <a:cubicBezTo>
                      <a:pt x="13" y="35"/>
                      <a:pt x="16" y="30"/>
                      <a:pt x="15" y="28"/>
                    </a:cubicBezTo>
                    <a:cubicBezTo>
                      <a:pt x="13" y="27"/>
                      <a:pt x="7" y="35"/>
                      <a:pt x="9" y="35"/>
                    </a:cubicBezTo>
                    <a:close/>
                    <a:moveTo>
                      <a:pt x="55" y="10"/>
                    </a:moveTo>
                    <a:cubicBezTo>
                      <a:pt x="57" y="7"/>
                      <a:pt x="60" y="0"/>
                      <a:pt x="57" y="1"/>
                    </a:cubicBezTo>
                    <a:cubicBezTo>
                      <a:pt x="54" y="1"/>
                      <a:pt x="54" y="10"/>
                      <a:pt x="55" y="1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2" name="Freeform 140">
                <a:extLst>
                  <a:ext uri="{FF2B5EF4-FFF2-40B4-BE49-F238E27FC236}">
                    <a16:creationId xmlns:a16="http://schemas.microsoft.com/office/drawing/2014/main" id="{3A975E57-CE4B-4A56-82D6-B0D503BED4C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70402" y="2783629"/>
                <a:ext cx="186954" cy="286077"/>
              </a:xfrm>
              <a:custGeom>
                <a:avLst/>
                <a:gdLst>
                  <a:gd name="T0" fmla="*/ 6 w 81"/>
                  <a:gd name="T1" fmla="*/ 67 h 124"/>
                  <a:gd name="T2" fmla="*/ 2 w 81"/>
                  <a:gd name="T3" fmla="*/ 76 h 124"/>
                  <a:gd name="T4" fmla="*/ 11 w 81"/>
                  <a:gd name="T5" fmla="*/ 76 h 124"/>
                  <a:gd name="T6" fmla="*/ 20 w 81"/>
                  <a:gd name="T7" fmla="*/ 75 h 124"/>
                  <a:gd name="T8" fmla="*/ 81 w 81"/>
                  <a:gd name="T9" fmla="*/ 95 h 124"/>
                  <a:gd name="T10" fmla="*/ 68 w 81"/>
                  <a:gd name="T11" fmla="*/ 90 h 124"/>
                  <a:gd name="T12" fmla="*/ 66 w 81"/>
                  <a:gd name="T13" fmla="*/ 82 h 124"/>
                  <a:gd name="T14" fmla="*/ 54 w 81"/>
                  <a:gd name="T15" fmla="*/ 62 h 124"/>
                  <a:gd name="T16" fmla="*/ 42 w 81"/>
                  <a:gd name="T17" fmla="*/ 57 h 124"/>
                  <a:gd name="T18" fmla="*/ 51 w 81"/>
                  <a:gd name="T19" fmla="*/ 38 h 124"/>
                  <a:gd name="T20" fmla="*/ 33 w 81"/>
                  <a:gd name="T21" fmla="*/ 34 h 124"/>
                  <a:gd name="T22" fmla="*/ 40 w 81"/>
                  <a:gd name="T23" fmla="*/ 23 h 124"/>
                  <a:gd name="T24" fmla="*/ 28 w 81"/>
                  <a:gd name="T25" fmla="*/ 26 h 124"/>
                  <a:gd name="T26" fmla="*/ 20 w 81"/>
                  <a:gd name="T27" fmla="*/ 38 h 124"/>
                  <a:gd name="T28" fmla="*/ 13 w 81"/>
                  <a:gd name="T29" fmla="*/ 39 h 124"/>
                  <a:gd name="T30" fmla="*/ 15 w 81"/>
                  <a:gd name="T31" fmla="*/ 50 h 124"/>
                  <a:gd name="T32" fmla="*/ 13 w 81"/>
                  <a:gd name="T33" fmla="*/ 59 h 124"/>
                  <a:gd name="T34" fmla="*/ 22 w 81"/>
                  <a:gd name="T35" fmla="*/ 62 h 124"/>
                  <a:gd name="T36" fmla="*/ 27 w 81"/>
                  <a:gd name="T37" fmla="*/ 61 h 124"/>
                  <a:gd name="T38" fmla="*/ 36 w 81"/>
                  <a:gd name="T39" fmla="*/ 68 h 124"/>
                  <a:gd name="T40" fmla="*/ 39 w 81"/>
                  <a:gd name="T41" fmla="*/ 75 h 124"/>
                  <a:gd name="T42" fmla="*/ 41 w 81"/>
                  <a:gd name="T43" fmla="*/ 86 h 124"/>
                  <a:gd name="T44" fmla="*/ 30 w 81"/>
                  <a:gd name="T45" fmla="*/ 87 h 124"/>
                  <a:gd name="T46" fmla="*/ 33 w 81"/>
                  <a:gd name="T47" fmla="*/ 95 h 124"/>
                  <a:gd name="T48" fmla="*/ 28 w 81"/>
                  <a:gd name="T49" fmla="*/ 104 h 124"/>
                  <a:gd name="T50" fmla="*/ 41 w 81"/>
                  <a:gd name="T51" fmla="*/ 106 h 124"/>
                  <a:gd name="T52" fmla="*/ 33 w 81"/>
                  <a:gd name="T53" fmla="*/ 110 h 124"/>
                  <a:gd name="T54" fmla="*/ 29 w 81"/>
                  <a:gd name="T55" fmla="*/ 119 h 124"/>
                  <a:gd name="T56" fmla="*/ 38 w 81"/>
                  <a:gd name="T57" fmla="*/ 117 h 124"/>
                  <a:gd name="T58" fmla="*/ 50 w 81"/>
                  <a:gd name="T59" fmla="*/ 114 h 124"/>
                  <a:gd name="T60" fmla="*/ 66 w 81"/>
                  <a:gd name="T61" fmla="*/ 114 h 124"/>
                  <a:gd name="T62" fmla="*/ 73 w 81"/>
                  <a:gd name="T63" fmla="*/ 107 h 124"/>
                  <a:gd name="T64" fmla="*/ 81 w 81"/>
                  <a:gd name="T65" fmla="*/ 95 h 124"/>
                  <a:gd name="T66" fmla="*/ 15 w 81"/>
                  <a:gd name="T67" fmla="*/ 28 h 124"/>
                  <a:gd name="T68" fmla="*/ 55 w 81"/>
                  <a:gd name="T69" fmla="*/ 10 h 124"/>
                  <a:gd name="T70" fmla="*/ 55 w 81"/>
                  <a:gd name="T71" fmla="*/ 10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81" h="124">
                    <a:moveTo>
                      <a:pt x="16" y="66"/>
                    </a:moveTo>
                    <a:cubicBezTo>
                      <a:pt x="13" y="63"/>
                      <a:pt x="9" y="67"/>
                      <a:pt x="6" y="67"/>
                    </a:cubicBezTo>
                    <a:cubicBezTo>
                      <a:pt x="5" y="69"/>
                      <a:pt x="4" y="71"/>
                      <a:pt x="3" y="72"/>
                    </a:cubicBezTo>
                    <a:cubicBezTo>
                      <a:pt x="2" y="73"/>
                      <a:pt x="0" y="76"/>
                      <a:pt x="2" y="76"/>
                    </a:cubicBezTo>
                    <a:cubicBezTo>
                      <a:pt x="3" y="77"/>
                      <a:pt x="6" y="80"/>
                      <a:pt x="7" y="77"/>
                    </a:cubicBezTo>
                    <a:cubicBezTo>
                      <a:pt x="7" y="75"/>
                      <a:pt x="8" y="72"/>
                      <a:pt x="11" y="76"/>
                    </a:cubicBezTo>
                    <a:cubicBezTo>
                      <a:pt x="12" y="77"/>
                      <a:pt x="13" y="78"/>
                      <a:pt x="14" y="78"/>
                    </a:cubicBezTo>
                    <a:cubicBezTo>
                      <a:pt x="15" y="77"/>
                      <a:pt x="18" y="77"/>
                      <a:pt x="20" y="75"/>
                    </a:cubicBezTo>
                    <a:cubicBezTo>
                      <a:pt x="23" y="72"/>
                      <a:pt x="19" y="69"/>
                      <a:pt x="16" y="66"/>
                    </a:cubicBezTo>
                    <a:close/>
                    <a:moveTo>
                      <a:pt x="81" y="95"/>
                    </a:moveTo>
                    <a:cubicBezTo>
                      <a:pt x="81" y="91"/>
                      <a:pt x="73" y="89"/>
                      <a:pt x="72" y="91"/>
                    </a:cubicBezTo>
                    <a:cubicBezTo>
                      <a:pt x="71" y="93"/>
                      <a:pt x="70" y="93"/>
                      <a:pt x="68" y="90"/>
                    </a:cubicBezTo>
                    <a:cubicBezTo>
                      <a:pt x="67" y="88"/>
                      <a:pt x="70" y="86"/>
                      <a:pt x="68" y="86"/>
                    </a:cubicBezTo>
                    <a:cubicBezTo>
                      <a:pt x="67" y="86"/>
                      <a:pt x="65" y="83"/>
                      <a:pt x="66" y="82"/>
                    </a:cubicBezTo>
                    <a:cubicBezTo>
                      <a:pt x="66" y="80"/>
                      <a:pt x="64" y="73"/>
                      <a:pt x="60" y="72"/>
                    </a:cubicBezTo>
                    <a:cubicBezTo>
                      <a:pt x="56" y="71"/>
                      <a:pt x="55" y="65"/>
                      <a:pt x="54" y="62"/>
                    </a:cubicBezTo>
                    <a:cubicBezTo>
                      <a:pt x="54" y="59"/>
                      <a:pt x="51" y="61"/>
                      <a:pt x="49" y="58"/>
                    </a:cubicBezTo>
                    <a:cubicBezTo>
                      <a:pt x="47" y="55"/>
                      <a:pt x="43" y="57"/>
                      <a:pt x="42" y="57"/>
                    </a:cubicBezTo>
                    <a:cubicBezTo>
                      <a:pt x="40" y="57"/>
                      <a:pt x="42" y="53"/>
                      <a:pt x="44" y="52"/>
                    </a:cubicBezTo>
                    <a:cubicBezTo>
                      <a:pt x="47" y="50"/>
                      <a:pt x="51" y="40"/>
                      <a:pt x="51" y="38"/>
                    </a:cubicBezTo>
                    <a:cubicBezTo>
                      <a:pt x="51" y="36"/>
                      <a:pt x="38" y="36"/>
                      <a:pt x="36" y="37"/>
                    </a:cubicBezTo>
                    <a:cubicBezTo>
                      <a:pt x="33" y="38"/>
                      <a:pt x="31" y="35"/>
                      <a:pt x="33" y="34"/>
                    </a:cubicBezTo>
                    <a:cubicBezTo>
                      <a:pt x="35" y="33"/>
                      <a:pt x="39" y="29"/>
                      <a:pt x="39" y="28"/>
                    </a:cubicBezTo>
                    <a:cubicBezTo>
                      <a:pt x="39" y="26"/>
                      <a:pt x="42" y="24"/>
                      <a:pt x="40" y="23"/>
                    </a:cubicBezTo>
                    <a:cubicBezTo>
                      <a:pt x="39" y="21"/>
                      <a:pt x="38" y="25"/>
                      <a:pt x="37" y="26"/>
                    </a:cubicBezTo>
                    <a:cubicBezTo>
                      <a:pt x="35" y="27"/>
                      <a:pt x="32" y="27"/>
                      <a:pt x="28" y="26"/>
                    </a:cubicBezTo>
                    <a:cubicBezTo>
                      <a:pt x="24" y="25"/>
                      <a:pt x="23" y="31"/>
                      <a:pt x="23" y="33"/>
                    </a:cubicBezTo>
                    <a:cubicBezTo>
                      <a:pt x="23" y="35"/>
                      <a:pt x="19" y="37"/>
                      <a:pt x="20" y="38"/>
                    </a:cubicBezTo>
                    <a:cubicBezTo>
                      <a:pt x="20" y="40"/>
                      <a:pt x="19" y="42"/>
                      <a:pt x="17" y="41"/>
                    </a:cubicBezTo>
                    <a:cubicBezTo>
                      <a:pt x="16" y="40"/>
                      <a:pt x="15" y="37"/>
                      <a:pt x="13" y="39"/>
                    </a:cubicBezTo>
                    <a:cubicBezTo>
                      <a:pt x="10" y="41"/>
                      <a:pt x="15" y="43"/>
                      <a:pt x="18" y="44"/>
                    </a:cubicBezTo>
                    <a:cubicBezTo>
                      <a:pt x="22" y="44"/>
                      <a:pt x="16" y="46"/>
                      <a:pt x="15" y="50"/>
                    </a:cubicBezTo>
                    <a:cubicBezTo>
                      <a:pt x="15" y="53"/>
                      <a:pt x="20" y="51"/>
                      <a:pt x="20" y="54"/>
                    </a:cubicBezTo>
                    <a:cubicBezTo>
                      <a:pt x="20" y="56"/>
                      <a:pt x="13" y="57"/>
                      <a:pt x="13" y="59"/>
                    </a:cubicBezTo>
                    <a:cubicBezTo>
                      <a:pt x="13" y="61"/>
                      <a:pt x="17" y="58"/>
                      <a:pt x="19" y="57"/>
                    </a:cubicBezTo>
                    <a:cubicBezTo>
                      <a:pt x="21" y="56"/>
                      <a:pt x="18" y="62"/>
                      <a:pt x="22" y="62"/>
                    </a:cubicBezTo>
                    <a:cubicBezTo>
                      <a:pt x="26" y="61"/>
                      <a:pt x="25" y="55"/>
                      <a:pt x="27" y="55"/>
                    </a:cubicBezTo>
                    <a:cubicBezTo>
                      <a:pt x="28" y="56"/>
                      <a:pt x="26" y="58"/>
                      <a:pt x="27" y="61"/>
                    </a:cubicBezTo>
                    <a:cubicBezTo>
                      <a:pt x="29" y="63"/>
                      <a:pt x="24" y="67"/>
                      <a:pt x="25" y="69"/>
                    </a:cubicBezTo>
                    <a:cubicBezTo>
                      <a:pt x="25" y="71"/>
                      <a:pt x="33" y="71"/>
                      <a:pt x="36" y="68"/>
                    </a:cubicBezTo>
                    <a:cubicBezTo>
                      <a:pt x="39" y="65"/>
                      <a:pt x="40" y="68"/>
                      <a:pt x="38" y="70"/>
                    </a:cubicBezTo>
                    <a:cubicBezTo>
                      <a:pt x="36" y="73"/>
                      <a:pt x="37" y="75"/>
                      <a:pt x="39" y="75"/>
                    </a:cubicBezTo>
                    <a:cubicBezTo>
                      <a:pt x="42" y="76"/>
                      <a:pt x="43" y="76"/>
                      <a:pt x="42" y="78"/>
                    </a:cubicBezTo>
                    <a:cubicBezTo>
                      <a:pt x="41" y="80"/>
                      <a:pt x="42" y="84"/>
                      <a:pt x="41" y="86"/>
                    </a:cubicBezTo>
                    <a:cubicBezTo>
                      <a:pt x="40" y="87"/>
                      <a:pt x="33" y="87"/>
                      <a:pt x="33" y="86"/>
                    </a:cubicBezTo>
                    <a:cubicBezTo>
                      <a:pt x="32" y="85"/>
                      <a:pt x="29" y="86"/>
                      <a:pt x="30" y="87"/>
                    </a:cubicBezTo>
                    <a:cubicBezTo>
                      <a:pt x="31" y="89"/>
                      <a:pt x="28" y="91"/>
                      <a:pt x="28" y="92"/>
                    </a:cubicBezTo>
                    <a:cubicBezTo>
                      <a:pt x="28" y="94"/>
                      <a:pt x="32" y="93"/>
                      <a:pt x="33" y="95"/>
                    </a:cubicBezTo>
                    <a:cubicBezTo>
                      <a:pt x="33" y="97"/>
                      <a:pt x="29" y="100"/>
                      <a:pt x="25" y="101"/>
                    </a:cubicBezTo>
                    <a:cubicBezTo>
                      <a:pt x="20" y="102"/>
                      <a:pt x="26" y="106"/>
                      <a:pt x="28" y="104"/>
                    </a:cubicBezTo>
                    <a:cubicBezTo>
                      <a:pt x="30" y="103"/>
                      <a:pt x="30" y="105"/>
                      <a:pt x="33" y="105"/>
                    </a:cubicBezTo>
                    <a:cubicBezTo>
                      <a:pt x="36" y="105"/>
                      <a:pt x="38" y="108"/>
                      <a:pt x="41" y="106"/>
                    </a:cubicBezTo>
                    <a:cubicBezTo>
                      <a:pt x="45" y="105"/>
                      <a:pt x="44" y="106"/>
                      <a:pt x="42" y="108"/>
                    </a:cubicBezTo>
                    <a:cubicBezTo>
                      <a:pt x="39" y="110"/>
                      <a:pt x="35" y="108"/>
                      <a:pt x="33" y="110"/>
                    </a:cubicBezTo>
                    <a:cubicBezTo>
                      <a:pt x="31" y="111"/>
                      <a:pt x="21" y="120"/>
                      <a:pt x="23" y="122"/>
                    </a:cubicBezTo>
                    <a:cubicBezTo>
                      <a:pt x="24" y="124"/>
                      <a:pt x="25" y="120"/>
                      <a:pt x="29" y="119"/>
                    </a:cubicBezTo>
                    <a:cubicBezTo>
                      <a:pt x="32" y="117"/>
                      <a:pt x="33" y="120"/>
                      <a:pt x="35" y="120"/>
                    </a:cubicBezTo>
                    <a:cubicBezTo>
                      <a:pt x="37" y="120"/>
                      <a:pt x="37" y="116"/>
                      <a:pt x="38" y="117"/>
                    </a:cubicBezTo>
                    <a:cubicBezTo>
                      <a:pt x="40" y="117"/>
                      <a:pt x="41" y="115"/>
                      <a:pt x="44" y="116"/>
                    </a:cubicBezTo>
                    <a:cubicBezTo>
                      <a:pt x="47" y="116"/>
                      <a:pt x="49" y="115"/>
                      <a:pt x="50" y="114"/>
                    </a:cubicBezTo>
                    <a:cubicBezTo>
                      <a:pt x="52" y="113"/>
                      <a:pt x="56" y="116"/>
                      <a:pt x="57" y="115"/>
                    </a:cubicBezTo>
                    <a:cubicBezTo>
                      <a:pt x="58" y="115"/>
                      <a:pt x="63" y="114"/>
                      <a:pt x="66" y="114"/>
                    </a:cubicBezTo>
                    <a:cubicBezTo>
                      <a:pt x="68" y="114"/>
                      <a:pt x="75" y="111"/>
                      <a:pt x="77" y="109"/>
                    </a:cubicBezTo>
                    <a:cubicBezTo>
                      <a:pt x="79" y="107"/>
                      <a:pt x="76" y="107"/>
                      <a:pt x="73" y="107"/>
                    </a:cubicBezTo>
                    <a:cubicBezTo>
                      <a:pt x="71" y="108"/>
                      <a:pt x="72" y="105"/>
                      <a:pt x="74" y="103"/>
                    </a:cubicBezTo>
                    <a:cubicBezTo>
                      <a:pt x="77" y="100"/>
                      <a:pt x="81" y="99"/>
                      <a:pt x="81" y="95"/>
                    </a:cubicBezTo>
                    <a:close/>
                    <a:moveTo>
                      <a:pt x="9" y="35"/>
                    </a:moveTo>
                    <a:cubicBezTo>
                      <a:pt x="13" y="35"/>
                      <a:pt x="16" y="30"/>
                      <a:pt x="15" y="28"/>
                    </a:cubicBezTo>
                    <a:cubicBezTo>
                      <a:pt x="13" y="27"/>
                      <a:pt x="7" y="35"/>
                      <a:pt x="9" y="35"/>
                    </a:cubicBezTo>
                    <a:close/>
                    <a:moveTo>
                      <a:pt x="55" y="10"/>
                    </a:moveTo>
                    <a:cubicBezTo>
                      <a:pt x="57" y="7"/>
                      <a:pt x="60" y="0"/>
                      <a:pt x="57" y="1"/>
                    </a:cubicBezTo>
                    <a:cubicBezTo>
                      <a:pt x="54" y="1"/>
                      <a:pt x="54" y="10"/>
                      <a:pt x="55" y="1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3" name="Freeform 141">
                <a:extLst>
                  <a:ext uri="{FF2B5EF4-FFF2-40B4-BE49-F238E27FC236}">
                    <a16:creationId xmlns:a16="http://schemas.microsoft.com/office/drawing/2014/main" id="{E802BB90-0670-4B71-BA36-F788E34E362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72791" y="2866441"/>
                <a:ext cx="87831" cy="82812"/>
              </a:xfrm>
              <a:custGeom>
                <a:avLst/>
                <a:gdLst>
                  <a:gd name="T0" fmla="*/ 19 w 38"/>
                  <a:gd name="T1" fmla="*/ 13 h 36"/>
                  <a:gd name="T2" fmla="*/ 19 w 38"/>
                  <a:gd name="T3" fmla="*/ 8 h 36"/>
                  <a:gd name="T4" fmla="*/ 20 w 38"/>
                  <a:gd name="T5" fmla="*/ 1 h 36"/>
                  <a:gd name="T6" fmla="*/ 14 w 38"/>
                  <a:gd name="T7" fmla="*/ 4 h 36"/>
                  <a:gd name="T8" fmla="*/ 9 w 38"/>
                  <a:gd name="T9" fmla="*/ 6 h 36"/>
                  <a:gd name="T10" fmla="*/ 10 w 38"/>
                  <a:gd name="T11" fmla="*/ 10 h 36"/>
                  <a:gd name="T12" fmla="*/ 5 w 38"/>
                  <a:gd name="T13" fmla="*/ 8 h 36"/>
                  <a:gd name="T14" fmla="*/ 1 w 38"/>
                  <a:gd name="T15" fmla="*/ 13 h 36"/>
                  <a:gd name="T16" fmla="*/ 1 w 38"/>
                  <a:gd name="T17" fmla="*/ 23 h 36"/>
                  <a:gd name="T18" fmla="*/ 4 w 38"/>
                  <a:gd name="T19" fmla="*/ 30 h 36"/>
                  <a:gd name="T20" fmla="*/ 5 w 38"/>
                  <a:gd name="T21" fmla="*/ 33 h 36"/>
                  <a:gd name="T22" fmla="*/ 13 w 38"/>
                  <a:gd name="T23" fmla="*/ 34 h 36"/>
                  <a:gd name="T24" fmla="*/ 16 w 38"/>
                  <a:gd name="T25" fmla="*/ 34 h 36"/>
                  <a:gd name="T26" fmla="*/ 12 w 38"/>
                  <a:gd name="T27" fmla="*/ 30 h 36"/>
                  <a:gd name="T28" fmla="*/ 17 w 38"/>
                  <a:gd name="T29" fmla="*/ 30 h 36"/>
                  <a:gd name="T30" fmla="*/ 22 w 38"/>
                  <a:gd name="T31" fmla="*/ 30 h 36"/>
                  <a:gd name="T32" fmla="*/ 19 w 38"/>
                  <a:gd name="T33" fmla="*/ 25 h 36"/>
                  <a:gd name="T34" fmla="*/ 16 w 38"/>
                  <a:gd name="T35" fmla="*/ 25 h 36"/>
                  <a:gd name="T36" fmla="*/ 18 w 38"/>
                  <a:gd name="T37" fmla="*/ 20 h 36"/>
                  <a:gd name="T38" fmla="*/ 23 w 38"/>
                  <a:gd name="T39" fmla="*/ 17 h 36"/>
                  <a:gd name="T40" fmla="*/ 19 w 38"/>
                  <a:gd name="T41" fmla="*/ 13 h 36"/>
                  <a:gd name="T42" fmla="*/ 37 w 38"/>
                  <a:gd name="T43" fmla="*/ 20 h 36"/>
                  <a:gd name="T44" fmla="*/ 35 w 38"/>
                  <a:gd name="T45" fmla="*/ 22 h 36"/>
                  <a:gd name="T46" fmla="*/ 32 w 38"/>
                  <a:gd name="T47" fmla="*/ 20 h 36"/>
                  <a:gd name="T48" fmla="*/ 27 w 38"/>
                  <a:gd name="T49" fmla="*/ 23 h 36"/>
                  <a:gd name="T50" fmla="*/ 30 w 38"/>
                  <a:gd name="T51" fmla="*/ 30 h 36"/>
                  <a:gd name="T52" fmla="*/ 27 w 38"/>
                  <a:gd name="T53" fmla="*/ 32 h 36"/>
                  <a:gd name="T54" fmla="*/ 30 w 38"/>
                  <a:gd name="T55" fmla="*/ 36 h 36"/>
                  <a:gd name="T56" fmla="*/ 35 w 38"/>
                  <a:gd name="T57" fmla="*/ 29 h 36"/>
                  <a:gd name="T58" fmla="*/ 37 w 38"/>
                  <a:gd name="T59" fmla="*/ 2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8" h="36">
                    <a:moveTo>
                      <a:pt x="19" y="13"/>
                    </a:moveTo>
                    <a:cubicBezTo>
                      <a:pt x="18" y="13"/>
                      <a:pt x="18" y="9"/>
                      <a:pt x="19" y="8"/>
                    </a:cubicBezTo>
                    <a:cubicBezTo>
                      <a:pt x="20" y="6"/>
                      <a:pt x="21" y="2"/>
                      <a:pt x="20" y="1"/>
                    </a:cubicBezTo>
                    <a:cubicBezTo>
                      <a:pt x="19" y="0"/>
                      <a:pt x="14" y="1"/>
                      <a:pt x="14" y="4"/>
                    </a:cubicBezTo>
                    <a:cubicBezTo>
                      <a:pt x="14" y="7"/>
                      <a:pt x="10" y="6"/>
                      <a:pt x="9" y="6"/>
                    </a:cubicBezTo>
                    <a:cubicBezTo>
                      <a:pt x="8" y="7"/>
                      <a:pt x="11" y="9"/>
                      <a:pt x="10" y="10"/>
                    </a:cubicBezTo>
                    <a:cubicBezTo>
                      <a:pt x="8" y="11"/>
                      <a:pt x="8" y="8"/>
                      <a:pt x="5" y="8"/>
                    </a:cubicBezTo>
                    <a:cubicBezTo>
                      <a:pt x="3" y="7"/>
                      <a:pt x="2" y="11"/>
                      <a:pt x="1" y="13"/>
                    </a:cubicBezTo>
                    <a:cubicBezTo>
                      <a:pt x="0" y="15"/>
                      <a:pt x="1" y="20"/>
                      <a:pt x="1" y="23"/>
                    </a:cubicBezTo>
                    <a:cubicBezTo>
                      <a:pt x="1" y="25"/>
                      <a:pt x="5" y="27"/>
                      <a:pt x="4" y="30"/>
                    </a:cubicBezTo>
                    <a:cubicBezTo>
                      <a:pt x="4" y="31"/>
                      <a:pt x="4" y="32"/>
                      <a:pt x="5" y="33"/>
                    </a:cubicBezTo>
                    <a:cubicBezTo>
                      <a:pt x="8" y="33"/>
                      <a:pt x="11" y="33"/>
                      <a:pt x="13" y="34"/>
                    </a:cubicBezTo>
                    <a:cubicBezTo>
                      <a:pt x="13" y="34"/>
                      <a:pt x="14" y="34"/>
                      <a:pt x="16" y="34"/>
                    </a:cubicBezTo>
                    <a:cubicBezTo>
                      <a:pt x="15" y="32"/>
                      <a:pt x="12" y="31"/>
                      <a:pt x="12" y="30"/>
                    </a:cubicBezTo>
                    <a:cubicBezTo>
                      <a:pt x="13" y="28"/>
                      <a:pt x="15" y="29"/>
                      <a:pt x="17" y="30"/>
                    </a:cubicBezTo>
                    <a:cubicBezTo>
                      <a:pt x="18" y="32"/>
                      <a:pt x="22" y="32"/>
                      <a:pt x="22" y="30"/>
                    </a:cubicBezTo>
                    <a:cubicBezTo>
                      <a:pt x="22" y="29"/>
                      <a:pt x="22" y="24"/>
                      <a:pt x="19" y="25"/>
                    </a:cubicBezTo>
                    <a:cubicBezTo>
                      <a:pt x="17" y="26"/>
                      <a:pt x="17" y="26"/>
                      <a:pt x="16" y="25"/>
                    </a:cubicBezTo>
                    <a:cubicBezTo>
                      <a:pt x="15" y="24"/>
                      <a:pt x="17" y="22"/>
                      <a:pt x="18" y="20"/>
                    </a:cubicBezTo>
                    <a:cubicBezTo>
                      <a:pt x="19" y="18"/>
                      <a:pt x="23" y="19"/>
                      <a:pt x="23" y="17"/>
                    </a:cubicBezTo>
                    <a:cubicBezTo>
                      <a:pt x="24" y="15"/>
                      <a:pt x="20" y="14"/>
                      <a:pt x="19" y="13"/>
                    </a:cubicBezTo>
                    <a:close/>
                    <a:moveTo>
                      <a:pt x="37" y="20"/>
                    </a:moveTo>
                    <a:cubicBezTo>
                      <a:pt x="36" y="20"/>
                      <a:pt x="36" y="22"/>
                      <a:pt x="35" y="22"/>
                    </a:cubicBezTo>
                    <a:cubicBezTo>
                      <a:pt x="33" y="23"/>
                      <a:pt x="32" y="18"/>
                      <a:pt x="32" y="20"/>
                    </a:cubicBezTo>
                    <a:cubicBezTo>
                      <a:pt x="31" y="23"/>
                      <a:pt x="29" y="19"/>
                      <a:pt x="27" y="23"/>
                    </a:cubicBezTo>
                    <a:cubicBezTo>
                      <a:pt x="24" y="26"/>
                      <a:pt x="28" y="29"/>
                      <a:pt x="30" y="30"/>
                    </a:cubicBezTo>
                    <a:cubicBezTo>
                      <a:pt x="31" y="31"/>
                      <a:pt x="30" y="33"/>
                      <a:pt x="27" y="32"/>
                    </a:cubicBezTo>
                    <a:cubicBezTo>
                      <a:pt x="25" y="32"/>
                      <a:pt x="27" y="35"/>
                      <a:pt x="30" y="36"/>
                    </a:cubicBezTo>
                    <a:cubicBezTo>
                      <a:pt x="32" y="36"/>
                      <a:pt x="36" y="31"/>
                      <a:pt x="35" y="29"/>
                    </a:cubicBezTo>
                    <a:cubicBezTo>
                      <a:pt x="35" y="28"/>
                      <a:pt x="38" y="21"/>
                      <a:pt x="37" y="2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4" name="Freeform 142">
                <a:extLst>
                  <a:ext uri="{FF2B5EF4-FFF2-40B4-BE49-F238E27FC236}">
                    <a16:creationId xmlns:a16="http://schemas.microsoft.com/office/drawing/2014/main" id="{56555BD9-B286-4A68-A729-9E0215BB80D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33018" y="2525155"/>
                <a:ext cx="229615" cy="406531"/>
              </a:xfrm>
              <a:custGeom>
                <a:avLst/>
                <a:gdLst>
                  <a:gd name="T0" fmla="*/ 98 w 100"/>
                  <a:gd name="T1" fmla="*/ 38 h 176"/>
                  <a:gd name="T2" fmla="*/ 96 w 100"/>
                  <a:gd name="T3" fmla="*/ 24 h 176"/>
                  <a:gd name="T4" fmla="*/ 84 w 100"/>
                  <a:gd name="T5" fmla="*/ 9 h 176"/>
                  <a:gd name="T6" fmla="*/ 70 w 100"/>
                  <a:gd name="T7" fmla="*/ 8 h 176"/>
                  <a:gd name="T8" fmla="*/ 56 w 100"/>
                  <a:gd name="T9" fmla="*/ 8 h 176"/>
                  <a:gd name="T10" fmla="*/ 48 w 100"/>
                  <a:gd name="T11" fmla="*/ 16 h 176"/>
                  <a:gd name="T12" fmla="*/ 40 w 100"/>
                  <a:gd name="T13" fmla="*/ 27 h 176"/>
                  <a:gd name="T14" fmla="*/ 34 w 100"/>
                  <a:gd name="T15" fmla="*/ 37 h 176"/>
                  <a:gd name="T16" fmla="*/ 26 w 100"/>
                  <a:gd name="T17" fmla="*/ 43 h 176"/>
                  <a:gd name="T18" fmla="*/ 21 w 100"/>
                  <a:gd name="T19" fmla="*/ 61 h 176"/>
                  <a:gd name="T20" fmla="*/ 22 w 100"/>
                  <a:gd name="T21" fmla="*/ 70 h 176"/>
                  <a:gd name="T22" fmla="*/ 9 w 100"/>
                  <a:gd name="T23" fmla="*/ 75 h 176"/>
                  <a:gd name="T24" fmla="*/ 8 w 100"/>
                  <a:gd name="T25" fmla="*/ 91 h 176"/>
                  <a:gd name="T26" fmla="*/ 13 w 100"/>
                  <a:gd name="T27" fmla="*/ 105 h 176"/>
                  <a:gd name="T28" fmla="*/ 11 w 100"/>
                  <a:gd name="T29" fmla="*/ 113 h 176"/>
                  <a:gd name="T30" fmla="*/ 6 w 100"/>
                  <a:gd name="T31" fmla="*/ 122 h 176"/>
                  <a:gd name="T32" fmla="*/ 3 w 100"/>
                  <a:gd name="T33" fmla="*/ 134 h 176"/>
                  <a:gd name="T34" fmla="*/ 0 w 100"/>
                  <a:gd name="T35" fmla="*/ 134 h 176"/>
                  <a:gd name="T36" fmla="*/ 6 w 100"/>
                  <a:gd name="T37" fmla="*/ 151 h 176"/>
                  <a:gd name="T38" fmla="*/ 12 w 100"/>
                  <a:gd name="T39" fmla="*/ 164 h 176"/>
                  <a:gd name="T40" fmla="*/ 15 w 100"/>
                  <a:gd name="T41" fmla="*/ 175 h 176"/>
                  <a:gd name="T42" fmla="*/ 24 w 100"/>
                  <a:gd name="T43" fmla="*/ 170 h 176"/>
                  <a:gd name="T44" fmla="*/ 33 w 100"/>
                  <a:gd name="T45" fmla="*/ 167 h 176"/>
                  <a:gd name="T46" fmla="*/ 41 w 100"/>
                  <a:gd name="T47" fmla="*/ 164 h 176"/>
                  <a:gd name="T48" fmla="*/ 42 w 100"/>
                  <a:gd name="T49" fmla="*/ 157 h 176"/>
                  <a:gd name="T50" fmla="*/ 43 w 100"/>
                  <a:gd name="T51" fmla="*/ 140 h 176"/>
                  <a:gd name="T52" fmla="*/ 55 w 100"/>
                  <a:gd name="T53" fmla="*/ 128 h 176"/>
                  <a:gd name="T54" fmla="*/ 52 w 100"/>
                  <a:gd name="T55" fmla="*/ 113 h 176"/>
                  <a:gd name="T56" fmla="*/ 46 w 100"/>
                  <a:gd name="T57" fmla="*/ 103 h 176"/>
                  <a:gd name="T58" fmla="*/ 51 w 100"/>
                  <a:gd name="T59" fmla="*/ 89 h 176"/>
                  <a:gd name="T60" fmla="*/ 60 w 100"/>
                  <a:gd name="T61" fmla="*/ 79 h 176"/>
                  <a:gd name="T62" fmla="*/ 80 w 100"/>
                  <a:gd name="T63" fmla="*/ 65 h 176"/>
                  <a:gd name="T64" fmla="*/ 82 w 100"/>
                  <a:gd name="T65" fmla="*/ 51 h 176"/>
                  <a:gd name="T66" fmla="*/ 96 w 100"/>
                  <a:gd name="T67" fmla="*/ 46 h 176"/>
                  <a:gd name="T68" fmla="*/ 99 w 100"/>
                  <a:gd name="T69" fmla="*/ 42 h 176"/>
                  <a:gd name="T70" fmla="*/ 54 w 100"/>
                  <a:gd name="T71" fmla="*/ 157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00" h="176">
                    <a:moveTo>
                      <a:pt x="99" y="42"/>
                    </a:moveTo>
                    <a:cubicBezTo>
                      <a:pt x="98" y="41"/>
                      <a:pt x="96" y="38"/>
                      <a:pt x="98" y="38"/>
                    </a:cubicBezTo>
                    <a:cubicBezTo>
                      <a:pt x="100" y="38"/>
                      <a:pt x="100" y="32"/>
                      <a:pt x="98" y="31"/>
                    </a:cubicBezTo>
                    <a:cubicBezTo>
                      <a:pt x="96" y="30"/>
                      <a:pt x="98" y="25"/>
                      <a:pt x="96" y="24"/>
                    </a:cubicBezTo>
                    <a:cubicBezTo>
                      <a:pt x="94" y="23"/>
                      <a:pt x="95" y="19"/>
                      <a:pt x="96" y="16"/>
                    </a:cubicBezTo>
                    <a:cubicBezTo>
                      <a:pt x="96" y="13"/>
                      <a:pt x="89" y="11"/>
                      <a:pt x="84" y="9"/>
                    </a:cubicBezTo>
                    <a:cubicBezTo>
                      <a:pt x="80" y="7"/>
                      <a:pt x="78" y="4"/>
                      <a:pt x="75" y="2"/>
                    </a:cubicBezTo>
                    <a:cubicBezTo>
                      <a:pt x="71" y="0"/>
                      <a:pt x="70" y="5"/>
                      <a:pt x="70" y="8"/>
                    </a:cubicBezTo>
                    <a:cubicBezTo>
                      <a:pt x="70" y="11"/>
                      <a:pt x="67" y="12"/>
                      <a:pt x="65" y="10"/>
                    </a:cubicBezTo>
                    <a:cubicBezTo>
                      <a:pt x="63" y="8"/>
                      <a:pt x="60" y="10"/>
                      <a:pt x="56" y="8"/>
                    </a:cubicBezTo>
                    <a:cubicBezTo>
                      <a:pt x="53" y="7"/>
                      <a:pt x="55" y="12"/>
                      <a:pt x="55" y="14"/>
                    </a:cubicBezTo>
                    <a:cubicBezTo>
                      <a:pt x="55" y="16"/>
                      <a:pt x="51" y="16"/>
                      <a:pt x="48" y="16"/>
                    </a:cubicBezTo>
                    <a:cubicBezTo>
                      <a:pt x="46" y="16"/>
                      <a:pt x="42" y="18"/>
                      <a:pt x="42" y="21"/>
                    </a:cubicBezTo>
                    <a:cubicBezTo>
                      <a:pt x="42" y="24"/>
                      <a:pt x="39" y="25"/>
                      <a:pt x="40" y="27"/>
                    </a:cubicBezTo>
                    <a:cubicBezTo>
                      <a:pt x="41" y="28"/>
                      <a:pt x="40" y="30"/>
                      <a:pt x="38" y="31"/>
                    </a:cubicBezTo>
                    <a:cubicBezTo>
                      <a:pt x="37" y="32"/>
                      <a:pt x="35" y="36"/>
                      <a:pt x="34" y="37"/>
                    </a:cubicBezTo>
                    <a:cubicBezTo>
                      <a:pt x="33" y="38"/>
                      <a:pt x="35" y="40"/>
                      <a:pt x="32" y="42"/>
                    </a:cubicBezTo>
                    <a:cubicBezTo>
                      <a:pt x="30" y="43"/>
                      <a:pt x="27" y="42"/>
                      <a:pt x="26" y="43"/>
                    </a:cubicBezTo>
                    <a:cubicBezTo>
                      <a:pt x="25" y="44"/>
                      <a:pt x="26" y="47"/>
                      <a:pt x="26" y="50"/>
                    </a:cubicBezTo>
                    <a:cubicBezTo>
                      <a:pt x="26" y="54"/>
                      <a:pt x="23" y="58"/>
                      <a:pt x="21" y="61"/>
                    </a:cubicBezTo>
                    <a:cubicBezTo>
                      <a:pt x="18" y="64"/>
                      <a:pt x="21" y="65"/>
                      <a:pt x="22" y="65"/>
                    </a:cubicBezTo>
                    <a:cubicBezTo>
                      <a:pt x="24" y="65"/>
                      <a:pt x="24" y="67"/>
                      <a:pt x="22" y="70"/>
                    </a:cubicBezTo>
                    <a:cubicBezTo>
                      <a:pt x="21" y="72"/>
                      <a:pt x="19" y="70"/>
                      <a:pt x="17" y="70"/>
                    </a:cubicBezTo>
                    <a:cubicBezTo>
                      <a:pt x="16" y="70"/>
                      <a:pt x="11" y="71"/>
                      <a:pt x="9" y="75"/>
                    </a:cubicBezTo>
                    <a:cubicBezTo>
                      <a:pt x="7" y="79"/>
                      <a:pt x="8" y="81"/>
                      <a:pt x="8" y="83"/>
                    </a:cubicBezTo>
                    <a:cubicBezTo>
                      <a:pt x="9" y="85"/>
                      <a:pt x="6" y="87"/>
                      <a:pt x="8" y="91"/>
                    </a:cubicBezTo>
                    <a:cubicBezTo>
                      <a:pt x="10" y="95"/>
                      <a:pt x="8" y="96"/>
                      <a:pt x="8" y="99"/>
                    </a:cubicBezTo>
                    <a:cubicBezTo>
                      <a:pt x="8" y="102"/>
                      <a:pt x="13" y="102"/>
                      <a:pt x="13" y="105"/>
                    </a:cubicBezTo>
                    <a:cubicBezTo>
                      <a:pt x="14" y="108"/>
                      <a:pt x="12" y="109"/>
                      <a:pt x="10" y="109"/>
                    </a:cubicBezTo>
                    <a:cubicBezTo>
                      <a:pt x="9" y="109"/>
                      <a:pt x="9" y="112"/>
                      <a:pt x="11" y="113"/>
                    </a:cubicBezTo>
                    <a:cubicBezTo>
                      <a:pt x="12" y="113"/>
                      <a:pt x="12" y="119"/>
                      <a:pt x="11" y="120"/>
                    </a:cubicBezTo>
                    <a:cubicBezTo>
                      <a:pt x="10" y="122"/>
                      <a:pt x="5" y="120"/>
                      <a:pt x="6" y="122"/>
                    </a:cubicBezTo>
                    <a:cubicBezTo>
                      <a:pt x="6" y="124"/>
                      <a:pt x="5" y="127"/>
                      <a:pt x="5" y="129"/>
                    </a:cubicBezTo>
                    <a:cubicBezTo>
                      <a:pt x="5" y="130"/>
                      <a:pt x="4" y="135"/>
                      <a:pt x="3" y="134"/>
                    </a:cubicBezTo>
                    <a:cubicBezTo>
                      <a:pt x="2" y="134"/>
                      <a:pt x="1" y="134"/>
                      <a:pt x="0" y="134"/>
                    </a:cubicBezTo>
                    <a:cubicBezTo>
                      <a:pt x="0" y="134"/>
                      <a:pt x="0" y="134"/>
                      <a:pt x="0" y="134"/>
                    </a:cubicBezTo>
                    <a:cubicBezTo>
                      <a:pt x="0" y="137"/>
                      <a:pt x="1" y="140"/>
                      <a:pt x="4" y="143"/>
                    </a:cubicBezTo>
                    <a:cubicBezTo>
                      <a:pt x="6" y="145"/>
                      <a:pt x="4" y="148"/>
                      <a:pt x="6" y="151"/>
                    </a:cubicBezTo>
                    <a:cubicBezTo>
                      <a:pt x="9" y="154"/>
                      <a:pt x="8" y="156"/>
                      <a:pt x="11" y="158"/>
                    </a:cubicBezTo>
                    <a:cubicBezTo>
                      <a:pt x="13" y="160"/>
                      <a:pt x="13" y="161"/>
                      <a:pt x="12" y="164"/>
                    </a:cubicBezTo>
                    <a:cubicBezTo>
                      <a:pt x="11" y="167"/>
                      <a:pt x="14" y="166"/>
                      <a:pt x="14" y="168"/>
                    </a:cubicBezTo>
                    <a:cubicBezTo>
                      <a:pt x="15" y="170"/>
                      <a:pt x="14" y="173"/>
                      <a:pt x="15" y="175"/>
                    </a:cubicBezTo>
                    <a:cubicBezTo>
                      <a:pt x="15" y="176"/>
                      <a:pt x="17" y="175"/>
                      <a:pt x="21" y="175"/>
                    </a:cubicBezTo>
                    <a:cubicBezTo>
                      <a:pt x="25" y="174"/>
                      <a:pt x="24" y="172"/>
                      <a:pt x="24" y="170"/>
                    </a:cubicBezTo>
                    <a:cubicBezTo>
                      <a:pt x="24" y="168"/>
                      <a:pt x="26" y="169"/>
                      <a:pt x="26" y="167"/>
                    </a:cubicBezTo>
                    <a:cubicBezTo>
                      <a:pt x="27" y="166"/>
                      <a:pt x="30" y="165"/>
                      <a:pt x="33" y="167"/>
                    </a:cubicBezTo>
                    <a:cubicBezTo>
                      <a:pt x="36" y="168"/>
                      <a:pt x="37" y="166"/>
                      <a:pt x="38" y="163"/>
                    </a:cubicBezTo>
                    <a:cubicBezTo>
                      <a:pt x="38" y="160"/>
                      <a:pt x="40" y="163"/>
                      <a:pt x="41" y="164"/>
                    </a:cubicBezTo>
                    <a:cubicBezTo>
                      <a:pt x="41" y="165"/>
                      <a:pt x="44" y="160"/>
                      <a:pt x="45" y="156"/>
                    </a:cubicBezTo>
                    <a:cubicBezTo>
                      <a:pt x="46" y="153"/>
                      <a:pt x="45" y="154"/>
                      <a:pt x="42" y="157"/>
                    </a:cubicBezTo>
                    <a:cubicBezTo>
                      <a:pt x="39" y="160"/>
                      <a:pt x="41" y="154"/>
                      <a:pt x="42" y="151"/>
                    </a:cubicBezTo>
                    <a:cubicBezTo>
                      <a:pt x="43" y="149"/>
                      <a:pt x="43" y="142"/>
                      <a:pt x="43" y="140"/>
                    </a:cubicBezTo>
                    <a:cubicBezTo>
                      <a:pt x="44" y="138"/>
                      <a:pt x="44" y="136"/>
                      <a:pt x="48" y="135"/>
                    </a:cubicBezTo>
                    <a:cubicBezTo>
                      <a:pt x="51" y="134"/>
                      <a:pt x="56" y="130"/>
                      <a:pt x="55" y="128"/>
                    </a:cubicBezTo>
                    <a:cubicBezTo>
                      <a:pt x="54" y="127"/>
                      <a:pt x="60" y="124"/>
                      <a:pt x="60" y="122"/>
                    </a:cubicBezTo>
                    <a:cubicBezTo>
                      <a:pt x="60" y="120"/>
                      <a:pt x="54" y="114"/>
                      <a:pt x="52" y="113"/>
                    </a:cubicBezTo>
                    <a:cubicBezTo>
                      <a:pt x="50" y="112"/>
                      <a:pt x="46" y="113"/>
                      <a:pt x="47" y="112"/>
                    </a:cubicBezTo>
                    <a:cubicBezTo>
                      <a:pt x="47" y="110"/>
                      <a:pt x="46" y="105"/>
                      <a:pt x="46" y="103"/>
                    </a:cubicBezTo>
                    <a:cubicBezTo>
                      <a:pt x="45" y="100"/>
                      <a:pt x="49" y="97"/>
                      <a:pt x="49" y="95"/>
                    </a:cubicBezTo>
                    <a:cubicBezTo>
                      <a:pt x="49" y="92"/>
                      <a:pt x="48" y="90"/>
                      <a:pt x="51" y="89"/>
                    </a:cubicBezTo>
                    <a:cubicBezTo>
                      <a:pt x="53" y="88"/>
                      <a:pt x="52" y="86"/>
                      <a:pt x="55" y="85"/>
                    </a:cubicBezTo>
                    <a:cubicBezTo>
                      <a:pt x="58" y="84"/>
                      <a:pt x="57" y="80"/>
                      <a:pt x="60" y="79"/>
                    </a:cubicBezTo>
                    <a:cubicBezTo>
                      <a:pt x="63" y="77"/>
                      <a:pt x="64" y="76"/>
                      <a:pt x="68" y="74"/>
                    </a:cubicBezTo>
                    <a:cubicBezTo>
                      <a:pt x="72" y="72"/>
                      <a:pt x="79" y="68"/>
                      <a:pt x="80" y="65"/>
                    </a:cubicBezTo>
                    <a:cubicBezTo>
                      <a:pt x="81" y="63"/>
                      <a:pt x="76" y="60"/>
                      <a:pt x="79" y="57"/>
                    </a:cubicBezTo>
                    <a:cubicBezTo>
                      <a:pt x="83" y="55"/>
                      <a:pt x="80" y="52"/>
                      <a:pt x="82" y="51"/>
                    </a:cubicBezTo>
                    <a:cubicBezTo>
                      <a:pt x="85" y="50"/>
                      <a:pt x="86" y="49"/>
                      <a:pt x="88" y="47"/>
                    </a:cubicBezTo>
                    <a:cubicBezTo>
                      <a:pt x="89" y="45"/>
                      <a:pt x="92" y="46"/>
                      <a:pt x="96" y="46"/>
                    </a:cubicBezTo>
                    <a:cubicBezTo>
                      <a:pt x="98" y="46"/>
                      <a:pt x="99" y="46"/>
                      <a:pt x="100" y="46"/>
                    </a:cubicBezTo>
                    <a:cubicBezTo>
                      <a:pt x="100" y="44"/>
                      <a:pt x="100" y="43"/>
                      <a:pt x="99" y="42"/>
                    </a:cubicBezTo>
                    <a:close/>
                    <a:moveTo>
                      <a:pt x="59" y="147"/>
                    </a:moveTo>
                    <a:cubicBezTo>
                      <a:pt x="55" y="147"/>
                      <a:pt x="52" y="156"/>
                      <a:pt x="54" y="157"/>
                    </a:cubicBezTo>
                    <a:cubicBezTo>
                      <a:pt x="55" y="158"/>
                      <a:pt x="64" y="146"/>
                      <a:pt x="59" y="14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5" name="Freeform 143">
                <a:extLst>
                  <a:ext uri="{FF2B5EF4-FFF2-40B4-BE49-F238E27FC236}">
                    <a16:creationId xmlns:a16="http://schemas.microsoft.com/office/drawing/2014/main" id="{CFBA9559-8011-4DCA-A98E-C7843FFF533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23736" y="2813742"/>
                <a:ext cx="115435" cy="55208"/>
              </a:xfrm>
              <a:custGeom>
                <a:avLst/>
                <a:gdLst>
                  <a:gd name="T0" fmla="*/ 47 w 50"/>
                  <a:gd name="T1" fmla="*/ 6 h 24"/>
                  <a:gd name="T2" fmla="*/ 48 w 50"/>
                  <a:gd name="T3" fmla="*/ 1 h 24"/>
                  <a:gd name="T4" fmla="*/ 46 w 50"/>
                  <a:gd name="T5" fmla="*/ 2 h 24"/>
                  <a:gd name="T6" fmla="*/ 31 w 50"/>
                  <a:gd name="T7" fmla="*/ 0 h 24"/>
                  <a:gd name="T8" fmla="*/ 16 w 50"/>
                  <a:gd name="T9" fmla="*/ 3 h 24"/>
                  <a:gd name="T10" fmla="*/ 11 w 50"/>
                  <a:gd name="T11" fmla="*/ 8 h 24"/>
                  <a:gd name="T12" fmla="*/ 13 w 50"/>
                  <a:gd name="T13" fmla="*/ 13 h 24"/>
                  <a:gd name="T14" fmla="*/ 18 w 50"/>
                  <a:gd name="T15" fmla="*/ 16 h 24"/>
                  <a:gd name="T16" fmla="*/ 19 w 50"/>
                  <a:gd name="T17" fmla="*/ 19 h 24"/>
                  <a:gd name="T18" fmla="*/ 19 w 50"/>
                  <a:gd name="T19" fmla="*/ 19 h 24"/>
                  <a:gd name="T20" fmla="*/ 28 w 50"/>
                  <a:gd name="T21" fmla="*/ 19 h 24"/>
                  <a:gd name="T22" fmla="*/ 36 w 50"/>
                  <a:gd name="T23" fmla="*/ 24 h 24"/>
                  <a:gd name="T24" fmla="*/ 44 w 50"/>
                  <a:gd name="T25" fmla="*/ 24 h 24"/>
                  <a:gd name="T26" fmla="*/ 44 w 50"/>
                  <a:gd name="T27" fmla="*/ 22 h 24"/>
                  <a:gd name="T28" fmla="*/ 46 w 50"/>
                  <a:gd name="T29" fmla="*/ 19 h 24"/>
                  <a:gd name="T30" fmla="*/ 44 w 50"/>
                  <a:gd name="T31" fmla="*/ 15 h 24"/>
                  <a:gd name="T32" fmla="*/ 44 w 50"/>
                  <a:gd name="T33" fmla="*/ 11 h 24"/>
                  <a:gd name="T34" fmla="*/ 47 w 50"/>
                  <a:gd name="T35" fmla="*/ 6 h 24"/>
                  <a:gd name="T36" fmla="*/ 4 w 50"/>
                  <a:gd name="T37" fmla="*/ 12 h 24"/>
                  <a:gd name="T38" fmla="*/ 1 w 50"/>
                  <a:gd name="T39" fmla="*/ 19 h 24"/>
                  <a:gd name="T40" fmla="*/ 10 w 50"/>
                  <a:gd name="T41" fmla="*/ 14 h 24"/>
                  <a:gd name="T42" fmla="*/ 4 w 50"/>
                  <a:gd name="T43" fmla="*/ 12 h 24"/>
                  <a:gd name="T44" fmla="*/ 8 w 50"/>
                  <a:gd name="T45" fmla="*/ 9 h 24"/>
                  <a:gd name="T46" fmla="*/ 3 w 50"/>
                  <a:gd name="T47" fmla="*/ 9 h 24"/>
                  <a:gd name="T48" fmla="*/ 8 w 50"/>
                  <a:gd name="T49" fmla="*/ 9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0" h="24">
                    <a:moveTo>
                      <a:pt x="47" y="6"/>
                    </a:moveTo>
                    <a:cubicBezTo>
                      <a:pt x="48" y="4"/>
                      <a:pt x="50" y="4"/>
                      <a:pt x="48" y="1"/>
                    </a:cubicBezTo>
                    <a:cubicBezTo>
                      <a:pt x="48" y="1"/>
                      <a:pt x="47" y="2"/>
                      <a:pt x="46" y="2"/>
                    </a:cubicBezTo>
                    <a:cubicBezTo>
                      <a:pt x="43" y="3"/>
                      <a:pt x="35" y="0"/>
                      <a:pt x="31" y="0"/>
                    </a:cubicBezTo>
                    <a:cubicBezTo>
                      <a:pt x="27" y="1"/>
                      <a:pt x="18" y="1"/>
                      <a:pt x="16" y="3"/>
                    </a:cubicBezTo>
                    <a:cubicBezTo>
                      <a:pt x="14" y="6"/>
                      <a:pt x="9" y="6"/>
                      <a:pt x="11" y="8"/>
                    </a:cubicBezTo>
                    <a:cubicBezTo>
                      <a:pt x="14" y="10"/>
                      <a:pt x="11" y="11"/>
                      <a:pt x="13" y="13"/>
                    </a:cubicBezTo>
                    <a:cubicBezTo>
                      <a:pt x="15" y="15"/>
                      <a:pt x="16" y="16"/>
                      <a:pt x="18" y="16"/>
                    </a:cubicBezTo>
                    <a:cubicBezTo>
                      <a:pt x="20" y="15"/>
                      <a:pt x="22" y="17"/>
                      <a:pt x="19" y="19"/>
                    </a:cubicBezTo>
                    <a:cubicBezTo>
                      <a:pt x="19" y="19"/>
                      <a:pt x="19" y="19"/>
                      <a:pt x="19" y="19"/>
                    </a:cubicBezTo>
                    <a:cubicBezTo>
                      <a:pt x="23" y="19"/>
                      <a:pt x="27" y="19"/>
                      <a:pt x="28" y="19"/>
                    </a:cubicBezTo>
                    <a:cubicBezTo>
                      <a:pt x="29" y="20"/>
                      <a:pt x="35" y="24"/>
                      <a:pt x="36" y="24"/>
                    </a:cubicBezTo>
                    <a:cubicBezTo>
                      <a:pt x="37" y="24"/>
                      <a:pt x="41" y="24"/>
                      <a:pt x="44" y="24"/>
                    </a:cubicBezTo>
                    <a:cubicBezTo>
                      <a:pt x="43" y="23"/>
                      <a:pt x="43" y="23"/>
                      <a:pt x="44" y="22"/>
                    </a:cubicBezTo>
                    <a:cubicBezTo>
                      <a:pt x="45" y="21"/>
                      <a:pt x="47" y="21"/>
                      <a:pt x="46" y="19"/>
                    </a:cubicBezTo>
                    <a:cubicBezTo>
                      <a:pt x="45" y="18"/>
                      <a:pt x="45" y="17"/>
                      <a:pt x="44" y="15"/>
                    </a:cubicBezTo>
                    <a:cubicBezTo>
                      <a:pt x="44" y="13"/>
                      <a:pt x="44" y="12"/>
                      <a:pt x="44" y="11"/>
                    </a:cubicBezTo>
                    <a:cubicBezTo>
                      <a:pt x="44" y="9"/>
                      <a:pt x="45" y="9"/>
                      <a:pt x="47" y="6"/>
                    </a:cubicBezTo>
                    <a:close/>
                    <a:moveTo>
                      <a:pt x="4" y="12"/>
                    </a:moveTo>
                    <a:cubicBezTo>
                      <a:pt x="0" y="13"/>
                      <a:pt x="0" y="19"/>
                      <a:pt x="1" y="19"/>
                    </a:cubicBezTo>
                    <a:cubicBezTo>
                      <a:pt x="3" y="19"/>
                      <a:pt x="8" y="15"/>
                      <a:pt x="10" y="14"/>
                    </a:cubicBezTo>
                    <a:cubicBezTo>
                      <a:pt x="11" y="12"/>
                      <a:pt x="9" y="11"/>
                      <a:pt x="4" y="12"/>
                    </a:cubicBezTo>
                    <a:close/>
                    <a:moveTo>
                      <a:pt x="8" y="9"/>
                    </a:moveTo>
                    <a:cubicBezTo>
                      <a:pt x="9" y="7"/>
                      <a:pt x="1" y="8"/>
                      <a:pt x="3" y="9"/>
                    </a:cubicBezTo>
                    <a:cubicBezTo>
                      <a:pt x="4" y="11"/>
                      <a:pt x="7" y="11"/>
                      <a:pt x="8" y="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6" name="Freeform 144">
                <a:extLst>
                  <a:ext uri="{FF2B5EF4-FFF2-40B4-BE49-F238E27FC236}">
                    <a16:creationId xmlns:a16="http://schemas.microsoft.com/office/drawing/2014/main" id="{FC2E7771-172F-47EC-81B7-E1345898E0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38294" y="3994439"/>
                <a:ext cx="148058" cy="181935"/>
              </a:xfrm>
              <a:custGeom>
                <a:avLst/>
                <a:gdLst>
                  <a:gd name="T0" fmla="*/ 57 w 64"/>
                  <a:gd name="T1" fmla="*/ 18 h 79"/>
                  <a:gd name="T2" fmla="*/ 61 w 64"/>
                  <a:gd name="T3" fmla="*/ 12 h 79"/>
                  <a:gd name="T4" fmla="*/ 64 w 64"/>
                  <a:gd name="T5" fmla="*/ 7 h 79"/>
                  <a:gd name="T6" fmla="*/ 60 w 64"/>
                  <a:gd name="T7" fmla="*/ 8 h 79"/>
                  <a:gd name="T8" fmla="*/ 56 w 64"/>
                  <a:gd name="T9" fmla="*/ 6 h 79"/>
                  <a:gd name="T10" fmla="*/ 50 w 64"/>
                  <a:gd name="T11" fmla="*/ 8 h 79"/>
                  <a:gd name="T12" fmla="*/ 44 w 64"/>
                  <a:gd name="T13" fmla="*/ 12 h 79"/>
                  <a:gd name="T14" fmla="*/ 35 w 64"/>
                  <a:gd name="T15" fmla="*/ 10 h 79"/>
                  <a:gd name="T16" fmla="*/ 26 w 64"/>
                  <a:gd name="T17" fmla="*/ 5 h 79"/>
                  <a:gd name="T18" fmla="*/ 17 w 64"/>
                  <a:gd name="T19" fmla="*/ 3 h 79"/>
                  <a:gd name="T20" fmla="*/ 13 w 64"/>
                  <a:gd name="T21" fmla="*/ 1 h 79"/>
                  <a:gd name="T22" fmla="*/ 8 w 64"/>
                  <a:gd name="T23" fmla="*/ 1 h 79"/>
                  <a:gd name="T24" fmla="*/ 2 w 64"/>
                  <a:gd name="T25" fmla="*/ 5 h 79"/>
                  <a:gd name="T26" fmla="*/ 1 w 64"/>
                  <a:gd name="T27" fmla="*/ 6 h 79"/>
                  <a:gd name="T28" fmla="*/ 4 w 64"/>
                  <a:gd name="T29" fmla="*/ 10 h 79"/>
                  <a:gd name="T30" fmla="*/ 5 w 64"/>
                  <a:gd name="T31" fmla="*/ 15 h 79"/>
                  <a:gd name="T32" fmla="*/ 8 w 64"/>
                  <a:gd name="T33" fmla="*/ 18 h 79"/>
                  <a:gd name="T34" fmla="*/ 8 w 64"/>
                  <a:gd name="T35" fmla="*/ 25 h 79"/>
                  <a:gd name="T36" fmla="*/ 3 w 64"/>
                  <a:gd name="T37" fmla="*/ 34 h 79"/>
                  <a:gd name="T38" fmla="*/ 0 w 64"/>
                  <a:gd name="T39" fmla="*/ 39 h 79"/>
                  <a:gd name="T40" fmla="*/ 5 w 64"/>
                  <a:gd name="T41" fmla="*/ 42 h 79"/>
                  <a:gd name="T42" fmla="*/ 0 w 64"/>
                  <a:gd name="T43" fmla="*/ 47 h 79"/>
                  <a:gd name="T44" fmla="*/ 0 w 64"/>
                  <a:gd name="T45" fmla="*/ 48 h 79"/>
                  <a:gd name="T46" fmla="*/ 30 w 64"/>
                  <a:gd name="T47" fmla="*/ 64 h 79"/>
                  <a:gd name="T48" fmla="*/ 30 w 64"/>
                  <a:gd name="T49" fmla="*/ 69 h 79"/>
                  <a:gd name="T50" fmla="*/ 43 w 64"/>
                  <a:gd name="T51" fmla="*/ 79 h 79"/>
                  <a:gd name="T52" fmla="*/ 51 w 64"/>
                  <a:gd name="T53" fmla="*/ 61 h 79"/>
                  <a:gd name="T54" fmla="*/ 56 w 64"/>
                  <a:gd name="T55" fmla="*/ 57 h 79"/>
                  <a:gd name="T56" fmla="*/ 61 w 64"/>
                  <a:gd name="T57" fmla="*/ 54 h 79"/>
                  <a:gd name="T58" fmla="*/ 61 w 64"/>
                  <a:gd name="T59" fmla="*/ 53 h 79"/>
                  <a:gd name="T60" fmla="*/ 57 w 64"/>
                  <a:gd name="T61" fmla="*/ 47 h 79"/>
                  <a:gd name="T62" fmla="*/ 57 w 64"/>
                  <a:gd name="T63" fmla="*/ 18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64" h="79">
                    <a:moveTo>
                      <a:pt x="57" y="18"/>
                    </a:moveTo>
                    <a:cubicBezTo>
                      <a:pt x="61" y="12"/>
                      <a:pt x="61" y="12"/>
                      <a:pt x="61" y="12"/>
                    </a:cubicBezTo>
                    <a:cubicBezTo>
                      <a:pt x="64" y="7"/>
                      <a:pt x="64" y="7"/>
                      <a:pt x="64" y="7"/>
                    </a:cubicBezTo>
                    <a:cubicBezTo>
                      <a:pt x="63" y="7"/>
                      <a:pt x="61" y="8"/>
                      <a:pt x="60" y="8"/>
                    </a:cubicBezTo>
                    <a:cubicBezTo>
                      <a:pt x="59" y="9"/>
                      <a:pt x="57" y="8"/>
                      <a:pt x="56" y="6"/>
                    </a:cubicBezTo>
                    <a:cubicBezTo>
                      <a:pt x="56" y="5"/>
                      <a:pt x="52" y="6"/>
                      <a:pt x="50" y="8"/>
                    </a:cubicBezTo>
                    <a:cubicBezTo>
                      <a:pt x="47" y="9"/>
                      <a:pt x="45" y="13"/>
                      <a:pt x="44" y="12"/>
                    </a:cubicBezTo>
                    <a:cubicBezTo>
                      <a:pt x="43" y="11"/>
                      <a:pt x="37" y="10"/>
                      <a:pt x="35" y="10"/>
                    </a:cubicBezTo>
                    <a:cubicBezTo>
                      <a:pt x="33" y="10"/>
                      <a:pt x="27" y="7"/>
                      <a:pt x="26" y="5"/>
                    </a:cubicBezTo>
                    <a:cubicBezTo>
                      <a:pt x="24" y="3"/>
                      <a:pt x="19" y="4"/>
                      <a:pt x="17" y="3"/>
                    </a:cubicBezTo>
                    <a:cubicBezTo>
                      <a:pt x="16" y="3"/>
                      <a:pt x="14" y="2"/>
                      <a:pt x="13" y="1"/>
                    </a:cubicBezTo>
                    <a:cubicBezTo>
                      <a:pt x="12" y="0"/>
                      <a:pt x="10" y="0"/>
                      <a:pt x="8" y="1"/>
                    </a:cubicBezTo>
                    <a:cubicBezTo>
                      <a:pt x="6" y="1"/>
                      <a:pt x="2" y="3"/>
                      <a:pt x="2" y="5"/>
                    </a:cubicBezTo>
                    <a:cubicBezTo>
                      <a:pt x="1" y="5"/>
                      <a:pt x="1" y="6"/>
                      <a:pt x="1" y="6"/>
                    </a:cubicBezTo>
                    <a:cubicBezTo>
                      <a:pt x="4" y="10"/>
                      <a:pt x="4" y="10"/>
                      <a:pt x="4" y="10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8" y="18"/>
                      <a:pt x="8" y="18"/>
                      <a:pt x="8" y="18"/>
                    </a:cubicBezTo>
                    <a:cubicBezTo>
                      <a:pt x="8" y="18"/>
                      <a:pt x="8" y="21"/>
                      <a:pt x="8" y="25"/>
                    </a:cubicBezTo>
                    <a:cubicBezTo>
                      <a:pt x="7" y="28"/>
                      <a:pt x="5" y="32"/>
                      <a:pt x="3" y="34"/>
                    </a:cubicBezTo>
                    <a:cubicBezTo>
                      <a:pt x="2" y="35"/>
                      <a:pt x="1" y="37"/>
                      <a:pt x="0" y="39"/>
                    </a:cubicBezTo>
                    <a:cubicBezTo>
                      <a:pt x="3" y="40"/>
                      <a:pt x="6" y="41"/>
                      <a:pt x="5" y="42"/>
                    </a:cubicBezTo>
                    <a:cubicBezTo>
                      <a:pt x="5" y="44"/>
                      <a:pt x="0" y="43"/>
                      <a:pt x="0" y="47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30" y="64"/>
                      <a:pt x="30" y="64"/>
                      <a:pt x="30" y="64"/>
                    </a:cubicBezTo>
                    <a:cubicBezTo>
                      <a:pt x="30" y="69"/>
                      <a:pt x="30" y="69"/>
                      <a:pt x="30" y="69"/>
                    </a:cubicBezTo>
                    <a:cubicBezTo>
                      <a:pt x="30" y="69"/>
                      <a:pt x="37" y="74"/>
                      <a:pt x="43" y="79"/>
                    </a:cubicBezTo>
                    <a:cubicBezTo>
                      <a:pt x="46" y="71"/>
                      <a:pt x="50" y="63"/>
                      <a:pt x="51" y="61"/>
                    </a:cubicBezTo>
                    <a:cubicBezTo>
                      <a:pt x="53" y="59"/>
                      <a:pt x="55" y="59"/>
                      <a:pt x="56" y="57"/>
                    </a:cubicBezTo>
                    <a:cubicBezTo>
                      <a:pt x="58" y="55"/>
                      <a:pt x="58" y="58"/>
                      <a:pt x="61" y="54"/>
                    </a:cubicBezTo>
                    <a:cubicBezTo>
                      <a:pt x="61" y="54"/>
                      <a:pt x="61" y="54"/>
                      <a:pt x="61" y="53"/>
                    </a:cubicBezTo>
                    <a:cubicBezTo>
                      <a:pt x="57" y="47"/>
                      <a:pt x="57" y="47"/>
                      <a:pt x="57" y="47"/>
                    </a:cubicBezTo>
                    <a:lnTo>
                      <a:pt x="57" y="18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7" name="Freeform 145">
                <a:extLst>
                  <a:ext uri="{FF2B5EF4-FFF2-40B4-BE49-F238E27FC236}">
                    <a16:creationId xmlns:a16="http://schemas.microsoft.com/office/drawing/2014/main" id="{1EEB1439-ED07-492A-9E07-93EF6145FE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5482" y="4008241"/>
                <a:ext cx="101633" cy="105397"/>
              </a:xfrm>
              <a:custGeom>
                <a:avLst/>
                <a:gdLst>
                  <a:gd name="T0" fmla="*/ 41 w 44"/>
                  <a:gd name="T1" fmla="*/ 9 h 46"/>
                  <a:gd name="T2" fmla="*/ 40 w 44"/>
                  <a:gd name="T3" fmla="*/ 4 h 46"/>
                  <a:gd name="T4" fmla="*/ 37 w 44"/>
                  <a:gd name="T5" fmla="*/ 0 h 46"/>
                  <a:gd name="T6" fmla="*/ 34 w 44"/>
                  <a:gd name="T7" fmla="*/ 3 h 46"/>
                  <a:gd name="T8" fmla="*/ 29 w 44"/>
                  <a:gd name="T9" fmla="*/ 3 h 46"/>
                  <a:gd name="T10" fmla="*/ 23 w 44"/>
                  <a:gd name="T11" fmla="*/ 5 h 46"/>
                  <a:gd name="T12" fmla="*/ 18 w 44"/>
                  <a:gd name="T13" fmla="*/ 3 h 46"/>
                  <a:gd name="T14" fmla="*/ 12 w 44"/>
                  <a:gd name="T15" fmla="*/ 5 h 46"/>
                  <a:gd name="T16" fmla="*/ 11 w 44"/>
                  <a:gd name="T17" fmla="*/ 12 h 46"/>
                  <a:gd name="T18" fmla="*/ 14 w 44"/>
                  <a:gd name="T19" fmla="*/ 16 h 46"/>
                  <a:gd name="T20" fmla="*/ 11 w 44"/>
                  <a:gd name="T21" fmla="*/ 20 h 46"/>
                  <a:gd name="T22" fmla="*/ 8 w 44"/>
                  <a:gd name="T23" fmla="*/ 22 h 46"/>
                  <a:gd name="T24" fmla="*/ 5 w 44"/>
                  <a:gd name="T25" fmla="*/ 27 h 46"/>
                  <a:gd name="T26" fmla="*/ 3 w 44"/>
                  <a:gd name="T27" fmla="*/ 33 h 46"/>
                  <a:gd name="T28" fmla="*/ 2 w 44"/>
                  <a:gd name="T29" fmla="*/ 40 h 46"/>
                  <a:gd name="T30" fmla="*/ 0 w 44"/>
                  <a:gd name="T31" fmla="*/ 45 h 46"/>
                  <a:gd name="T32" fmla="*/ 4 w 44"/>
                  <a:gd name="T33" fmla="*/ 45 h 46"/>
                  <a:gd name="T34" fmla="*/ 13 w 44"/>
                  <a:gd name="T35" fmla="*/ 42 h 46"/>
                  <a:gd name="T36" fmla="*/ 19 w 44"/>
                  <a:gd name="T37" fmla="*/ 42 h 46"/>
                  <a:gd name="T38" fmla="*/ 25 w 44"/>
                  <a:gd name="T39" fmla="*/ 33 h 46"/>
                  <a:gd name="T40" fmla="*/ 36 w 44"/>
                  <a:gd name="T41" fmla="*/ 33 h 46"/>
                  <a:gd name="T42" fmla="*/ 39 w 44"/>
                  <a:gd name="T43" fmla="*/ 28 h 46"/>
                  <a:gd name="T44" fmla="*/ 44 w 44"/>
                  <a:gd name="T45" fmla="*/ 19 h 46"/>
                  <a:gd name="T46" fmla="*/ 44 w 44"/>
                  <a:gd name="T47" fmla="*/ 12 h 46"/>
                  <a:gd name="T48" fmla="*/ 41 w 44"/>
                  <a:gd name="T49" fmla="*/ 9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4" h="46">
                    <a:moveTo>
                      <a:pt x="41" y="9"/>
                    </a:moveTo>
                    <a:cubicBezTo>
                      <a:pt x="40" y="4"/>
                      <a:pt x="40" y="4"/>
                      <a:pt x="40" y="4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35" y="1"/>
                      <a:pt x="34" y="2"/>
                      <a:pt x="34" y="3"/>
                    </a:cubicBezTo>
                    <a:cubicBezTo>
                      <a:pt x="34" y="4"/>
                      <a:pt x="30" y="4"/>
                      <a:pt x="29" y="3"/>
                    </a:cubicBezTo>
                    <a:cubicBezTo>
                      <a:pt x="27" y="2"/>
                      <a:pt x="24" y="4"/>
                      <a:pt x="23" y="5"/>
                    </a:cubicBezTo>
                    <a:cubicBezTo>
                      <a:pt x="22" y="6"/>
                      <a:pt x="20" y="3"/>
                      <a:pt x="18" y="3"/>
                    </a:cubicBezTo>
                    <a:cubicBezTo>
                      <a:pt x="16" y="3"/>
                      <a:pt x="12" y="5"/>
                      <a:pt x="12" y="5"/>
                    </a:cubicBezTo>
                    <a:cubicBezTo>
                      <a:pt x="12" y="5"/>
                      <a:pt x="11" y="10"/>
                      <a:pt x="11" y="12"/>
                    </a:cubicBezTo>
                    <a:cubicBezTo>
                      <a:pt x="11" y="14"/>
                      <a:pt x="14" y="14"/>
                      <a:pt x="14" y="16"/>
                    </a:cubicBezTo>
                    <a:cubicBezTo>
                      <a:pt x="14" y="18"/>
                      <a:pt x="12" y="19"/>
                      <a:pt x="11" y="20"/>
                    </a:cubicBezTo>
                    <a:cubicBezTo>
                      <a:pt x="11" y="21"/>
                      <a:pt x="10" y="22"/>
                      <a:pt x="8" y="22"/>
                    </a:cubicBezTo>
                    <a:cubicBezTo>
                      <a:pt x="6" y="23"/>
                      <a:pt x="6" y="26"/>
                      <a:pt x="5" y="27"/>
                    </a:cubicBezTo>
                    <a:cubicBezTo>
                      <a:pt x="4" y="28"/>
                      <a:pt x="4" y="31"/>
                      <a:pt x="3" y="33"/>
                    </a:cubicBezTo>
                    <a:cubicBezTo>
                      <a:pt x="2" y="35"/>
                      <a:pt x="2" y="37"/>
                      <a:pt x="2" y="40"/>
                    </a:cubicBezTo>
                    <a:cubicBezTo>
                      <a:pt x="2" y="41"/>
                      <a:pt x="1" y="44"/>
                      <a:pt x="0" y="45"/>
                    </a:cubicBezTo>
                    <a:cubicBezTo>
                      <a:pt x="3" y="46"/>
                      <a:pt x="3" y="45"/>
                      <a:pt x="4" y="45"/>
                    </a:cubicBezTo>
                    <a:cubicBezTo>
                      <a:pt x="6" y="44"/>
                      <a:pt x="13" y="42"/>
                      <a:pt x="13" y="42"/>
                    </a:cubicBezTo>
                    <a:cubicBezTo>
                      <a:pt x="19" y="42"/>
                      <a:pt x="19" y="42"/>
                      <a:pt x="19" y="42"/>
                    </a:cubicBezTo>
                    <a:cubicBezTo>
                      <a:pt x="21" y="37"/>
                      <a:pt x="23" y="34"/>
                      <a:pt x="25" y="33"/>
                    </a:cubicBezTo>
                    <a:cubicBezTo>
                      <a:pt x="29" y="32"/>
                      <a:pt x="33" y="32"/>
                      <a:pt x="36" y="33"/>
                    </a:cubicBezTo>
                    <a:cubicBezTo>
                      <a:pt x="37" y="31"/>
                      <a:pt x="38" y="29"/>
                      <a:pt x="39" y="28"/>
                    </a:cubicBezTo>
                    <a:cubicBezTo>
                      <a:pt x="41" y="26"/>
                      <a:pt x="43" y="22"/>
                      <a:pt x="44" y="19"/>
                    </a:cubicBezTo>
                    <a:cubicBezTo>
                      <a:pt x="44" y="15"/>
                      <a:pt x="44" y="12"/>
                      <a:pt x="44" y="12"/>
                    </a:cubicBezTo>
                    <a:lnTo>
                      <a:pt x="41" y="9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8" name="Freeform 146">
                <a:extLst>
                  <a:ext uri="{FF2B5EF4-FFF2-40B4-BE49-F238E27FC236}">
                    <a16:creationId xmlns:a16="http://schemas.microsoft.com/office/drawing/2014/main" id="{193023EF-5A34-4EE1-98D9-8C3B61A0CE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56118" y="3173848"/>
                <a:ext cx="326229" cy="190718"/>
              </a:xfrm>
              <a:custGeom>
                <a:avLst/>
                <a:gdLst>
                  <a:gd name="T0" fmla="*/ 138 w 142"/>
                  <a:gd name="T1" fmla="*/ 46 h 83"/>
                  <a:gd name="T2" fmla="*/ 127 w 142"/>
                  <a:gd name="T3" fmla="*/ 41 h 83"/>
                  <a:gd name="T4" fmla="*/ 121 w 142"/>
                  <a:gd name="T5" fmla="*/ 41 h 83"/>
                  <a:gd name="T6" fmla="*/ 113 w 142"/>
                  <a:gd name="T7" fmla="*/ 39 h 83"/>
                  <a:gd name="T8" fmla="*/ 105 w 142"/>
                  <a:gd name="T9" fmla="*/ 46 h 83"/>
                  <a:gd name="T10" fmla="*/ 101 w 142"/>
                  <a:gd name="T11" fmla="*/ 47 h 83"/>
                  <a:gd name="T12" fmla="*/ 95 w 142"/>
                  <a:gd name="T13" fmla="*/ 43 h 83"/>
                  <a:gd name="T14" fmla="*/ 88 w 142"/>
                  <a:gd name="T15" fmla="*/ 41 h 83"/>
                  <a:gd name="T16" fmla="*/ 83 w 142"/>
                  <a:gd name="T17" fmla="*/ 33 h 83"/>
                  <a:gd name="T18" fmla="*/ 81 w 142"/>
                  <a:gd name="T19" fmla="*/ 25 h 83"/>
                  <a:gd name="T20" fmla="*/ 75 w 142"/>
                  <a:gd name="T21" fmla="*/ 20 h 83"/>
                  <a:gd name="T22" fmla="*/ 59 w 142"/>
                  <a:gd name="T23" fmla="*/ 20 h 83"/>
                  <a:gd name="T24" fmla="*/ 48 w 142"/>
                  <a:gd name="T25" fmla="*/ 20 h 83"/>
                  <a:gd name="T26" fmla="*/ 39 w 142"/>
                  <a:gd name="T27" fmla="*/ 10 h 83"/>
                  <a:gd name="T28" fmla="*/ 37 w 142"/>
                  <a:gd name="T29" fmla="*/ 13 h 83"/>
                  <a:gd name="T30" fmla="*/ 27 w 142"/>
                  <a:gd name="T31" fmla="*/ 12 h 83"/>
                  <a:gd name="T32" fmla="*/ 26 w 142"/>
                  <a:gd name="T33" fmla="*/ 0 h 83"/>
                  <a:gd name="T34" fmla="*/ 22 w 142"/>
                  <a:gd name="T35" fmla="*/ 12 h 83"/>
                  <a:gd name="T36" fmla="*/ 21 w 142"/>
                  <a:gd name="T37" fmla="*/ 0 h 83"/>
                  <a:gd name="T38" fmla="*/ 1 w 142"/>
                  <a:gd name="T39" fmla="*/ 5 h 83"/>
                  <a:gd name="T40" fmla="*/ 0 w 142"/>
                  <a:gd name="T41" fmla="*/ 41 h 83"/>
                  <a:gd name="T42" fmla="*/ 0 w 142"/>
                  <a:gd name="T43" fmla="*/ 41 h 83"/>
                  <a:gd name="T44" fmla="*/ 6 w 142"/>
                  <a:gd name="T45" fmla="*/ 42 h 83"/>
                  <a:gd name="T46" fmla="*/ 8 w 142"/>
                  <a:gd name="T47" fmla="*/ 38 h 83"/>
                  <a:gd name="T48" fmla="*/ 14 w 142"/>
                  <a:gd name="T49" fmla="*/ 34 h 83"/>
                  <a:gd name="T50" fmla="*/ 17 w 142"/>
                  <a:gd name="T51" fmla="*/ 31 h 83"/>
                  <a:gd name="T52" fmla="*/ 20 w 142"/>
                  <a:gd name="T53" fmla="*/ 29 h 83"/>
                  <a:gd name="T54" fmla="*/ 26 w 142"/>
                  <a:gd name="T55" fmla="*/ 31 h 83"/>
                  <a:gd name="T56" fmla="*/ 32 w 142"/>
                  <a:gd name="T57" fmla="*/ 33 h 83"/>
                  <a:gd name="T58" fmla="*/ 35 w 142"/>
                  <a:gd name="T59" fmla="*/ 41 h 83"/>
                  <a:gd name="T60" fmla="*/ 47 w 142"/>
                  <a:gd name="T61" fmla="*/ 43 h 83"/>
                  <a:gd name="T62" fmla="*/ 50 w 142"/>
                  <a:gd name="T63" fmla="*/ 48 h 83"/>
                  <a:gd name="T64" fmla="*/ 54 w 142"/>
                  <a:gd name="T65" fmla="*/ 55 h 83"/>
                  <a:gd name="T66" fmla="*/ 62 w 142"/>
                  <a:gd name="T67" fmla="*/ 60 h 83"/>
                  <a:gd name="T68" fmla="*/ 71 w 142"/>
                  <a:gd name="T69" fmla="*/ 66 h 83"/>
                  <a:gd name="T70" fmla="*/ 80 w 142"/>
                  <a:gd name="T71" fmla="*/ 71 h 83"/>
                  <a:gd name="T72" fmla="*/ 87 w 142"/>
                  <a:gd name="T73" fmla="*/ 74 h 83"/>
                  <a:gd name="T74" fmla="*/ 87 w 142"/>
                  <a:gd name="T75" fmla="*/ 79 h 83"/>
                  <a:gd name="T76" fmla="*/ 88 w 142"/>
                  <a:gd name="T77" fmla="*/ 79 h 83"/>
                  <a:gd name="T78" fmla="*/ 95 w 142"/>
                  <a:gd name="T79" fmla="*/ 81 h 83"/>
                  <a:gd name="T80" fmla="*/ 98 w 142"/>
                  <a:gd name="T81" fmla="*/ 83 h 83"/>
                  <a:gd name="T82" fmla="*/ 101 w 142"/>
                  <a:gd name="T83" fmla="*/ 74 h 83"/>
                  <a:gd name="T84" fmla="*/ 100 w 142"/>
                  <a:gd name="T85" fmla="*/ 67 h 83"/>
                  <a:gd name="T86" fmla="*/ 95 w 142"/>
                  <a:gd name="T87" fmla="*/ 61 h 83"/>
                  <a:gd name="T88" fmla="*/ 103 w 142"/>
                  <a:gd name="T89" fmla="*/ 58 h 83"/>
                  <a:gd name="T90" fmla="*/ 105 w 142"/>
                  <a:gd name="T91" fmla="*/ 54 h 83"/>
                  <a:gd name="T92" fmla="*/ 109 w 142"/>
                  <a:gd name="T93" fmla="*/ 49 h 83"/>
                  <a:gd name="T94" fmla="*/ 115 w 142"/>
                  <a:gd name="T95" fmla="*/ 48 h 83"/>
                  <a:gd name="T96" fmla="*/ 121 w 142"/>
                  <a:gd name="T97" fmla="*/ 47 h 83"/>
                  <a:gd name="T98" fmla="*/ 118 w 142"/>
                  <a:gd name="T99" fmla="*/ 53 h 83"/>
                  <a:gd name="T100" fmla="*/ 127 w 142"/>
                  <a:gd name="T101" fmla="*/ 52 h 83"/>
                  <a:gd name="T102" fmla="*/ 135 w 142"/>
                  <a:gd name="T103" fmla="*/ 50 h 83"/>
                  <a:gd name="T104" fmla="*/ 138 w 142"/>
                  <a:gd name="T105" fmla="*/ 46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42" h="83">
                    <a:moveTo>
                      <a:pt x="138" y="46"/>
                    </a:moveTo>
                    <a:cubicBezTo>
                      <a:pt x="135" y="43"/>
                      <a:pt x="128" y="39"/>
                      <a:pt x="127" y="41"/>
                    </a:cubicBezTo>
                    <a:cubicBezTo>
                      <a:pt x="127" y="43"/>
                      <a:pt x="123" y="43"/>
                      <a:pt x="121" y="41"/>
                    </a:cubicBezTo>
                    <a:cubicBezTo>
                      <a:pt x="119" y="40"/>
                      <a:pt x="118" y="37"/>
                      <a:pt x="113" y="39"/>
                    </a:cubicBezTo>
                    <a:cubicBezTo>
                      <a:pt x="109" y="41"/>
                      <a:pt x="105" y="44"/>
                      <a:pt x="105" y="46"/>
                    </a:cubicBezTo>
                    <a:cubicBezTo>
                      <a:pt x="105" y="47"/>
                      <a:pt x="102" y="49"/>
                      <a:pt x="101" y="47"/>
                    </a:cubicBezTo>
                    <a:cubicBezTo>
                      <a:pt x="101" y="44"/>
                      <a:pt x="97" y="43"/>
                      <a:pt x="95" y="43"/>
                    </a:cubicBezTo>
                    <a:cubicBezTo>
                      <a:pt x="92" y="42"/>
                      <a:pt x="88" y="43"/>
                      <a:pt x="88" y="41"/>
                    </a:cubicBezTo>
                    <a:cubicBezTo>
                      <a:pt x="87" y="38"/>
                      <a:pt x="84" y="35"/>
                      <a:pt x="83" y="33"/>
                    </a:cubicBezTo>
                    <a:cubicBezTo>
                      <a:pt x="83" y="30"/>
                      <a:pt x="84" y="26"/>
                      <a:pt x="81" y="25"/>
                    </a:cubicBezTo>
                    <a:cubicBezTo>
                      <a:pt x="79" y="24"/>
                      <a:pt x="77" y="20"/>
                      <a:pt x="75" y="20"/>
                    </a:cubicBezTo>
                    <a:cubicBezTo>
                      <a:pt x="73" y="20"/>
                      <a:pt x="60" y="20"/>
                      <a:pt x="59" y="20"/>
                    </a:cubicBezTo>
                    <a:cubicBezTo>
                      <a:pt x="57" y="19"/>
                      <a:pt x="49" y="22"/>
                      <a:pt x="48" y="20"/>
                    </a:cubicBezTo>
                    <a:cubicBezTo>
                      <a:pt x="48" y="19"/>
                      <a:pt x="42" y="13"/>
                      <a:pt x="39" y="10"/>
                    </a:cubicBezTo>
                    <a:cubicBezTo>
                      <a:pt x="39" y="11"/>
                      <a:pt x="38" y="12"/>
                      <a:pt x="37" y="13"/>
                    </a:cubicBezTo>
                    <a:cubicBezTo>
                      <a:pt x="31" y="18"/>
                      <a:pt x="25" y="17"/>
                      <a:pt x="27" y="12"/>
                    </a:cubicBezTo>
                    <a:cubicBezTo>
                      <a:pt x="29" y="6"/>
                      <a:pt x="29" y="0"/>
                      <a:pt x="26" y="0"/>
                    </a:cubicBezTo>
                    <a:cubicBezTo>
                      <a:pt x="23" y="0"/>
                      <a:pt x="25" y="11"/>
                      <a:pt x="22" y="12"/>
                    </a:cubicBezTo>
                    <a:cubicBezTo>
                      <a:pt x="20" y="13"/>
                      <a:pt x="20" y="4"/>
                      <a:pt x="21" y="0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2" y="42"/>
                      <a:pt x="4" y="42"/>
                      <a:pt x="6" y="42"/>
                    </a:cubicBezTo>
                    <a:cubicBezTo>
                      <a:pt x="9" y="42"/>
                      <a:pt x="8" y="40"/>
                      <a:pt x="8" y="38"/>
                    </a:cubicBezTo>
                    <a:cubicBezTo>
                      <a:pt x="8" y="36"/>
                      <a:pt x="12" y="34"/>
                      <a:pt x="14" y="34"/>
                    </a:cubicBezTo>
                    <a:cubicBezTo>
                      <a:pt x="17" y="34"/>
                      <a:pt x="16" y="31"/>
                      <a:pt x="17" y="31"/>
                    </a:cubicBezTo>
                    <a:cubicBezTo>
                      <a:pt x="18" y="31"/>
                      <a:pt x="20" y="30"/>
                      <a:pt x="20" y="29"/>
                    </a:cubicBezTo>
                    <a:cubicBezTo>
                      <a:pt x="21" y="28"/>
                      <a:pt x="25" y="29"/>
                      <a:pt x="26" y="31"/>
                    </a:cubicBezTo>
                    <a:cubicBezTo>
                      <a:pt x="27" y="32"/>
                      <a:pt x="30" y="32"/>
                      <a:pt x="32" y="33"/>
                    </a:cubicBezTo>
                    <a:cubicBezTo>
                      <a:pt x="34" y="33"/>
                      <a:pt x="35" y="40"/>
                      <a:pt x="35" y="41"/>
                    </a:cubicBezTo>
                    <a:cubicBezTo>
                      <a:pt x="35" y="43"/>
                      <a:pt x="45" y="42"/>
                      <a:pt x="47" y="43"/>
                    </a:cubicBezTo>
                    <a:cubicBezTo>
                      <a:pt x="49" y="43"/>
                      <a:pt x="49" y="46"/>
                      <a:pt x="50" y="48"/>
                    </a:cubicBezTo>
                    <a:cubicBezTo>
                      <a:pt x="52" y="50"/>
                      <a:pt x="53" y="53"/>
                      <a:pt x="54" y="55"/>
                    </a:cubicBezTo>
                    <a:cubicBezTo>
                      <a:pt x="55" y="56"/>
                      <a:pt x="61" y="58"/>
                      <a:pt x="62" y="60"/>
                    </a:cubicBezTo>
                    <a:cubicBezTo>
                      <a:pt x="63" y="63"/>
                      <a:pt x="68" y="65"/>
                      <a:pt x="71" y="66"/>
                    </a:cubicBezTo>
                    <a:cubicBezTo>
                      <a:pt x="75" y="67"/>
                      <a:pt x="78" y="72"/>
                      <a:pt x="80" y="71"/>
                    </a:cubicBezTo>
                    <a:cubicBezTo>
                      <a:pt x="81" y="71"/>
                      <a:pt x="87" y="74"/>
                      <a:pt x="87" y="74"/>
                    </a:cubicBezTo>
                    <a:cubicBezTo>
                      <a:pt x="87" y="79"/>
                      <a:pt x="87" y="79"/>
                      <a:pt x="87" y="79"/>
                    </a:cubicBezTo>
                    <a:cubicBezTo>
                      <a:pt x="88" y="79"/>
                      <a:pt x="88" y="79"/>
                      <a:pt x="88" y="79"/>
                    </a:cubicBezTo>
                    <a:cubicBezTo>
                      <a:pt x="91" y="78"/>
                      <a:pt x="92" y="81"/>
                      <a:pt x="95" y="81"/>
                    </a:cubicBezTo>
                    <a:cubicBezTo>
                      <a:pt x="96" y="81"/>
                      <a:pt x="97" y="82"/>
                      <a:pt x="98" y="83"/>
                    </a:cubicBezTo>
                    <a:cubicBezTo>
                      <a:pt x="98" y="78"/>
                      <a:pt x="99" y="76"/>
                      <a:pt x="101" y="74"/>
                    </a:cubicBezTo>
                    <a:cubicBezTo>
                      <a:pt x="103" y="73"/>
                      <a:pt x="100" y="70"/>
                      <a:pt x="100" y="67"/>
                    </a:cubicBezTo>
                    <a:cubicBezTo>
                      <a:pt x="101" y="65"/>
                      <a:pt x="95" y="63"/>
                      <a:pt x="95" y="61"/>
                    </a:cubicBezTo>
                    <a:cubicBezTo>
                      <a:pt x="96" y="59"/>
                      <a:pt x="101" y="59"/>
                      <a:pt x="103" y="58"/>
                    </a:cubicBezTo>
                    <a:cubicBezTo>
                      <a:pt x="105" y="57"/>
                      <a:pt x="103" y="54"/>
                      <a:pt x="105" y="54"/>
                    </a:cubicBezTo>
                    <a:cubicBezTo>
                      <a:pt x="108" y="54"/>
                      <a:pt x="109" y="51"/>
                      <a:pt x="109" y="49"/>
                    </a:cubicBezTo>
                    <a:cubicBezTo>
                      <a:pt x="110" y="47"/>
                      <a:pt x="114" y="49"/>
                      <a:pt x="115" y="48"/>
                    </a:cubicBezTo>
                    <a:cubicBezTo>
                      <a:pt x="117" y="46"/>
                      <a:pt x="120" y="45"/>
                      <a:pt x="121" y="47"/>
                    </a:cubicBezTo>
                    <a:cubicBezTo>
                      <a:pt x="121" y="48"/>
                      <a:pt x="119" y="52"/>
                      <a:pt x="118" y="53"/>
                    </a:cubicBezTo>
                    <a:cubicBezTo>
                      <a:pt x="121" y="53"/>
                      <a:pt x="126" y="53"/>
                      <a:pt x="127" y="52"/>
                    </a:cubicBezTo>
                    <a:cubicBezTo>
                      <a:pt x="129" y="50"/>
                      <a:pt x="133" y="54"/>
                      <a:pt x="135" y="50"/>
                    </a:cubicBezTo>
                    <a:cubicBezTo>
                      <a:pt x="137" y="47"/>
                      <a:pt x="142" y="49"/>
                      <a:pt x="138" y="46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9" name="Freeform 147">
                <a:extLst>
                  <a:ext uri="{FF2B5EF4-FFF2-40B4-BE49-F238E27FC236}">
                    <a16:creationId xmlns:a16="http://schemas.microsoft.com/office/drawing/2014/main" id="{5C0B1A09-60E2-4736-B7C7-8BDE0C97268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15074" y="2098549"/>
                <a:ext cx="479305" cy="759109"/>
              </a:xfrm>
              <a:custGeom>
                <a:avLst/>
                <a:gdLst>
                  <a:gd name="T0" fmla="*/ 197 w 208"/>
                  <a:gd name="T1" fmla="*/ 172 h 329"/>
                  <a:gd name="T2" fmla="*/ 197 w 208"/>
                  <a:gd name="T3" fmla="*/ 162 h 329"/>
                  <a:gd name="T4" fmla="*/ 186 w 208"/>
                  <a:gd name="T5" fmla="*/ 161 h 329"/>
                  <a:gd name="T6" fmla="*/ 173 w 208"/>
                  <a:gd name="T7" fmla="*/ 160 h 329"/>
                  <a:gd name="T8" fmla="*/ 167 w 208"/>
                  <a:gd name="T9" fmla="*/ 159 h 329"/>
                  <a:gd name="T10" fmla="*/ 154 w 208"/>
                  <a:gd name="T11" fmla="*/ 162 h 329"/>
                  <a:gd name="T12" fmla="*/ 144 w 208"/>
                  <a:gd name="T13" fmla="*/ 173 h 329"/>
                  <a:gd name="T14" fmla="*/ 144 w 208"/>
                  <a:gd name="T15" fmla="*/ 161 h 329"/>
                  <a:gd name="T16" fmla="*/ 130 w 208"/>
                  <a:gd name="T17" fmla="*/ 170 h 329"/>
                  <a:gd name="T18" fmla="*/ 124 w 208"/>
                  <a:gd name="T19" fmla="*/ 172 h 329"/>
                  <a:gd name="T20" fmla="*/ 118 w 208"/>
                  <a:gd name="T21" fmla="*/ 171 h 329"/>
                  <a:gd name="T22" fmla="*/ 106 w 208"/>
                  <a:gd name="T23" fmla="*/ 179 h 329"/>
                  <a:gd name="T24" fmla="*/ 99 w 208"/>
                  <a:gd name="T25" fmla="*/ 185 h 329"/>
                  <a:gd name="T26" fmla="*/ 92 w 208"/>
                  <a:gd name="T27" fmla="*/ 189 h 329"/>
                  <a:gd name="T28" fmla="*/ 79 w 208"/>
                  <a:gd name="T29" fmla="*/ 192 h 329"/>
                  <a:gd name="T30" fmla="*/ 75 w 208"/>
                  <a:gd name="T31" fmla="*/ 199 h 329"/>
                  <a:gd name="T32" fmla="*/ 92 w 208"/>
                  <a:gd name="T33" fmla="*/ 199 h 329"/>
                  <a:gd name="T34" fmla="*/ 79 w 208"/>
                  <a:gd name="T35" fmla="*/ 208 h 329"/>
                  <a:gd name="T36" fmla="*/ 61 w 208"/>
                  <a:gd name="T37" fmla="*/ 228 h 329"/>
                  <a:gd name="T38" fmla="*/ 50 w 208"/>
                  <a:gd name="T39" fmla="*/ 243 h 329"/>
                  <a:gd name="T40" fmla="*/ 39 w 208"/>
                  <a:gd name="T41" fmla="*/ 257 h 329"/>
                  <a:gd name="T42" fmla="*/ 26 w 208"/>
                  <a:gd name="T43" fmla="*/ 267 h 329"/>
                  <a:gd name="T44" fmla="*/ 11 w 208"/>
                  <a:gd name="T45" fmla="*/ 276 h 329"/>
                  <a:gd name="T46" fmla="*/ 4 w 208"/>
                  <a:gd name="T47" fmla="*/ 288 h 329"/>
                  <a:gd name="T48" fmla="*/ 1 w 208"/>
                  <a:gd name="T49" fmla="*/ 303 h 329"/>
                  <a:gd name="T50" fmla="*/ 9 w 208"/>
                  <a:gd name="T51" fmla="*/ 308 h 329"/>
                  <a:gd name="T52" fmla="*/ 7 w 208"/>
                  <a:gd name="T53" fmla="*/ 313 h 329"/>
                  <a:gd name="T54" fmla="*/ 14 w 208"/>
                  <a:gd name="T55" fmla="*/ 326 h 329"/>
                  <a:gd name="T56" fmla="*/ 46 w 208"/>
                  <a:gd name="T57" fmla="*/ 311 h 329"/>
                  <a:gd name="T58" fmla="*/ 56 w 208"/>
                  <a:gd name="T59" fmla="*/ 314 h 329"/>
                  <a:gd name="T60" fmla="*/ 61 w 208"/>
                  <a:gd name="T61" fmla="*/ 294 h 329"/>
                  <a:gd name="T62" fmla="*/ 59 w 208"/>
                  <a:gd name="T63" fmla="*/ 268 h 329"/>
                  <a:gd name="T64" fmla="*/ 73 w 208"/>
                  <a:gd name="T65" fmla="*/ 250 h 329"/>
                  <a:gd name="T66" fmla="*/ 83 w 208"/>
                  <a:gd name="T67" fmla="*/ 227 h 329"/>
                  <a:gd name="T68" fmla="*/ 93 w 208"/>
                  <a:gd name="T69" fmla="*/ 206 h 329"/>
                  <a:gd name="T70" fmla="*/ 116 w 208"/>
                  <a:gd name="T71" fmla="*/ 195 h 329"/>
                  <a:gd name="T72" fmla="*/ 132 w 208"/>
                  <a:gd name="T73" fmla="*/ 184 h 329"/>
                  <a:gd name="T74" fmla="*/ 160 w 208"/>
                  <a:gd name="T75" fmla="*/ 192 h 329"/>
                  <a:gd name="T76" fmla="*/ 178 w 208"/>
                  <a:gd name="T77" fmla="*/ 174 h 329"/>
                  <a:gd name="T78" fmla="*/ 197 w 208"/>
                  <a:gd name="T79" fmla="*/ 182 h 329"/>
                  <a:gd name="T80" fmla="*/ 58 w 208"/>
                  <a:gd name="T81" fmla="*/ 24 h 329"/>
                  <a:gd name="T82" fmla="*/ 77 w 208"/>
                  <a:gd name="T83" fmla="*/ 35 h 329"/>
                  <a:gd name="T84" fmla="*/ 92 w 208"/>
                  <a:gd name="T85" fmla="*/ 38 h 329"/>
                  <a:gd name="T86" fmla="*/ 93 w 208"/>
                  <a:gd name="T87" fmla="*/ 49 h 329"/>
                  <a:gd name="T88" fmla="*/ 79 w 208"/>
                  <a:gd name="T89" fmla="*/ 62 h 329"/>
                  <a:gd name="T90" fmla="*/ 95 w 208"/>
                  <a:gd name="T91" fmla="*/ 68 h 329"/>
                  <a:gd name="T92" fmla="*/ 114 w 208"/>
                  <a:gd name="T93" fmla="*/ 37 h 329"/>
                  <a:gd name="T94" fmla="*/ 129 w 208"/>
                  <a:gd name="T95" fmla="*/ 45 h 329"/>
                  <a:gd name="T96" fmla="*/ 150 w 208"/>
                  <a:gd name="T97" fmla="*/ 54 h 329"/>
                  <a:gd name="T98" fmla="*/ 143 w 208"/>
                  <a:gd name="T99" fmla="*/ 43 h 329"/>
                  <a:gd name="T100" fmla="*/ 125 w 208"/>
                  <a:gd name="T101" fmla="*/ 28 h 329"/>
                  <a:gd name="T102" fmla="*/ 107 w 208"/>
                  <a:gd name="T103" fmla="*/ 18 h 329"/>
                  <a:gd name="T104" fmla="*/ 90 w 208"/>
                  <a:gd name="T105" fmla="*/ 9 h 329"/>
                  <a:gd name="T106" fmla="*/ 83 w 208"/>
                  <a:gd name="T107" fmla="*/ 18 h 329"/>
                  <a:gd name="T108" fmla="*/ 66 w 208"/>
                  <a:gd name="T109" fmla="*/ 17 h 329"/>
                  <a:gd name="T110" fmla="*/ 56 w 208"/>
                  <a:gd name="T111" fmla="*/ 14 h 329"/>
                  <a:gd name="T112" fmla="*/ 50 w 208"/>
                  <a:gd name="T113" fmla="*/ 38 h 329"/>
                  <a:gd name="T114" fmla="*/ 50 w 208"/>
                  <a:gd name="T115" fmla="*/ 38 h 329"/>
                  <a:gd name="T116" fmla="*/ 119 w 208"/>
                  <a:gd name="T117" fmla="*/ 19 h 329"/>
                  <a:gd name="T118" fmla="*/ 167 w 208"/>
                  <a:gd name="T119" fmla="*/ 18 h 329"/>
                  <a:gd name="T120" fmla="*/ 145 w 208"/>
                  <a:gd name="T121" fmla="*/ 7 h 329"/>
                  <a:gd name="T122" fmla="*/ 126 w 208"/>
                  <a:gd name="T123" fmla="*/ 6 h 329"/>
                  <a:gd name="T124" fmla="*/ 112 w 208"/>
                  <a:gd name="T125" fmla="*/ 7 h 3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08" h="329">
                    <a:moveTo>
                      <a:pt x="201" y="176"/>
                    </a:moveTo>
                    <a:cubicBezTo>
                      <a:pt x="201" y="178"/>
                      <a:pt x="198" y="178"/>
                      <a:pt x="198" y="176"/>
                    </a:cubicBezTo>
                    <a:cubicBezTo>
                      <a:pt x="198" y="174"/>
                      <a:pt x="193" y="173"/>
                      <a:pt x="193" y="172"/>
                    </a:cubicBezTo>
                    <a:cubicBezTo>
                      <a:pt x="192" y="171"/>
                      <a:pt x="195" y="171"/>
                      <a:pt x="197" y="172"/>
                    </a:cubicBezTo>
                    <a:cubicBezTo>
                      <a:pt x="199" y="173"/>
                      <a:pt x="200" y="173"/>
                      <a:pt x="202" y="170"/>
                    </a:cubicBezTo>
                    <a:cubicBezTo>
                      <a:pt x="204" y="168"/>
                      <a:pt x="207" y="170"/>
                      <a:pt x="208" y="168"/>
                    </a:cubicBezTo>
                    <a:cubicBezTo>
                      <a:pt x="208" y="167"/>
                      <a:pt x="204" y="165"/>
                      <a:pt x="203" y="164"/>
                    </a:cubicBezTo>
                    <a:cubicBezTo>
                      <a:pt x="203" y="163"/>
                      <a:pt x="200" y="162"/>
                      <a:pt x="197" y="162"/>
                    </a:cubicBezTo>
                    <a:cubicBezTo>
                      <a:pt x="195" y="163"/>
                      <a:pt x="195" y="162"/>
                      <a:pt x="193" y="160"/>
                    </a:cubicBezTo>
                    <a:cubicBezTo>
                      <a:pt x="191" y="159"/>
                      <a:pt x="187" y="161"/>
                      <a:pt x="187" y="165"/>
                    </a:cubicBezTo>
                    <a:cubicBezTo>
                      <a:pt x="187" y="168"/>
                      <a:pt x="184" y="167"/>
                      <a:pt x="185" y="165"/>
                    </a:cubicBezTo>
                    <a:cubicBezTo>
                      <a:pt x="186" y="163"/>
                      <a:pt x="183" y="161"/>
                      <a:pt x="186" y="161"/>
                    </a:cubicBezTo>
                    <a:cubicBezTo>
                      <a:pt x="188" y="160"/>
                      <a:pt x="187" y="157"/>
                      <a:pt x="182" y="156"/>
                    </a:cubicBezTo>
                    <a:cubicBezTo>
                      <a:pt x="178" y="156"/>
                      <a:pt x="176" y="160"/>
                      <a:pt x="177" y="161"/>
                    </a:cubicBezTo>
                    <a:cubicBezTo>
                      <a:pt x="179" y="162"/>
                      <a:pt x="174" y="167"/>
                      <a:pt x="173" y="167"/>
                    </a:cubicBezTo>
                    <a:cubicBezTo>
                      <a:pt x="171" y="167"/>
                      <a:pt x="173" y="163"/>
                      <a:pt x="173" y="160"/>
                    </a:cubicBezTo>
                    <a:cubicBezTo>
                      <a:pt x="173" y="158"/>
                      <a:pt x="171" y="159"/>
                      <a:pt x="168" y="163"/>
                    </a:cubicBezTo>
                    <a:cubicBezTo>
                      <a:pt x="164" y="167"/>
                      <a:pt x="162" y="170"/>
                      <a:pt x="160" y="171"/>
                    </a:cubicBezTo>
                    <a:cubicBezTo>
                      <a:pt x="158" y="171"/>
                      <a:pt x="158" y="167"/>
                      <a:pt x="161" y="166"/>
                    </a:cubicBezTo>
                    <a:cubicBezTo>
                      <a:pt x="165" y="164"/>
                      <a:pt x="165" y="159"/>
                      <a:pt x="167" y="159"/>
                    </a:cubicBezTo>
                    <a:cubicBezTo>
                      <a:pt x="169" y="159"/>
                      <a:pt x="169" y="157"/>
                      <a:pt x="166" y="156"/>
                    </a:cubicBezTo>
                    <a:cubicBezTo>
                      <a:pt x="163" y="156"/>
                      <a:pt x="162" y="159"/>
                      <a:pt x="161" y="160"/>
                    </a:cubicBezTo>
                    <a:cubicBezTo>
                      <a:pt x="160" y="161"/>
                      <a:pt x="155" y="158"/>
                      <a:pt x="156" y="159"/>
                    </a:cubicBezTo>
                    <a:cubicBezTo>
                      <a:pt x="156" y="160"/>
                      <a:pt x="153" y="160"/>
                      <a:pt x="154" y="162"/>
                    </a:cubicBezTo>
                    <a:cubicBezTo>
                      <a:pt x="155" y="164"/>
                      <a:pt x="154" y="166"/>
                      <a:pt x="152" y="163"/>
                    </a:cubicBezTo>
                    <a:cubicBezTo>
                      <a:pt x="151" y="161"/>
                      <a:pt x="148" y="163"/>
                      <a:pt x="147" y="165"/>
                    </a:cubicBezTo>
                    <a:cubicBezTo>
                      <a:pt x="145" y="168"/>
                      <a:pt x="143" y="168"/>
                      <a:pt x="145" y="168"/>
                    </a:cubicBezTo>
                    <a:cubicBezTo>
                      <a:pt x="146" y="169"/>
                      <a:pt x="146" y="172"/>
                      <a:pt x="144" y="173"/>
                    </a:cubicBezTo>
                    <a:cubicBezTo>
                      <a:pt x="142" y="174"/>
                      <a:pt x="143" y="167"/>
                      <a:pt x="141" y="168"/>
                    </a:cubicBezTo>
                    <a:cubicBezTo>
                      <a:pt x="139" y="168"/>
                      <a:pt x="140" y="165"/>
                      <a:pt x="143" y="165"/>
                    </a:cubicBezTo>
                    <a:cubicBezTo>
                      <a:pt x="145" y="165"/>
                      <a:pt x="147" y="161"/>
                      <a:pt x="147" y="161"/>
                    </a:cubicBezTo>
                    <a:cubicBezTo>
                      <a:pt x="147" y="159"/>
                      <a:pt x="144" y="159"/>
                      <a:pt x="144" y="161"/>
                    </a:cubicBezTo>
                    <a:cubicBezTo>
                      <a:pt x="144" y="163"/>
                      <a:pt x="141" y="163"/>
                      <a:pt x="138" y="163"/>
                    </a:cubicBezTo>
                    <a:cubicBezTo>
                      <a:pt x="135" y="162"/>
                      <a:pt x="135" y="166"/>
                      <a:pt x="138" y="168"/>
                    </a:cubicBezTo>
                    <a:cubicBezTo>
                      <a:pt x="141" y="170"/>
                      <a:pt x="138" y="171"/>
                      <a:pt x="136" y="170"/>
                    </a:cubicBezTo>
                    <a:cubicBezTo>
                      <a:pt x="134" y="168"/>
                      <a:pt x="132" y="169"/>
                      <a:pt x="130" y="170"/>
                    </a:cubicBezTo>
                    <a:cubicBezTo>
                      <a:pt x="128" y="170"/>
                      <a:pt x="134" y="173"/>
                      <a:pt x="134" y="174"/>
                    </a:cubicBezTo>
                    <a:cubicBezTo>
                      <a:pt x="135" y="175"/>
                      <a:pt x="131" y="172"/>
                      <a:pt x="130" y="173"/>
                    </a:cubicBezTo>
                    <a:cubicBezTo>
                      <a:pt x="130" y="174"/>
                      <a:pt x="126" y="173"/>
                      <a:pt x="126" y="171"/>
                    </a:cubicBezTo>
                    <a:cubicBezTo>
                      <a:pt x="126" y="169"/>
                      <a:pt x="121" y="171"/>
                      <a:pt x="124" y="172"/>
                    </a:cubicBezTo>
                    <a:cubicBezTo>
                      <a:pt x="127" y="173"/>
                      <a:pt x="126" y="175"/>
                      <a:pt x="126" y="177"/>
                    </a:cubicBezTo>
                    <a:cubicBezTo>
                      <a:pt x="126" y="180"/>
                      <a:pt x="122" y="178"/>
                      <a:pt x="123" y="176"/>
                    </a:cubicBezTo>
                    <a:cubicBezTo>
                      <a:pt x="123" y="173"/>
                      <a:pt x="121" y="174"/>
                      <a:pt x="118" y="175"/>
                    </a:cubicBezTo>
                    <a:cubicBezTo>
                      <a:pt x="116" y="177"/>
                      <a:pt x="119" y="173"/>
                      <a:pt x="118" y="171"/>
                    </a:cubicBezTo>
                    <a:cubicBezTo>
                      <a:pt x="117" y="169"/>
                      <a:pt x="115" y="171"/>
                      <a:pt x="112" y="171"/>
                    </a:cubicBezTo>
                    <a:cubicBezTo>
                      <a:pt x="110" y="172"/>
                      <a:pt x="108" y="172"/>
                      <a:pt x="110" y="173"/>
                    </a:cubicBezTo>
                    <a:cubicBezTo>
                      <a:pt x="111" y="175"/>
                      <a:pt x="111" y="178"/>
                      <a:pt x="109" y="177"/>
                    </a:cubicBezTo>
                    <a:cubicBezTo>
                      <a:pt x="107" y="177"/>
                      <a:pt x="106" y="177"/>
                      <a:pt x="106" y="179"/>
                    </a:cubicBezTo>
                    <a:cubicBezTo>
                      <a:pt x="107" y="181"/>
                      <a:pt x="104" y="181"/>
                      <a:pt x="104" y="179"/>
                    </a:cubicBezTo>
                    <a:cubicBezTo>
                      <a:pt x="103" y="178"/>
                      <a:pt x="99" y="178"/>
                      <a:pt x="98" y="180"/>
                    </a:cubicBezTo>
                    <a:cubicBezTo>
                      <a:pt x="97" y="182"/>
                      <a:pt x="94" y="183"/>
                      <a:pt x="94" y="186"/>
                    </a:cubicBezTo>
                    <a:cubicBezTo>
                      <a:pt x="94" y="188"/>
                      <a:pt x="97" y="185"/>
                      <a:pt x="99" y="185"/>
                    </a:cubicBezTo>
                    <a:cubicBezTo>
                      <a:pt x="101" y="186"/>
                      <a:pt x="99" y="187"/>
                      <a:pt x="100" y="188"/>
                    </a:cubicBezTo>
                    <a:cubicBezTo>
                      <a:pt x="101" y="189"/>
                      <a:pt x="101" y="192"/>
                      <a:pt x="99" y="190"/>
                    </a:cubicBezTo>
                    <a:cubicBezTo>
                      <a:pt x="98" y="189"/>
                      <a:pt x="96" y="188"/>
                      <a:pt x="95" y="191"/>
                    </a:cubicBezTo>
                    <a:cubicBezTo>
                      <a:pt x="95" y="193"/>
                      <a:pt x="93" y="190"/>
                      <a:pt x="92" y="189"/>
                    </a:cubicBezTo>
                    <a:cubicBezTo>
                      <a:pt x="90" y="187"/>
                      <a:pt x="89" y="192"/>
                      <a:pt x="87" y="191"/>
                    </a:cubicBezTo>
                    <a:cubicBezTo>
                      <a:pt x="86" y="190"/>
                      <a:pt x="90" y="186"/>
                      <a:pt x="89" y="184"/>
                    </a:cubicBezTo>
                    <a:cubicBezTo>
                      <a:pt x="88" y="182"/>
                      <a:pt x="87" y="185"/>
                      <a:pt x="84" y="188"/>
                    </a:cubicBezTo>
                    <a:cubicBezTo>
                      <a:pt x="82" y="191"/>
                      <a:pt x="78" y="190"/>
                      <a:pt x="79" y="192"/>
                    </a:cubicBezTo>
                    <a:cubicBezTo>
                      <a:pt x="81" y="193"/>
                      <a:pt x="77" y="194"/>
                      <a:pt x="76" y="196"/>
                    </a:cubicBezTo>
                    <a:cubicBezTo>
                      <a:pt x="75" y="198"/>
                      <a:pt x="70" y="199"/>
                      <a:pt x="66" y="202"/>
                    </a:cubicBezTo>
                    <a:cubicBezTo>
                      <a:pt x="62" y="204"/>
                      <a:pt x="67" y="204"/>
                      <a:pt x="69" y="202"/>
                    </a:cubicBezTo>
                    <a:cubicBezTo>
                      <a:pt x="71" y="200"/>
                      <a:pt x="72" y="201"/>
                      <a:pt x="75" y="199"/>
                    </a:cubicBezTo>
                    <a:cubicBezTo>
                      <a:pt x="78" y="197"/>
                      <a:pt x="81" y="195"/>
                      <a:pt x="83" y="196"/>
                    </a:cubicBezTo>
                    <a:cubicBezTo>
                      <a:pt x="84" y="197"/>
                      <a:pt x="86" y="197"/>
                      <a:pt x="87" y="195"/>
                    </a:cubicBezTo>
                    <a:cubicBezTo>
                      <a:pt x="89" y="193"/>
                      <a:pt x="91" y="194"/>
                      <a:pt x="92" y="195"/>
                    </a:cubicBezTo>
                    <a:cubicBezTo>
                      <a:pt x="94" y="196"/>
                      <a:pt x="90" y="197"/>
                      <a:pt x="92" y="199"/>
                    </a:cubicBezTo>
                    <a:cubicBezTo>
                      <a:pt x="94" y="201"/>
                      <a:pt x="89" y="202"/>
                      <a:pt x="89" y="200"/>
                    </a:cubicBezTo>
                    <a:cubicBezTo>
                      <a:pt x="89" y="199"/>
                      <a:pt x="87" y="197"/>
                      <a:pt x="86" y="199"/>
                    </a:cubicBezTo>
                    <a:cubicBezTo>
                      <a:pt x="85" y="200"/>
                      <a:pt x="84" y="202"/>
                      <a:pt x="82" y="202"/>
                    </a:cubicBezTo>
                    <a:cubicBezTo>
                      <a:pt x="81" y="202"/>
                      <a:pt x="79" y="205"/>
                      <a:pt x="79" y="208"/>
                    </a:cubicBezTo>
                    <a:cubicBezTo>
                      <a:pt x="79" y="211"/>
                      <a:pt x="76" y="208"/>
                      <a:pt x="76" y="211"/>
                    </a:cubicBezTo>
                    <a:cubicBezTo>
                      <a:pt x="76" y="213"/>
                      <a:pt x="72" y="217"/>
                      <a:pt x="69" y="221"/>
                    </a:cubicBezTo>
                    <a:cubicBezTo>
                      <a:pt x="65" y="224"/>
                      <a:pt x="69" y="225"/>
                      <a:pt x="67" y="227"/>
                    </a:cubicBezTo>
                    <a:cubicBezTo>
                      <a:pt x="66" y="229"/>
                      <a:pt x="62" y="227"/>
                      <a:pt x="61" y="228"/>
                    </a:cubicBezTo>
                    <a:cubicBezTo>
                      <a:pt x="60" y="229"/>
                      <a:pt x="62" y="234"/>
                      <a:pt x="60" y="235"/>
                    </a:cubicBezTo>
                    <a:cubicBezTo>
                      <a:pt x="58" y="237"/>
                      <a:pt x="60" y="239"/>
                      <a:pt x="60" y="241"/>
                    </a:cubicBezTo>
                    <a:cubicBezTo>
                      <a:pt x="60" y="242"/>
                      <a:pt x="55" y="239"/>
                      <a:pt x="55" y="241"/>
                    </a:cubicBezTo>
                    <a:cubicBezTo>
                      <a:pt x="55" y="243"/>
                      <a:pt x="51" y="243"/>
                      <a:pt x="50" y="243"/>
                    </a:cubicBezTo>
                    <a:cubicBezTo>
                      <a:pt x="48" y="243"/>
                      <a:pt x="52" y="246"/>
                      <a:pt x="54" y="248"/>
                    </a:cubicBezTo>
                    <a:cubicBezTo>
                      <a:pt x="56" y="250"/>
                      <a:pt x="52" y="251"/>
                      <a:pt x="52" y="249"/>
                    </a:cubicBezTo>
                    <a:cubicBezTo>
                      <a:pt x="51" y="247"/>
                      <a:pt x="48" y="250"/>
                      <a:pt x="44" y="252"/>
                    </a:cubicBezTo>
                    <a:cubicBezTo>
                      <a:pt x="41" y="254"/>
                      <a:pt x="42" y="257"/>
                      <a:pt x="39" y="257"/>
                    </a:cubicBezTo>
                    <a:cubicBezTo>
                      <a:pt x="37" y="257"/>
                      <a:pt x="37" y="262"/>
                      <a:pt x="36" y="263"/>
                    </a:cubicBezTo>
                    <a:cubicBezTo>
                      <a:pt x="34" y="265"/>
                      <a:pt x="34" y="260"/>
                      <a:pt x="31" y="260"/>
                    </a:cubicBezTo>
                    <a:cubicBezTo>
                      <a:pt x="28" y="260"/>
                      <a:pt x="28" y="262"/>
                      <a:pt x="30" y="264"/>
                    </a:cubicBezTo>
                    <a:cubicBezTo>
                      <a:pt x="32" y="267"/>
                      <a:pt x="27" y="265"/>
                      <a:pt x="26" y="267"/>
                    </a:cubicBezTo>
                    <a:cubicBezTo>
                      <a:pt x="24" y="269"/>
                      <a:pt x="19" y="268"/>
                      <a:pt x="18" y="270"/>
                    </a:cubicBezTo>
                    <a:cubicBezTo>
                      <a:pt x="17" y="272"/>
                      <a:pt x="22" y="272"/>
                      <a:pt x="22" y="273"/>
                    </a:cubicBezTo>
                    <a:cubicBezTo>
                      <a:pt x="23" y="274"/>
                      <a:pt x="18" y="274"/>
                      <a:pt x="15" y="273"/>
                    </a:cubicBezTo>
                    <a:cubicBezTo>
                      <a:pt x="13" y="273"/>
                      <a:pt x="14" y="276"/>
                      <a:pt x="11" y="276"/>
                    </a:cubicBezTo>
                    <a:cubicBezTo>
                      <a:pt x="9" y="275"/>
                      <a:pt x="6" y="278"/>
                      <a:pt x="7" y="280"/>
                    </a:cubicBezTo>
                    <a:cubicBezTo>
                      <a:pt x="9" y="281"/>
                      <a:pt x="6" y="282"/>
                      <a:pt x="4" y="280"/>
                    </a:cubicBezTo>
                    <a:cubicBezTo>
                      <a:pt x="3" y="279"/>
                      <a:pt x="1" y="282"/>
                      <a:pt x="1" y="284"/>
                    </a:cubicBezTo>
                    <a:cubicBezTo>
                      <a:pt x="0" y="286"/>
                      <a:pt x="4" y="287"/>
                      <a:pt x="4" y="288"/>
                    </a:cubicBezTo>
                    <a:cubicBezTo>
                      <a:pt x="4" y="289"/>
                      <a:pt x="1" y="291"/>
                      <a:pt x="3" y="291"/>
                    </a:cubicBezTo>
                    <a:cubicBezTo>
                      <a:pt x="5" y="292"/>
                      <a:pt x="4" y="293"/>
                      <a:pt x="2" y="294"/>
                    </a:cubicBezTo>
                    <a:cubicBezTo>
                      <a:pt x="1" y="295"/>
                      <a:pt x="1" y="296"/>
                      <a:pt x="2" y="298"/>
                    </a:cubicBezTo>
                    <a:cubicBezTo>
                      <a:pt x="4" y="300"/>
                      <a:pt x="0" y="300"/>
                      <a:pt x="1" y="303"/>
                    </a:cubicBezTo>
                    <a:cubicBezTo>
                      <a:pt x="3" y="305"/>
                      <a:pt x="5" y="302"/>
                      <a:pt x="6" y="304"/>
                    </a:cubicBezTo>
                    <a:cubicBezTo>
                      <a:pt x="6" y="306"/>
                      <a:pt x="9" y="304"/>
                      <a:pt x="11" y="302"/>
                    </a:cubicBezTo>
                    <a:cubicBezTo>
                      <a:pt x="14" y="300"/>
                      <a:pt x="15" y="304"/>
                      <a:pt x="13" y="304"/>
                    </a:cubicBezTo>
                    <a:cubicBezTo>
                      <a:pt x="11" y="304"/>
                      <a:pt x="8" y="306"/>
                      <a:pt x="9" y="308"/>
                    </a:cubicBezTo>
                    <a:cubicBezTo>
                      <a:pt x="9" y="310"/>
                      <a:pt x="5" y="309"/>
                      <a:pt x="5" y="307"/>
                    </a:cubicBezTo>
                    <a:cubicBezTo>
                      <a:pt x="6" y="304"/>
                      <a:pt x="1" y="307"/>
                      <a:pt x="3" y="309"/>
                    </a:cubicBezTo>
                    <a:cubicBezTo>
                      <a:pt x="4" y="311"/>
                      <a:pt x="2" y="312"/>
                      <a:pt x="2" y="314"/>
                    </a:cubicBezTo>
                    <a:cubicBezTo>
                      <a:pt x="2" y="316"/>
                      <a:pt x="5" y="315"/>
                      <a:pt x="7" y="313"/>
                    </a:cubicBezTo>
                    <a:cubicBezTo>
                      <a:pt x="8" y="311"/>
                      <a:pt x="10" y="312"/>
                      <a:pt x="11" y="314"/>
                    </a:cubicBezTo>
                    <a:cubicBezTo>
                      <a:pt x="12" y="316"/>
                      <a:pt x="9" y="314"/>
                      <a:pt x="9" y="317"/>
                    </a:cubicBezTo>
                    <a:cubicBezTo>
                      <a:pt x="9" y="320"/>
                      <a:pt x="7" y="317"/>
                      <a:pt x="6" y="320"/>
                    </a:cubicBezTo>
                    <a:cubicBezTo>
                      <a:pt x="4" y="322"/>
                      <a:pt x="12" y="326"/>
                      <a:pt x="14" y="326"/>
                    </a:cubicBezTo>
                    <a:cubicBezTo>
                      <a:pt x="16" y="327"/>
                      <a:pt x="19" y="329"/>
                      <a:pt x="23" y="329"/>
                    </a:cubicBezTo>
                    <a:cubicBezTo>
                      <a:pt x="28" y="328"/>
                      <a:pt x="37" y="319"/>
                      <a:pt x="38" y="318"/>
                    </a:cubicBezTo>
                    <a:cubicBezTo>
                      <a:pt x="40" y="316"/>
                      <a:pt x="42" y="318"/>
                      <a:pt x="44" y="316"/>
                    </a:cubicBezTo>
                    <a:cubicBezTo>
                      <a:pt x="46" y="315"/>
                      <a:pt x="45" y="311"/>
                      <a:pt x="46" y="311"/>
                    </a:cubicBezTo>
                    <a:cubicBezTo>
                      <a:pt x="47" y="310"/>
                      <a:pt x="48" y="315"/>
                      <a:pt x="49" y="315"/>
                    </a:cubicBezTo>
                    <a:cubicBezTo>
                      <a:pt x="50" y="315"/>
                      <a:pt x="51" y="316"/>
                      <a:pt x="51" y="319"/>
                    </a:cubicBezTo>
                    <a:cubicBezTo>
                      <a:pt x="52" y="319"/>
                      <a:pt x="53" y="319"/>
                      <a:pt x="54" y="319"/>
                    </a:cubicBezTo>
                    <a:cubicBezTo>
                      <a:pt x="55" y="320"/>
                      <a:pt x="56" y="315"/>
                      <a:pt x="56" y="314"/>
                    </a:cubicBezTo>
                    <a:cubicBezTo>
                      <a:pt x="56" y="312"/>
                      <a:pt x="57" y="309"/>
                      <a:pt x="57" y="307"/>
                    </a:cubicBezTo>
                    <a:cubicBezTo>
                      <a:pt x="56" y="305"/>
                      <a:pt x="61" y="307"/>
                      <a:pt x="62" y="305"/>
                    </a:cubicBezTo>
                    <a:cubicBezTo>
                      <a:pt x="63" y="304"/>
                      <a:pt x="63" y="298"/>
                      <a:pt x="62" y="298"/>
                    </a:cubicBezTo>
                    <a:cubicBezTo>
                      <a:pt x="60" y="297"/>
                      <a:pt x="60" y="294"/>
                      <a:pt x="61" y="294"/>
                    </a:cubicBezTo>
                    <a:cubicBezTo>
                      <a:pt x="63" y="294"/>
                      <a:pt x="65" y="293"/>
                      <a:pt x="64" y="290"/>
                    </a:cubicBezTo>
                    <a:cubicBezTo>
                      <a:pt x="64" y="287"/>
                      <a:pt x="59" y="287"/>
                      <a:pt x="59" y="284"/>
                    </a:cubicBezTo>
                    <a:cubicBezTo>
                      <a:pt x="59" y="281"/>
                      <a:pt x="61" y="280"/>
                      <a:pt x="59" y="276"/>
                    </a:cubicBezTo>
                    <a:cubicBezTo>
                      <a:pt x="57" y="272"/>
                      <a:pt x="60" y="270"/>
                      <a:pt x="59" y="268"/>
                    </a:cubicBezTo>
                    <a:cubicBezTo>
                      <a:pt x="59" y="266"/>
                      <a:pt x="58" y="264"/>
                      <a:pt x="60" y="260"/>
                    </a:cubicBezTo>
                    <a:cubicBezTo>
                      <a:pt x="62" y="256"/>
                      <a:pt x="67" y="255"/>
                      <a:pt x="68" y="255"/>
                    </a:cubicBezTo>
                    <a:cubicBezTo>
                      <a:pt x="70" y="255"/>
                      <a:pt x="72" y="257"/>
                      <a:pt x="73" y="255"/>
                    </a:cubicBezTo>
                    <a:cubicBezTo>
                      <a:pt x="75" y="252"/>
                      <a:pt x="75" y="250"/>
                      <a:pt x="73" y="250"/>
                    </a:cubicBezTo>
                    <a:cubicBezTo>
                      <a:pt x="72" y="250"/>
                      <a:pt x="69" y="249"/>
                      <a:pt x="72" y="246"/>
                    </a:cubicBezTo>
                    <a:cubicBezTo>
                      <a:pt x="74" y="243"/>
                      <a:pt x="77" y="239"/>
                      <a:pt x="77" y="235"/>
                    </a:cubicBezTo>
                    <a:cubicBezTo>
                      <a:pt x="77" y="232"/>
                      <a:pt x="76" y="229"/>
                      <a:pt x="77" y="228"/>
                    </a:cubicBezTo>
                    <a:cubicBezTo>
                      <a:pt x="78" y="227"/>
                      <a:pt x="81" y="228"/>
                      <a:pt x="83" y="227"/>
                    </a:cubicBezTo>
                    <a:cubicBezTo>
                      <a:pt x="86" y="225"/>
                      <a:pt x="84" y="223"/>
                      <a:pt x="85" y="222"/>
                    </a:cubicBezTo>
                    <a:cubicBezTo>
                      <a:pt x="86" y="221"/>
                      <a:pt x="88" y="217"/>
                      <a:pt x="89" y="216"/>
                    </a:cubicBezTo>
                    <a:cubicBezTo>
                      <a:pt x="91" y="215"/>
                      <a:pt x="92" y="213"/>
                      <a:pt x="91" y="212"/>
                    </a:cubicBezTo>
                    <a:cubicBezTo>
                      <a:pt x="90" y="210"/>
                      <a:pt x="93" y="209"/>
                      <a:pt x="93" y="206"/>
                    </a:cubicBezTo>
                    <a:cubicBezTo>
                      <a:pt x="93" y="203"/>
                      <a:pt x="97" y="201"/>
                      <a:pt x="99" y="201"/>
                    </a:cubicBezTo>
                    <a:cubicBezTo>
                      <a:pt x="102" y="201"/>
                      <a:pt x="106" y="201"/>
                      <a:pt x="106" y="199"/>
                    </a:cubicBezTo>
                    <a:cubicBezTo>
                      <a:pt x="106" y="197"/>
                      <a:pt x="104" y="192"/>
                      <a:pt x="107" y="193"/>
                    </a:cubicBezTo>
                    <a:cubicBezTo>
                      <a:pt x="111" y="195"/>
                      <a:pt x="114" y="193"/>
                      <a:pt x="116" y="195"/>
                    </a:cubicBezTo>
                    <a:cubicBezTo>
                      <a:pt x="118" y="197"/>
                      <a:pt x="121" y="196"/>
                      <a:pt x="121" y="193"/>
                    </a:cubicBezTo>
                    <a:cubicBezTo>
                      <a:pt x="121" y="190"/>
                      <a:pt x="122" y="185"/>
                      <a:pt x="126" y="187"/>
                    </a:cubicBezTo>
                    <a:cubicBezTo>
                      <a:pt x="126" y="187"/>
                      <a:pt x="126" y="188"/>
                      <a:pt x="127" y="188"/>
                    </a:cubicBezTo>
                    <a:cubicBezTo>
                      <a:pt x="128" y="185"/>
                      <a:pt x="130" y="184"/>
                      <a:pt x="132" y="184"/>
                    </a:cubicBezTo>
                    <a:cubicBezTo>
                      <a:pt x="135" y="184"/>
                      <a:pt x="137" y="190"/>
                      <a:pt x="141" y="190"/>
                    </a:cubicBezTo>
                    <a:cubicBezTo>
                      <a:pt x="145" y="191"/>
                      <a:pt x="148" y="193"/>
                      <a:pt x="149" y="191"/>
                    </a:cubicBezTo>
                    <a:cubicBezTo>
                      <a:pt x="151" y="189"/>
                      <a:pt x="153" y="192"/>
                      <a:pt x="156" y="191"/>
                    </a:cubicBezTo>
                    <a:cubicBezTo>
                      <a:pt x="158" y="190"/>
                      <a:pt x="158" y="195"/>
                      <a:pt x="160" y="192"/>
                    </a:cubicBezTo>
                    <a:cubicBezTo>
                      <a:pt x="162" y="189"/>
                      <a:pt x="160" y="187"/>
                      <a:pt x="164" y="188"/>
                    </a:cubicBezTo>
                    <a:cubicBezTo>
                      <a:pt x="167" y="188"/>
                      <a:pt x="165" y="183"/>
                      <a:pt x="165" y="181"/>
                    </a:cubicBezTo>
                    <a:cubicBezTo>
                      <a:pt x="165" y="178"/>
                      <a:pt x="170" y="178"/>
                      <a:pt x="170" y="175"/>
                    </a:cubicBezTo>
                    <a:cubicBezTo>
                      <a:pt x="170" y="173"/>
                      <a:pt x="177" y="175"/>
                      <a:pt x="178" y="174"/>
                    </a:cubicBezTo>
                    <a:cubicBezTo>
                      <a:pt x="179" y="172"/>
                      <a:pt x="183" y="171"/>
                      <a:pt x="185" y="174"/>
                    </a:cubicBezTo>
                    <a:cubicBezTo>
                      <a:pt x="186" y="176"/>
                      <a:pt x="193" y="177"/>
                      <a:pt x="193" y="179"/>
                    </a:cubicBezTo>
                    <a:cubicBezTo>
                      <a:pt x="193" y="180"/>
                      <a:pt x="193" y="182"/>
                      <a:pt x="193" y="184"/>
                    </a:cubicBezTo>
                    <a:cubicBezTo>
                      <a:pt x="194" y="183"/>
                      <a:pt x="195" y="182"/>
                      <a:pt x="197" y="182"/>
                    </a:cubicBezTo>
                    <a:cubicBezTo>
                      <a:pt x="199" y="182"/>
                      <a:pt x="201" y="178"/>
                      <a:pt x="203" y="179"/>
                    </a:cubicBezTo>
                    <a:cubicBezTo>
                      <a:pt x="205" y="179"/>
                      <a:pt x="207" y="179"/>
                      <a:pt x="207" y="176"/>
                    </a:cubicBezTo>
                    <a:cubicBezTo>
                      <a:pt x="206" y="175"/>
                      <a:pt x="202" y="175"/>
                      <a:pt x="201" y="176"/>
                    </a:cubicBezTo>
                    <a:close/>
                    <a:moveTo>
                      <a:pt x="58" y="24"/>
                    </a:moveTo>
                    <a:cubicBezTo>
                      <a:pt x="61" y="24"/>
                      <a:pt x="54" y="28"/>
                      <a:pt x="53" y="32"/>
                    </a:cubicBezTo>
                    <a:cubicBezTo>
                      <a:pt x="52" y="35"/>
                      <a:pt x="58" y="38"/>
                      <a:pt x="61" y="41"/>
                    </a:cubicBezTo>
                    <a:cubicBezTo>
                      <a:pt x="64" y="43"/>
                      <a:pt x="70" y="43"/>
                      <a:pt x="72" y="41"/>
                    </a:cubicBezTo>
                    <a:cubicBezTo>
                      <a:pt x="75" y="40"/>
                      <a:pt x="74" y="35"/>
                      <a:pt x="77" y="35"/>
                    </a:cubicBezTo>
                    <a:cubicBezTo>
                      <a:pt x="80" y="35"/>
                      <a:pt x="79" y="32"/>
                      <a:pt x="81" y="31"/>
                    </a:cubicBezTo>
                    <a:cubicBezTo>
                      <a:pt x="84" y="31"/>
                      <a:pt x="84" y="34"/>
                      <a:pt x="82" y="36"/>
                    </a:cubicBezTo>
                    <a:cubicBezTo>
                      <a:pt x="80" y="39"/>
                      <a:pt x="85" y="39"/>
                      <a:pt x="89" y="36"/>
                    </a:cubicBezTo>
                    <a:cubicBezTo>
                      <a:pt x="92" y="33"/>
                      <a:pt x="93" y="35"/>
                      <a:pt x="92" y="38"/>
                    </a:cubicBezTo>
                    <a:cubicBezTo>
                      <a:pt x="91" y="41"/>
                      <a:pt x="85" y="39"/>
                      <a:pt x="82" y="43"/>
                    </a:cubicBezTo>
                    <a:cubicBezTo>
                      <a:pt x="80" y="46"/>
                      <a:pt x="73" y="43"/>
                      <a:pt x="70" y="47"/>
                    </a:cubicBezTo>
                    <a:cubicBezTo>
                      <a:pt x="66" y="51"/>
                      <a:pt x="72" y="51"/>
                      <a:pt x="77" y="50"/>
                    </a:cubicBezTo>
                    <a:cubicBezTo>
                      <a:pt x="81" y="49"/>
                      <a:pt x="90" y="48"/>
                      <a:pt x="93" y="49"/>
                    </a:cubicBezTo>
                    <a:cubicBezTo>
                      <a:pt x="96" y="50"/>
                      <a:pt x="91" y="51"/>
                      <a:pt x="86" y="51"/>
                    </a:cubicBezTo>
                    <a:cubicBezTo>
                      <a:pt x="80" y="51"/>
                      <a:pt x="79" y="52"/>
                      <a:pt x="79" y="54"/>
                    </a:cubicBezTo>
                    <a:cubicBezTo>
                      <a:pt x="79" y="55"/>
                      <a:pt x="71" y="52"/>
                      <a:pt x="71" y="56"/>
                    </a:cubicBezTo>
                    <a:cubicBezTo>
                      <a:pt x="71" y="59"/>
                      <a:pt x="78" y="60"/>
                      <a:pt x="79" y="62"/>
                    </a:cubicBezTo>
                    <a:cubicBezTo>
                      <a:pt x="80" y="64"/>
                      <a:pt x="85" y="62"/>
                      <a:pt x="87" y="63"/>
                    </a:cubicBezTo>
                    <a:cubicBezTo>
                      <a:pt x="89" y="64"/>
                      <a:pt x="84" y="65"/>
                      <a:pt x="83" y="66"/>
                    </a:cubicBezTo>
                    <a:cubicBezTo>
                      <a:pt x="82" y="67"/>
                      <a:pt x="88" y="68"/>
                      <a:pt x="89" y="70"/>
                    </a:cubicBezTo>
                    <a:cubicBezTo>
                      <a:pt x="90" y="72"/>
                      <a:pt x="95" y="71"/>
                      <a:pt x="95" y="68"/>
                    </a:cubicBezTo>
                    <a:cubicBezTo>
                      <a:pt x="95" y="65"/>
                      <a:pt x="99" y="56"/>
                      <a:pt x="104" y="54"/>
                    </a:cubicBezTo>
                    <a:cubicBezTo>
                      <a:pt x="109" y="52"/>
                      <a:pt x="106" y="50"/>
                      <a:pt x="107" y="47"/>
                    </a:cubicBezTo>
                    <a:cubicBezTo>
                      <a:pt x="108" y="44"/>
                      <a:pt x="112" y="46"/>
                      <a:pt x="111" y="44"/>
                    </a:cubicBezTo>
                    <a:cubicBezTo>
                      <a:pt x="110" y="41"/>
                      <a:pt x="110" y="40"/>
                      <a:pt x="114" y="37"/>
                    </a:cubicBezTo>
                    <a:cubicBezTo>
                      <a:pt x="117" y="34"/>
                      <a:pt x="119" y="36"/>
                      <a:pt x="123" y="34"/>
                    </a:cubicBezTo>
                    <a:cubicBezTo>
                      <a:pt x="127" y="32"/>
                      <a:pt x="129" y="36"/>
                      <a:pt x="125" y="36"/>
                    </a:cubicBezTo>
                    <a:cubicBezTo>
                      <a:pt x="121" y="36"/>
                      <a:pt x="123" y="41"/>
                      <a:pt x="126" y="42"/>
                    </a:cubicBezTo>
                    <a:cubicBezTo>
                      <a:pt x="129" y="43"/>
                      <a:pt x="127" y="44"/>
                      <a:pt x="129" y="45"/>
                    </a:cubicBezTo>
                    <a:cubicBezTo>
                      <a:pt x="132" y="46"/>
                      <a:pt x="131" y="49"/>
                      <a:pt x="128" y="53"/>
                    </a:cubicBezTo>
                    <a:cubicBezTo>
                      <a:pt x="124" y="56"/>
                      <a:pt x="128" y="57"/>
                      <a:pt x="135" y="54"/>
                    </a:cubicBezTo>
                    <a:cubicBezTo>
                      <a:pt x="142" y="52"/>
                      <a:pt x="138" y="56"/>
                      <a:pt x="140" y="58"/>
                    </a:cubicBezTo>
                    <a:cubicBezTo>
                      <a:pt x="142" y="60"/>
                      <a:pt x="147" y="57"/>
                      <a:pt x="150" y="54"/>
                    </a:cubicBezTo>
                    <a:cubicBezTo>
                      <a:pt x="153" y="50"/>
                      <a:pt x="157" y="51"/>
                      <a:pt x="157" y="49"/>
                    </a:cubicBezTo>
                    <a:cubicBezTo>
                      <a:pt x="157" y="47"/>
                      <a:pt x="154" y="46"/>
                      <a:pt x="151" y="47"/>
                    </a:cubicBezTo>
                    <a:cubicBezTo>
                      <a:pt x="149" y="49"/>
                      <a:pt x="142" y="48"/>
                      <a:pt x="145" y="46"/>
                    </a:cubicBezTo>
                    <a:cubicBezTo>
                      <a:pt x="147" y="44"/>
                      <a:pt x="146" y="42"/>
                      <a:pt x="143" y="43"/>
                    </a:cubicBezTo>
                    <a:cubicBezTo>
                      <a:pt x="140" y="43"/>
                      <a:pt x="134" y="41"/>
                      <a:pt x="137" y="40"/>
                    </a:cubicBezTo>
                    <a:cubicBezTo>
                      <a:pt x="140" y="39"/>
                      <a:pt x="135" y="36"/>
                      <a:pt x="132" y="36"/>
                    </a:cubicBezTo>
                    <a:cubicBezTo>
                      <a:pt x="130" y="36"/>
                      <a:pt x="131" y="33"/>
                      <a:pt x="131" y="31"/>
                    </a:cubicBezTo>
                    <a:cubicBezTo>
                      <a:pt x="131" y="29"/>
                      <a:pt x="124" y="28"/>
                      <a:pt x="125" y="28"/>
                    </a:cubicBezTo>
                    <a:cubicBezTo>
                      <a:pt x="127" y="27"/>
                      <a:pt x="122" y="25"/>
                      <a:pt x="121" y="27"/>
                    </a:cubicBezTo>
                    <a:cubicBezTo>
                      <a:pt x="120" y="28"/>
                      <a:pt x="118" y="28"/>
                      <a:pt x="118" y="26"/>
                    </a:cubicBezTo>
                    <a:cubicBezTo>
                      <a:pt x="118" y="24"/>
                      <a:pt x="112" y="24"/>
                      <a:pt x="110" y="24"/>
                    </a:cubicBezTo>
                    <a:cubicBezTo>
                      <a:pt x="108" y="24"/>
                      <a:pt x="109" y="20"/>
                      <a:pt x="107" y="18"/>
                    </a:cubicBezTo>
                    <a:cubicBezTo>
                      <a:pt x="105" y="16"/>
                      <a:pt x="102" y="21"/>
                      <a:pt x="100" y="21"/>
                    </a:cubicBezTo>
                    <a:cubicBezTo>
                      <a:pt x="99" y="21"/>
                      <a:pt x="102" y="17"/>
                      <a:pt x="103" y="15"/>
                    </a:cubicBezTo>
                    <a:cubicBezTo>
                      <a:pt x="104" y="13"/>
                      <a:pt x="95" y="10"/>
                      <a:pt x="94" y="12"/>
                    </a:cubicBezTo>
                    <a:cubicBezTo>
                      <a:pt x="93" y="14"/>
                      <a:pt x="92" y="9"/>
                      <a:pt x="90" y="9"/>
                    </a:cubicBezTo>
                    <a:cubicBezTo>
                      <a:pt x="88" y="8"/>
                      <a:pt x="90" y="12"/>
                      <a:pt x="88" y="13"/>
                    </a:cubicBezTo>
                    <a:cubicBezTo>
                      <a:pt x="86" y="13"/>
                      <a:pt x="84" y="14"/>
                      <a:pt x="87" y="16"/>
                    </a:cubicBezTo>
                    <a:cubicBezTo>
                      <a:pt x="90" y="18"/>
                      <a:pt x="92" y="27"/>
                      <a:pt x="92" y="28"/>
                    </a:cubicBezTo>
                    <a:cubicBezTo>
                      <a:pt x="92" y="30"/>
                      <a:pt x="83" y="22"/>
                      <a:pt x="83" y="18"/>
                    </a:cubicBezTo>
                    <a:cubicBezTo>
                      <a:pt x="83" y="14"/>
                      <a:pt x="79" y="11"/>
                      <a:pt x="77" y="14"/>
                    </a:cubicBezTo>
                    <a:cubicBezTo>
                      <a:pt x="76" y="17"/>
                      <a:pt x="73" y="18"/>
                      <a:pt x="74" y="21"/>
                    </a:cubicBezTo>
                    <a:cubicBezTo>
                      <a:pt x="75" y="23"/>
                      <a:pt x="72" y="24"/>
                      <a:pt x="72" y="22"/>
                    </a:cubicBezTo>
                    <a:cubicBezTo>
                      <a:pt x="72" y="20"/>
                      <a:pt x="68" y="17"/>
                      <a:pt x="66" y="17"/>
                    </a:cubicBezTo>
                    <a:cubicBezTo>
                      <a:pt x="64" y="17"/>
                      <a:pt x="70" y="16"/>
                      <a:pt x="73" y="15"/>
                    </a:cubicBezTo>
                    <a:cubicBezTo>
                      <a:pt x="76" y="13"/>
                      <a:pt x="71" y="12"/>
                      <a:pt x="68" y="13"/>
                    </a:cubicBezTo>
                    <a:cubicBezTo>
                      <a:pt x="66" y="14"/>
                      <a:pt x="63" y="12"/>
                      <a:pt x="61" y="14"/>
                    </a:cubicBezTo>
                    <a:cubicBezTo>
                      <a:pt x="60" y="16"/>
                      <a:pt x="58" y="14"/>
                      <a:pt x="56" y="14"/>
                    </a:cubicBezTo>
                    <a:cubicBezTo>
                      <a:pt x="53" y="13"/>
                      <a:pt x="51" y="17"/>
                      <a:pt x="49" y="16"/>
                    </a:cubicBezTo>
                    <a:cubicBezTo>
                      <a:pt x="48" y="16"/>
                      <a:pt x="46" y="20"/>
                      <a:pt x="49" y="24"/>
                    </a:cubicBezTo>
                    <a:cubicBezTo>
                      <a:pt x="52" y="29"/>
                      <a:pt x="54" y="23"/>
                      <a:pt x="58" y="24"/>
                    </a:cubicBezTo>
                    <a:close/>
                    <a:moveTo>
                      <a:pt x="50" y="38"/>
                    </a:moveTo>
                    <a:cubicBezTo>
                      <a:pt x="53" y="39"/>
                      <a:pt x="54" y="42"/>
                      <a:pt x="56" y="42"/>
                    </a:cubicBezTo>
                    <a:cubicBezTo>
                      <a:pt x="57" y="42"/>
                      <a:pt x="53" y="38"/>
                      <a:pt x="51" y="35"/>
                    </a:cubicBezTo>
                    <a:cubicBezTo>
                      <a:pt x="48" y="33"/>
                      <a:pt x="49" y="30"/>
                      <a:pt x="45" y="31"/>
                    </a:cubicBezTo>
                    <a:cubicBezTo>
                      <a:pt x="42" y="32"/>
                      <a:pt x="48" y="38"/>
                      <a:pt x="50" y="38"/>
                    </a:cubicBezTo>
                    <a:close/>
                    <a:moveTo>
                      <a:pt x="107" y="9"/>
                    </a:moveTo>
                    <a:cubicBezTo>
                      <a:pt x="109" y="11"/>
                      <a:pt x="104" y="11"/>
                      <a:pt x="106" y="12"/>
                    </a:cubicBezTo>
                    <a:cubicBezTo>
                      <a:pt x="112" y="18"/>
                      <a:pt x="133" y="12"/>
                      <a:pt x="135" y="13"/>
                    </a:cubicBezTo>
                    <a:cubicBezTo>
                      <a:pt x="138" y="15"/>
                      <a:pt x="118" y="17"/>
                      <a:pt x="119" y="19"/>
                    </a:cubicBezTo>
                    <a:cubicBezTo>
                      <a:pt x="120" y="21"/>
                      <a:pt x="136" y="23"/>
                      <a:pt x="138" y="21"/>
                    </a:cubicBezTo>
                    <a:cubicBezTo>
                      <a:pt x="139" y="20"/>
                      <a:pt x="142" y="24"/>
                      <a:pt x="147" y="25"/>
                    </a:cubicBezTo>
                    <a:cubicBezTo>
                      <a:pt x="153" y="25"/>
                      <a:pt x="152" y="23"/>
                      <a:pt x="156" y="22"/>
                    </a:cubicBezTo>
                    <a:cubicBezTo>
                      <a:pt x="160" y="22"/>
                      <a:pt x="166" y="20"/>
                      <a:pt x="167" y="18"/>
                    </a:cubicBezTo>
                    <a:cubicBezTo>
                      <a:pt x="167" y="16"/>
                      <a:pt x="179" y="13"/>
                      <a:pt x="178" y="9"/>
                    </a:cubicBezTo>
                    <a:cubicBezTo>
                      <a:pt x="177" y="5"/>
                      <a:pt x="165" y="8"/>
                      <a:pt x="162" y="6"/>
                    </a:cubicBezTo>
                    <a:cubicBezTo>
                      <a:pt x="159" y="4"/>
                      <a:pt x="151" y="2"/>
                      <a:pt x="150" y="5"/>
                    </a:cubicBezTo>
                    <a:cubicBezTo>
                      <a:pt x="149" y="7"/>
                      <a:pt x="146" y="8"/>
                      <a:pt x="145" y="7"/>
                    </a:cubicBezTo>
                    <a:cubicBezTo>
                      <a:pt x="144" y="6"/>
                      <a:pt x="146" y="0"/>
                      <a:pt x="141" y="2"/>
                    </a:cubicBezTo>
                    <a:cubicBezTo>
                      <a:pt x="136" y="3"/>
                      <a:pt x="140" y="9"/>
                      <a:pt x="139" y="10"/>
                    </a:cubicBezTo>
                    <a:cubicBezTo>
                      <a:pt x="138" y="10"/>
                      <a:pt x="133" y="8"/>
                      <a:pt x="133" y="6"/>
                    </a:cubicBezTo>
                    <a:cubicBezTo>
                      <a:pt x="133" y="3"/>
                      <a:pt x="127" y="9"/>
                      <a:pt x="126" y="6"/>
                    </a:cubicBezTo>
                    <a:cubicBezTo>
                      <a:pt x="126" y="3"/>
                      <a:pt x="119" y="0"/>
                      <a:pt x="118" y="1"/>
                    </a:cubicBezTo>
                    <a:cubicBezTo>
                      <a:pt x="116" y="1"/>
                      <a:pt x="119" y="3"/>
                      <a:pt x="118" y="4"/>
                    </a:cubicBezTo>
                    <a:cubicBezTo>
                      <a:pt x="117" y="6"/>
                      <a:pt x="114" y="3"/>
                      <a:pt x="112" y="3"/>
                    </a:cubicBezTo>
                    <a:cubicBezTo>
                      <a:pt x="111" y="2"/>
                      <a:pt x="113" y="6"/>
                      <a:pt x="112" y="7"/>
                    </a:cubicBezTo>
                    <a:cubicBezTo>
                      <a:pt x="112" y="8"/>
                      <a:pt x="109" y="3"/>
                      <a:pt x="106" y="3"/>
                    </a:cubicBezTo>
                    <a:cubicBezTo>
                      <a:pt x="104" y="3"/>
                      <a:pt x="105" y="6"/>
                      <a:pt x="103" y="6"/>
                    </a:cubicBezTo>
                    <a:cubicBezTo>
                      <a:pt x="101" y="6"/>
                      <a:pt x="105" y="8"/>
                      <a:pt x="107" y="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0" name="Freeform 148">
                <a:extLst>
                  <a:ext uri="{FF2B5EF4-FFF2-40B4-BE49-F238E27FC236}">
                    <a16:creationId xmlns:a16="http://schemas.microsoft.com/office/drawing/2014/main" id="{A475EFC6-2937-4F25-AF25-C93D6F803A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04088" y="2705836"/>
                <a:ext cx="61482" cy="22585"/>
              </a:xfrm>
              <a:custGeom>
                <a:avLst/>
                <a:gdLst>
                  <a:gd name="T0" fmla="*/ 12 w 27"/>
                  <a:gd name="T1" fmla="*/ 1 h 10"/>
                  <a:gd name="T2" fmla="*/ 2 w 27"/>
                  <a:gd name="T3" fmla="*/ 4 h 10"/>
                  <a:gd name="T4" fmla="*/ 17 w 27"/>
                  <a:gd name="T5" fmla="*/ 8 h 10"/>
                  <a:gd name="T6" fmla="*/ 27 w 27"/>
                  <a:gd name="T7" fmla="*/ 6 h 10"/>
                  <a:gd name="T8" fmla="*/ 12 w 27"/>
                  <a:gd name="T9" fmla="*/ 1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" h="10">
                    <a:moveTo>
                      <a:pt x="12" y="1"/>
                    </a:moveTo>
                    <a:cubicBezTo>
                      <a:pt x="11" y="2"/>
                      <a:pt x="0" y="2"/>
                      <a:pt x="2" y="4"/>
                    </a:cubicBezTo>
                    <a:cubicBezTo>
                      <a:pt x="4" y="6"/>
                      <a:pt x="13" y="5"/>
                      <a:pt x="17" y="8"/>
                    </a:cubicBezTo>
                    <a:cubicBezTo>
                      <a:pt x="21" y="10"/>
                      <a:pt x="27" y="8"/>
                      <a:pt x="27" y="6"/>
                    </a:cubicBezTo>
                    <a:cubicBezTo>
                      <a:pt x="27" y="4"/>
                      <a:pt x="14" y="0"/>
                      <a:pt x="12" y="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1" name="Freeform 149">
                <a:extLst>
                  <a:ext uri="{FF2B5EF4-FFF2-40B4-BE49-F238E27FC236}">
                    <a16:creationId xmlns:a16="http://schemas.microsoft.com/office/drawing/2014/main" id="{33E0C865-0400-43F6-AE48-1CC7499D15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306203" y="3173848"/>
                <a:ext cx="316191" cy="317446"/>
              </a:xfrm>
              <a:custGeom>
                <a:avLst/>
                <a:gdLst>
                  <a:gd name="T0" fmla="*/ 122 w 137"/>
                  <a:gd name="T1" fmla="*/ 17 h 138"/>
                  <a:gd name="T2" fmla="*/ 99 w 137"/>
                  <a:gd name="T3" fmla="*/ 7 h 138"/>
                  <a:gd name="T4" fmla="*/ 96 w 137"/>
                  <a:gd name="T5" fmla="*/ 22 h 138"/>
                  <a:gd name="T6" fmla="*/ 86 w 137"/>
                  <a:gd name="T7" fmla="*/ 30 h 138"/>
                  <a:gd name="T8" fmla="*/ 85 w 137"/>
                  <a:gd name="T9" fmla="*/ 41 h 138"/>
                  <a:gd name="T10" fmla="*/ 93 w 137"/>
                  <a:gd name="T11" fmla="*/ 38 h 138"/>
                  <a:gd name="T12" fmla="*/ 95 w 137"/>
                  <a:gd name="T13" fmla="*/ 31 h 138"/>
                  <a:gd name="T14" fmla="*/ 112 w 137"/>
                  <a:gd name="T15" fmla="*/ 32 h 138"/>
                  <a:gd name="T16" fmla="*/ 128 w 137"/>
                  <a:gd name="T17" fmla="*/ 23 h 138"/>
                  <a:gd name="T18" fmla="*/ 130 w 137"/>
                  <a:gd name="T19" fmla="*/ 15 h 138"/>
                  <a:gd name="T20" fmla="*/ 84 w 137"/>
                  <a:gd name="T21" fmla="*/ 59 h 138"/>
                  <a:gd name="T22" fmla="*/ 75 w 137"/>
                  <a:gd name="T23" fmla="*/ 77 h 138"/>
                  <a:gd name="T24" fmla="*/ 63 w 137"/>
                  <a:gd name="T25" fmla="*/ 80 h 138"/>
                  <a:gd name="T26" fmla="*/ 52 w 137"/>
                  <a:gd name="T27" fmla="*/ 95 h 138"/>
                  <a:gd name="T28" fmla="*/ 37 w 137"/>
                  <a:gd name="T29" fmla="*/ 98 h 138"/>
                  <a:gd name="T30" fmla="*/ 13 w 137"/>
                  <a:gd name="T31" fmla="*/ 108 h 138"/>
                  <a:gd name="T32" fmla="*/ 22 w 137"/>
                  <a:gd name="T33" fmla="*/ 110 h 138"/>
                  <a:gd name="T34" fmla="*/ 45 w 137"/>
                  <a:gd name="T35" fmla="*/ 112 h 138"/>
                  <a:gd name="T36" fmla="*/ 58 w 137"/>
                  <a:gd name="T37" fmla="*/ 106 h 138"/>
                  <a:gd name="T38" fmla="*/ 70 w 137"/>
                  <a:gd name="T39" fmla="*/ 104 h 138"/>
                  <a:gd name="T40" fmla="*/ 81 w 137"/>
                  <a:gd name="T41" fmla="*/ 100 h 138"/>
                  <a:gd name="T42" fmla="*/ 91 w 137"/>
                  <a:gd name="T43" fmla="*/ 88 h 138"/>
                  <a:gd name="T44" fmla="*/ 100 w 137"/>
                  <a:gd name="T45" fmla="*/ 66 h 138"/>
                  <a:gd name="T46" fmla="*/ 86 w 137"/>
                  <a:gd name="T47" fmla="*/ 48 h 138"/>
                  <a:gd name="T48" fmla="*/ 26 w 137"/>
                  <a:gd name="T49" fmla="*/ 112 h 138"/>
                  <a:gd name="T50" fmla="*/ 29 w 137"/>
                  <a:gd name="T51" fmla="*/ 120 h 138"/>
                  <a:gd name="T52" fmla="*/ 42 w 137"/>
                  <a:gd name="T53" fmla="*/ 111 h 138"/>
                  <a:gd name="T54" fmla="*/ 17 w 137"/>
                  <a:gd name="T55" fmla="*/ 119 h 138"/>
                  <a:gd name="T56" fmla="*/ 4 w 137"/>
                  <a:gd name="T57" fmla="*/ 117 h 138"/>
                  <a:gd name="T58" fmla="*/ 6 w 137"/>
                  <a:gd name="T59" fmla="*/ 120 h 138"/>
                  <a:gd name="T60" fmla="*/ 10 w 137"/>
                  <a:gd name="T61" fmla="*/ 138 h 138"/>
                  <a:gd name="T62" fmla="*/ 17 w 137"/>
                  <a:gd name="T63" fmla="*/ 119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37" h="138">
                    <a:moveTo>
                      <a:pt x="130" y="15"/>
                    </a:moveTo>
                    <a:cubicBezTo>
                      <a:pt x="128" y="13"/>
                      <a:pt x="125" y="16"/>
                      <a:pt x="122" y="17"/>
                    </a:cubicBezTo>
                    <a:cubicBezTo>
                      <a:pt x="118" y="18"/>
                      <a:pt x="107" y="9"/>
                      <a:pt x="104" y="4"/>
                    </a:cubicBezTo>
                    <a:cubicBezTo>
                      <a:pt x="101" y="0"/>
                      <a:pt x="96" y="4"/>
                      <a:pt x="99" y="7"/>
                    </a:cubicBezTo>
                    <a:cubicBezTo>
                      <a:pt x="101" y="10"/>
                      <a:pt x="98" y="11"/>
                      <a:pt x="98" y="15"/>
                    </a:cubicBezTo>
                    <a:cubicBezTo>
                      <a:pt x="98" y="19"/>
                      <a:pt x="95" y="19"/>
                      <a:pt x="96" y="22"/>
                    </a:cubicBezTo>
                    <a:cubicBezTo>
                      <a:pt x="96" y="25"/>
                      <a:pt x="92" y="25"/>
                      <a:pt x="89" y="25"/>
                    </a:cubicBezTo>
                    <a:cubicBezTo>
                      <a:pt x="86" y="26"/>
                      <a:pt x="89" y="28"/>
                      <a:pt x="86" y="30"/>
                    </a:cubicBezTo>
                    <a:cubicBezTo>
                      <a:pt x="83" y="31"/>
                      <a:pt x="83" y="34"/>
                      <a:pt x="85" y="35"/>
                    </a:cubicBezTo>
                    <a:cubicBezTo>
                      <a:pt x="86" y="36"/>
                      <a:pt x="85" y="39"/>
                      <a:pt x="85" y="41"/>
                    </a:cubicBezTo>
                    <a:cubicBezTo>
                      <a:pt x="84" y="43"/>
                      <a:pt x="87" y="41"/>
                      <a:pt x="89" y="39"/>
                    </a:cubicBezTo>
                    <a:cubicBezTo>
                      <a:pt x="91" y="37"/>
                      <a:pt x="93" y="40"/>
                      <a:pt x="93" y="38"/>
                    </a:cubicBezTo>
                    <a:cubicBezTo>
                      <a:pt x="94" y="36"/>
                      <a:pt x="88" y="35"/>
                      <a:pt x="88" y="32"/>
                    </a:cubicBezTo>
                    <a:cubicBezTo>
                      <a:pt x="89" y="30"/>
                      <a:pt x="92" y="33"/>
                      <a:pt x="95" y="31"/>
                    </a:cubicBezTo>
                    <a:cubicBezTo>
                      <a:pt x="98" y="30"/>
                      <a:pt x="103" y="31"/>
                      <a:pt x="107" y="34"/>
                    </a:cubicBezTo>
                    <a:cubicBezTo>
                      <a:pt x="111" y="37"/>
                      <a:pt x="112" y="36"/>
                      <a:pt x="112" y="32"/>
                    </a:cubicBezTo>
                    <a:cubicBezTo>
                      <a:pt x="113" y="29"/>
                      <a:pt x="118" y="27"/>
                      <a:pt x="124" y="27"/>
                    </a:cubicBezTo>
                    <a:cubicBezTo>
                      <a:pt x="129" y="27"/>
                      <a:pt x="130" y="24"/>
                      <a:pt x="128" y="23"/>
                    </a:cubicBezTo>
                    <a:cubicBezTo>
                      <a:pt x="127" y="22"/>
                      <a:pt x="137" y="15"/>
                      <a:pt x="137" y="13"/>
                    </a:cubicBezTo>
                    <a:cubicBezTo>
                      <a:pt x="137" y="11"/>
                      <a:pt x="131" y="17"/>
                      <a:pt x="130" y="15"/>
                    </a:cubicBezTo>
                    <a:close/>
                    <a:moveTo>
                      <a:pt x="86" y="48"/>
                    </a:moveTo>
                    <a:cubicBezTo>
                      <a:pt x="84" y="49"/>
                      <a:pt x="82" y="56"/>
                      <a:pt x="84" y="59"/>
                    </a:cubicBezTo>
                    <a:cubicBezTo>
                      <a:pt x="87" y="61"/>
                      <a:pt x="80" y="65"/>
                      <a:pt x="80" y="69"/>
                    </a:cubicBezTo>
                    <a:cubicBezTo>
                      <a:pt x="81" y="74"/>
                      <a:pt x="76" y="74"/>
                      <a:pt x="75" y="77"/>
                    </a:cubicBezTo>
                    <a:cubicBezTo>
                      <a:pt x="75" y="80"/>
                      <a:pt x="72" y="80"/>
                      <a:pt x="68" y="83"/>
                    </a:cubicBezTo>
                    <a:cubicBezTo>
                      <a:pt x="64" y="86"/>
                      <a:pt x="62" y="82"/>
                      <a:pt x="63" y="80"/>
                    </a:cubicBezTo>
                    <a:cubicBezTo>
                      <a:pt x="64" y="78"/>
                      <a:pt x="57" y="81"/>
                      <a:pt x="57" y="87"/>
                    </a:cubicBezTo>
                    <a:cubicBezTo>
                      <a:pt x="57" y="92"/>
                      <a:pt x="50" y="92"/>
                      <a:pt x="52" y="95"/>
                    </a:cubicBezTo>
                    <a:cubicBezTo>
                      <a:pt x="54" y="97"/>
                      <a:pt x="47" y="99"/>
                      <a:pt x="47" y="96"/>
                    </a:cubicBezTo>
                    <a:cubicBezTo>
                      <a:pt x="47" y="94"/>
                      <a:pt x="43" y="95"/>
                      <a:pt x="37" y="98"/>
                    </a:cubicBezTo>
                    <a:cubicBezTo>
                      <a:pt x="32" y="100"/>
                      <a:pt x="28" y="95"/>
                      <a:pt x="25" y="98"/>
                    </a:cubicBezTo>
                    <a:cubicBezTo>
                      <a:pt x="22" y="101"/>
                      <a:pt x="17" y="107"/>
                      <a:pt x="13" y="108"/>
                    </a:cubicBezTo>
                    <a:cubicBezTo>
                      <a:pt x="9" y="108"/>
                      <a:pt x="11" y="113"/>
                      <a:pt x="13" y="112"/>
                    </a:cubicBezTo>
                    <a:cubicBezTo>
                      <a:pt x="16" y="111"/>
                      <a:pt x="20" y="112"/>
                      <a:pt x="22" y="110"/>
                    </a:cubicBezTo>
                    <a:cubicBezTo>
                      <a:pt x="23" y="108"/>
                      <a:pt x="35" y="105"/>
                      <a:pt x="42" y="105"/>
                    </a:cubicBezTo>
                    <a:cubicBezTo>
                      <a:pt x="49" y="105"/>
                      <a:pt x="45" y="109"/>
                      <a:pt x="45" y="112"/>
                    </a:cubicBezTo>
                    <a:cubicBezTo>
                      <a:pt x="46" y="116"/>
                      <a:pt x="52" y="115"/>
                      <a:pt x="55" y="112"/>
                    </a:cubicBezTo>
                    <a:cubicBezTo>
                      <a:pt x="58" y="108"/>
                      <a:pt x="60" y="109"/>
                      <a:pt x="58" y="106"/>
                    </a:cubicBezTo>
                    <a:cubicBezTo>
                      <a:pt x="55" y="104"/>
                      <a:pt x="58" y="102"/>
                      <a:pt x="60" y="105"/>
                    </a:cubicBezTo>
                    <a:cubicBezTo>
                      <a:pt x="62" y="108"/>
                      <a:pt x="68" y="108"/>
                      <a:pt x="70" y="104"/>
                    </a:cubicBezTo>
                    <a:cubicBezTo>
                      <a:pt x="73" y="101"/>
                      <a:pt x="73" y="105"/>
                      <a:pt x="76" y="105"/>
                    </a:cubicBezTo>
                    <a:cubicBezTo>
                      <a:pt x="79" y="105"/>
                      <a:pt x="81" y="98"/>
                      <a:pt x="81" y="100"/>
                    </a:cubicBezTo>
                    <a:cubicBezTo>
                      <a:pt x="81" y="103"/>
                      <a:pt x="86" y="102"/>
                      <a:pt x="89" y="99"/>
                    </a:cubicBezTo>
                    <a:cubicBezTo>
                      <a:pt x="91" y="96"/>
                      <a:pt x="89" y="90"/>
                      <a:pt x="91" y="88"/>
                    </a:cubicBezTo>
                    <a:cubicBezTo>
                      <a:pt x="93" y="85"/>
                      <a:pt x="94" y="79"/>
                      <a:pt x="93" y="75"/>
                    </a:cubicBezTo>
                    <a:cubicBezTo>
                      <a:pt x="91" y="72"/>
                      <a:pt x="97" y="69"/>
                      <a:pt x="100" y="66"/>
                    </a:cubicBezTo>
                    <a:cubicBezTo>
                      <a:pt x="103" y="64"/>
                      <a:pt x="96" y="49"/>
                      <a:pt x="96" y="45"/>
                    </a:cubicBezTo>
                    <a:cubicBezTo>
                      <a:pt x="96" y="41"/>
                      <a:pt x="88" y="47"/>
                      <a:pt x="86" y="48"/>
                    </a:cubicBezTo>
                    <a:close/>
                    <a:moveTo>
                      <a:pt x="34" y="110"/>
                    </a:moveTo>
                    <a:cubicBezTo>
                      <a:pt x="33" y="112"/>
                      <a:pt x="30" y="111"/>
                      <a:pt x="26" y="112"/>
                    </a:cubicBezTo>
                    <a:cubicBezTo>
                      <a:pt x="22" y="113"/>
                      <a:pt x="22" y="122"/>
                      <a:pt x="25" y="123"/>
                    </a:cubicBezTo>
                    <a:cubicBezTo>
                      <a:pt x="27" y="123"/>
                      <a:pt x="29" y="123"/>
                      <a:pt x="29" y="120"/>
                    </a:cubicBezTo>
                    <a:cubicBezTo>
                      <a:pt x="30" y="118"/>
                      <a:pt x="34" y="117"/>
                      <a:pt x="36" y="118"/>
                    </a:cubicBezTo>
                    <a:cubicBezTo>
                      <a:pt x="39" y="119"/>
                      <a:pt x="42" y="114"/>
                      <a:pt x="42" y="111"/>
                    </a:cubicBezTo>
                    <a:cubicBezTo>
                      <a:pt x="42" y="107"/>
                      <a:pt x="35" y="107"/>
                      <a:pt x="34" y="110"/>
                    </a:cubicBezTo>
                    <a:close/>
                    <a:moveTo>
                      <a:pt x="17" y="119"/>
                    </a:moveTo>
                    <a:cubicBezTo>
                      <a:pt x="17" y="117"/>
                      <a:pt x="12" y="117"/>
                      <a:pt x="12" y="115"/>
                    </a:cubicBezTo>
                    <a:cubicBezTo>
                      <a:pt x="11" y="113"/>
                      <a:pt x="8" y="114"/>
                      <a:pt x="4" y="117"/>
                    </a:cubicBezTo>
                    <a:cubicBezTo>
                      <a:pt x="1" y="119"/>
                      <a:pt x="0" y="120"/>
                      <a:pt x="1" y="122"/>
                    </a:cubicBezTo>
                    <a:cubicBezTo>
                      <a:pt x="2" y="125"/>
                      <a:pt x="5" y="123"/>
                      <a:pt x="6" y="120"/>
                    </a:cubicBezTo>
                    <a:cubicBezTo>
                      <a:pt x="6" y="117"/>
                      <a:pt x="9" y="124"/>
                      <a:pt x="7" y="128"/>
                    </a:cubicBezTo>
                    <a:cubicBezTo>
                      <a:pt x="5" y="132"/>
                      <a:pt x="7" y="138"/>
                      <a:pt x="10" y="138"/>
                    </a:cubicBezTo>
                    <a:cubicBezTo>
                      <a:pt x="12" y="137"/>
                      <a:pt x="15" y="129"/>
                      <a:pt x="19" y="124"/>
                    </a:cubicBezTo>
                    <a:cubicBezTo>
                      <a:pt x="22" y="120"/>
                      <a:pt x="17" y="121"/>
                      <a:pt x="17" y="11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2" name="Freeform 150">
                <a:extLst>
                  <a:ext uri="{FF2B5EF4-FFF2-40B4-BE49-F238E27FC236}">
                    <a16:creationId xmlns:a16="http://schemas.microsoft.com/office/drawing/2014/main" id="{1B049606-2312-44F1-8B6D-E66C144DCFE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92385" y="2981876"/>
                <a:ext cx="1112942" cy="770401"/>
              </a:xfrm>
              <a:custGeom>
                <a:avLst/>
                <a:gdLst>
                  <a:gd name="T0" fmla="*/ 459 w 483"/>
                  <a:gd name="T1" fmla="*/ 62 h 334"/>
                  <a:gd name="T2" fmla="*/ 436 w 483"/>
                  <a:gd name="T3" fmla="*/ 45 h 334"/>
                  <a:gd name="T4" fmla="*/ 416 w 483"/>
                  <a:gd name="T5" fmla="*/ 18 h 334"/>
                  <a:gd name="T6" fmla="*/ 388 w 483"/>
                  <a:gd name="T7" fmla="*/ 1 h 334"/>
                  <a:gd name="T8" fmla="*/ 369 w 483"/>
                  <a:gd name="T9" fmla="*/ 15 h 334"/>
                  <a:gd name="T10" fmla="*/ 353 w 483"/>
                  <a:gd name="T11" fmla="*/ 38 h 334"/>
                  <a:gd name="T12" fmla="*/ 329 w 483"/>
                  <a:gd name="T13" fmla="*/ 52 h 334"/>
                  <a:gd name="T14" fmla="*/ 344 w 483"/>
                  <a:gd name="T15" fmla="*/ 62 h 334"/>
                  <a:gd name="T16" fmla="*/ 343 w 483"/>
                  <a:gd name="T17" fmla="*/ 75 h 334"/>
                  <a:gd name="T18" fmla="*/ 301 w 483"/>
                  <a:gd name="T19" fmla="*/ 90 h 334"/>
                  <a:gd name="T20" fmla="*/ 271 w 483"/>
                  <a:gd name="T21" fmla="*/ 116 h 334"/>
                  <a:gd name="T22" fmla="*/ 225 w 483"/>
                  <a:gd name="T23" fmla="*/ 118 h 334"/>
                  <a:gd name="T24" fmla="*/ 172 w 483"/>
                  <a:gd name="T25" fmla="*/ 111 h 334"/>
                  <a:gd name="T26" fmla="*/ 150 w 483"/>
                  <a:gd name="T27" fmla="*/ 89 h 334"/>
                  <a:gd name="T28" fmla="*/ 130 w 483"/>
                  <a:gd name="T29" fmla="*/ 64 h 334"/>
                  <a:gd name="T30" fmla="*/ 109 w 483"/>
                  <a:gd name="T31" fmla="*/ 46 h 334"/>
                  <a:gd name="T32" fmla="*/ 98 w 483"/>
                  <a:gd name="T33" fmla="*/ 54 h 334"/>
                  <a:gd name="T34" fmla="*/ 79 w 483"/>
                  <a:gd name="T35" fmla="*/ 69 h 334"/>
                  <a:gd name="T36" fmla="*/ 63 w 483"/>
                  <a:gd name="T37" fmla="*/ 86 h 334"/>
                  <a:gd name="T38" fmla="*/ 56 w 483"/>
                  <a:gd name="T39" fmla="*/ 107 h 334"/>
                  <a:gd name="T40" fmla="*/ 37 w 483"/>
                  <a:gd name="T41" fmla="*/ 125 h 334"/>
                  <a:gd name="T42" fmla="*/ 14 w 483"/>
                  <a:gd name="T43" fmla="*/ 132 h 334"/>
                  <a:gd name="T44" fmla="*/ 0 w 483"/>
                  <a:gd name="T45" fmla="*/ 143 h 334"/>
                  <a:gd name="T46" fmla="*/ 11 w 483"/>
                  <a:gd name="T47" fmla="*/ 166 h 334"/>
                  <a:gd name="T48" fmla="*/ 28 w 483"/>
                  <a:gd name="T49" fmla="*/ 181 h 334"/>
                  <a:gd name="T50" fmla="*/ 42 w 483"/>
                  <a:gd name="T51" fmla="*/ 176 h 334"/>
                  <a:gd name="T52" fmla="*/ 40 w 483"/>
                  <a:gd name="T53" fmla="*/ 197 h 334"/>
                  <a:gd name="T54" fmla="*/ 40 w 483"/>
                  <a:gd name="T55" fmla="*/ 217 h 334"/>
                  <a:gd name="T56" fmla="*/ 55 w 483"/>
                  <a:gd name="T57" fmla="*/ 229 h 334"/>
                  <a:gd name="T58" fmla="*/ 98 w 483"/>
                  <a:gd name="T59" fmla="*/ 247 h 334"/>
                  <a:gd name="T60" fmla="*/ 116 w 483"/>
                  <a:gd name="T61" fmla="*/ 251 h 334"/>
                  <a:gd name="T62" fmla="*/ 131 w 483"/>
                  <a:gd name="T63" fmla="*/ 248 h 334"/>
                  <a:gd name="T64" fmla="*/ 150 w 483"/>
                  <a:gd name="T65" fmla="*/ 243 h 334"/>
                  <a:gd name="T66" fmla="*/ 173 w 483"/>
                  <a:gd name="T67" fmla="*/ 243 h 334"/>
                  <a:gd name="T68" fmla="*/ 187 w 483"/>
                  <a:gd name="T69" fmla="*/ 251 h 334"/>
                  <a:gd name="T70" fmla="*/ 183 w 483"/>
                  <a:gd name="T71" fmla="*/ 282 h 334"/>
                  <a:gd name="T72" fmla="*/ 195 w 483"/>
                  <a:gd name="T73" fmla="*/ 299 h 334"/>
                  <a:gd name="T74" fmla="*/ 213 w 483"/>
                  <a:gd name="T75" fmla="*/ 307 h 334"/>
                  <a:gd name="T76" fmla="*/ 226 w 483"/>
                  <a:gd name="T77" fmla="*/ 294 h 334"/>
                  <a:gd name="T78" fmla="*/ 251 w 483"/>
                  <a:gd name="T79" fmla="*/ 292 h 334"/>
                  <a:gd name="T80" fmla="*/ 268 w 483"/>
                  <a:gd name="T81" fmla="*/ 303 h 334"/>
                  <a:gd name="T82" fmla="*/ 281 w 483"/>
                  <a:gd name="T83" fmla="*/ 313 h 334"/>
                  <a:gd name="T84" fmla="*/ 318 w 483"/>
                  <a:gd name="T85" fmla="*/ 294 h 334"/>
                  <a:gd name="T86" fmla="*/ 346 w 483"/>
                  <a:gd name="T87" fmla="*/ 279 h 334"/>
                  <a:gd name="T88" fmla="*/ 360 w 483"/>
                  <a:gd name="T89" fmla="*/ 263 h 334"/>
                  <a:gd name="T90" fmla="*/ 373 w 483"/>
                  <a:gd name="T91" fmla="*/ 246 h 334"/>
                  <a:gd name="T92" fmla="*/ 376 w 483"/>
                  <a:gd name="T93" fmla="*/ 230 h 334"/>
                  <a:gd name="T94" fmla="*/ 372 w 483"/>
                  <a:gd name="T95" fmla="*/ 218 h 334"/>
                  <a:gd name="T96" fmla="*/ 370 w 483"/>
                  <a:gd name="T97" fmla="*/ 207 h 334"/>
                  <a:gd name="T98" fmla="*/ 360 w 483"/>
                  <a:gd name="T99" fmla="*/ 180 h 334"/>
                  <a:gd name="T100" fmla="*/ 382 w 483"/>
                  <a:gd name="T101" fmla="*/ 167 h 334"/>
                  <a:gd name="T102" fmla="*/ 354 w 483"/>
                  <a:gd name="T103" fmla="*/ 159 h 334"/>
                  <a:gd name="T104" fmla="*/ 365 w 483"/>
                  <a:gd name="T105" fmla="*/ 137 h 334"/>
                  <a:gd name="T106" fmla="*/ 378 w 483"/>
                  <a:gd name="T107" fmla="*/ 149 h 334"/>
                  <a:gd name="T108" fmla="*/ 414 w 483"/>
                  <a:gd name="T109" fmla="*/ 128 h 334"/>
                  <a:gd name="T110" fmla="*/ 432 w 483"/>
                  <a:gd name="T111" fmla="*/ 120 h 334"/>
                  <a:gd name="T112" fmla="*/ 452 w 483"/>
                  <a:gd name="T113" fmla="*/ 112 h 334"/>
                  <a:gd name="T114" fmla="*/ 454 w 483"/>
                  <a:gd name="T115" fmla="*/ 91 h 334"/>
                  <a:gd name="T116" fmla="*/ 476 w 483"/>
                  <a:gd name="T117" fmla="*/ 76 h 334"/>
                  <a:gd name="T118" fmla="*/ 368 w 483"/>
                  <a:gd name="T119" fmla="*/ 298 h 334"/>
                  <a:gd name="T120" fmla="*/ 271 w 483"/>
                  <a:gd name="T121" fmla="*/ 328 h 3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83" h="334">
                    <a:moveTo>
                      <a:pt x="480" y="59"/>
                    </a:moveTo>
                    <a:cubicBezTo>
                      <a:pt x="480" y="55"/>
                      <a:pt x="475" y="56"/>
                      <a:pt x="474" y="58"/>
                    </a:cubicBezTo>
                    <a:cubicBezTo>
                      <a:pt x="472" y="59"/>
                      <a:pt x="467" y="58"/>
                      <a:pt x="466" y="60"/>
                    </a:cubicBezTo>
                    <a:cubicBezTo>
                      <a:pt x="465" y="63"/>
                      <a:pt x="462" y="62"/>
                      <a:pt x="459" y="62"/>
                    </a:cubicBezTo>
                    <a:cubicBezTo>
                      <a:pt x="456" y="63"/>
                      <a:pt x="451" y="61"/>
                      <a:pt x="451" y="59"/>
                    </a:cubicBezTo>
                    <a:cubicBezTo>
                      <a:pt x="451" y="57"/>
                      <a:pt x="449" y="55"/>
                      <a:pt x="449" y="52"/>
                    </a:cubicBezTo>
                    <a:cubicBezTo>
                      <a:pt x="450" y="50"/>
                      <a:pt x="446" y="51"/>
                      <a:pt x="444" y="48"/>
                    </a:cubicBezTo>
                    <a:cubicBezTo>
                      <a:pt x="441" y="46"/>
                      <a:pt x="436" y="44"/>
                      <a:pt x="436" y="45"/>
                    </a:cubicBezTo>
                    <a:cubicBezTo>
                      <a:pt x="435" y="45"/>
                      <a:pt x="432" y="42"/>
                      <a:pt x="428" y="42"/>
                    </a:cubicBezTo>
                    <a:cubicBezTo>
                      <a:pt x="424" y="42"/>
                      <a:pt x="424" y="39"/>
                      <a:pt x="425" y="37"/>
                    </a:cubicBezTo>
                    <a:cubicBezTo>
                      <a:pt x="425" y="36"/>
                      <a:pt x="421" y="31"/>
                      <a:pt x="421" y="28"/>
                    </a:cubicBezTo>
                    <a:cubicBezTo>
                      <a:pt x="420" y="25"/>
                      <a:pt x="417" y="24"/>
                      <a:pt x="416" y="18"/>
                    </a:cubicBezTo>
                    <a:cubicBezTo>
                      <a:pt x="415" y="12"/>
                      <a:pt x="411" y="14"/>
                      <a:pt x="412" y="11"/>
                    </a:cubicBezTo>
                    <a:cubicBezTo>
                      <a:pt x="413" y="8"/>
                      <a:pt x="408" y="7"/>
                      <a:pt x="407" y="5"/>
                    </a:cubicBezTo>
                    <a:cubicBezTo>
                      <a:pt x="406" y="3"/>
                      <a:pt x="401" y="4"/>
                      <a:pt x="397" y="2"/>
                    </a:cubicBezTo>
                    <a:cubicBezTo>
                      <a:pt x="393" y="0"/>
                      <a:pt x="391" y="2"/>
                      <a:pt x="388" y="1"/>
                    </a:cubicBezTo>
                    <a:cubicBezTo>
                      <a:pt x="385" y="0"/>
                      <a:pt x="377" y="2"/>
                      <a:pt x="376" y="2"/>
                    </a:cubicBezTo>
                    <a:cubicBezTo>
                      <a:pt x="375" y="2"/>
                      <a:pt x="369" y="0"/>
                      <a:pt x="366" y="5"/>
                    </a:cubicBezTo>
                    <a:cubicBezTo>
                      <a:pt x="363" y="9"/>
                      <a:pt x="365" y="9"/>
                      <a:pt x="367" y="9"/>
                    </a:cubicBezTo>
                    <a:cubicBezTo>
                      <a:pt x="368" y="9"/>
                      <a:pt x="369" y="13"/>
                      <a:pt x="369" y="15"/>
                    </a:cubicBezTo>
                    <a:cubicBezTo>
                      <a:pt x="369" y="16"/>
                      <a:pt x="367" y="18"/>
                      <a:pt x="365" y="19"/>
                    </a:cubicBezTo>
                    <a:cubicBezTo>
                      <a:pt x="364" y="19"/>
                      <a:pt x="361" y="25"/>
                      <a:pt x="360" y="26"/>
                    </a:cubicBezTo>
                    <a:cubicBezTo>
                      <a:pt x="360" y="28"/>
                      <a:pt x="356" y="33"/>
                      <a:pt x="357" y="35"/>
                    </a:cubicBezTo>
                    <a:cubicBezTo>
                      <a:pt x="357" y="36"/>
                      <a:pt x="355" y="38"/>
                      <a:pt x="353" y="38"/>
                    </a:cubicBezTo>
                    <a:cubicBezTo>
                      <a:pt x="351" y="39"/>
                      <a:pt x="347" y="42"/>
                      <a:pt x="345" y="42"/>
                    </a:cubicBezTo>
                    <a:cubicBezTo>
                      <a:pt x="344" y="43"/>
                      <a:pt x="338" y="42"/>
                      <a:pt x="338" y="40"/>
                    </a:cubicBezTo>
                    <a:cubicBezTo>
                      <a:pt x="337" y="40"/>
                      <a:pt x="337" y="39"/>
                      <a:pt x="336" y="39"/>
                    </a:cubicBezTo>
                    <a:cubicBezTo>
                      <a:pt x="329" y="52"/>
                      <a:pt x="329" y="52"/>
                      <a:pt x="329" y="52"/>
                    </a:cubicBezTo>
                    <a:cubicBezTo>
                      <a:pt x="329" y="56"/>
                      <a:pt x="329" y="56"/>
                      <a:pt x="329" y="56"/>
                    </a:cubicBezTo>
                    <a:cubicBezTo>
                      <a:pt x="329" y="56"/>
                      <a:pt x="325" y="57"/>
                      <a:pt x="328" y="60"/>
                    </a:cubicBezTo>
                    <a:cubicBezTo>
                      <a:pt x="331" y="63"/>
                      <a:pt x="331" y="61"/>
                      <a:pt x="336" y="61"/>
                    </a:cubicBezTo>
                    <a:cubicBezTo>
                      <a:pt x="341" y="61"/>
                      <a:pt x="343" y="64"/>
                      <a:pt x="344" y="62"/>
                    </a:cubicBezTo>
                    <a:cubicBezTo>
                      <a:pt x="345" y="59"/>
                      <a:pt x="349" y="57"/>
                      <a:pt x="352" y="61"/>
                    </a:cubicBezTo>
                    <a:cubicBezTo>
                      <a:pt x="354" y="64"/>
                      <a:pt x="362" y="69"/>
                      <a:pt x="362" y="71"/>
                    </a:cubicBezTo>
                    <a:cubicBezTo>
                      <a:pt x="361" y="74"/>
                      <a:pt x="357" y="74"/>
                      <a:pt x="354" y="73"/>
                    </a:cubicBezTo>
                    <a:cubicBezTo>
                      <a:pt x="351" y="71"/>
                      <a:pt x="346" y="75"/>
                      <a:pt x="343" y="75"/>
                    </a:cubicBezTo>
                    <a:cubicBezTo>
                      <a:pt x="340" y="75"/>
                      <a:pt x="337" y="76"/>
                      <a:pt x="333" y="79"/>
                    </a:cubicBezTo>
                    <a:cubicBezTo>
                      <a:pt x="330" y="82"/>
                      <a:pt x="331" y="85"/>
                      <a:pt x="326" y="85"/>
                    </a:cubicBezTo>
                    <a:cubicBezTo>
                      <a:pt x="322" y="86"/>
                      <a:pt x="319" y="85"/>
                      <a:pt x="314" y="89"/>
                    </a:cubicBezTo>
                    <a:cubicBezTo>
                      <a:pt x="309" y="93"/>
                      <a:pt x="303" y="91"/>
                      <a:pt x="301" y="90"/>
                    </a:cubicBezTo>
                    <a:cubicBezTo>
                      <a:pt x="299" y="89"/>
                      <a:pt x="296" y="89"/>
                      <a:pt x="294" y="92"/>
                    </a:cubicBezTo>
                    <a:cubicBezTo>
                      <a:pt x="292" y="96"/>
                      <a:pt x="296" y="97"/>
                      <a:pt x="296" y="102"/>
                    </a:cubicBezTo>
                    <a:cubicBezTo>
                      <a:pt x="295" y="106"/>
                      <a:pt x="290" y="105"/>
                      <a:pt x="286" y="109"/>
                    </a:cubicBezTo>
                    <a:cubicBezTo>
                      <a:pt x="282" y="114"/>
                      <a:pt x="275" y="116"/>
                      <a:pt x="271" y="116"/>
                    </a:cubicBezTo>
                    <a:cubicBezTo>
                      <a:pt x="268" y="115"/>
                      <a:pt x="260" y="113"/>
                      <a:pt x="253" y="116"/>
                    </a:cubicBezTo>
                    <a:cubicBezTo>
                      <a:pt x="246" y="119"/>
                      <a:pt x="242" y="124"/>
                      <a:pt x="239" y="123"/>
                    </a:cubicBezTo>
                    <a:cubicBezTo>
                      <a:pt x="237" y="123"/>
                      <a:pt x="237" y="120"/>
                      <a:pt x="233" y="120"/>
                    </a:cubicBezTo>
                    <a:cubicBezTo>
                      <a:pt x="229" y="121"/>
                      <a:pt x="227" y="120"/>
                      <a:pt x="225" y="118"/>
                    </a:cubicBezTo>
                    <a:cubicBezTo>
                      <a:pt x="222" y="117"/>
                      <a:pt x="220" y="119"/>
                      <a:pt x="216" y="116"/>
                    </a:cubicBezTo>
                    <a:cubicBezTo>
                      <a:pt x="212" y="113"/>
                      <a:pt x="204" y="113"/>
                      <a:pt x="201" y="113"/>
                    </a:cubicBezTo>
                    <a:cubicBezTo>
                      <a:pt x="198" y="112"/>
                      <a:pt x="186" y="113"/>
                      <a:pt x="182" y="112"/>
                    </a:cubicBezTo>
                    <a:cubicBezTo>
                      <a:pt x="178" y="112"/>
                      <a:pt x="172" y="113"/>
                      <a:pt x="172" y="111"/>
                    </a:cubicBezTo>
                    <a:cubicBezTo>
                      <a:pt x="171" y="109"/>
                      <a:pt x="168" y="108"/>
                      <a:pt x="167" y="103"/>
                    </a:cubicBezTo>
                    <a:cubicBezTo>
                      <a:pt x="166" y="98"/>
                      <a:pt x="164" y="97"/>
                      <a:pt x="161" y="96"/>
                    </a:cubicBezTo>
                    <a:cubicBezTo>
                      <a:pt x="158" y="96"/>
                      <a:pt x="158" y="93"/>
                      <a:pt x="156" y="93"/>
                    </a:cubicBezTo>
                    <a:cubicBezTo>
                      <a:pt x="155" y="93"/>
                      <a:pt x="153" y="89"/>
                      <a:pt x="150" y="89"/>
                    </a:cubicBezTo>
                    <a:cubicBezTo>
                      <a:pt x="146" y="89"/>
                      <a:pt x="133" y="88"/>
                      <a:pt x="132" y="85"/>
                    </a:cubicBezTo>
                    <a:cubicBezTo>
                      <a:pt x="130" y="82"/>
                      <a:pt x="133" y="81"/>
                      <a:pt x="133" y="78"/>
                    </a:cubicBezTo>
                    <a:cubicBezTo>
                      <a:pt x="133" y="75"/>
                      <a:pt x="135" y="71"/>
                      <a:pt x="134" y="70"/>
                    </a:cubicBezTo>
                    <a:cubicBezTo>
                      <a:pt x="132" y="69"/>
                      <a:pt x="130" y="66"/>
                      <a:pt x="130" y="64"/>
                    </a:cubicBezTo>
                    <a:cubicBezTo>
                      <a:pt x="129" y="62"/>
                      <a:pt x="125" y="58"/>
                      <a:pt x="123" y="58"/>
                    </a:cubicBezTo>
                    <a:cubicBezTo>
                      <a:pt x="120" y="58"/>
                      <a:pt x="118" y="56"/>
                      <a:pt x="116" y="54"/>
                    </a:cubicBezTo>
                    <a:cubicBezTo>
                      <a:pt x="113" y="52"/>
                      <a:pt x="111" y="52"/>
                      <a:pt x="110" y="47"/>
                    </a:cubicBezTo>
                    <a:cubicBezTo>
                      <a:pt x="110" y="47"/>
                      <a:pt x="110" y="46"/>
                      <a:pt x="109" y="46"/>
                    </a:cubicBezTo>
                    <a:cubicBezTo>
                      <a:pt x="109" y="46"/>
                      <a:pt x="107" y="45"/>
                      <a:pt x="106" y="45"/>
                    </a:cubicBezTo>
                    <a:cubicBezTo>
                      <a:pt x="106" y="45"/>
                      <a:pt x="105" y="45"/>
                      <a:pt x="104" y="44"/>
                    </a:cubicBezTo>
                    <a:cubicBezTo>
                      <a:pt x="104" y="47"/>
                      <a:pt x="102" y="48"/>
                      <a:pt x="102" y="49"/>
                    </a:cubicBezTo>
                    <a:cubicBezTo>
                      <a:pt x="102" y="51"/>
                      <a:pt x="101" y="54"/>
                      <a:pt x="98" y="54"/>
                    </a:cubicBezTo>
                    <a:cubicBezTo>
                      <a:pt x="95" y="54"/>
                      <a:pt x="93" y="56"/>
                      <a:pt x="93" y="60"/>
                    </a:cubicBezTo>
                    <a:cubicBezTo>
                      <a:pt x="93" y="64"/>
                      <a:pt x="95" y="65"/>
                      <a:pt x="94" y="66"/>
                    </a:cubicBezTo>
                    <a:cubicBezTo>
                      <a:pt x="93" y="68"/>
                      <a:pt x="88" y="70"/>
                      <a:pt x="86" y="69"/>
                    </a:cubicBezTo>
                    <a:cubicBezTo>
                      <a:pt x="85" y="68"/>
                      <a:pt x="82" y="69"/>
                      <a:pt x="79" y="69"/>
                    </a:cubicBezTo>
                    <a:cubicBezTo>
                      <a:pt x="76" y="68"/>
                      <a:pt x="74" y="65"/>
                      <a:pt x="74" y="69"/>
                    </a:cubicBezTo>
                    <a:cubicBezTo>
                      <a:pt x="73" y="72"/>
                      <a:pt x="67" y="83"/>
                      <a:pt x="69" y="84"/>
                    </a:cubicBezTo>
                    <a:cubicBezTo>
                      <a:pt x="70" y="85"/>
                      <a:pt x="71" y="88"/>
                      <a:pt x="69" y="88"/>
                    </a:cubicBezTo>
                    <a:cubicBezTo>
                      <a:pt x="66" y="88"/>
                      <a:pt x="64" y="87"/>
                      <a:pt x="63" y="86"/>
                    </a:cubicBezTo>
                    <a:cubicBezTo>
                      <a:pt x="62" y="85"/>
                      <a:pt x="58" y="88"/>
                      <a:pt x="55" y="88"/>
                    </a:cubicBezTo>
                    <a:cubicBezTo>
                      <a:pt x="54" y="88"/>
                      <a:pt x="49" y="90"/>
                      <a:pt x="51" y="91"/>
                    </a:cubicBezTo>
                    <a:cubicBezTo>
                      <a:pt x="52" y="92"/>
                      <a:pt x="52" y="96"/>
                      <a:pt x="52" y="98"/>
                    </a:cubicBezTo>
                    <a:cubicBezTo>
                      <a:pt x="52" y="100"/>
                      <a:pt x="56" y="105"/>
                      <a:pt x="56" y="107"/>
                    </a:cubicBezTo>
                    <a:cubicBezTo>
                      <a:pt x="55" y="109"/>
                      <a:pt x="51" y="111"/>
                      <a:pt x="51" y="113"/>
                    </a:cubicBezTo>
                    <a:cubicBezTo>
                      <a:pt x="51" y="115"/>
                      <a:pt x="52" y="117"/>
                      <a:pt x="51" y="118"/>
                    </a:cubicBezTo>
                    <a:cubicBezTo>
                      <a:pt x="50" y="118"/>
                      <a:pt x="46" y="120"/>
                      <a:pt x="44" y="121"/>
                    </a:cubicBezTo>
                    <a:cubicBezTo>
                      <a:pt x="42" y="123"/>
                      <a:pt x="39" y="123"/>
                      <a:pt x="37" y="125"/>
                    </a:cubicBezTo>
                    <a:cubicBezTo>
                      <a:pt x="36" y="127"/>
                      <a:pt x="35" y="129"/>
                      <a:pt x="31" y="129"/>
                    </a:cubicBezTo>
                    <a:cubicBezTo>
                      <a:pt x="28" y="128"/>
                      <a:pt x="26" y="128"/>
                      <a:pt x="24" y="131"/>
                    </a:cubicBezTo>
                    <a:cubicBezTo>
                      <a:pt x="21" y="134"/>
                      <a:pt x="21" y="132"/>
                      <a:pt x="19" y="134"/>
                    </a:cubicBezTo>
                    <a:cubicBezTo>
                      <a:pt x="17" y="135"/>
                      <a:pt x="15" y="133"/>
                      <a:pt x="14" y="132"/>
                    </a:cubicBezTo>
                    <a:cubicBezTo>
                      <a:pt x="12" y="132"/>
                      <a:pt x="11" y="134"/>
                      <a:pt x="9" y="134"/>
                    </a:cubicBezTo>
                    <a:cubicBezTo>
                      <a:pt x="8" y="134"/>
                      <a:pt x="6" y="136"/>
                      <a:pt x="5" y="137"/>
                    </a:cubicBezTo>
                    <a:cubicBezTo>
                      <a:pt x="3" y="137"/>
                      <a:pt x="1" y="137"/>
                      <a:pt x="1" y="139"/>
                    </a:cubicBezTo>
                    <a:cubicBezTo>
                      <a:pt x="1" y="140"/>
                      <a:pt x="1" y="142"/>
                      <a:pt x="0" y="143"/>
                    </a:cubicBezTo>
                    <a:cubicBezTo>
                      <a:pt x="0" y="143"/>
                      <a:pt x="0" y="143"/>
                      <a:pt x="0" y="143"/>
                    </a:cubicBezTo>
                    <a:cubicBezTo>
                      <a:pt x="1" y="150"/>
                      <a:pt x="1" y="150"/>
                      <a:pt x="1" y="150"/>
                    </a:cubicBezTo>
                    <a:cubicBezTo>
                      <a:pt x="1" y="150"/>
                      <a:pt x="9" y="152"/>
                      <a:pt x="9" y="155"/>
                    </a:cubicBezTo>
                    <a:cubicBezTo>
                      <a:pt x="9" y="157"/>
                      <a:pt x="11" y="166"/>
                      <a:pt x="11" y="166"/>
                    </a:cubicBezTo>
                    <a:cubicBezTo>
                      <a:pt x="11" y="166"/>
                      <a:pt x="10" y="166"/>
                      <a:pt x="10" y="166"/>
                    </a:cubicBezTo>
                    <a:cubicBezTo>
                      <a:pt x="13" y="168"/>
                      <a:pt x="18" y="171"/>
                      <a:pt x="18" y="172"/>
                    </a:cubicBezTo>
                    <a:cubicBezTo>
                      <a:pt x="18" y="173"/>
                      <a:pt x="18" y="176"/>
                      <a:pt x="22" y="178"/>
                    </a:cubicBezTo>
                    <a:cubicBezTo>
                      <a:pt x="24" y="179"/>
                      <a:pt x="27" y="180"/>
                      <a:pt x="28" y="181"/>
                    </a:cubicBezTo>
                    <a:cubicBezTo>
                      <a:pt x="28" y="181"/>
                      <a:pt x="28" y="180"/>
                      <a:pt x="28" y="180"/>
                    </a:cubicBezTo>
                    <a:cubicBezTo>
                      <a:pt x="32" y="180"/>
                      <a:pt x="32" y="180"/>
                      <a:pt x="32" y="180"/>
                    </a:cubicBezTo>
                    <a:cubicBezTo>
                      <a:pt x="32" y="180"/>
                      <a:pt x="32" y="181"/>
                      <a:pt x="33" y="182"/>
                    </a:cubicBezTo>
                    <a:cubicBezTo>
                      <a:pt x="34" y="179"/>
                      <a:pt x="40" y="176"/>
                      <a:pt x="42" y="176"/>
                    </a:cubicBezTo>
                    <a:cubicBezTo>
                      <a:pt x="45" y="177"/>
                      <a:pt x="52" y="182"/>
                      <a:pt x="52" y="184"/>
                    </a:cubicBezTo>
                    <a:cubicBezTo>
                      <a:pt x="51" y="186"/>
                      <a:pt x="46" y="193"/>
                      <a:pt x="44" y="194"/>
                    </a:cubicBezTo>
                    <a:cubicBezTo>
                      <a:pt x="43" y="194"/>
                      <a:pt x="42" y="194"/>
                      <a:pt x="40" y="194"/>
                    </a:cubicBezTo>
                    <a:cubicBezTo>
                      <a:pt x="40" y="195"/>
                      <a:pt x="40" y="196"/>
                      <a:pt x="40" y="197"/>
                    </a:cubicBezTo>
                    <a:cubicBezTo>
                      <a:pt x="40" y="198"/>
                      <a:pt x="43" y="201"/>
                      <a:pt x="44" y="204"/>
                    </a:cubicBezTo>
                    <a:cubicBezTo>
                      <a:pt x="46" y="207"/>
                      <a:pt x="42" y="209"/>
                      <a:pt x="39" y="207"/>
                    </a:cubicBezTo>
                    <a:cubicBezTo>
                      <a:pt x="37" y="205"/>
                      <a:pt x="36" y="209"/>
                      <a:pt x="38" y="210"/>
                    </a:cubicBezTo>
                    <a:cubicBezTo>
                      <a:pt x="39" y="212"/>
                      <a:pt x="38" y="216"/>
                      <a:pt x="40" y="217"/>
                    </a:cubicBezTo>
                    <a:cubicBezTo>
                      <a:pt x="43" y="217"/>
                      <a:pt x="45" y="221"/>
                      <a:pt x="47" y="221"/>
                    </a:cubicBezTo>
                    <a:cubicBezTo>
                      <a:pt x="50" y="221"/>
                      <a:pt x="52" y="225"/>
                      <a:pt x="52" y="225"/>
                    </a:cubicBezTo>
                    <a:cubicBezTo>
                      <a:pt x="52" y="225"/>
                      <a:pt x="55" y="228"/>
                      <a:pt x="55" y="229"/>
                    </a:cubicBezTo>
                    <a:cubicBezTo>
                      <a:pt x="55" y="229"/>
                      <a:pt x="55" y="229"/>
                      <a:pt x="55" y="229"/>
                    </a:cubicBezTo>
                    <a:cubicBezTo>
                      <a:pt x="58" y="229"/>
                      <a:pt x="60" y="229"/>
                      <a:pt x="60" y="228"/>
                    </a:cubicBezTo>
                    <a:cubicBezTo>
                      <a:pt x="60" y="227"/>
                      <a:pt x="64" y="227"/>
                      <a:pt x="67" y="229"/>
                    </a:cubicBezTo>
                    <a:cubicBezTo>
                      <a:pt x="69" y="232"/>
                      <a:pt x="79" y="238"/>
                      <a:pt x="83" y="241"/>
                    </a:cubicBezTo>
                    <a:cubicBezTo>
                      <a:pt x="87" y="244"/>
                      <a:pt x="95" y="248"/>
                      <a:pt x="98" y="247"/>
                    </a:cubicBezTo>
                    <a:cubicBezTo>
                      <a:pt x="101" y="247"/>
                      <a:pt x="104" y="249"/>
                      <a:pt x="109" y="249"/>
                    </a:cubicBezTo>
                    <a:cubicBezTo>
                      <a:pt x="110" y="249"/>
                      <a:pt x="110" y="249"/>
                      <a:pt x="111" y="249"/>
                    </a:cubicBezTo>
                    <a:cubicBezTo>
                      <a:pt x="111" y="249"/>
                      <a:pt x="113" y="249"/>
                      <a:pt x="113" y="247"/>
                    </a:cubicBezTo>
                    <a:cubicBezTo>
                      <a:pt x="115" y="245"/>
                      <a:pt x="117" y="249"/>
                      <a:pt x="116" y="251"/>
                    </a:cubicBezTo>
                    <a:cubicBezTo>
                      <a:pt x="116" y="253"/>
                      <a:pt x="116" y="254"/>
                      <a:pt x="116" y="255"/>
                    </a:cubicBezTo>
                    <a:cubicBezTo>
                      <a:pt x="117" y="254"/>
                      <a:pt x="118" y="253"/>
                      <a:pt x="118" y="252"/>
                    </a:cubicBezTo>
                    <a:cubicBezTo>
                      <a:pt x="120" y="248"/>
                      <a:pt x="122" y="248"/>
                      <a:pt x="124" y="247"/>
                    </a:cubicBezTo>
                    <a:cubicBezTo>
                      <a:pt x="126" y="245"/>
                      <a:pt x="127" y="246"/>
                      <a:pt x="131" y="248"/>
                    </a:cubicBezTo>
                    <a:cubicBezTo>
                      <a:pt x="134" y="249"/>
                      <a:pt x="135" y="246"/>
                      <a:pt x="140" y="250"/>
                    </a:cubicBezTo>
                    <a:cubicBezTo>
                      <a:pt x="141" y="250"/>
                      <a:pt x="142" y="249"/>
                      <a:pt x="143" y="249"/>
                    </a:cubicBezTo>
                    <a:cubicBezTo>
                      <a:pt x="144" y="249"/>
                      <a:pt x="145" y="247"/>
                      <a:pt x="146" y="246"/>
                    </a:cubicBezTo>
                    <a:cubicBezTo>
                      <a:pt x="148" y="244"/>
                      <a:pt x="148" y="242"/>
                      <a:pt x="150" y="243"/>
                    </a:cubicBezTo>
                    <a:cubicBezTo>
                      <a:pt x="152" y="243"/>
                      <a:pt x="153" y="240"/>
                      <a:pt x="157" y="238"/>
                    </a:cubicBezTo>
                    <a:cubicBezTo>
                      <a:pt x="161" y="236"/>
                      <a:pt x="164" y="239"/>
                      <a:pt x="166" y="238"/>
                    </a:cubicBezTo>
                    <a:cubicBezTo>
                      <a:pt x="168" y="236"/>
                      <a:pt x="170" y="236"/>
                      <a:pt x="170" y="237"/>
                    </a:cubicBezTo>
                    <a:cubicBezTo>
                      <a:pt x="170" y="239"/>
                      <a:pt x="173" y="241"/>
                      <a:pt x="173" y="243"/>
                    </a:cubicBezTo>
                    <a:cubicBezTo>
                      <a:pt x="174" y="244"/>
                      <a:pt x="177" y="245"/>
                      <a:pt x="178" y="245"/>
                    </a:cubicBezTo>
                    <a:cubicBezTo>
                      <a:pt x="179" y="245"/>
                      <a:pt x="179" y="244"/>
                      <a:pt x="179" y="244"/>
                    </a:cubicBezTo>
                    <a:cubicBezTo>
                      <a:pt x="181" y="243"/>
                      <a:pt x="185" y="244"/>
                      <a:pt x="185" y="247"/>
                    </a:cubicBezTo>
                    <a:cubicBezTo>
                      <a:pt x="185" y="249"/>
                      <a:pt x="185" y="251"/>
                      <a:pt x="187" y="251"/>
                    </a:cubicBezTo>
                    <a:cubicBezTo>
                      <a:pt x="188" y="251"/>
                      <a:pt x="190" y="251"/>
                      <a:pt x="190" y="255"/>
                    </a:cubicBezTo>
                    <a:cubicBezTo>
                      <a:pt x="190" y="259"/>
                      <a:pt x="191" y="263"/>
                      <a:pt x="188" y="267"/>
                    </a:cubicBezTo>
                    <a:cubicBezTo>
                      <a:pt x="184" y="270"/>
                      <a:pt x="180" y="276"/>
                      <a:pt x="181" y="278"/>
                    </a:cubicBezTo>
                    <a:cubicBezTo>
                      <a:pt x="182" y="280"/>
                      <a:pt x="180" y="283"/>
                      <a:pt x="183" y="282"/>
                    </a:cubicBezTo>
                    <a:cubicBezTo>
                      <a:pt x="185" y="281"/>
                      <a:pt x="191" y="282"/>
                      <a:pt x="190" y="283"/>
                    </a:cubicBezTo>
                    <a:cubicBezTo>
                      <a:pt x="189" y="285"/>
                      <a:pt x="190" y="290"/>
                      <a:pt x="192" y="290"/>
                    </a:cubicBezTo>
                    <a:cubicBezTo>
                      <a:pt x="195" y="290"/>
                      <a:pt x="196" y="291"/>
                      <a:pt x="195" y="294"/>
                    </a:cubicBezTo>
                    <a:cubicBezTo>
                      <a:pt x="195" y="296"/>
                      <a:pt x="194" y="299"/>
                      <a:pt x="195" y="299"/>
                    </a:cubicBezTo>
                    <a:cubicBezTo>
                      <a:pt x="197" y="299"/>
                      <a:pt x="200" y="299"/>
                      <a:pt x="200" y="301"/>
                    </a:cubicBezTo>
                    <a:cubicBezTo>
                      <a:pt x="200" y="303"/>
                      <a:pt x="201" y="305"/>
                      <a:pt x="205" y="304"/>
                    </a:cubicBezTo>
                    <a:cubicBezTo>
                      <a:pt x="207" y="303"/>
                      <a:pt x="208" y="302"/>
                      <a:pt x="209" y="303"/>
                    </a:cubicBezTo>
                    <a:cubicBezTo>
                      <a:pt x="210" y="303"/>
                      <a:pt x="210" y="306"/>
                      <a:pt x="213" y="307"/>
                    </a:cubicBezTo>
                    <a:cubicBezTo>
                      <a:pt x="215" y="307"/>
                      <a:pt x="214" y="301"/>
                      <a:pt x="213" y="300"/>
                    </a:cubicBezTo>
                    <a:cubicBezTo>
                      <a:pt x="212" y="299"/>
                      <a:pt x="213" y="295"/>
                      <a:pt x="214" y="296"/>
                    </a:cubicBezTo>
                    <a:cubicBezTo>
                      <a:pt x="215" y="297"/>
                      <a:pt x="218" y="296"/>
                      <a:pt x="219" y="294"/>
                    </a:cubicBezTo>
                    <a:cubicBezTo>
                      <a:pt x="221" y="292"/>
                      <a:pt x="224" y="296"/>
                      <a:pt x="226" y="294"/>
                    </a:cubicBezTo>
                    <a:cubicBezTo>
                      <a:pt x="227" y="291"/>
                      <a:pt x="230" y="295"/>
                      <a:pt x="233" y="294"/>
                    </a:cubicBezTo>
                    <a:cubicBezTo>
                      <a:pt x="235" y="292"/>
                      <a:pt x="237" y="295"/>
                      <a:pt x="238" y="293"/>
                    </a:cubicBezTo>
                    <a:cubicBezTo>
                      <a:pt x="239" y="291"/>
                      <a:pt x="243" y="288"/>
                      <a:pt x="244" y="289"/>
                    </a:cubicBezTo>
                    <a:cubicBezTo>
                      <a:pt x="245" y="290"/>
                      <a:pt x="246" y="291"/>
                      <a:pt x="251" y="292"/>
                    </a:cubicBezTo>
                    <a:cubicBezTo>
                      <a:pt x="256" y="293"/>
                      <a:pt x="253" y="295"/>
                      <a:pt x="253" y="297"/>
                    </a:cubicBezTo>
                    <a:cubicBezTo>
                      <a:pt x="253" y="298"/>
                      <a:pt x="259" y="303"/>
                      <a:pt x="261" y="303"/>
                    </a:cubicBezTo>
                    <a:cubicBezTo>
                      <a:pt x="262" y="303"/>
                      <a:pt x="262" y="303"/>
                      <a:pt x="263" y="304"/>
                    </a:cubicBezTo>
                    <a:cubicBezTo>
                      <a:pt x="264" y="303"/>
                      <a:pt x="267" y="305"/>
                      <a:pt x="268" y="303"/>
                    </a:cubicBezTo>
                    <a:cubicBezTo>
                      <a:pt x="268" y="301"/>
                      <a:pt x="271" y="301"/>
                      <a:pt x="272" y="303"/>
                    </a:cubicBezTo>
                    <a:cubicBezTo>
                      <a:pt x="273" y="305"/>
                      <a:pt x="274" y="305"/>
                      <a:pt x="277" y="303"/>
                    </a:cubicBezTo>
                    <a:cubicBezTo>
                      <a:pt x="279" y="301"/>
                      <a:pt x="280" y="305"/>
                      <a:pt x="279" y="306"/>
                    </a:cubicBezTo>
                    <a:cubicBezTo>
                      <a:pt x="277" y="308"/>
                      <a:pt x="278" y="311"/>
                      <a:pt x="281" y="313"/>
                    </a:cubicBezTo>
                    <a:cubicBezTo>
                      <a:pt x="283" y="316"/>
                      <a:pt x="283" y="312"/>
                      <a:pt x="283" y="310"/>
                    </a:cubicBezTo>
                    <a:cubicBezTo>
                      <a:pt x="282" y="308"/>
                      <a:pt x="287" y="306"/>
                      <a:pt x="294" y="303"/>
                    </a:cubicBezTo>
                    <a:cubicBezTo>
                      <a:pt x="302" y="301"/>
                      <a:pt x="310" y="295"/>
                      <a:pt x="310" y="294"/>
                    </a:cubicBezTo>
                    <a:cubicBezTo>
                      <a:pt x="310" y="293"/>
                      <a:pt x="315" y="296"/>
                      <a:pt x="318" y="294"/>
                    </a:cubicBezTo>
                    <a:cubicBezTo>
                      <a:pt x="320" y="292"/>
                      <a:pt x="329" y="292"/>
                      <a:pt x="331" y="292"/>
                    </a:cubicBezTo>
                    <a:cubicBezTo>
                      <a:pt x="334" y="292"/>
                      <a:pt x="334" y="290"/>
                      <a:pt x="336" y="288"/>
                    </a:cubicBezTo>
                    <a:cubicBezTo>
                      <a:pt x="339" y="286"/>
                      <a:pt x="338" y="285"/>
                      <a:pt x="341" y="284"/>
                    </a:cubicBezTo>
                    <a:cubicBezTo>
                      <a:pt x="344" y="283"/>
                      <a:pt x="346" y="281"/>
                      <a:pt x="346" y="279"/>
                    </a:cubicBezTo>
                    <a:cubicBezTo>
                      <a:pt x="346" y="278"/>
                      <a:pt x="351" y="277"/>
                      <a:pt x="351" y="276"/>
                    </a:cubicBezTo>
                    <a:cubicBezTo>
                      <a:pt x="351" y="274"/>
                      <a:pt x="355" y="274"/>
                      <a:pt x="355" y="272"/>
                    </a:cubicBezTo>
                    <a:cubicBezTo>
                      <a:pt x="355" y="270"/>
                      <a:pt x="358" y="270"/>
                      <a:pt x="359" y="269"/>
                    </a:cubicBezTo>
                    <a:cubicBezTo>
                      <a:pt x="360" y="267"/>
                      <a:pt x="358" y="263"/>
                      <a:pt x="360" y="263"/>
                    </a:cubicBezTo>
                    <a:cubicBezTo>
                      <a:pt x="362" y="262"/>
                      <a:pt x="359" y="260"/>
                      <a:pt x="359" y="259"/>
                    </a:cubicBezTo>
                    <a:cubicBezTo>
                      <a:pt x="358" y="258"/>
                      <a:pt x="362" y="257"/>
                      <a:pt x="364" y="256"/>
                    </a:cubicBezTo>
                    <a:cubicBezTo>
                      <a:pt x="366" y="255"/>
                      <a:pt x="368" y="253"/>
                      <a:pt x="368" y="251"/>
                    </a:cubicBezTo>
                    <a:cubicBezTo>
                      <a:pt x="368" y="248"/>
                      <a:pt x="372" y="246"/>
                      <a:pt x="373" y="246"/>
                    </a:cubicBezTo>
                    <a:cubicBezTo>
                      <a:pt x="375" y="245"/>
                      <a:pt x="375" y="242"/>
                      <a:pt x="375" y="239"/>
                    </a:cubicBezTo>
                    <a:cubicBezTo>
                      <a:pt x="374" y="236"/>
                      <a:pt x="378" y="237"/>
                      <a:pt x="376" y="236"/>
                    </a:cubicBezTo>
                    <a:cubicBezTo>
                      <a:pt x="375" y="235"/>
                      <a:pt x="377" y="232"/>
                      <a:pt x="380" y="231"/>
                    </a:cubicBezTo>
                    <a:cubicBezTo>
                      <a:pt x="382" y="230"/>
                      <a:pt x="378" y="229"/>
                      <a:pt x="376" y="230"/>
                    </a:cubicBezTo>
                    <a:cubicBezTo>
                      <a:pt x="375" y="231"/>
                      <a:pt x="373" y="227"/>
                      <a:pt x="372" y="229"/>
                    </a:cubicBezTo>
                    <a:cubicBezTo>
                      <a:pt x="370" y="230"/>
                      <a:pt x="366" y="228"/>
                      <a:pt x="369" y="227"/>
                    </a:cubicBezTo>
                    <a:cubicBezTo>
                      <a:pt x="371" y="226"/>
                      <a:pt x="375" y="223"/>
                      <a:pt x="377" y="223"/>
                    </a:cubicBezTo>
                    <a:cubicBezTo>
                      <a:pt x="379" y="222"/>
                      <a:pt x="375" y="218"/>
                      <a:pt x="372" y="218"/>
                    </a:cubicBezTo>
                    <a:cubicBezTo>
                      <a:pt x="370" y="218"/>
                      <a:pt x="368" y="213"/>
                      <a:pt x="365" y="213"/>
                    </a:cubicBezTo>
                    <a:cubicBezTo>
                      <a:pt x="363" y="213"/>
                      <a:pt x="367" y="211"/>
                      <a:pt x="370" y="213"/>
                    </a:cubicBezTo>
                    <a:cubicBezTo>
                      <a:pt x="372" y="214"/>
                      <a:pt x="376" y="216"/>
                      <a:pt x="377" y="214"/>
                    </a:cubicBezTo>
                    <a:cubicBezTo>
                      <a:pt x="378" y="213"/>
                      <a:pt x="372" y="208"/>
                      <a:pt x="370" y="207"/>
                    </a:cubicBezTo>
                    <a:cubicBezTo>
                      <a:pt x="368" y="205"/>
                      <a:pt x="370" y="203"/>
                      <a:pt x="369" y="202"/>
                    </a:cubicBezTo>
                    <a:cubicBezTo>
                      <a:pt x="367" y="201"/>
                      <a:pt x="364" y="195"/>
                      <a:pt x="363" y="192"/>
                    </a:cubicBezTo>
                    <a:cubicBezTo>
                      <a:pt x="363" y="189"/>
                      <a:pt x="358" y="189"/>
                      <a:pt x="356" y="187"/>
                    </a:cubicBezTo>
                    <a:cubicBezTo>
                      <a:pt x="355" y="185"/>
                      <a:pt x="356" y="181"/>
                      <a:pt x="360" y="180"/>
                    </a:cubicBezTo>
                    <a:cubicBezTo>
                      <a:pt x="364" y="178"/>
                      <a:pt x="362" y="175"/>
                      <a:pt x="364" y="175"/>
                    </a:cubicBezTo>
                    <a:cubicBezTo>
                      <a:pt x="366" y="176"/>
                      <a:pt x="367" y="175"/>
                      <a:pt x="368" y="172"/>
                    </a:cubicBezTo>
                    <a:cubicBezTo>
                      <a:pt x="370" y="170"/>
                      <a:pt x="372" y="171"/>
                      <a:pt x="373" y="170"/>
                    </a:cubicBezTo>
                    <a:cubicBezTo>
                      <a:pt x="375" y="168"/>
                      <a:pt x="380" y="168"/>
                      <a:pt x="382" y="167"/>
                    </a:cubicBezTo>
                    <a:cubicBezTo>
                      <a:pt x="384" y="166"/>
                      <a:pt x="380" y="161"/>
                      <a:pt x="378" y="162"/>
                    </a:cubicBezTo>
                    <a:cubicBezTo>
                      <a:pt x="375" y="163"/>
                      <a:pt x="372" y="162"/>
                      <a:pt x="370" y="159"/>
                    </a:cubicBezTo>
                    <a:cubicBezTo>
                      <a:pt x="368" y="156"/>
                      <a:pt x="363" y="164"/>
                      <a:pt x="359" y="166"/>
                    </a:cubicBezTo>
                    <a:cubicBezTo>
                      <a:pt x="355" y="167"/>
                      <a:pt x="353" y="162"/>
                      <a:pt x="354" y="159"/>
                    </a:cubicBezTo>
                    <a:cubicBezTo>
                      <a:pt x="356" y="156"/>
                      <a:pt x="351" y="156"/>
                      <a:pt x="346" y="156"/>
                    </a:cubicBezTo>
                    <a:cubicBezTo>
                      <a:pt x="341" y="157"/>
                      <a:pt x="343" y="147"/>
                      <a:pt x="346" y="146"/>
                    </a:cubicBezTo>
                    <a:cubicBezTo>
                      <a:pt x="349" y="146"/>
                      <a:pt x="354" y="149"/>
                      <a:pt x="356" y="143"/>
                    </a:cubicBezTo>
                    <a:cubicBezTo>
                      <a:pt x="358" y="138"/>
                      <a:pt x="361" y="142"/>
                      <a:pt x="365" y="137"/>
                    </a:cubicBezTo>
                    <a:cubicBezTo>
                      <a:pt x="370" y="132"/>
                      <a:pt x="375" y="128"/>
                      <a:pt x="379" y="132"/>
                    </a:cubicBezTo>
                    <a:cubicBezTo>
                      <a:pt x="383" y="135"/>
                      <a:pt x="375" y="140"/>
                      <a:pt x="373" y="143"/>
                    </a:cubicBezTo>
                    <a:cubicBezTo>
                      <a:pt x="372" y="145"/>
                      <a:pt x="375" y="146"/>
                      <a:pt x="372" y="149"/>
                    </a:cubicBezTo>
                    <a:cubicBezTo>
                      <a:pt x="370" y="151"/>
                      <a:pt x="373" y="152"/>
                      <a:pt x="378" y="149"/>
                    </a:cubicBezTo>
                    <a:cubicBezTo>
                      <a:pt x="382" y="146"/>
                      <a:pt x="388" y="142"/>
                      <a:pt x="393" y="140"/>
                    </a:cubicBezTo>
                    <a:cubicBezTo>
                      <a:pt x="394" y="140"/>
                      <a:pt x="395" y="140"/>
                      <a:pt x="396" y="140"/>
                    </a:cubicBezTo>
                    <a:cubicBezTo>
                      <a:pt x="397" y="138"/>
                      <a:pt x="398" y="137"/>
                      <a:pt x="399" y="136"/>
                    </a:cubicBezTo>
                    <a:cubicBezTo>
                      <a:pt x="402" y="135"/>
                      <a:pt x="412" y="130"/>
                      <a:pt x="414" y="128"/>
                    </a:cubicBezTo>
                    <a:cubicBezTo>
                      <a:pt x="415" y="126"/>
                      <a:pt x="417" y="122"/>
                      <a:pt x="419" y="122"/>
                    </a:cubicBezTo>
                    <a:cubicBezTo>
                      <a:pt x="421" y="122"/>
                      <a:pt x="421" y="124"/>
                      <a:pt x="424" y="124"/>
                    </a:cubicBezTo>
                    <a:cubicBezTo>
                      <a:pt x="427" y="124"/>
                      <a:pt x="431" y="125"/>
                      <a:pt x="429" y="123"/>
                    </a:cubicBezTo>
                    <a:cubicBezTo>
                      <a:pt x="428" y="120"/>
                      <a:pt x="429" y="120"/>
                      <a:pt x="432" y="120"/>
                    </a:cubicBezTo>
                    <a:cubicBezTo>
                      <a:pt x="436" y="119"/>
                      <a:pt x="436" y="116"/>
                      <a:pt x="438" y="116"/>
                    </a:cubicBezTo>
                    <a:cubicBezTo>
                      <a:pt x="441" y="116"/>
                      <a:pt x="440" y="109"/>
                      <a:pt x="443" y="109"/>
                    </a:cubicBezTo>
                    <a:cubicBezTo>
                      <a:pt x="445" y="109"/>
                      <a:pt x="446" y="113"/>
                      <a:pt x="450" y="112"/>
                    </a:cubicBezTo>
                    <a:cubicBezTo>
                      <a:pt x="450" y="112"/>
                      <a:pt x="451" y="112"/>
                      <a:pt x="452" y="112"/>
                    </a:cubicBezTo>
                    <a:cubicBezTo>
                      <a:pt x="452" y="112"/>
                      <a:pt x="453" y="111"/>
                      <a:pt x="454" y="111"/>
                    </a:cubicBezTo>
                    <a:cubicBezTo>
                      <a:pt x="453" y="107"/>
                      <a:pt x="454" y="105"/>
                      <a:pt x="453" y="103"/>
                    </a:cubicBezTo>
                    <a:cubicBezTo>
                      <a:pt x="452" y="100"/>
                      <a:pt x="453" y="98"/>
                      <a:pt x="453" y="96"/>
                    </a:cubicBezTo>
                    <a:cubicBezTo>
                      <a:pt x="452" y="95"/>
                      <a:pt x="452" y="91"/>
                      <a:pt x="454" y="91"/>
                    </a:cubicBezTo>
                    <a:cubicBezTo>
                      <a:pt x="456" y="91"/>
                      <a:pt x="458" y="86"/>
                      <a:pt x="460" y="88"/>
                    </a:cubicBezTo>
                    <a:cubicBezTo>
                      <a:pt x="463" y="89"/>
                      <a:pt x="468" y="90"/>
                      <a:pt x="468" y="88"/>
                    </a:cubicBezTo>
                    <a:cubicBezTo>
                      <a:pt x="468" y="85"/>
                      <a:pt x="471" y="85"/>
                      <a:pt x="471" y="82"/>
                    </a:cubicBezTo>
                    <a:cubicBezTo>
                      <a:pt x="472" y="80"/>
                      <a:pt x="475" y="79"/>
                      <a:pt x="476" y="76"/>
                    </a:cubicBezTo>
                    <a:cubicBezTo>
                      <a:pt x="477" y="74"/>
                      <a:pt x="478" y="67"/>
                      <a:pt x="480" y="66"/>
                    </a:cubicBezTo>
                    <a:cubicBezTo>
                      <a:pt x="483" y="65"/>
                      <a:pt x="480" y="64"/>
                      <a:pt x="480" y="59"/>
                    </a:cubicBezTo>
                    <a:close/>
                    <a:moveTo>
                      <a:pt x="364" y="284"/>
                    </a:moveTo>
                    <a:cubicBezTo>
                      <a:pt x="361" y="294"/>
                      <a:pt x="367" y="299"/>
                      <a:pt x="368" y="298"/>
                    </a:cubicBezTo>
                    <a:cubicBezTo>
                      <a:pt x="370" y="297"/>
                      <a:pt x="380" y="276"/>
                      <a:pt x="378" y="273"/>
                    </a:cubicBezTo>
                    <a:cubicBezTo>
                      <a:pt x="376" y="270"/>
                      <a:pt x="366" y="275"/>
                      <a:pt x="364" y="284"/>
                    </a:cubicBezTo>
                    <a:close/>
                    <a:moveTo>
                      <a:pt x="279" y="317"/>
                    </a:moveTo>
                    <a:cubicBezTo>
                      <a:pt x="276" y="317"/>
                      <a:pt x="268" y="321"/>
                      <a:pt x="271" y="328"/>
                    </a:cubicBezTo>
                    <a:cubicBezTo>
                      <a:pt x="274" y="334"/>
                      <a:pt x="284" y="330"/>
                      <a:pt x="285" y="327"/>
                    </a:cubicBezTo>
                    <a:cubicBezTo>
                      <a:pt x="285" y="324"/>
                      <a:pt x="289" y="320"/>
                      <a:pt x="289" y="318"/>
                    </a:cubicBezTo>
                    <a:cubicBezTo>
                      <a:pt x="288" y="316"/>
                      <a:pt x="282" y="317"/>
                      <a:pt x="279" y="31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3" name="Freeform 151">
                <a:extLst>
                  <a:ext uri="{FF2B5EF4-FFF2-40B4-BE49-F238E27FC236}">
                    <a16:creationId xmlns:a16="http://schemas.microsoft.com/office/drawing/2014/main" id="{EABF83F1-A835-4E17-837E-E9BE598C81F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74079" y="3738475"/>
                <a:ext cx="179426" cy="250945"/>
              </a:xfrm>
              <a:custGeom>
                <a:avLst/>
                <a:gdLst>
                  <a:gd name="T0" fmla="*/ 41 w 78"/>
                  <a:gd name="T1" fmla="*/ 42 h 109"/>
                  <a:gd name="T2" fmla="*/ 51 w 78"/>
                  <a:gd name="T3" fmla="*/ 49 h 109"/>
                  <a:gd name="T4" fmla="*/ 53 w 78"/>
                  <a:gd name="T5" fmla="*/ 56 h 109"/>
                  <a:gd name="T6" fmla="*/ 57 w 78"/>
                  <a:gd name="T7" fmla="*/ 60 h 109"/>
                  <a:gd name="T8" fmla="*/ 61 w 78"/>
                  <a:gd name="T9" fmla="*/ 70 h 109"/>
                  <a:gd name="T10" fmla="*/ 63 w 78"/>
                  <a:gd name="T11" fmla="*/ 68 h 109"/>
                  <a:gd name="T12" fmla="*/ 67 w 78"/>
                  <a:gd name="T13" fmla="*/ 63 h 109"/>
                  <a:gd name="T14" fmla="*/ 65 w 78"/>
                  <a:gd name="T15" fmla="*/ 53 h 109"/>
                  <a:gd name="T16" fmla="*/ 56 w 78"/>
                  <a:gd name="T17" fmla="*/ 47 h 109"/>
                  <a:gd name="T18" fmla="*/ 50 w 78"/>
                  <a:gd name="T19" fmla="*/ 40 h 109"/>
                  <a:gd name="T20" fmla="*/ 39 w 78"/>
                  <a:gd name="T21" fmla="*/ 38 h 109"/>
                  <a:gd name="T22" fmla="*/ 35 w 78"/>
                  <a:gd name="T23" fmla="*/ 30 h 109"/>
                  <a:gd name="T24" fmla="*/ 41 w 78"/>
                  <a:gd name="T25" fmla="*/ 19 h 109"/>
                  <a:gd name="T26" fmla="*/ 40 w 78"/>
                  <a:gd name="T27" fmla="*/ 6 h 109"/>
                  <a:gd name="T28" fmla="*/ 39 w 78"/>
                  <a:gd name="T29" fmla="*/ 3 h 109"/>
                  <a:gd name="T30" fmla="*/ 27 w 78"/>
                  <a:gd name="T31" fmla="*/ 2 h 109"/>
                  <a:gd name="T32" fmla="*/ 25 w 78"/>
                  <a:gd name="T33" fmla="*/ 21 h 109"/>
                  <a:gd name="T34" fmla="*/ 22 w 78"/>
                  <a:gd name="T35" fmla="*/ 20 h 109"/>
                  <a:gd name="T36" fmla="*/ 24 w 78"/>
                  <a:gd name="T37" fmla="*/ 31 h 109"/>
                  <a:gd name="T38" fmla="*/ 26 w 78"/>
                  <a:gd name="T39" fmla="*/ 37 h 109"/>
                  <a:gd name="T40" fmla="*/ 34 w 78"/>
                  <a:gd name="T41" fmla="*/ 40 h 109"/>
                  <a:gd name="T42" fmla="*/ 41 w 78"/>
                  <a:gd name="T43" fmla="*/ 42 h 109"/>
                  <a:gd name="T44" fmla="*/ 26 w 78"/>
                  <a:gd name="T45" fmla="*/ 44 h 109"/>
                  <a:gd name="T46" fmla="*/ 34 w 78"/>
                  <a:gd name="T47" fmla="*/ 53 h 109"/>
                  <a:gd name="T48" fmla="*/ 26 w 78"/>
                  <a:gd name="T49" fmla="*/ 44 h 109"/>
                  <a:gd name="T50" fmla="*/ 39 w 78"/>
                  <a:gd name="T51" fmla="*/ 67 h 109"/>
                  <a:gd name="T52" fmla="*/ 44 w 78"/>
                  <a:gd name="T53" fmla="*/ 65 h 109"/>
                  <a:gd name="T54" fmla="*/ 44 w 78"/>
                  <a:gd name="T55" fmla="*/ 71 h 109"/>
                  <a:gd name="T56" fmla="*/ 46 w 78"/>
                  <a:gd name="T57" fmla="*/ 80 h 109"/>
                  <a:gd name="T58" fmla="*/ 54 w 78"/>
                  <a:gd name="T59" fmla="*/ 67 h 109"/>
                  <a:gd name="T60" fmla="*/ 51 w 78"/>
                  <a:gd name="T61" fmla="*/ 66 h 109"/>
                  <a:gd name="T62" fmla="*/ 39 w 78"/>
                  <a:gd name="T63" fmla="*/ 56 h 109"/>
                  <a:gd name="T64" fmla="*/ 39 w 78"/>
                  <a:gd name="T65" fmla="*/ 67 h 109"/>
                  <a:gd name="T66" fmla="*/ 11 w 78"/>
                  <a:gd name="T67" fmla="*/ 72 h 109"/>
                  <a:gd name="T68" fmla="*/ 1 w 78"/>
                  <a:gd name="T69" fmla="*/ 85 h 109"/>
                  <a:gd name="T70" fmla="*/ 16 w 78"/>
                  <a:gd name="T71" fmla="*/ 72 h 109"/>
                  <a:gd name="T72" fmla="*/ 18 w 78"/>
                  <a:gd name="T73" fmla="*/ 63 h 109"/>
                  <a:gd name="T74" fmla="*/ 11 w 78"/>
                  <a:gd name="T75" fmla="*/ 72 h 109"/>
                  <a:gd name="T76" fmla="*/ 54 w 78"/>
                  <a:gd name="T77" fmla="*/ 77 h 109"/>
                  <a:gd name="T78" fmla="*/ 60 w 78"/>
                  <a:gd name="T79" fmla="*/ 73 h 109"/>
                  <a:gd name="T80" fmla="*/ 54 w 78"/>
                  <a:gd name="T81" fmla="*/ 77 h 109"/>
                  <a:gd name="T82" fmla="*/ 75 w 78"/>
                  <a:gd name="T83" fmla="*/ 95 h 109"/>
                  <a:gd name="T84" fmla="*/ 73 w 78"/>
                  <a:gd name="T85" fmla="*/ 77 h 109"/>
                  <a:gd name="T86" fmla="*/ 68 w 78"/>
                  <a:gd name="T87" fmla="*/ 77 h 109"/>
                  <a:gd name="T88" fmla="*/ 63 w 78"/>
                  <a:gd name="T89" fmla="*/ 81 h 109"/>
                  <a:gd name="T90" fmla="*/ 58 w 78"/>
                  <a:gd name="T91" fmla="*/ 85 h 109"/>
                  <a:gd name="T92" fmla="*/ 51 w 78"/>
                  <a:gd name="T93" fmla="*/ 83 h 109"/>
                  <a:gd name="T94" fmla="*/ 42 w 78"/>
                  <a:gd name="T95" fmla="*/ 88 h 109"/>
                  <a:gd name="T96" fmla="*/ 39 w 78"/>
                  <a:gd name="T97" fmla="*/ 97 h 109"/>
                  <a:gd name="T98" fmla="*/ 46 w 78"/>
                  <a:gd name="T99" fmla="*/ 93 h 109"/>
                  <a:gd name="T100" fmla="*/ 52 w 78"/>
                  <a:gd name="T101" fmla="*/ 91 h 109"/>
                  <a:gd name="T102" fmla="*/ 58 w 78"/>
                  <a:gd name="T103" fmla="*/ 105 h 109"/>
                  <a:gd name="T104" fmla="*/ 67 w 78"/>
                  <a:gd name="T105" fmla="*/ 109 h 109"/>
                  <a:gd name="T106" fmla="*/ 67 w 78"/>
                  <a:gd name="T107" fmla="*/ 99 h 109"/>
                  <a:gd name="T108" fmla="*/ 75 w 78"/>
                  <a:gd name="T109" fmla="*/ 95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78" h="109">
                    <a:moveTo>
                      <a:pt x="41" y="42"/>
                    </a:moveTo>
                    <a:cubicBezTo>
                      <a:pt x="46" y="41"/>
                      <a:pt x="52" y="47"/>
                      <a:pt x="51" y="49"/>
                    </a:cubicBezTo>
                    <a:cubicBezTo>
                      <a:pt x="50" y="51"/>
                      <a:pt x="51" y="58"/>
                      <a:pt x="53" y="56"/>
                    </a:cubicBezTo>
                    <a:cubicBezTo>
                      <a:pt x="56" y="54"/>
                      <a:pt x="59" y="57"/>
                      <a:pt x="57" y="60"/>
                    </a:cubicBezTo>
                    <a:cubicBezTo>
                      <a:pt x="55" y="63"/>
                      <a:pt x="60" y="66"/>
                      <a:pt x="61" y="70"/>
                    </a:cubicBezTo>
                    <a:cubicBezTo>
                      <a:pt x="62" y="74"/>
                      <a:pt x="64" y="71"/>
                      <a:pt x="63" y="68"/>
                    </a:cubicBezTo>
                    <a:cubicBezTo>
                      <a:pt x="63" y="65"/>
                      <a:pt x="64" y="65"/>
                      <a:pt x="67" y="63"/>
                    </a:cubicBezTo>
                    <a:cubicBezTo>
                      <a:pt x="70" y="61"/>
                      <a:pt x="67" y="57"/>
                      <a:pt x="65" y="53"/>
                    </a:cubicBezTo>
                    <a:cubicBezTo>
                      <a:pt x="63" y="49"/>
                      <a:pt x="56" y="51"/>
                      <a:pt x="56" y="47"/>
                    </a:cubicBezTo>
                    <a:cubicBezTo>
                      <a:pt x="56" y="43"/>
                      <a:pt x="51" y="42"/>
                      <a:pt x="50" y="40"/>
                    </a:cubicBezTo>
                    <a:cubicBezTo>
                      <a:pt x="50" y="38"/>
                      <a:pt x="43" y="35"/>
                      <a:pt x="39" y="38"/>
                    </a:cubicBezTo>
                    <a:cubicBezTo>
                      <a:pt x="35" y="40"/>
                      <a:pt x="38" y="34"/>
                      <a:pt x="35" y="30"/>
                    </a:cubicBezTo>
                    <a:cubicBezTo>
                      <a:pt x="32" y="27"/>
                      <a:pt x="37" y="23"/>
                      <a:pt x="41" y="19"/>
                    </a:cubicBezTo>
                    <a:cubicBezTo>
                      <a:pt x="44" y="15"/>
                      <a:pt x="40" y="9"/>
                      <a:pt x="40" y="6"/>
                    </a:cubicBezTo>
                    <a:cubicBezTo>
                      <a:pt x="41" y="3"/>
                      <a:pt x="40" y="2"/>
                      <a:pt x="39" y="3"/>
                    </a:cubicBezTo>
                    <a:cubicBezTo>
                      <a:pt x="37" y="4"/>
                      <a:pt x="30" y="0"/>
                      <a:pt x="27" y="2"/>
                    </a:cubicBezTo>
                    <a:cubicBezTo>
                      <a:pt x="24" y="4"/>
                      <a:pt x="27" y="20"/>
                      <a:pt x="25" y="21"/>
                    </a:cubicBezTo>
                    <a:cubicBezTo>
                      <a:pt x="24" y="22"/>
                      <a:pt x="22" y="18"/>
                      <a:pt x="22" y="20"/>
                    </a:cubicBezTo>
                    <a:cubicBezTo>
                      <a:pt x="21" y="22"/>
                      <a:pt x="22" y="31"/>
                      <a:pt x="24" y="31"/>
                    </a:cubicBezTo>
                    <a:cubicBezTo>
                      <a:pt x="26" y="31"/>
                      <a:pt x="27" y="33"/>
                      <a:pt x="26" y="37"/>
                    </a:cubicBezTo>
                    <a:cubicBezTo>
                      <a:pt x="25" y="41"/>
                      <a:pt x="29" y="41"/>
                      <a:pt x="34" y="40"/>
                    </a:cubicBezTo>
                    <a:cubicBezTo>
                      <a:pt x="39" y="38"/>
                      <a:pt x="37" y="43"/>
                      <a:pt x="41" y="42"/>
                    </a:cubicBezTo>
                    <a:close/>
                    <a:moveTo>
                      <a:pt x="26" y="44"/>
                    </a:moveTo>
                    <a:cubicBezTo>
                      <a:pt x="27" y="48"/>
                      <a:pt x="29" y="54"/>
                      <a:pt x="34" y="53"/>
                    </a:cubicBezTo>
                    <a:cubicBezTo>
                      <a:pt x="39" y="51"/>
                      <a:pt x="26" y="42"/>
                      <a:pt x="26" y="44"/>
                    </a:cubicBezTo>
                    <a:close/>
                    <a:moveTo>
                      <a:pt x="39" y="67"/>
                    </a:moveTo>
                    <a:cubicBezTo>
                      <a:pt x="41" y="67"/>
                      <a:pt x="44" y="67"/>
                      <a:pt x="44" y="65"/>
                    </a:cubicBezTo>
                    <a:cubicBezTo>
                      <a:pt x="44" y="63"/>
                      <a:pt x="47" y="69"/>
                      <a:pt x="44" y="71"/>
                    </a:cubicBezTo>
                    <a:cubicBezTo>
                      <a:pt x="42" y="73"/>
                      <a:pt x="42" y="79"/>
                      <a:pt x="46" y="80"/>
                    </a:cubicBezTo>
                    <a:cubicBezTo>
                      <a:pt x="49" y="81"/>
                      <a:pt x="55" y="69"/>
                      <a:pt x="54" y="67"/>
                    </a:cubicBezTo>
                    <a:cubicBezTo>
                      <a:pt x="53" y="65"/>
                      <a:pt x="50" y="69"/>
                      <a:pt x="51" y="66"/>
                    </a:cubicBezTo>
                    <a:cubicBezTo>
                      <a:pt x="52" y="63"/>
                      <a:pt x="43" y="56"/>
                      <a:pt x="39" y="56"/>
                    </a:cubicBezTo>
                    <a:cubicBezTo>
                      <a:pt x="35" y="57"/>
                      <a:pt x="37" y="68"/>
                      <a:pt x="39" y="67"/>
                    </a:cubicBezTo>
                    <a:close/>
                    <a:moveTo>
                      <a:pt x="11" y="72"/>
                    </a:moveTo>
                    <a:cubicBezTo>
                      <a:pt x="8" y="76"/>
                      <a:pt x="0" y="83"/>
                      <a:pt x="1" y="85"/>
                    </a:cubicBezTo>
                    <a:cubicBezTo>
                      <a:pt x="3" y="88"/>
                      <a:pt x="11" y="75"/>
                      <a:pt x="16" y="72"/>
                    </a:cubicBezTo>
                    <a:cubicBezTo>
                      <a:pt x="20" y="68"/>
                      <a:pt x="19" y="66"/>
                      <a:pt x="18" y="63"/>
                    </a:cubicBezTo>
                    <a:cubicBezTo>
                      <a:pt x="16" y="60"/>
                      <a:pt x="15" y="68"/>
                      <a:pt x="11" y="72"/>
                    </a:cubicBezTo>
                    <a:close/>
                    <a:moveTo>
                      <a:pt x="54" y="77"/>
                    </a:moveTo>
                    <a:cubicBezTo>
                      <a:pt x="55" y="79"/>
                      <a:pt x="62" y="75"/>
                      <a:pt x="60" y="73"/>
                    </a:cubicBezTo>
                    <a:cubicBezTo>
                      <a:pt x="58" y="70"/>
                      <a:pt x="53" y="75"/>
                      <a:pt x="54" y="77"/>
                    </a:cubicBezTo>
                    <a:close/>
                    <a:moveTo>
                      <a:pt x="75" y="95"/>
                    </a:moveTo>
                    <a:cubicBezTo>
                      <a:pt x="78" y="92"/>
                      <a:pt x="73" y="83"/>
                      <a:pt x="73" y="77"/>
                    </a:cubicBezTo>
                    <a:cubicBezTo>
                      <a:pt x="73" y="72"/>
                      <a:pt x="65" y="73"/>
                      <a:pt x="68" y="77"/>
                    </a:cubicBezTo>
                    <a:cubicBezTo>
                      <a:pt x="70" y="80"/>
                      <a:pt x="63" y="78"/>
                      <a:pt x="63" y="81"/>
                    </a:cubicBezTo>
                    <a:cubicBezTo>
                      <a:pt x="63" y="85"/>
                      <a:pt x="58" y="82"/>
                      <a:pt x="58" y="85"/>
                    </a:cubicBezTo>
                    <a:cubicBezTo>
                      <a:pt x="58" y="88"/>
                      <a:pt x="53" y="85"/>
                      <a:pt x="51" y="83"/>
                    </a:cubicBezTo>
                    <a:cubicBezTo>
                      <a:pt x="49" y="81"/>
                      <a:pt x="45" y="88"/>
                      <a:pt x="42" y="88"/>
                    </a:cubicBezTo>
                    <a:cubicBezTo>
                      <a:pt x="38" y="89"/>
                      <a:pt x="36" y="97"/>
                      <a:pt x="39" y="97"/>
                    </a:cubicBezTo>
                    <a:cubicBezTo>
                      <a:pt x="42" y="97"/>
                      <a:pt x="43" y="93"/>
                      <a:pt x="46" y="93"/>
                    </a:cubicBezTo>
                    <a:cubicBezTo>
                      <a:pt x="49" y="93"/>
                      <a:pt x="48" y="90"/>
                      <a:pt x="52" y="91"/>
                    </a:cubicBezTo>
                    <a:cubicBezTo>
                      <a:pt x="56" y="92"/>
                      <a:pt x="53" y="104"/>
                      <a:pt x="58" y="105"/>
                    </a:cubicBezTo>
                    <a:cubicBezTo>
                      <a:pt x="64" y="106"/>
                      <a:pt x="64" y="109"/>
                      <a:pt x="67" y="109"/>
                    </a:cubicBezTo>
                    <a:cubicBezTo>
                      <a:pt x="69" y="109"/>
                      <a:pt x="66" y="101"/>
                      <a:pt x="67" y="99"/>
                    </a:cubicBezTo>
                    <a:cubicBezTo>
                      <a:pt x="67" y="96"/>
                      <a:pt x="72" y="98"/>
                      <a:pt x="75" y="9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4" name="Freeform 152">
                <a:extLst>
                  <a:ext uri="{FF2B5EF4-FFF2-40B4-BE49-F238E27FC236}">
                    <a16:creationId xmlns:a16="http://schemas.microsoft.com/office/drawing/2014/main" id="{7A05884A-2FA8-49F5-A48B-87C5D187535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515742" y="4143751"/>
                <a:ext cx="235888" cy="150567"/>
              </a:xfrm>
              <a:custGeom>
                <a:avLst/>
                <a:gdLst>
                  <a:gd name="T0" fmla="*/ 74 w 102"/>
                  <a:gd name="T1" fmla="*/ 59 h 65"/>
                  <a:gd name="T2" fmla="*/ 68 w 102"/>
                  <a:gd name="T3" fmla="*/ 54 h 65"/>
                  <a:gd name="T4" fmla="*/ 60 w 102"/>
                  <a:gd name="T5" fmla="*/ 50 h 65"/>
                  <a:gd name="T6" fmla="*/ 54 w 102"/>
                  <a:gd name="T7" fmla="*/ 39 h 65"/>
                  <a:gd name="T8" fmla="*/ 52 w 102"/>
                  <a:gd name="T9" fmla="*/ 33 h 65"/>
                  <a:gd name="T10" fmla="*/ 54 w 102"/>
                  <a:gd name="T11" fmla="*/ 28 h 65"/>
                  <a:gd name="T12" fmla="*/ 38 w 102"/>
                  <a:gd name="T13" fmla="*/ 19 h 65"/>
                  <a:gd name="T14" fmla="*/ 6 w 102"/>
                  <a:gd name="T15" fmla="*/ 1 h 65"/>
                  <a:gd name="T16" fmla="*/ 0 w 102"/>
                  <a:gd name="T17" fmla="*/ 0 h 65"/>
                  <a:gd name="T18" fmla="*/ 0 w 102"/>
                  <a:gd name="T19" fmla="*/ 50 h 65"/>
                  <a:gd name="T20" fmla="*/ 9 w 102"/>
                  <a:gd name="T21" fmla="*/ 53 h 65"/>
                  <a:gd name="T22" fmla="*/ 19 w 102"/>
                  <a:gd name="T23" fmla="*/ 48 h 65"/>
                  <a:gd name="T24" fmla="*/ 23 w 102"/>
                  <a:gd name="T25" fmla="*/ 42 h 65"/>
                  <a:gd name="T26" fmla="*/ 40 w 102"/>
                  <a:gd name="T27" fmla="*/ 46 h 65"/>
                  <a:gd name="T28" fmla="*/ 58 w 102"/>
                  <a:gd name="T29" fmla="*/ 61 h 65"/>
                  <a:gd name="T30" fmla="*/ 75 w 102"/>
                  <a:gd name="T31" fmla="*/ 64 h 65"/>
                  <a:gd name="T32" fmla="*/ 74 w 102"/>
                  <a:gd name="T33" fmla="*/ 59 h 65"/>
                  <a:gd name="T34" fmla="*/ 87 w 102"/>
                  <a:gd name="T35" fmla="*/ 17 h 65"/>
                  <a:gd name="T36" fmla="*/ 77 w 102"/>
                  <a:gd name="T37" fmla="*/ 23 h 65"/>
                  <a:gd name="T38" fmla="*/ 60 w 102"/>
                  <a:gd name="T39" fmla="*/ 24 h 65"/>
                  <a:gd name="T40" fmla="*/ 73 w 102"/>
                  <a:gd name="T41" fmla="*/ 29 h 65"/>
                  <a:gd name="T42" fmla="*/ 90 w 102"/>
                  <a:gd name="T43" fmla="*/ 21 h 65"/>
                  <a:gd name="T44" fmla="*/ 92 w 102"/>
                  <a:gd name="T45" fmla="*/ 14 h 65"/>
                  <a:gd name="T46" fmla="*/ 87 w 102"/>
                  <a:gd name="T47" fmla="*/ 17 h 65"/>
                  <a:gd name="T48" fmla="*/ 95 w 102"/>
                  <a:gd name="T49" fmla="*/ 8 h 65"/>
                  <a:gd name="T50" fmla="*/ 93 w 102"/>
                  <a:gd name="T51" fmla="*/ 9 h 65"/>
                  <a:gd name="T52" fmla="*/ 98 w 102"/>
                  <a:gd name="T53" fmla="*/ 16 h 65"/>
                  <a:gd name="T54" fmla="*/ 95 w 102"/>
                  <a:gd name="T55" fmla="*/ 8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02" h="65">
                    <a:moveTo>
                      <a:pt x="74" y="59"/>
                    </a:moveTo>
                    <a:cubicBezTo>
                      <a:pt x="72" y="59"/>
                      <a:pt x="68" y="56"/>
                      <a:pt x="68" y="54"/>
                    </a:cubicBezTo>
                    <a:cubicBezTo>
                      <a:pt x="68" y="52"/>
                      <a:pt x="63" y="52"/>
                      <a:pt x="60" y="50"/>
                    </a:cubicBezTo>
                    <a:cubicBezTo>
                      <a:pt x="56" y="48"/>
                      <a:pt x="58" y="41"/>
                      <a:pt x="54" y="39"/>
                    </a:cubicBezTo>
                    <a:cubicBezTo>
                      <a:pt x="51" y="38"/>
                      <a:pt x="48" y="33"/>
                      <a:pt x="52" y="33"/>
                    </a:cubicBezTo>
                    <a:cubicBezTo>
                      <a:pt x="56" y="33"/>
                      <a:pt x="57" y="31"/>
                      <a:pt x="54" y="28"/>
                    </a:cubicBezTo>
                    <a:cubicBezTo>
                      <a:pt x="51" y="24"/>
                      <a:pt x="38" y="23"/>
                      <a:pt x="38" y="19"/>
                    </a:cubicBezTo>
                    <a:cubicBezTo>
                      <a:pt x="37" y="14"/>
                      <a:pt x="16" y="4"/>
                      <a:pt x="6" y="1"/>
                    </a:cubicBezTo>
                    <a:cubicBezTo>
                      <a:pt x="5" y="1"/>
                      <a:pt x="3" y="0"/>
                      <a:pt x="0" y="0"/>
                    </a:cubicBezTo>
                    <a:cubicBezTo>
                      <a:pt x="0" y="50"/>
                      <a:pt x="0" y="50"/>
                      <a:pt x="0" y="50"/>
                    </a:cubicBezTo>
                    <a:cubicBezTo>
                      <a:pt x="3" y="52"/>
                      <a:pt x="5" y="53"/>
                      <a:pt x="9" y="53"/>
                    </a:cubicBezTo>
                    <a:cubicBezTo>
                      <a:pt x="19" y="54"/>
                      <a:pt x="17" y="48"/>
                      <a:pt x="19" y="48"/>
                    </a:cubicBezTo>
                    <a:cubicBezTo>
                      <a:pt x="21" y="48"/>
                      <a:pt x="21" y="44"/>
                      <a:pt x="23" y="42"/>
                    </a:cubicBezTo>
                    <a:cubicBezTo>
                      <a:pt x="26" y="39"/>
                      <a:pt x="35" y="41"/>
                      <a:pt x="40" y="46"/>
                    </a:cubicBezTo>
                    <a:cubicBezTo>
                      <a:pt x="46" y="50"/>
                      <a:pt x="52" y="63"/>
                      <a:pt x="58" y="61"/>
                    </a:cubicBezTo>
                    <a:cubicBezTo>
                      <a:pt x="64" y="60"/>
                      <a:pt x="70" y="65"/>
                      <a:pt x="75" y="64"/>
                    </a:cubicBezTo>
                    <a:cubicBezTo>
                      <a:pt x="80" y="64"/>
                      <a:pt x="75" y="60"/>
                      <a:pt x="74" y="59"/>
                    </a:cubicBezTo>
                    <a:close/>
                    <a:moveTo>
                      <a:pt x="87" y="17"/>
                    </a:moveTo>
                    <a:cubicBezTo>
                      <a:pt x="87" y="19"/>
                      <a:pt x="83" y="20"/>
                      <a:pt x="77" y="23"/>
                    </a:cubicBezTo>
                    <a:cubicBezTo>
                      <a:pt x="71" y="25"/>
                      <a:pt x="61" y="20"/>
                      <a:pt x="60" y="24"/>
                    </a:cubicBezTo>
                    <a:cubicBezTo>
                      <a:pt x="60" y="26"/>
                      <a:pt x="67" y="29"/>
                      <a:pt x="73" y="29"/>
                    </a:cubicBezTo>
                    <a:cubicBezTo>
                      <a:pt x="80" y="29"/>
                      <a:pt x="90" y="23"/>
                      <a:pt x="90" y="21"/>
                    </a:cubicBezTo>
                    <a:cubicBezTo>
                      <a:pt x="90" y="19"/>
                      <a:pt x="94" y="16"/>
                      <a:pt x="92" y="14"/>
                    </a:cubicBezTo>
                    <a:cubicBezTo>
                      <a:pt x="91" y="12"/>
                      <a:pt x="87" y="15"/>
                      <a:pt x="87" y="17"/>
                    </a:cubicBezTo>
                    <a:close/>
                    <a:moveTo>
                      <a:pt x="95" y="8"/>
                    </a:moveTo>
                    <a:cubicBezTo>
                      <a:pt x="91" y="6"/>
                      <a:pt x="88" y="4"/>
                      <a:pt x="93" y="9"/>
                    </a:cubicBezTo>
                    <a:cubicBezTo>
                      <a:pt x="98" y="13"/>
                      <a:pt x="95" y="17"/>
                      <a:pt x="98" y="16"/>
                    </a:cubicBezTo>
                    <a:cubicBezTo>
                      <a:pt x="102" y="15"/>
                      <a:pt x="99" y="10"/>
                      <a:pt x="95" y="8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5" name="Freeform 153">
                <a:extLst>
                  <a:ext uri="{FF2B5EF4-FFF2-40B4-BE49-F238E27FC236}">
                    <a16:creationId xmlns:a16="http://schemas.microsoft.com/office/drawing/2014/main" id="{F1C7C850-333E-4137-9F52-DF5797ED5B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97782" y="3909118"/>
                <a:ext cx="40151" cy="77793"/>
              </a:xfrm>
              <a:custGeom>
                <a:avLst/>
                <a:gdLst>
                  <a:gd name="T0" fmla="*/ 4 w 17"/>
                  <a:gd name="T1" fmla="*/ 0 h 34"/>
                  <a:gd name="T2" fmla="*/ 1 w 17"/>
                  <a:gd name="T3" fmla="*/ 8 h 34"/>
                  <a:gd name="T4" fmla="*/ 0 w 17"/>
                  <a:gd name="T5" fmla="*/ 19 h 34"/>
                  <a:gd name="T6" fmla="*/ 4 w 17"/>
                  <a:gd name="T7" fmla="*/ 31 h 34"/>
                  <a:gd name="T8" fmla="*/ 17 w 17"/>
                  <a:gd name="T9" fmla="*/ 19 h 34"/>
                  <a:gd name="T10" fmla="*/ 4 w 17"/>
                  <a:gd name="T11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7" h="34">
                    <a:moveTo>
                      <a:pt x="4" y="0"/>
                    </a:moveTo>
                    <a:cubicBezTo>
                      <a:pt x="1" y="1"/>
                      <a:pt x="2" y="5"/>
                      <a:pt x="1" y="8"/>
                    </a:cubicBezTo>
                    <a:cubicBezTo>
                      <a:pt x="0" y="11"/>
                      <a:pt x="0" y="14"/>
                      <a:pt x="0" y="19"/>
                    </a:cubicBezTo>
                    <a:cubicBezTo>
                      <a:pt x="1" y="23"/>
                      <a:pt x="0" y="28"/>
                      <a:pt x="4" y="31"/>
                    </a:cubicBezTo>
                    <a:cubicBezTo>
                      <a:pt x="9" y="34"/>
                      <a:pt x="16" y="26"/>
                      <a:pt x="17" y="19"/>
                    </a:cubicBezTo>
                    <a:cubicBezTo>
                      <a:pt x="17" y="13"/>
                      <a:pt x="5" y="0"/>
                      <a:pt x="4" y="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6" name="Freeform 154">
                <a:extLst>
                  <a:ext uri="{FF2B5EF4-FFF2-40B4-BE49-F238E27FC236}">
                    <a16:creationId xmlns:a16="http://schemas.microsoft.com/office/drawing/2014/main" id="{04F24D10-53FB-4EB7-B9F4-F4B8D47F7E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06428" y="4305611"/>
                <a:ext cx="138020" cy="272275"/>
              </a:xfrm>
              <a:custGeom>
                <a:avLst/>
                <a:gdLst>
                  <a:gd name="T0" fmla="*/ 51 w 60"/>
                  <a:gd name="T1" fmla="*/ 4 h 118"/>
                  <a:gd name="T2" fmla="*/ 48 w 60"/>
                  <a:gd name="T3" fmla="*/ 6 h 118"/>
                  <a:gd name="T4" fmla="*/ 47 w 60"/>
                  <a:gd name="T5" fmla="*/ 12 h 118"/>
                  <a:gd name="T6" fmla="*/ 42 w 60"/>
                  <a:gd name="T7" fmla="*/ 16 h 118"/>
                  <a:gd name="T8" fmla="*/ 38 w 60"/>
                  <a:gd name="T9" fmla="*/ 19 h 118"/>
                  <a:gd name="T10" fmla="*/ 38 w 60"/>
                  <a:gd name="T11" fmla="*/ 23 h 118"/>
                  <a:gd name="T12" fmla="*/ 32 w 60"/>
                  <a:gd name="T13" fmla="*/ 28 h 118"/>
                  <a:gd name="T14" fmla="*/ 21 w 60"/>
                  <a:gd name="T15" fmla="*/ 34 h 118"/>
                  <a:gd name="T16" fmla="*/ 10 w 60"/>
                  <a:gd name="T17" fmla="*/ 36 h 118"/>
                  <a:gd name="T18" fmla="*/ 7 w 60"/>
                  <a:gd name="T19" fmla="*/ 47 h 118"/>
                  <a:gd name="T20" fmla="*/ 8 w 60"/>
                  <a:gd name="T21" fmla="*/ 61 h 118"/>
                  <a:gd name="T22" fmla="*/ 6 w 60"/>
                  <a:gd name="T23" fmla="*/ 78 h 118"/>
                  <a:gd name="T24" fmla="*/ 3 w 60"/>
                  <a:gd name="T25" fmla="*/ 97 h 118"/>
                  <a:gd name="T26" fmla="*/ 8 w 60"/>
                  <a:gd name="T27" fmla="*/ 112 h 118"/>
                  <a:gd name="T28" fmla="*/ 23 w 60"/>
                  <a:gd name="T29" fmla="*/ 116 h 118"/>
                  <a:gd name="T30" fmla="*/ 31 w 60"/>
                  <a:gd name="T31" fmla="*/ 113 h 118"/>
                  <a:gd name="T32" fmla="*/ 42 w 60"/>
                  <a:gd name="T33" fmla="*/ 79 h 118"/>
                  <a:gd name="T34" fmla="*/ 51 w 60"/>
                  <a:gd name="T35" fmla="*/ 47 h 118"/>
                  <a:gd name="T36" fmla="*/ 53 w 60"/>
                  <a:gd name="T37" fmla="*/ 38 h 118"/>
                  <a:gd name="T38" fmla="*/ 55 w 60"/>
                  <a:gd name="T39" fmla="*/ 33 h 118"/>
                  <a:gd name="T40" fmla="*/ 60 w 60"/>
                  <a:gd name="T41" fmla="*/ 32 h 118"/>
                  <a:gd name="T42" fmla="*/ 57 w 60"/>
                  <a:gd name="T43" fmla="*/ 17 h 118"/>
                  <a:gd name="T44" fmla="*/ 51 w 60"/>
                  <a:gd name="T45" fmla="*/ 4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60" h="118">
                    <a:moveTo>
                      <a:pt x="51" y="4"/>
                    </a:moveTo>
                    <a:cubicBezTo>
                      <a:pt x="50" y="0"/>
                      <a:pt x="49" y="5"/>
                      <a:pt x="48" y="6"/>
                    </a:cubicBezTo>
                    <a:cubicBezTo>
                      <a:pt x="47" y="7"/>
                      <a:pt x="47" y="10"/>
                      <a:pt x="47" y="12"/>
                    </a:cubicBezTo>
                    <a:cubicBezTo>
                      <a:pt x="47" y="14"/>
                      <a:pt x="44" y="16"/>
                      <a:pt x="42" y="16"/>
                    </a:cubicBezTo>
                    <a:cubicBezTo>
                      <a:pt x="40" y="15"/>
                      <a:pt x="37" y="17"/>
                      <a:pt x="38" y="19"/>
                    </a:cubicBezTo>
                    <a:cubicBezTo>
                      <a:pt x="39" y="22"/>
                      <a:pt x="37" y="21"/>
                      <a:pt x="38" y="23"/>
                    </a:cubicBezTo>
                    <a:cubicBezTo>
                      <a:pt x="39" y="26"/>
                      <a:pt x="35" y="28"/>
                      <a:pt x="32" y="28"/>
                    </a:cubicBezTo>
                    <a:cubicBezTo>
                      <a:pt x="28" y="29"/>
                      <a:pt x="24" y="35"/>
                      <a:pt x="21" y="34"/>
                    </a:cubicBezTo>
                    <a:cubicBezTo>
                      <a:pt x="17" y="34"/>
                      <a:pt x="13" y="36"/>
                      <a:pt x="10" y="36"/>
                    </a:cubicBezTo>
                    <a:cubicBezTo>
                      <a:pt x="7" y="36"/>
                      <a:pt x="9" y="42"/>
                      <a:pt x="7" y="47"/>
                    </a:cubicBezTo>
                    <a:cubicBezTo>
                      <a:pt x="5" y="51"/>
                      <a:pt x="6" y="56"/>
                      <a:pt x="8" y="61"/>
                    </a:cubicBezTo>
                    <a:cubicBezTo>
                      <a:pt x="10" y="66"/>
                      <a:pt x="12" y="71"/>
                      <a:pt x="6" y="78"/>
                    </a:cubicBezTo>
                    <a:cubicBezTo>
                      <a:pt x="0" y="85"/>
                      <a:pt x="1" y="92"/>
                      <a:pt x="3" y="97"/>
                    </a:cubicBezTo>
                    <a:cubicBezTo>
                      <a:pt x="5" y="102"/>
                      <a:pt x="5" y="109"/>
                      <a:pt x="8" y="112"/>
                    </a:cubicBezTo>
                    <a:cubicBezTo>
                      <a:pt x="11" y="115"/>
                      <a:pt x="20" y="118"/>
                      <a:pt x="23" y="116"/>
                    </a:cubicBezTo>
                    <a:cubicBezTo>
                      <a:pt x="25" y="113"/>
                      <a:pt x="28" y="116"/>
                      <a:pt x="31" y="113"/>
                    </a:cubicBezTo>
                    <a:cubicBezTo>
                      <a:pt x="34" y="109"/>
                      <a:pt x="38" y="91"/>
                      <a:pt x="42" y="79"/>
                    </a:cubicBezTo>
                    <a:cubicBezTo>
                      <a:pt x="47" y="67"/>
                      <a:pt x="52" y="51"/>
                      <a:pt x="51" y="47"/>
                    </a:cubicBezTo>
                    <a:cubicBezTo>
                      <a:pt x="51" y="44"/>
                      <a:pt x="54" y="42"/>
                      <a:pt x="53" y="38"/>
                    </a:cubicBezTo>
                    <a:cubicBezTo>
                      <a:pt x="51" y="35"/>
                      <a:pt x="53" y="31"/>
                      <a:pt x="55" y="33"/>
                    </a:cubicBezTo>
                    <a:cubicBezTo>
                      <a:pt x="57" y="36"/>
                      <a:pt x="59" y="36"/>
                      <a:pt x="60" y="32"/>
                    </a:cubicBezTo>
                    <a:cubicBezTo>
                      <a:pt x="60" y="29"/>
                      <a:pt x="57" y="23"/>
                      <a:pt x="57" y="17"/>
                    </a:cubicBezTo>
                    <a:cubicBezTo>
                      <a:pt x="56" y="12"/>
                      <a:pt x="52" y="7"/>
                      <a:pt x="51" y="4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7" name="Freeform 155">
                <a:extLst>
                  <a:ext uri="{FF2B5EF4-FFF2-40B4-BE49-F238E27FC236}">
                    <a16:creationId xmlns:a16="http://schemas.microsoft.com/office/drawing/2014/main" id="{E42BE77C-1DDB-4885-9070-908231D6B54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01409" y="3729692"/>
                <a:ext cx="222086" cy="133001"/>
              </a:xfrm>
              <a:custGeom>
                <a:avLst/>
                <a:gdLst>
                  <a:gd name="T0" fmla="*/ 68 w 96"/>
                  <a:gd name="T1" fmla="*/ 2 h 58"/>
                  <a:gd name="T2" fmla="*/ 52 w 96"/>
                  <a:gd name="T3" fmla="*/ 3 h 58"/>
                  <a:gd name="T4" fmla="*/ 40 w 96"/>
                  <a:gd name="T5" fmla="*/ 14 h 58"/>
                  <a:gd name="T6" fmla="*/ 34 w 96"/>
                  <a:gd name="T7" fmla="*/ 16 h 58"/>
                  <a:gd name="T8" fmla="*/ 23 w 96"/>
                  <a:gd name="T9" fmla="*/ 14 h 58"/>
                  <a:gd name="T10" fmla="*/ 13 w 96"/>
                  <a:gd name="T11" fmla="*/ 13 h 58"/>
                  <a:gd name="T12" fmla="*/ 7 w 96"/>
                  <a:gd name="T13" fmla="*/ 12 h 58"/>
                  <a:gd name="T14" fmla="*/ 4 w 96"/>
                  <a:gd name="T15" fmla="*/ 15 h 58"/>
                  <a:gd name="T16" fmla="*/ 4 w 96"/>
                  <a:gd name="T17" fmla="*/ 19 h 58"/>
                  <a:gd name="T18" fmla="*/ 0 w 96"/>
                  <a:gd name="T19" fmla="*/ 22 h 58"/>
                  <a:gd name="T20" fmla="*/ 1 w 96"/>
                  <a:gd name="T21" fmla="*/ 26 h 58"/>
                  <a:gd name="T22" fmla="*/ 3 w 96"/>
                  <a:gd name="T23" fmla="*/ 39 h 58"/>
                  <a:gd name="T24" fmla="*/ 6 w 96"/>
                  <a:gd name="T25" fmla="*/ 51 h 58"/>
                  <a:gd name="T26" fmla="*/ 21 w 96"/>
                  <a:gd name="T27" fmla="*/ 49 h 58"/>
                  <a:gd name="T28" fmla="*/ 31 w 96"/>
                  <a:gd name="T29" fmla="*/ 46 h 58"/>
                  <a:gd name="T30" fmla="*/ 40 w 96"/>
                  <a:gd name="T31" fmla="*/ 42 h 58"/>
                  <a:gd name="T32" fmla="*/ 48 w 96"/>
                  <a:gd name="T33" fmla="*/ 41 h 58"/>
                  <a:gd name="T34" fmla="*/ 54 w 96"/>
                  <a:gd name="T35" fmla="*/ 36 h 58"/>
                  <a:gd name="T36" fmla="*/ 71 w 96"/>
                  <a:gd name="T37" fmla="*/ 31 h 58"/>
                  <a:gd name="T38" fmla="*/ 79 w 96"/>
                  <a:gd name="T39" fmla="*/ 23 h 58"/>
                  <a:gd name="T40" fmla="*/ 86 w 96"/>
                  <a:gd name="T41" fmla="*/ 20 h 58"/>
                  <a:gd name="T42" fmla="*/ 76 w 96"/>
                  <a:gd name="T43" fmla="*/ 0 h 58"/>
                  <a:gd name="T44" fmla="*/ 68 w 96"/>
                  <a:gd name="T45" fmla="*/ 2 h 58"/>
                  <a:gd name="T46" fmla="*/ 88 w 96"/>
                  <a:gd name="T47" fmla="*/ 55 h 58"/>
                  <a:gd name="T48" fmla="*/ 96 w 96"/>
                  <a:gd name="T49" fmla="*/ 54 h 58"/>
                  <a:gd name="T50" fmla="*/ 88 w 96"/>
                  <a:gd name="T51" fmla="*/ 55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96" h="58">
                    <a:moveTo>
                      <a:pt x="68" y="2"/>
                    </a:moveTo>
                    <a:cubicBezTo>
                      <a:pt x="64" y="3"/>
                      <a:pt x="54" y="2"/>
                      <a:pt x="52" y="3"/>
                    </a:cubicBezTo>
                    <a:cubicBezTo>
                      <a:pt x="51" y="4"/>
                      <a:pt x="41" y="11"/>
                      <a:pt x="40" y="14"/>
                    </a:cubicBezTo>
                    <a:cubicBezTo>
                      <a:pt x="38" y="17"/>
                      <a:pt x="36" y="17"/>
                      <a:pt x="34" y="16"/>
                    </a:cubicBezTo>
                    <a:cubicBezTo>
                      <a:pt x="32" y="14"/>
                      <a:pt x="24" y="15"/>
                      <a:pt x="23" y="14"/>
                    </a:cubicBezTo>
                    <a:cubicBezTo>
                      <a:pt x="22" y="13"/>
                      <a:pt x="16" y="13"/>
                      <a:pt x="13" y="13"/>
                    </a:cubicBezTo>
                    <a:cubicBezTo>
                      <a:pt x="10" y="14"/>
                      <a:pt x="9" y="12"/>
                      <a:pt x="7" y="12"/>
                    </a:cubicBezTo>
                    <a:cubicBezTo>
                      <a:pt x="6" y="13"/>
                      <a:pt x="4" y="14"/>
                      <a:pt x="4" y="15"/>
                    </a:cubicBezTo>
                    <a:cubicBezTo>
                      <a:pt x="3" y="16"/>
                      <a:pt x="4" y="19"/>
                      <a:pt x="4" y="19"/>
                    </a:cubicBezTo>
                    <a:cubicBezTo>
                      <a:pt x="4" y="20"/>
                      <a:pt x="2" y="20"/>
                      <a:pt x="0" y="22"/>
                    </a:cubicBezTo>
                    <a:cubicBezTo>
                      <a:pt x="1" y="23"/>
                      <a:pt x="1" y="25"/>
                      <a:pt x="1" y="26"/>
                    </a:cubicBezTo>
                    <a:cubicBezTo>
                      <a:pt x="0" y="29"/>
                      <a:pt x="1" y="36"/>
                      <a:pt x="3" y="39"/>
                    </a:cubicBezTo>
                    <a:cubicBezTo>
                      <a:pt x="6" y="43"/>
                      <a:pt x="5" y="50"/>
                      <a:pt x="6" y="51"/>
                    </a:cubicBezTo>
                    <a:cubicBezTo>
                      <a:pt x="7" y="52"/>
                      <a:pt x="17" y="52"/>
                      <a:pt x="21" y="49"/>
                    </a:cubicBezTo>
                    <a:cubicBezTo>
                      <a:pt x="25" y="47"/>
                      <a:pt x="28" y="46"/>
                      <a:pt x="31" y="46"/>
                    </a:cubicBezTo>
                    <a:cubicBezTo>
                      <a:pt x="34" y="46"/>
                      <a:pt x="39" y="43"/>
                      <a:pt x="40" y="42"/>
                    </a:cubicBezTo>
                    <a:cubicBezTo>
                      <a:pt x="41" y="40"/>
                      <a:pt x="46" y="40"/>
                      <a:pt x="48" y="41"/>
                    </a:cubicBezTo>
                    <a:cubicBezTo>
                      <a:pt x="50" y="41"/>
                      <a:pt x="52" y="39"/>
                      <a:pt x="54" y="36"/>
                    </a:cubicBezTo>
                    <a:cubicBezTo>
                      <a:pt x="56" y="34"/>
                      <a:pt x="64" y="33"/>
                      <a:pt x="71" y="31"/>
                    </a:cubicBezTo>
                    <a:cubicBezTo>
                      <a:pt x="79" y="28"/>
                      <a:pt x="77" y="25"/>
                      <a:pt x="79" y="23"/>
                    </a:cubicBezTo>
                    <a:cubicBezTo>
                      <a:pt x="80" y="21"/>
                      <a:pt x="82" y="21"/>
                      <a:pt x="86" y="20"/>
                    </a:cubicBezTo>
                    <a:cubicBezTo>
                      <a:pt x="82" y="13"/>
                      <a:pt x="78" y="4"/>
                      <a:pt x="76" y="0"/>
                    </a:cubicBezTo>
                    <a:cubicBezTo>
                      <a:pt x="72" y="1"/>
                      <a:pt x="69" y="2"/>
                      <a:pt x="68" y="2"/>
                    </a:cubicBezTo>
                    <a:close/>
                    <a:moveTo>
                      <a:pt x="88" y="55"/>
                    </a:moveTo>
                    <a:cubicBezTo>
                      <a:pt x="90" y="58"/>
                      <a:pt x="96" y="55"/>
                      <a:pt x="96" y="54"/>
                    </a:cubicBezTo>
                    <a:cubicBezTo>
                      <a:pt x="96" y="53"/>
                      <a:pt x="85" y="52"/>
                      <a:pt x="88" y="5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8" name="Freeform 156">
                <a:extLst>
                  <a:ext uri="{FF2B5EF4-FFF2-40B4-BE49-F238E27FC236}">
                    <a16:creationId xmlns:a16="http://schemas.microsoft.com/office/drawing/2014/main" id="{F2481323-97D8-4411-9DE7-007C29CB22D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771707" y="4192686"/>
                <a:ext cx="151822" cy="107906"/>
              </a:xfrm>
              <a:custGeom>
                <a:avLst/>
                <a:gdLst>
                  <a:gd name="T0" fmla="*/ 1 w 66"/>
                  <a:gd name="T1" fmla="*/ 2 h 47"/>
                  <a:gd name="T2" fmla="*/ 11 w 66"/>
                  <a:gd name="T3" fmla="*/ 13 h 47"/>
                  <a:gd name="T4" fmla="*/ 1 w 66"/>
                  <a:gd name="T5" fmla="*/ 2 h 47"/>
                  <a:gd name="T6" fmla="*/ 16 w 66"/>
                  <a:gd name="T7" fmla="*/ 12 h 47"/>
                  <a:gd name="T8" fmla="*/ 23 w 66"/>
                  <a:gd name="T9" fmla="*/ 17 h 47"/>
                  <a:gd name="T10" fmla="*/ 16 w 66"/>
                  <a:gd name="T11" fmla="*/ 12 h 47"/>
                  <a:gd name="T12" fmla="*/ 43 w 66"/>
                  <a:gd name="T13" fmla="*/ 26 h 47"/>
                  <a:gd name="T14" fmla="*/ 32 w 66"/>
                  <a:gd name="T15" fmla="*/ 20 h 47"/>
                  <a:gd name="T16" fmla="*/ 43 w 66"/>
                  <a:gd name="T17" fmla="*/ 26 h 47"/>
                  <a:gd name="T18" fmla="*/ 41 w 66"/>
                  <a:gd name="T19" fmla="*/ 34 h 47"/>
                  <a:gd name="T20" fmla="*/ 50 w 66"/>
                  <a:gd name="T21" fmla="*/ 38 h 47"/>
                  <a:gd name="T22" fmla="*/ 41 w 66"/>
                  <a:gd name="T23" fmla="*/ 34 h 47"/>
                  <a:gd name="T24" fmla="*/ 56 w 66"/>
                  <a:gd name="T25" fmla="*/ 42 h 47"/>
                  <a:gd name="T26" fmla="*/ 63 w 66"/>
                  <a:gd name="T27" fmla="*/ 45 h 47"/>
                  <a:gd name="T28" fmla="*/ 56 w 66"/>
                  <a:gd name="T29" fmla="*/ 42 h 47"/>
                  <a:gd name="T30" fmla="*/ 50 w 66"/>
                  <a:gd name="T31" fmla="*/ 26 h 47"/>
                  <a:gd name="T32" fmla="*/ 56 w 66"/>
                  <a:gd name="T33" fmla="*/ 37 h 47"/>
                  <a:gd name="T34" fmla="*/ 50 w 66"/>
                  <a:gd name="T35" fmla="*/ 26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6" h="47">
                    <a:moveTo>
                      <a:pt x="1" y="2"/>
                    </a:moveTo>
                    <a:cubicBezTo>
                      <a:pt x="0" y="4"/>
                      <a:pt x="8" y="15"/>
                      <a:pt x="11" y="13"/>
                    </a:cubicBezTo>
                    <a:cubicBezTo>
                      <a:pt x="16" y="10"/>
                      <a:pt x="1" y="0"/>
                      <a:pt x="1" y="2"/>
                    </a:cubicBezTo>
                    <a:close/>
                    <a:moveTo>
                      <a:pt x="16" y="12"/>
                    </a:moveTo>
                    <a:cubicBezTo>
                      <a:pt x="16" y="13"/>
                      <a:pt x="22" y="18"/>
                      <a:pt x="23" y="17"/>
                    </a:cubicBezTo>
                    <a:cubicBezTo>
                      <a:pt x="24" y="16"/>
                      <a:pt x="16" y="10"/>
                      <a:pt x="16" y="12"/>
                    </a:cubicBezTo>
                    <a:close/>
                    <a:moveTo>
                      <a:pt x="43" y="26"/>
                    </a:moveTo>
                    <a:cubicBezTo>
                      <a:pt x="45" y="25"/>
                      <a:pt x="32" y="18"/>
                      <a:pt x="32" y="20"/>
                    </a:cubicBezTo>
                    <a:cubicBezTo>
                      <a:pt x="31" y="22"/>
                      <a:pt x="41" y="27"/>
                      <a:pt x="43" y="26"/>
                    </a:cubicBezTo>
                    <a:close/>
                    <a:moveTo>
                      <a:pt x="41" y="34"/>
                    </a:moveTo>
                    <a:cubicBezTo>
                      <a:pt x="42" y="37"/>
                      <a:pt x="47" y="39"/>
                      <a:pt x="50" y="38"/>
                    </a:cubicBezTo>
                    <a:cubicBezTo>
                      <a:pt x="52" y="37"/>
                      <a:pt x="41" y="30"/>
                      <a:pt x="41" y="34"/>
                    </a:cubicBezTo>
                    <a:close/>
                    <a:moveTo>
                      <a:pt x="56" y="42"/>
                    </a:moveTo>
                    <a:cubicBezTo>
                      <a:pt x="56" y="42"/>
                      <a:pt x="61" y="47"/>
                      <a:pt x="63" y="45"/>
                    </a:cubicBezTo>
                    <a:cubicBezTo>
                      <a:pt x="66" y="44"/>
                      <a:pt x="55" y="40"/>
                      <a:pt x="56" y="42"/>
                    </a:cubicBezTo>
                    <a:close/>
                    <a:moveTo>
                      <a:pt x="50" y="26"/>
                    </a:moveTo>
                    <a:cubicBezTo>
                      <a:pt x="48" y="30"/>
                      <a:pt x="55" y="36"/>
                      <a:pt x="56" y="37"/>
                    </a:cubicBezTo>
                    <a:cubicBezTo>
                      <a:pt x="57" y="37"/>
                      <a:pt x="51" y="23"/>
                      <a:pt x="50" y="26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9" name="Freeform 157">
                <a:extLst>
                  <a:ext uri="{FF2B5EF4-FFF2-40B4-BE49-F238E27FC236}">
                    <a16:creationId xmlns:a16="http://schemas.microsoft.com/office/drawing/2014/main" id="{EDDB3AE5-B541-4FE0-BC29-FB5475E5724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771707" y="4192686"/>
                <a:ext cx="151822" cy="107906"/>
              </a:xfrm>
              <a:custGeom>
                <a:avLst/>
                <a:gdLst>
                  <a:gd name="T0" fmla="*/ 1 w 66"/>
                  <a:gd name="T1" fmla="*/ 2 h 47"/>
                  <a:gd name="T2" fmla="*/ 11 w 66"/>
                  <a:gd name="T3" fmla="*/ 13 h 47"/>
                  <a:gd name="T4" fmla="*/ 1 w 66"/>
                  <a:gd name="T5" fmla="*/ 2 h 47"/>
                  <a:gd name="T6" fmla="*/ 16 w 66"/>
                  <a:gd name="T7" fmla="*/ 12 h 47"/>
                  <a:gd name="T8" fmla="*/ 23 w 66"/>
                  <a:gd name="T9" fmla="*/ 17 h 47"/>
                  <a:gd name="T10" fmla="*/ 16 w 66"/>
                  <a:gd name="T11" fmla="*/ 12 h 47"/>
                  <a:gd name="T12" fmla="*/ 43 w 66"/>
                  <a:gd name="T13" fmla="*/ 26 h 47"/>
                  <a:gd name="T14" fmla="*/ 32 w 66"/>
                  <a:gd name="T15" fmla="*/ 20 h 47"/>
                  <a:gd name="T16" fmla="*/ 43 w 66"/>
                  <a:gd name="T17" fmla="*/ 26 h 47"/>
                  <a:gd name="T18" fmla="*/ 41 w 66"/>
                  <a:gd name="T19" fmla="*/ 34 h 47"/>
                  <a:gd name="T20" fmla="*/ 50 w 66"/>
                  <a:gd name="T21" fmla="*/ 38 h 47"/>
                  <a:gd name="T22" fmla="*/ 41 w 66"/>
                  <a:gd name="T23" fmla="*/ 34 h 47"/>
                  <a:gd name="T24" fmla="*/ 56 w 66"/>
                  <a:gd name="T25" fmla="*/ 42 h 47"/>
                  <a:gd name="T26" fmla="*/ 63 w 66"/>
                  <a:gd name="T27" fmla="*/ 45 h 47"/>
                  <a:gd name="T28" fmla="*/ 56 w 66"/>
                  <a:gd name="T29" fmla="*/ 42 h 47"/>
                  <a:gd name="T30" fmla="*/ 50 w 66"/>
                  <a:gd name="T31" fmla="*/ 26 h 47"/>
                  <a:gd name="T32" fmla="*/ 56 w 66"/>
                  <a:gd name="T33" fmla="*/ 37 h 47"/>
                  <a:gd name="T34" fmla="*/ 50 w 66"/>
                  <a:gd name="T35" fmla="*/ 26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6" h="47">
                    <a:moveTo>
                      <a:pt x="1" y="2"/>
                    </a:moveTo>
                    <a:cubicBezTo>
                      <a:pt x="0" y="4"/>
                      <a:pt x="8" y="15"/>
                      <a:pt x="11" y="13"/>
                    </a:cubicBezTo>
                    <a:cubicBezTo>
                      <a:pt x="16" y="10"/>
                      <a:pt x="1" y="0"/>
                      <a:pt x="1" y="2"/>
                    </a:cubicBezTo>
                    <a:close/>
                    <a:moveTo>
                      <a:pt x="16" y="12"/>
                    </a:moveTo>
                    <a:cubicBezTo>
                      <a:pt x="16" y="13"/>
                      <a:pt x="22" y="18"/>
                      <a:pt x="23" y="17"/>
                    </a:cubicBezTo>
                    <a:cubicBezTo>
                      <a:pt x="24" y="16"/>
                      <a:pt x="16" y="10"/>
                      <a:pt x="16" y="12"/>
                    </a:cubicBezTo>
                    <a:close/>
                    <a:moveTo>
                      <a:pt x="43" y="26"/>
                    </a:moveTo>
                    <a:cubicBezTo>
                      <a:pt x="45" y="25"/>
                      <a:pt x="32" y="18"/>
                      <a:pt x="32" y="20"/>
                    </a:cubicBezTo>
                    <a:cubicBezTo>
                      <a:pt x="31" y="22"/>
                      <a:pt x="41" y="27"/>
                      <a:pt x="43" y="26"/>
                    </a:cubicBezTo>
                    <a:close/>
                    <a:moveTo>
                      <a:pt x="41" y="34"/>
                    </a:moveTo>
                    <a:cubicBezTo>
                      <a:pt x="42" y="37"/>
                      <a:pt x="47" y="39"/>
                      <a:pt x="50" y="38"/>
                    </a:cubicBezTo>
                    <a:cubicBezTo>
                      <a:pt x="52" y="37"/>
                      <a:pt x="41" y="30"/>
                      <a:pt x="41" y="34"/>
                    </a:cubicBezTo>
                    <a:close/>
                    <a:moveTo>
                      <a:pt x="56" y="42"/>
                    </a:moveTo>
                    <a:cubicBezTo>
                      <a:pt x="56" y="42"/>
                      <a:pt x="61" y="47"/>
                      <a:pt x="63" y="45"/>
                    </a:cubicBezTo>
                    <a:cubicBezTo>
                      <a:pt x="66" y="44"/>
                      <a:pt x="55" y="40"/>
                      <a:pt x="56" y="42"/>
                    </a:cubicBezTo>
                    <a:close/>
                    <a:moveTo>
                      <a:pt x="50" y="26"/>
                    </a:moveTo>
                    <a:cubicBezTo>
                      <a:pt x="48" y="30"/>
                      <a:pt x="55" y="36"/>
                      <a:pt x="56" y="37"/>
                    </a:cubicBezTo>
                    <a:cubicBezTo>
                      <a:pt x="57" y="37"/>
                      <a:pt x="51" y="23"/>
                      <a:pt x="50" y="26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0" name="Freeform 159">
                <a:extLst>
                  <a:ext uri="{FF2B5EF4-FFF2-40B4-BE49-F238E27FC236}">
                    <a16:creationId xmlns:a16="http://schemas.microsoft.com/office/drawing/2014/main" id="{5773DC10-43AA-4B18-8A1A-8CCFF8DE3F8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988774" y="4773623"/>
                <a:ext cx="232124" cy="276040"/>
              </a:xfrm>
              <a:custGeom>
                <a:avLst/>
                <a:gdLst>
                  <a:gd name="T0" fmla="*/ 62 w 101"/>
                  <a:gd name="T1" fmla="*/ 58 h 120"/>
                  <a:gd name="T2" fmla="*/ 56 w 101"/>
                  <a:gd name="T3" fmla="*/ 60 h 120"/>
                  <a:gd name="T4" fmla="*/ 48 w 101"/>
                  <a:gd name="T5" fmla="*/ 56 h 120"/>
                  <a:gd name="T6" fmla="*/ 44 w 101"/>
                  <a:gd name="T7" fmla="*/ 63 h 120"/>
                  <a:gd name="T8" fmla="*/ 37 w 101"/>
                  <a:gd name="T9" fmla="*/ 75 h 120"/>
                  <a:gd name="T10" fmla="*/ 15 w 101"/>
                  <a:gd name="T11" fmla="*/ 89 h 120"/>
                  <a:gd name="T12" fmla="*/ 5 w 101"/>
                  <a:gd name="T13" fmla="*/ 99 h 120"/>
                  <a:gd name="T14" fmla="*/ 3 w 101"/>
                  <a:gd name="T15" fmla="*/ 108 h 120"/>
                  <a:gd name="T16" fmla="*/ 10 w 101"/>
                  <a:gd name="T17" fmla="*/ 111 h 120"/>
                  <a:gd name="T18" fmla="*/ 16 w 101"/>
                  <a:gd name="T19" fmla="*/ 113 h 120"/>
                  <a:gd name="T20" fmla="*/ 31 w 101"/>
                  <a:gd name="T21" fmla="*/ 110 h 120"/>
                  <a:gd name="T22" fmla="*/ 36 w 101"/>
                  <a:gd name="T23" fmla="*/ 100 h 120"/>
                  <a:gd name="T24" fmla="*/ 40 w 101"/>
                  <a:gd name="T25" fmla="*/ 92 h 120"/>
                  <a:gd name="T26" fmla="*/ 49 w 101"/>
                  <a:gd name="T27" fmla="*/ 87 h 120"/>
                  <a:gd name="T28" fmla="*/ 52 w 101"/>
                  <a:gd name="T29" fmla="*/ 82 h 120"/>
                  <a:gd name="T30" fmla="*/ 57 w 101"/>
                  <a:gd name="T31" fmla="*/ 75 h 120"/>
                  <a:gd name="T32" fmla="*/ 64 w 101"/>
                  <a:gd name="T33" fmla="*/ 64 h 120"/>
                  <a:gd name="T34" fmla="*/ 62 w 101"/>
                  <a:gd name="T35" fmla="*/ 58 h 120"/>
                  <a:gd name="T36" fmla="*/ 11 w 101"/>
                  <a:gd name="T37" fmla="*/ 119 h 120"/>
                  <a:gd name="T38" fmla="*/ 14 w 101"/>
                  <a:gd name="T39" fmla="*/ 116 h 120"/>
                  <a:gd name="T40" fmla="*/ 11 w 101"/>
                  <a:gd name="T41" fmla="*/ 119 h 120"/>
                  <a:gd name="T42" fmla="*/ 92 w 101"/>
                  <a:gd name="T43" fmla="*/ 29 h 120"/>
                  <a:gd name="T44" fmla="*/ 84 w 101"/>
                  <a:gd name="T45" fmla="*/ 28 h 120"/>
                  <a:gd name="T46" fmla="*/ 79 w 101"/>
                  <a:gd name="T47" fmla="*/ 23 h 120"/>
                  <a:gd name="T48" fmla="*/ 75 w 101"/>
                  <a:gd name="T49" fmla="*/ 17 h 120"/>
                  <a:gd name="T50" fmla="*/ 75 w 101"/>
                  <a:gd name="T51" fmla="*/ 21 h 120"/>
                  <a:gd name="T52" fmla="*/ 72 w 101"/>
                  <a:gd name="T53" fmla="*/ 20 h 120"/>
                  <a:gd name="T54" fmla="*/ 69 w 101"/>
                  <a:gd name="T55" fmla="*/ 14 h 120"/>
                  <a:gd name="T56" fmla="*/ 66 w 101"/>
                  <a:gd name="T57" fmla="*/ 7 h 120"/>
                  <a:gd name="T58" fmla="*/ 56 w 101"/>
                  <a:gd name="T59" fmla="*/ 0 h 120"/>
                  <a:gd name="T60" fmla="*/ 58 w 101"/>
                  <a:gd name="T61" fmla="*/ 8 h 120"/>
                  <a:gd name="T62" fmla="*/ 64 w 101"/>
                  <a:gd name="T63" fmla="*/ 14 h 120"/>
                  <a:gd name="T64" fmla="*/ 69 w 101"/>
                  <a:gd name="T65" fmla="*/ 20 h 120"/>
                  <a:gd name="T66" fmla="*/ 67 w 101"/>
                  <a:gd name="T67" fmla="*/ 32 h 120"/>
                  <a:gd name="T68" fmla="*/ 61 w 101"/>
                  <a:gd name="T69" fmla="*/ 40 h 120"/>
                  <a:gd name="T70" fmla="*/ 72 w 101"/>
                  <a:gd name="T71" fmla="*/ 49 h 120"/>
                  <a:gd name="T72" fmla="*/ 69 w 101"/>
                  <a:gd name="T73" fmla="*/ 62 h 120"/>
                  <a:gd name="T74" fmla="*/ 77 w 101"/>
                  <a:gd name="T75" fmla="*/ 63 h 120"/>
                  <a:gd name="T76" fmla="*/ 85 w 101"/>
                  <a:gd name="T77" fmla="*/ 51 h 120"/>
                  <a:gd name="T78" fmla="*/ 88 w 101"/>
                  <a:gd name="T79" fmla="*/ 42 h 120"/>
                  <a:gd name="T80" fmla="*/ 93 w 101"/>
                  <a:gd name="T81" fmla="*/ 40 h 120"/>
                  <a:gd name="T82" fmla="*/ 97 w 101"/>
                  <a:gd name="T83" fmla="*/ 36 h 120"/>
                  <a:gd name="T84" fmla="*/ 99 w 101"/>
                  <a:gd name="T85" fmla="*/ 29 h 120"/>
                  <a:gd name="T86" fmla="*/ 92 w 101"/>
                  <a:gd name="T87" fmla="*/ 29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01" h="120">
                    <a:moveTo>
                      <a:pt x="62" y="58"/>
                    </a:moveTo>
                    <a:cubicBezTo>
                      <a:pt x="60" y="56"/>
                      <a:pt x="59" y="58"/>
                      <a:pt x="56" y="60"/>
                    </a:cubicBezTo>
                    <a:cubicBezTo>
                      <a:pt x="53" y="61"/>
                      <a:pt x="52" y="54"/>
                      <a:pt x="48" y="56"/>
                    </a:cubicBezTo>
                    <a:cubicBezTo>
                      <a:pt x="45" y="59"/>
                      <a:pt x="48" y="60"/>
                      <a:pt x="44" y="63"/>
                    </a:cubicBezTo>
                    <a:cubicBezTo>
                      <a:pt x="40" y="67"/>
                      <a:pt x="42" y="68"/>
                      <a:pt x="37" y="75"/>
                    </a:cubicBezTo>
                    <a:cubicBezTo>
                      <a:pt x="33" y="82"/>
                      <a:pt x="18" y="85"/>
                      <a:pt x="15" y="89"/>
                    </a:cubicBezTo>
                    <a:cubicBezTo>
                      <a:pt x="13" y="93"/>
                      <a:pt x="5" y="96"/>
                      <a:pt x="5" y="99"/>
                    </a:cubicBezTo>
                    <a:cubicBezTo>
                      <a:pt x="5" y="102"/>
                      <a:pt x="0" y="104"/>
                      <a:pt x="3" y="108"/>
                    </a:cubicBezTo>
                    <a:cubicBezTo>
                      <a:pt x="5" y="111"/>
                      <a:pt x="8" y="108"/>
                      <a:pt x="10" y="111"/>
                    </a:cubicBezTo>
                    <a:cubicBezTo>
                      <a:pt x="13" y="113"/>
                      <a:pt x="15" y="111"/>
                      <a:pt x="16" y="113"/>
                    </a:cubicBezTo>
                    <a:cubicBezTo>
                      <a:pt x="17" y="115"/>
                      <a:pt x="25" y="115"/>
                      <a:pt x="31" y="110"/>
                    </a:cubicBezTo>
                    <a:cubicBezTo>
                      <a:pt x="37" y="104"/>
                      <a:pt x="34" y="102"/>
                      <a:pt x="36" y="100"/>
                    </a:cubicBezTo>
                    <a:cubicBezTo>
                      <a:pt x="39" y="99"/>
                      <a:pt x="39" y="95"/>
                      <a:pt x="40" y="92"/>
                    </a:cubicBezTo>
                    <a:cubicBezTo>
                      <a:pt x="42" y="89"/>
                      <a:pt x="43" y="87"/>
                      <a:pt x="49" y="87"/>
                    </a:cubicBezTo>
                    <a:cubicBezTo>
                      <a:pt x="56" y="87"/>
                      <a:pt x="52" y="85"/>
                      <a:pt x="52" y="82"/>
                    </a:cubicBezTo>
                    <a:cubicBezTo>
                      <a:pt x="52" y="79"/>
                      <a:pt x="57" y="79"/>
                      <a:pt x="57" y="75"/>
                    </a:cubicBezTo>
                    <a:cubicBezTo>
                      <a:pt x="57" y="71"/>
                      <a:pt x="65" y="67"/>
                      <a:pt x="64" y="64"/>
                    </a:cubicBezTo>
                    <a:cubicBezTo>
                      <a:pt x="62" y="61"/>
                      <a:pt x="65" y="59"/>
                      <a:pt x="62" y="58"/>
                    </a:cubicBezTo>
                    <a:close/>
                    <a:moveTo>
                      <a:pt x="11" y="119"/>
                    </a:moveTo>
                    <a:cubicBezTo>
                      <a:pt x="12" y="120"/>
                      <a:pt x="16" y="118"/>
                      <a:pt x="14" y="116"/>
                    </a:cubicBezTo>
                    <a:cubicBezTo>
                      <a:pt x="12" y="113"/>
                      <a:pt x="8" y="118"/>
                      <a:pt x="11" y="119"/>
                    </a:cubicBezTo>
                    <a:close/>
                    <a:moveTo>
                      <a:pt x="92" y="29"/>
                    </a:moveTo>
                    <a:cubicBezTo>
                      <a:pt x="90" y="32"/>
                      <a:pt x="87" y="28"/>
                      <a:pt x="84" y="28"/>
                    </a:cubicBezTo>
                    <a:cubicBezTo>
                      <a:pt x="81" y="28"/>
                      <a:pt x="79" y="26"/>
                      <a:pt x="79" y="23"/>
                    </a:cubicBezTo>
                    <a:cubicBezTo>
                      <a:pt x="79" y="21"/>
                      <a:pt x="78" y="17"/>
                      <a:pt x="75" y="17"/>
                    </a:cubicBezTo>
                    <a:cubicBezTo>
                      <a:pt x="72" y="17"/>
                      <a:pt x="76" y="20"/>
                      <a:pt x="75" y="21"/>
                    </a:cubicBezTo>
                    <a:cubicBezTo>
                      <a:pt x="74" y="23"/>
                      <a:pt x="73" y="20"/>
                      <a:pt x="72" y="20"/>
                    </a:cubicBezTo>
                    <a:cubicBezTo>
                      <a:pt x="70" y="20"/>
                      <a:pt x="69" y="18"/>
                      <a:pt x="69" y="14"/>
                    </a:cubicBezTo>
                    <a:cubicBezTo>
                      <a:pt x="69" y="11"/>
                      <a:pt x="66" y="11"/>
                      <a:pt x="66" y="7"/>
                    </a:cubicBezTo>
                    <a:cubicBezTo>
                      <a:pt x="66" y="3"/>
                      <a:pt x="59" y="0"/>
                      <a:pt x="56" y="0"/>
                    </a:cubicBezTo>
                    <a:cubicBezTo>
                      <a:pt x="52" y="0"/>
                      <a:pt x="57" y="6"/>
                      <a:pt x="58" y="8"/>
                    </a:cubicBezTo>
                    <a:cubicBezTo>
                      <a:pt x="60" y="10"/>
                      <a:pt x="64" y="12"/>
                      <a:pt x="64" y="14"/>
                    </a:cubicBezTo>
                    <a:cubicBezTo>
                      <a:pt x="64" y="16"/>
                      <a:pt x="67" y="20"/>
                      <a:pt x="69" y="20"/>
                    </a:cubicBezTo>
                    <a:cubicBezTo>
                      <a:pt x="71" y="21"/>
                      <a:pt x="67" y="27"/>
                      <a:pt x="67" y="32"/>
                    </a:cubicBezTo>
                    <a:cubicBezTo>
                      <a:pt x="67" y="37"/>
                      <a:pt x="64" y="36"/>
                      <a:pt x="61" y="40"/>
                    </a:cubicBezTo>
                    <a:cubicBezTo>
                      <a:pt x="58" y="43"/>
                      <a:pt x="68" y="46"/>
                      <a:pt x="72" y="49"/>
                    </a:cubicBezTo>
                    <a:cubicBezTo>
                      <a:pt x="75" y="52"/>
                      <a:pt x="68" y="60"/>
                      <a:pt x="69" y="62"/>
                    </a:cubicBezTo>
                    <a:cubicBezTo>
                      <a:pt x="70" y="63"/>
                      <a:pt x="72" y="64"/>
                      <a:pt x="77" y="63"/>
                    </a:cubicBezTo>
                    <a:cubicBezTo>
                      <a:pt x="81" y="62"/>
                      <a:pt x="83" y="53"/>
                      <a:pt x="85" y="51"/>
                    </a:cubicBezTo>
                    <a:cubicBezTo>
                      <a:pt x="88" y="48"/>
                      <a:pt x="87" y="44"/>
                      <a:pt x="88" y="42"/>
                    </a:cubicBezTo>
                    <a:cubicBezTo>
                      <a:pt x="89" y="40"/>
                      <a:pt x="91" y="40"/>
                      <a:pt x="93" y="40"/>
                    </a:cubicBezTo>
                    <a:cubicBezTo>
                      <a:pt x="95" y="40"/>
                      <a:pt x="94" y="36"/>
                      <a:pt x="97" y="36"/>
                    </a:cubicBezTo>
                    <a:cubicBezTo>
                      <a:pt x="99" y="36"/>
                      <a:pt x="98" y="32"/>
                      <a:pt x="99" y="29"/>
                    </a:cubicBezTo>
                    <a:cubicBezTo>
                      <a:pt x="101" y="25"/>
                      <a:pt x="93" y="26"/>
                      <a:pt x="92" y="2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1" name="Freeform 160">
                <a:extLst>
                  <a:ext uri="{FF2B5EF4-FFF2-40B4-BE49-F238E27FC236}">
                    <a16:creationId xmlns:a16="http://schemas.microsoft.com/office/drawing/2014/main" id="{191D217B-7D0B-4A62-B1E3-A464529EB3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90872" y="3237839"/>
                <a:ext cx="264747" cy="168133"/>
              </a:xfrm>
              <a:custGeom>
                <a:avLst/>
                <a:gdLst>
                  <a:gd name="T0" fmla="*/ 115 w 115"/>
                  <a:gd name="T1" fmla="*/ 46 h 73"/>
                  <a:gd name="T2" fmla="*/ 108 w 115"/>
                  <a:gd name="T3" fmla="*/ 43 h 73"/>
                  <a:gd name="T4" fmla="*/ 99 w 115"/>
                  <a:gd name="T5" fmla="*/ 38 h 73"/>
                  <a:gd name="T6" fmla="*/ 90 w 115"/>
                  <a:gd name="T7" fmla="*/ 32 h 73"/>
                  <a:gd name="T8" fmla="*/ 82 w 115"/>
                  <a:gd name="T9" fmla="*/ 27 h 73"/>
                  <a:gd name="T10" fmla="*/ 78 w 115"/>
                  <a:gd name="T11" fmla="*/ 20 h 73"/>
                  <a:gd name="T12" fmla="*/ 75 w 115"/>
                  <a:gd name="T13" fmla="*/ 15 h 73"/>
                  <a:gd name="T14" fmla="*/ 63 w 115"/>
                  <a:gd name="T15" fmla="*/ 13 h 73"/>
                  <a:gd name="T16" fmla="*/ 60 w 115"/>
                  <a:gd name="T17" fmla="*/ 5 h 73"/>
                  <a:gd name="T18" fmla="*/ 54 w 115"/>
                  <a:gd name="T19" fmla="*/ 3 h 73"/>
                  <a:gd name="T20" fmla="*/ 48 w 115"/>
                  <a:gd name="T21" fmla="*/ 1 h 73"/>
                  <a:gd name="T22" fmla="*/ 45 w 115"/>
                  <a:gd name="T23" fmla="*/ 3 h 73"/>
                  <a:gd name="T24" fmla="*/ 42 w 115"/>
                  <a:gd name="T25" fmla="*/ 6 h 73"/>
                  <a:gd name="T26" fmla="*/ 36 w 115"/>
                  <a:gd name="T27" fmla="*/ 10 h 73"/>
                  <a:gd name="T28" fmla="*/ 34 w 115"/>
                  <a:gd name="T29" fmla="*/ 14 h 73"/>
                  <a:gd name="T30" fmla="*/ 28 w 115"/>
                  <a:gd name="T31" fmla="*/ 13 h 73"/>
                  <a:gd name="T32" fmla="*/ 22 w 115"/>
                  <a:gd name="T33" fmla="*/ 11 h 73"/>
                  <a:gd name="T34" fmla="*/ 12 w 115"/>
                  <a:gd name="T35" fmla="*/ 4 h 73"/>
                  <a:gd name="T36" fmla="*/ 4 w 115"/>
                  <a:gd name="T37" fmla="*/ 8 h 73"/>
                  <a:gd name="T38" fmla="*/ 8 w 115"/>
                  <a:gd name="T39" fmla="*/ 7 h 73"/>
                  <a:gd name="T40" fmla="*/ 14 w 115"/>
                  <a:gd name="T41" fmla="*/ 14 h 73"/>
                  <a:gd name="T42" fmla="*/ 18 w 115"/>
                  <a:gd name="T43" fmla="*/ 19 h 73"/>
                  <a:gd name="T44" fmla="*/ 10 w 115"/>
                  <a:gd name="T45" fmla="*/ 20 h 73"/>
                  <a:gd name="T46" fmla="*/ 2 w 115"/>
                  <a:gd name="T47" fmla="*/ 20 h 73"/>
                  <a:gd name="T48" fmla="*/ 4 w 115"/>
                  <a:gd name="T49" fmla="*/ 27 h 73"/>
                  <a:gd name="T50" fmla="*/ 5 w 115"/>
                  <a:gd name="T51" fmla="*/ 32 h 73"/>
                  <a:gd name="T52" fmla="*/ 9 w 115"/>
                  <a:gd name="T53" fmla="*/ 34 h 73"/>
                  <a:gd name="T54" fmla="*/ 11 w 115"/>
                  <a:gd name="T55" fmla="*/ 40 h 73"/>
                  <a:gd name="T56" fmla="*/ 11 w 115"/>
                  <a:gd name="T57" fmla="*/ 51 h 73"/>
                  <a:gd name="T58" fmla="*/ 17 w 115"/>
                  <a:gd name="T59" fmla="*/ 50 h 73"/>
                  <a:gd name="T60" fmla="*/ 25 w 115"/>
                  <a:gd name="T61" fmla="*/ 45 h 73"/>
                  <a:gd name="T62" fmla="*/ 30 w 115"/>
                  <a:gd name="T63" fmla="*/ 44 h 73"/>
                  <a:gd name="T64" fmla="*/ 40 w 115"/>
                  <a:gd name="T65" fmla="*/ 44 h 73"/>
                  <a:gd name="T66" fmla="*/ 45 w 115"/>
                  <a:gd name="T67" fmla="*/ 47 h 73"/>
                  <a:gd name="T68" fmla="*/ 49 w 115"/>
                  <a:gd name="T69" fmla="*/ 49 h 73"/>
                  <a:gd name="T70" fmla="*/ 56 w 115"/>
                  <a:gd name="T71" fmla="*/ 51 h 73"/>
                  <a:gd name="T72" fmla="*/ 60 w 115"/>
                  <a:gd name="T73" fmla="*/ 54 h 73"/>
                  <a:gd name="T74" fmla="*/ 65 w 115"/>
                  <a:gd name="T75" fmla="*/ 58 h 73"/>
                  <a:gd name="T76" fmla="*/ 71 w 115"/>
                  <a:gd name="T77" fmla="*/ 59 h 73"/>
                  <a:gd name="T78" fmla="*/ 72 w 115"/>
                  <a:gd name="T79" fmla="*/ 69 h 73"/>
                  <a:gd name="T80" fmla="*/ 74 w 115"/>
                  <a:gd name="T81" fmla="*/ 69 h 73"/>
                  <a:gd name="T82" fmla="*/ 80 w 115"/>
                  <a:gd name="T83" fmla="*/ 71 h 73"/>
                  <a:gd name="T84" fmla="*/ 87 w 115"/>
                  <a:gd name="T85" fmla="*/ 68 h 73"/>
                  <a:gd name="T86" fmla="*/ 98 w 115"/>
                  <a:gd name="T87" fmla="*/ 61 h 73"/>
                  <a:gd name="T88" fmla="*/ 103 w 115"/>
                  <a:gd name="T89" fmla="*/ 53 h 73"/>
                  <a:gd name="T90" fmla="*/ 109 w 115"/>
                  <a:gd name="T91" fmla="*/ 50 h 73"/>
                  <a:gd name="T92" fmla="*/ 115 w 115"/>
                  <a:gd name="T93" fmla="*/ 51 h 73"/>
                  <a:gd name="T94" fmla="*/ 115 w 115"/>
                  <a:gd name="T95" fmla="*/ 46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15" h="73">
                    <a:moveTo>
                      <a:pt x="115" y="46"/>
                    </a:moveTo>
                    <a:cubicBezTo>
                      <a:pt x="115" y="46"/>
                      <a:pt x="109" y="43"/>
                      <a:pt x="108" y="43"/>
                    </a:cubicBezTo>
                    <a:cubicBezTo>
                      <a:pt x="106" y="44"/>
                      <a:pt x="103" y="39"/>
                      <a:pt x="99" y="38"/>
                    </a:cubicBezTo>
                    <a:cubicBezTo>
                      <a:pt x="96" y="37"/>
                      <a:pt x="91" y="35"/>
                      <a:pt x="90" y="32"/>
                    </a:cubicBezTo>
                    <a:cubicBezTo>
                      <a:pt x="89" y="30"/>
                      <a:pt x="83" y="28"/>
                      <a:pt x="82" y="27"/>
                    </a:cubicBezTo>
                    <a:cubicBezTo>
                      <a:pt x="81" y="25"/>
                      <a:pt x="80" y="22"/>
                      <a:pt x="78" y="20"/>
                    </a:cubicBezTo>
                    <a:cubicBezTo>
                      <a:pt x="77" y="18"/>
                      <a:pt x="77" y="15"/>
                      <a:pt x="75" y="15"/>
                    </a:cubicBezTo>
                    <a:cubicBezTo>
                      <a:pt x="73" y="14"/>
                      <a:pt x="63" y="15"/>
                      <a:pt x="63" y="13"/>
                    </a:cubicBezTo>
                    <a:cubicBezTo>
                      <a:pt x="63" y="12"/>
                      <a:pt x="62" y="5"/>
                      <a:pt x="60" y="5"/>
                    </a:cubicBezTo>
                    <a:cubicBezTo>
                      <a:pt x="58" y="4"/>
                      <a:pt x="55" y="4"/>
                      <a:pt x="54" y="3"/>
                    </a:cubicBezTo>
                    <a:cubicBezTo>
                      <a:pt x="53" y="1"/>
                      <a:pt x="49" y="0"/>
                      <a:pt x="48" y="1"/>
                    </a:cubicBezTo>
                    <a:cubicBezTo>
                      <a:pt x="48" y="2"/>
                      <a:pt x="46" y="3"/>
                      <a:pt x="45" y="3"/>
                    </a:cubicBezTo>
                    <a:cubicBezTo>
                      <a:pt x="44" y="3"/>
                      <a:pt x="45" y="6"/>
                      <a:pt x="42" y="6"/>
                    </a:cubicBezTo>
                    <a:cubicBezTo>
                      <a:pt x="40" y="6"/>
                      <a:pt x="36" y="8"/>
                      <a:pt x="36" y="10"/>
                    </a:cubicBezTo>
                    <a:cubicBezTo>
                      <a:pt x="36" y="12"/>
                      <a:pt x="37" y="14"/>
                      <a:pt x="34" y="14"/>
                    </a:cubicBezTo>
                    <a:cubicBezTo>
                      <a:pt x="32" y="14"/>
                      <a:pt x="30" y="14"/>
                      <a:pt x="28" y="13"/>
                    </a:cubicBezTo>
                    <a:cubicBezTo>
                      <a:pt x="27" y="13"/>
                      <a:pt x="25" y="15"/>
                      <a:pt x="22" y="11"/>
                    </a:cubicBezTo>
                    <a:cubicBezTo>
                      <a:pt x="19" y="7"/>
                      <a:pt x="15" y="4"/>
                      <a:pt x="12" y="4"/>
                    </a:cubicBezTo>
                    <a:cubicBezTo>
                      <a:pt x="10" y="4"/>
                      <a:pt x="2" y="4"/>
                      <a:pt x="4" y="8"/>
                    </a:cubicBezTo>
                    <a:cubicBezTo>
                      <a:pt x="5" y="7"/>
                      <a:pt x="6" y="6"/>
                      <a:pt x="8" y="7"/>
                    </a:cubicBezTo>
                    <a:cubicBezTo>
                      <a:pt x="14" y="7"/>
                      <a:pt x="11" y="14"/>
                      <a:pt x="14" y="14"/>
                    </a:cubicBezTo>
                    <a:cubicBezTo>
                      <a:pt x="17" y="14"/>
                      <a:pt x="21" y="19"/>
                      <a:pt x="18" y="19"/>
                    </a:cubicBezTo>
                    <a:cubicBezTo>
                      <a:pt x="15" y="18"/>
                      <a:pt x="13" y="21"/>
                      <a:pt x="10" y="20"/>
                    </a:cubicBezTo>
                    <a:cubicBezTo>
                      <a:pt x="7" y="19"/>
                      <a:pt x="3" y="17"/>
                      <a:pt x="2" y="20"/>
                    </a:cubicBezTo>
                    <a:cubicBezTo>
                      <a:pt x="1" y="24"/>
                      <a:pt x="0" y="27"/>
                      <a:pt x="4" y="27"/>
                    </a:cubicBezTo>
                    <a:cubicBezTo>
                      <a:pt x="8" y="27"/>
                      <a:pt x="7" y="29"/>
                      <a:pt x="5" y="32"/>
                    </a:cubicBezTo>
                    <a:cubicBezTo>
                      <a:pt x="2" y="35"/>
                      <a:pt x="9" y="32"/>
                      <a:pt x="9" y="34"/>
                    </a:cubicBezTo>
                    <a:cubicBezTo>
                      <a:pt x="10" y="36"/>
                      <a:pt x="12" y="37"/>
                      <a:pt x="11" y="40"/>
                    </a:cubicBezTo>
                    <a:cubicBezTo>
                      <a:pt x="10" y="43"/>
                      <a:pt x="11" y="48"/>
                      <a:pt x="11" y="51"/>
                    </a:cubicBezTo>
                    <a:cubicBezTo>
                      <a:pt x="13" y="51"/>
                      <a:pt x="17" y="51"/>
                      <a:pt x="17" y="50"/>
                    </a:cubicBezTo>
                    <a:cubicBezTo>
                      <a:pt x="19" y="48"/>
                      <a:pt x="22" y="45"/>
                      <a:pt x="25" y="45"/>
                    </a:cubicBezTo>
                    <a:cubicBezTo>
                      <a:pt x="27" y="45"/>
                      <a:pt x="29" y="46"/>
                      <a:pt x="30" y="44"/>
                    </a:cubicBezTo>
                    <a:cubicBezTo>
                      <a:pt x="31" y="42"/>
                      <a:pt x="38" y="43"/>
                      <a:pt x="40" y="44"/>
                    </a:cubicBezTo>
                    <a:cubicBezTo>
                      <a:pt x="41" y="46"/>
                      <a:pt x="45" y="47"/>
                      <a:pt x="45" y="47"/>
                    </a:cubicBezTo>
                    <a:cubicBezTo>
                      <a:pt x="46" y="47"/>
                      <a:pt x="47" y="49"/>
                      <a:pt x="49" y="49"/>
                    </a:cubicBezTo>
                    <a:cubicBezTo>
                      <a:pt x="52" y="49"/>
                      <a:pt x="56" y="50"/>
                      <a:pt x="56" y="51"/>
                    </a:cubicBezTo>
                    <a:cubicBezTo>
                      <a:pt x="56" y="52"/>
                      <a:pt x="58" y="54"/>
                      <a:pt x="60" y="54"/>
                    </a:cubicBezTo>
                    <a:cubicBezTo>
                      <a:pt x="62" y="54"/>
                      <a:pt x="63" y="59"/>
                      <a:pt x="65" y="58"/>
                    </a:cubicBezTo>
                    <a:cubicBezTo>
                      <a:pt x="67" y="58"/>
                      <a:pt x="71" y="58"/>
                      <a:pt x="71" y="59"/>
                    </a:cubicBezTo>
                    <a:cubicBezTo>
                      <a:pt x="71" y="60"/>
                      <a:pt x="71" y="66"/>
                      <a:pt x="72" y="69"/>
                    </a:cubicBezTo>
                    <a:cubicBezTo>
                      <a:pt x="73" y="69"/>
                      <a:pt x="74" y="69"/>
                      <a:pt x="74" y="69"/>
                    </a:cubicBezTo>
                    <a:cubicBezTo>
                      <a:pt x="75" y="70"/>
                      <a:pt x="79" y="68"/>
                      <a:pt x="80" y="71"/>
                    </a:cubicBezTo>
                    <a:cubicBezTo>
                      <a:pt x="80" y="73"/>
                      <a:pt x="87" y="72"/>
                      <a:pt x="87" y="68"/>
                    </a:cubicBezTo>
                    <a:cubicBezTo>
                      <a:pt x="86" y="65"/>
                      <a:pt x="97" y="65"/>
                      <a:pt x="98" y="61"/>
                    </a:cubicBezTo>
                    <a:cubicBezTo>
                      <a:pt x="99" y="58"/>
                      <a:pt x="100" y="53"/>
                      <a:pt x="103" y="53"/>
                    </a:cubicBezTo>
                    <a:cubicBezTo>
                      <a:pt x="106" y="54"/>
                      <a:pt x="107" y="49"/>
                      <a:pt x="109" y="50"/>
                    </a:cubicBezTo>
                    <a:cubicBezTo>
                      <a:pt x="111" y="50"/>
                      <a:pt x="113" y="52"/>
                      <a:pt x="115" y="51"/>
                    </a:cubicBezTo>
                    <a:lnTo>
                      <a:pt x="115" y="46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2" name="Freeform 161">
                <a:extLst>
                  <a:ext uri="{FF2B5EF4-FFF2-40B4-BE49-F238E27FC236}">
                    <a16:creationId xmlns:a16="http://schemas.microsoft.com/office/drawing/2014/main" id="{E2A4B97E-0099-4391-9A1E-8C27443624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30267" y="3298066"/>
                <a:ext cx="366380" cy="311172"/>
              </a:xfrm>
              <a:custGeom>
                <a:avLst/>
                <a:gdLst>
                  <a:gd name="T0" fmla="*/ 155 w 159"/>
                  <a:gd name="T1" fmla="*/ 116 h 135"/>
                  <a:gd name="T2" fmla="*/ 151 w 159"/>
                  <a:gd name="T3" fmla="*/ 107 h 135"/>
                  <a:gd name="T4" fmla="*/ 143 w 159"/>
                  <a:gd name="T5" fmla="*/ 101 h 135"/>
                  <a:gd name="T6" fmla="*/ 137 w 159"/>
                  <a:gd name="T7" fmla="*/ 94 h 135"/>
                  <a:gd name="T8" fmla="*/ 146 w 159"/>
                  <a:gd name="T9" fmla="*/ 82 h 135"/>
                  <a:gd name="T10" fmla="*/ 138 w 159"/>
                  <a:gd name="T11" fmla="*/ 78 h 135"/>
                  <a:gd name="T12" fmla="*/ 136 w 159"/>
                  <a:gd name="T13" fmla="*/ 69 h 135"/>
                  <a:gd name="T14" fmla="*/ 136 w 159"/>
                  <a:gd name="T15" fmla="*/ 60 h 135"/>
                  <a:gd name="T16" fmla="*/ 137 w 159"/>
                  <a:gd name="T17" fmla="*/ 53 h 135"/>
                  <a:gd name="T18" fmla="*/ 141 w 159"/>
                  <a:gd name="T19" fmla="*/ 47 h 135"/>
                  <a:gd name="T20" fmla="*/ 142 w 159"/>
                  <a:gd name="T21" fmla="*/ 43 h 135"/>
                  <a:gd name="T22" fmla="*/ 141 w 159"/>
                  <a:gd name="T23" fmla="*/ 33 h 135"/>
                  <a:gd name="T24" fmla="*/ 135 w 159"/>
                  <a:gd name="T25" fmla="*/ 32 h 135"/>
                  <a:gd name="T26" fmla="*/ 130 w 159"/>
                  <a:gd name="T27" fmla="*/ 28 h 135"/>
                  <a:gd name="T28" fmla="*/ 126 w 159"/>
                  <a:gd name="T29" fmla="*/ 25 h 135"/>
                  <a:gd name="T30" fmla="*/ 119 w 159"/>
                  <a:gd name="T31" fmla="*/ 23 h 135"/>
                  <a:gd name="T32" fmla="*/ 115 w 159"/>
                  <a:gd name="T33" fmla="*/ 21 h 135"/>
                  <a:gd name="T34" fmla="*/ 110 w 159"/>
                  <a:gd name="T35" fmla="*/ 18 h 135"/>
                  <a:gd name="T36" fmla="*/ 100 w 159"/>
                  <a:gd name="T37" fmla="*/ 18 h 135"/>
                  <a:gd name="T38" fmla="*/ 95 w 159"/>
                  <a:gd name="T39" fmla="*/ 19 h 135"/>
                  <a:gd name="T40" fmla="*/ 87 w 159"/>
                  <a:gd name="T41" fmla="*/ 24 h 135"/>
                  <a:gd name="T42" fmla="*/ 81 w 159"/>
                  <a:gd name="T43" fmla="*/ 25 h 135"/>
                  <a:gd name="T44" fmla="*/ 81 w 159"/>
                  <a:gd name="T45" fmla="*/ 29 h 135"/>
                  <a:gd name="T46" fmla="*/ 63 w 159"/>
                  <a:gd name="T47" fmla="*/ 33 h 135"/>
                  <a:gd name="T48" fmla="*/ 48 w 159"/>
                  <a:gd name="T49" fmla="*/ 24 h 135"/>
                  <a:gd name="T50" fmla="*/ 39 w 159"/>
                  <a:gd name="T51" fmla="*/ 15 h 135"/>
                  <a:gd name="T52" fmla="*/ 33 w 159"/>
                  <a:gd name="T53" fmla="*/ 11 h 135"/>
                  <a:gd name="T54" fmla="*/ 31 w 159"/>
                  <a:gd name="T55" fmla="*/ 3 h 135"/>
                  <a:gd name="T56" fmla="*/ 15 w 159"/>
                  <a:gd name="T57" fmla="*/ 10 h 135"/>
                  <a:gd name="T58" fmla="*/ 10 w 159"/>
                  <a:gd name="T59" fmla="*/ 7 h 135"/>
                  <a:gd name="T60" fmla="*/ 5 w 159"/>
                  <a:gd name="T61" fmla="*/ 1 h 135"/>
                  <a:gd name="T62" fmla="*/ 2 w 159"/>
                  <a:gd name="T63" fmla="*/ 5 h 135"/>
                  <a:gd name="T64" fmla="*/ 2 w 159"/>
                  <a:gd name="T65" fmla="*/ 12 h 135"/>
                  <a:gd name="T66" fmla="*/ 2 w 159"/>
                  <a:gd name="T67" fmla="*/ 20 h 135"/>
                  <a:gd name="T68" fmla="*/ 6 w 159"/>
                  <a:gd name="T69" fmla="*/ 27 h 135"/>
                  <a:gd name="T70" fmla="*/ 9 w 159"/>
                  <a:gd name="T71" fmla="*/ 33 h 135"/>
                  <a:gd name="T72" fmla="*/ 14 w 159"/>
                  <a:gd name="T73" fmla="*/ 38 h 135"/>
                  <a:gd name="T74" fmla="*/ 17 w 159"/>
                  <a:gd name="T75" fmla="*/ 41 h 135"/>
                  <a:gd name="T76" fmla="*/ 16 w 159"/>
                  <a:gd name="T77" fmla="*/ 46 h 135"/>
                  <a:gd name="T78" fmla="*/ 13 w 159"/>
                  <a:gd name="T79" fmla="*/ 52 h 135"/>
                  <a:gd name="T80" fmla="*/ 14 w 159"/>
                  <a:gd name="T81" fmla="*/ 59 h 135"/>
                  <a:gd name="T82" fmla="*/ 17 w 159"/>
                  <a:gd name="T83" fmla="*/ 64 h 135"/>
                  <a:gd name="T84" fmla="*/ 26 w 159"/>
                  <a:gd name="T85" fmla="*/ 70 h 135"/>
                  <a:gd name="T86" fmla="*/ 30 w 159"/>
                  <a:gd name="T87" fmla="*/ 74 h 135"/>
                  <a:gd name="T88" fmla="*/ 29 w 159"/>
                  <a:gd name="T89" fmla="*/ 80 h 135"/>
                  <a:gd name="T90" fmla="*/ 32 w 159"/>
                  <a:gd name="T91" fmla="*/ 85 h 135"/>
                  <a:gd name="T92" fmla="*/ 37 w 159"/>
                  <a:gd name="T93" fmla="*/ 92 h 135"/>
                  <a:gd name="T94" fmla="*/ 39 w 159"/>
                  <a:gd name="T95" fmla="*/ 91 h 135"/>
                  <a:gd name="T96" fmla="*/ 42 w 159"/>
                  <a:gd name="T97" fmla="*/ 90 h 135"/>
                  <a:gd name="T98" fmla="*/ 48 w 159"/>
                  <a:gd name="T99" fmla="*/ 90 h 135"/>
                  <a:gd name="T100" fmla="*/ 56 w 159"/>
                  <a:gd name="T101" fmla="*/ 103 h 135"/>
                  <a:gd name="T102" fmla="*/ 61 w 159"/>
                  <a:gd name="T103" fmla="*/ 110 h 135"/>
                  <a:gd name="T104" fmla="*/ 71 w 159"/>
                  <a:gd name="T105" fmla="*/ 115 h 135"/>
                  <a:gd name="T106" fmla="*/ 89 w 159"/>
                  <a:gd name="T107" fmla="*/ 122 h 135"/>
                  <a:gd name="T108" fmla="*/ 102 w 159"/>
                  <a:gd name="T109" fmla="*/ 118 h 135"/>
                  <a:gd name="T110" fmla="*/ 108 w 159"/>
                  <a:gd name="T111" fmla="*/ 129 h 135"/>
                  <a:gd name="T112" fmla="*/ 136 w 159"/>
                  <a:gd name="T113" fmla="*/ 134 h 135"/>
                  <a:gd name="T114" fmla="*/ 145 w 159"/>
                  <a:gd name="T115" fmla="*/ 135 h 135"/>
                  <a:gd name="T116" fmla="*/ 144 w 159"/>
                  <a:gd name="T117" fmla="*/ 133 h 135"/>
                  <a:gd name="T118" fmla="*/ 149 w 159"/>
                  <a:gd name="T119" fmla="*/ 125 h 135"/>
                  <a:gd name="T120" fmla="*/ 157 w 159"/>
                  <a:gd name="T121" fmla="*/ 122 h 135"/>
                  <a:gd name="T122" fmla="*/ 155 w 159"/>
                  <a:gd name="T123" fmla="*/ 116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59" h="135">
                    <a:moveTo>
                      <a:pt x="155" y="116"/>
                    </a:moveTo>
                    <a:cubicBezTo>
                      <a:pt x="153" y="116"/>
                      <a:pt x="155" y="109"/>
                      <a:pt x="151" y="107"/>
                    </a:cubicBezTo>
                    <a:cubicBezTo>
                      <a:pt x="147" y="106"/>
                      <a:pt x="144" y="103"/>
                      <a:pt x="143" y="101"/>
                    </a:cubicBezTo>
                    <a:cubicBezTo>
                      <a:pt x="142" y="98"/>
                      <a:pt x="137" y="95"/>
                      <a:pt x="137" y="94"/>
                    </a:cubicBezTo>
                    <a:cubicBezTo>
                      <a:pt x="138" y="92"/>
                      <a:pt x="147" y="86"/>
                      <a:pt x="146" y="82"/>
                    </a:cubicBezTo>
                    <a:cubicBezTo>
                      <a:pt x="144" y="79"/>
                      <a:pt x="138" y="79"/>
                      <a:pt x="138" y="78"/>
                    </a:cubicBezTo>
                    <a:cubicBezTo>
                      <a:pt x="137" y="77"/>
                      <a:pt x="138" y="72"/>
                      <a:pt x="136" y="69"/>
                    </a:cubicBezTo>
                    <a:cubicBezTo>
                      <a:pt x="135" y="65"/>
                      <a:pt x="138" y="62"/>
                      <a:pt x="136" y="60"/>
                    </a:cubicBezTo>
                    <a:cubicBezTo>
                      <a:pt x="135" y="58"/>
                      <a:pt x="137" y="54"/>
                      <a:pt x="137" y="53"/>
                    </a:cubicBezTo>
                    <a:cubicBezTo>
                      <a:pt x="138" y="52"/>
                      <a:pt x="141" y="50"/>
                      <a:pt x="141" y="47"/>
                    </a:cubicBezTo>
                    <a:cubicBezTo>
                      <a:pt x="140" y="45"/>
                      <a:pt x="141" y="44"/>
                      <a:pt x="142" y="43"/>
                    </a:cubicBezTo>
                    <a:cubicBezTo>
                      <a:pt x="141" y="40"/>
                      <a:pt x="141" y="34"/>
                      <a:pt x="141" y="33"/>
                    </a:cubicBezTo>
                    <a:cubicBezTo>
                      <a:pt x="141" y="32"/>
                      <a:pt x="137" y="32"/>
                      <a:pt x="135" y="32"/>
                    </a:cubicBezTo>
                    <a:cubicBezTo>
                      <a:pt x="133" y="33"/>
                      <a:pt x="132" y="28"/>
                      <a:pt x="130" y="28"/>
                    </a:cubicBezTo>
                    <a:cubicBezTo>
                      <a:pt x="128" y="28"/>
                      <a:pt x="126" y="26"/>
                      <a:pt x="126" y="25"/>
                    </a:cubicBezTo>
                    <a:cubicBezTo>
                      <a:pt x="126" y="24"/>
                      <a:pt x="122" y="23"/>
                      <a:pt x="119" y="23"/>
                    </a:cubicBezTo>
                    <a:cubicBezTo>
                      <a:pt x="117" y="23"/>
                      <a:pt x="116" y="21"/>
                      <a:pt x="115" y="21"/>
                    </a:cubicBezTo>
                    <a:cubicBezTo>
                      <a:pt x="115" y="21"/>
                      <a:pt x="111" y="20"/>
                      <a:pt x="110" y="18"/>
                    </a:cubicBezTo>
                    <a:cubicBezTo>
                      <a:pt x="108" y="17"/>
                      <a:pt x="101" y="16"/>
                      <a:pt x="100" y="18"/>
                    </a:cubicBezTo>
                    <a:cubicBezTo>
                      <a:pt x="99" y="20"/>
                      <a:pt x="97" y="19"/>
                      <a:pt x="95" y="19"/>
                    </a:cubicBezTo>
                    <a:cubicBezTo>
                      <a:pt x="92" y="19"/>
                      <a:pt x="89" y="22"/>
                      <a:pt x="87" y="24"/>
                    </a:cubicBezTo>
                    <a:cubicBezTo>
                      <a:pt x="87" y="25"/>
                      <a:pt x="83" y="25"/>
                      <a:pt x="81" y="25"/>
                    </a:cubicBezTo>
                    <a:cubicBezTo>
                      <a:pt x="81" y="27"/>
                      <a:pt x="81" y="29"/>
                      <a:pt x="81" y="29"/>
                    </a:cubicBezTo>
                    <a:cubicBezTo>
                      <a:pt x="79" y="31"/>
                      <a:pt x="70" y="33"/>
                      <a:pt x="63" y="33"/>
                    </a:cubicBezTo>
                    <a:cubicBezTo>
                      <a:pt x="56" y="33"/>
                      <a:pt x="56" y="24"/>
                      <a:pt x="48" y="24"/>
                    </a:cubicBezTo>
                    <a:cubicBezTo>
                      <a:pt x="43" y="24"/>
                      <a:pt x="39" y="19"/>
                      <a:pt x="39" y="15"/>
                    </a:cubicBezTo>
                    <a:cubicBezTo>
                      <a:pt x="36" y="14"/>
                      <a:pt x="32" y="12"/>
                      <a:pt x="33" y="11"/>
                    </a:cubicBezTo>
                    <a:cubicBezTo>
                      <a:pt x="34" y="9"/>
                      <a:pt x="35" y="1"/>
                      <a:pt x="31" y="3"/>
                    </a:cubicBezTo>
                    <a:cubicBezTo>
                      <a:pt x="28" y="5"/>
                      <a:pt x="22" y="11"/>
                      <a:pt x="15" y="10"/>
                    </a:cubicBezTo>
                    <a:cubicBezTo>
                      <a:pt x="8" y="9"/>
                      <a:pt x="13" y="9"/>
                      <a:pt x="10" y="7"/>
                    </a:cubicBezTo>
                    <a:cubicBezTo>
                      <a:pt x="6" y="6"/>
                      <a:pt x="8" y="2"/>
                      <a:pt x="5" y="1"/>
                    </a:cubicBezTo>
                    <a:cubicBezTo>
                      <a:pt x="2" y="0"/>
                      <a:pt x="4" y="5"/>
                      <a:pt x="2" y="5"/>
                    </a:cubicBezTo>
                    <a:cubicBezTo>
                      <a:pt x="0" y="5"/>
                      <a:pt x="2" y="11"/>
                      <a:pt x="2" y="12"/>
                    </a:cubicBezTo>
                    <a:cubicBezTo>
                      <a:pt x="3" y="13"/>
                      <a:pt x="1" y="20"/>
                      <a:pt x="2" y="20"/>
                    </a:cubicBezTo>
                    <a:cubicBezTo>
                      <a:pt x="4" y="21"/>
                      <a:pt x="7" y="26"/>
                      <a:pt x="6" y="27"/>
                    </a:cubicBezTo>
                    <a:cubicBezTo>
                      <a:pt x="6" y="28"/>
                      <a:pt x="9" y="31"/>
                      <a:pt x="9" y="33"/>
                    </a:cubicBezTo>
                    <a:cubicBezTo>
                      <a:pt x="9" y="35"/>
                      <a:pt x="12" y="38"/>
                      <a:pt x="14" y="38"/>
                    </a:cubicBezTo>
                    <a:cubicBezTo>
                      <a:pt x="15" y="38"/>
                      <a:pt x="17" y="39"/>
                      <a:pt x="17" y="41"/>
                    </a:cubicBezTo>
                    <a:cubicBezTo>
                      <a:pt x="16" y="43"/>
                      <a:pt x="18" y="46"/>
                      <a:pt x="16" y="46"/>
                    </a:cubicBezTo>
                    <a:cubicBezTo>
                      <a:pt x="14" y="46"/>
                      <a:pt x="14" y="51"/>
                      <a:pt x="13" y="52"/>
                    </a:cubicBezTo>
                    <a:cubicBezTo>
                      <a:pt x="11" y="53"/>
                      <a:pt x="12" y="59"/>
                      <a:pt x="14" y="59"/>
                    </a:cubicBezTo>
                    <a:cubicBezTo>
                      <a:pt x="15" y="60"/>
                      <a:pt x="18" y="61"/>
                      <a:pt x="17" y="64"/>
                    </a:cubicBezTo>
                    <a:cubicBezTo>
                      <a:pt x="17" y="66"/>
                      <a:pt x="24" y="69"/>
                      <a:pt x="26" y="70"/>
                    </a:cubicBezTo>
                    <a:cubicBezTo>
                      <a:pt x="28" y="70"/>
                      <a:pt x="29" y="73"/>
                      <a:pt x="30" y="74"/>
                    </a:cubicBezTo>
                    <a:cubicBezTo>
                      <a:pt x="31" y="76"/>
                      <a:pt x="29" y="78"/>
                      <a:pt x="29" y="80"/>
                    </a:cubicBezTo>
                    <a:cubicBezTo>
                      <a:pt x="30" y="81"/>
                      <a:pt x="33" y="83"/>
                      <a:pt x="32" y="85"/>
                    </a:cubicBezTo>
                    <a:cubicBezTo>
                      <a:pt x="32" y="87"/>
                      <a:pt x="35" y="89"/>
                      <a:pt x="37" y="92"/>
                    </a:cubicBezTo>
                    <a:cubicBezTo>
                      <a:pt x="38" y="91"/>
                      <a:pt x="38" y="91"/>
                      <a:pt x="39" y="91"/>
                    </a:cubicBezTo>
                    <a:cubicBezTo>
                      <a:pt x="41" y="91"/>
                      <a:pt x="41" y="89"/>
                      <a:pt x="42" y="90"/>
                    </a:cubicBezTo>
                    <a:cubicBezTo>
                      <a:pt x="44" y="92"/>
                      <a:pt x="46" y="90"/>
                      <a:pt x="48" y="90"/>
                    </a:cubicBezTo>
                    <a:cubicBezTo>
                      <a:pt x="50" y="90"/>
                      <a:pt x="54" y="98"/>
                      <a:pt x="56" y="103"/>
                    </a:cubicBezTo>
                    <a:cubicBezTo>
                      <a:pt x="58" y="107"/>
                      <a:pt x="58" y="108"/>
                      <a:pt x="61" y="110"/>
                    </a:cubicBezTo>
                    <a:cubicBezTo>
                      <a:pt x="64" y="112"/>
                      <a:pt x="67" y="111"/>
                      <a:pt x="71" y="115"/>
                    </a:cubicBezTo>
                    <a:cubicBezTo>
                      <a:pt x="75" y="119"/>
                      <a:pt x="85" y="122"/>
                      <a:pt x="89" y="122"/>
                    </a:cubicBezTo>
                    <a:cubicBezTo>
                      <a:pt x="93" y="122"/>
                      <a:pt x="96" y="117"/>
                      <a:pt x="102" y="118"/>
                    </a:cubicBezTo>
                    <a:cubicBezTo>
                      <a:pt x="107" y="119"/>
                      <a:pt x="106" y="126"/>
                      <a:pt x="108" y="129"/>
                    </a:cubicBezTo>
                    <a:cubicBezTo>
                      <a:pt x="110" y="131"/>
                      <a:pt x="132" y="133"/>
                      <a:pt x="136" y="134"/>
                    </a:cubicBezTo>
                    <a:cubicBezTo>
                      <a:pt x="138" y="135"/>
                      <a:pt x="141" y="135"/>
                      <a:pt x="145" y="135"/>
                    </a:cubicBezTo>
                    <a:cubicBezTo>
                      <a:pt x="145" y="134"/>
                      <a:pt x="144" y="133"/>
                      <a:pt x="144" y="133"/>
                    </a:cubicBezTo>
                    <a:cubicBezTo>
                      <a:pt x="144" y="129"/>
                      <a:pt x="147" y="126"/>
                      <a:pt x="149" y="125"/>
                    </a:cubicBezTo>
                    <a:cubicBezTo>
                      <a:pt x="152" y="123"/>
                      <a:pt x="154" y="123"/>
                      <a:pt x="157" y="122"/>
                    </a:cubicBezTo>
                    <a:cubicBezTo>
                      <a:pt x="159" y="122"/>
                      <a:pt x="157" y="117"/>
                      <a:pt x="155" y="116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3" name="Freeform 162">
                <a:extLst>
                  <a:ext uri="{FF2B5EF4-FFF2-40B4-BE49-F238E27FC236}">
                    <a16:creationId xmlns:a16="http://schemas.microsoft.com/office/drawing/2014/main" id="{A90A4A1E-F9AF-4608-B446-955B088CBDB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77947" y="2931686"/>
                <a:ext cx="754090" cy="355087"/>
              </a:xfrm>
              <a:custGeom>
                <a:avLst/>
                <a:gdLst>
                  <a:gd name="T0" fmla="*/ 316 w 327"/>
                  <a:gd name="T1" fmla="*/ 64 h 154"/>
                  <a:gd name="T2" fmla="*/ 306 w 327"/>
                  <a:gd name="T3" fmla="*/ 54 h 154"/>
                  <a:gd name="T4" fmla="*/ 285 w 327"/>
                  <a:gd name="T5" fmla="*/ 50 h 154"/>
                  <a:gd name="T6" fmla="*/ 265 w 327"/>
                  <a:gd name="T7" fmla="*/ 37 h 154"/>
                  <a:gd name="T8" fmla="*/ 243 w 327"/>
                  <a:gd name="T9" fmla="*/ 13 h 154"/>
                  <a:gd name="T10" fmla="*/ 221 w 327"/>
                  <a:gd name="T11" fmla="*/ 22 h 154"/>
                  <a:gd name="T12" fmla="*/ 216 w 327"/>
                  <a:gd name="T13" fmla="*/ 16 h 154"/>
                  <a:gd name="T14" fmla="*/ 203 w 327"/>
                  <a:gd name="T15" fmla="*/ 14 h 154"/>
                  <a:gd name="T16" fmla="*/ 197 w 327"/>
                  <a:gd name="T17" fmla="*/ 2 h 154"/>
                  <a:gd name="T18" fmla="*/ 169 w 327"/>
                  <a:gd name="T19" fmla="*/ 7 h 154"/>
                  <a:gd name="T20" fmla="*/ 137 w 327"/>
                  <a:gd name="T21" fmla="*/ 14 h 154"/>
                  <a:gd name="T22" fmla="*/ 121 w 327"/>
                  <a:gd name="T23" fmla="*/ 23 h 154"/>
                  <a:gd name="T24" fmla="*/ 118 w 327"/>
                  <a:gd name="T25" fmla="*/ 33 h 154"/>
                  <a:gd name="T26" fmla="*/ 121 w 327"/>
                  <a:gd name="T27" fmla="*/ 44 h 154"/>
                  <a:gd name="T28" fmla="*/ 112 w 327"/>
                  <a:gd name="T29" fmla="*/ 50 h 154"/>
                  <a:gd name="T30" fmla="*/ 100 w 327"/>
                  <a:gd name="T31" fmla="*/ 49 h 154"/>
                  <a:gd name="T32" fmla="*/ 80 w 327"/>
                  <a:gd name="T33" fmla="*/ 50 h 154"/>
                  <a:gd name="T34" fmla="*/ 66 w 327"/>
                  <a:gd name="T35" fmla="*/ 50 h 154"/>
                  <a:gd name="T36" fmla="*/ 44 w 327"/>
                  <a:gd name="T37" fmla="*/ 42 h 154"/>
                  <a:gd name="T38" fmla="*/ 25 w 327"/>
                  <a:gd name="T39" fmla="*/ 47 h 154"/>
                  <a:gd name="T40" fmla="*/ 18 w 327"/>
                  <a:gd name="T41" fmla="*/ 60 h 154"/>
                  <a:gd name="T42" fmla="*/ 3 w 327"/>
                  <a:gd name="T43" fmla="*/ 63 h 154"/>
                  <a:gd name="T44" fmla="*/ 0 w 327"/>
                  <a:gd name="T45" fmla="*/ 74 h 154"/>
                  <a:gd name="T46" fmla="*/ 12 w 327"/>
                  <a:gd name="T47" fmla="*/ 82 h 154"/>
                  <a:gd name="T48" fmla="*/ 20 w 327"/>
                  <a:gd name="T49" fmla="*/ 96 h 154"/>
                  <a:gd name="T50" fmla="*/ 41 w 327"/>
                  <a:gd name="T51" fmla="*/ 91 h 154"/>
                  <a:gd name="T52" fmla="*/ 46 w 327"/>
                  <a:gd name="T53" fmla="*/ 107 h 154"/>
                  <a:gd name="T54" fmla="*/ 31 w 327"/>
                  <a:gd name="T55" fmla="*/ 118 h 154"/>
                  <a:gd name="T56" fmla="*/ 46 w 327"/>
                  <a:gd name="T57" fmla="*/ 133 h 154"/>
                  <a:gd name="T58" fmla="*/ 53 w 327"/>
                  <a:gd name="T59" fmla="*/ 141 h 154"/>
                  <a:gd name="T60" fmla="*/ 77 w 327"/>
                  <a:gd name="T61" fmla="*/ 146 h 154"/>
                  <a:gd name="T62" fmla="*/ 99 w 327"/>
                  <a:gd name="T63" fmla="*/ 103 h 154"/>
                  <a:gd name="T64" fmla="*/ 112 w 327"/>
                  <a:gd name="T65" fmla="*/ 104 h 154"/>
                  <a:gd name="T66" fmla="*/ 136 w 327"/>
                  <a:gd name="T67" fmla="*/ 125 h 154"/>
                  <a:gd name="T68" fmla="*/ 160 w 327"/>
                  <a:gd name="T69" fmla="*/ 138 h 154"/>
                  <a:gd name="T70" fmla="*/ 178 w 327"/>
                  <a:gd name="T71" fmla="*/ 152 h 154"/>
                  <a:gd name="T72" fmla="*/ 195 w 327"/>
                  <a:gd name="T73" fmla="*/ 144 h 154"/>
                  <a:gd name="T74" fmla="*/ 213 w 327"/>
                  <a:gd name="T75" fmla="*/ 134 h 154"/>
                  <a:gd name="T76" fmla="*/ 240 w 327"/>
                  <a:gd name="T77" fmla="*/ 132 h 154"/>
                  <a:gd name="T78" fmla="*/ 275 w 327"/>
                  <a:gd name="T79" fmla="*/ 138 h 154"/>
                  <a:gd name="T80" fmla="*/ 275 w 327"/>
                  <a:gd name="T81" fmla="*/ 120 h 154"/>
                  <a:gd name="T82" fmla="*/ 286 w 327"/>
                  <a:gd name="T83" fmla="*/ 108 h 154"/>
                  <a:gd name="T84" fmla="*/ 297 w 327"/>
                  <a:gd name="T85" fmla="*/ 91 h 154"/>
                  <a:gd name="T86" fmla="*/ 317 w 327"/>
                  <a:gd name="T87" fmla="*/ 88 h 154"/>
                  <a:gd name="T88" fmla="*/ 325 w 327"/>
                  <a:gd name="T89" fmla="*/ 71 h 154"/>
                  <a:gd name="T90" fmla="*/ 122 w 327"/>
                  <a:gd name="T91" fmla="*/ 98 h 154"/>
                  <a:gd name="T92" fmla="*/ 257 w 327"/>
                  <a:gd name="T93" fmla="*/ 97 h 154"/>
                  <a:gd name="T94" fmla="*/ 225 w 327"/>
                  <a:gd name="T95" fmla="*/ 97 h 154"/>
                  <a:gd name="T96" fmla="*/ 257 w 327"/>
                  <a:gd name="T97" fmla="*/ 97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327" h="154">
                    <a:moveTo>
                      <a:pt x="326" y="63"/>
                    </a:moveTo>
                    <a:cubicBezTo>
                      <a:pt x="325" y="62"/>
                      <a:pt x="324" y="62"/>
                      <a:pt x="323" y="63"/>
                    </a:cubicBezTo>
                    <a:cubicBezTo>
                      <a:pt x="322" y="64"/>
                      <a:pt x="318" y="64"/>
                      <a:pt x="316" y="64"/>
                    </a:cubicBezTo>
                    <a:cubicBezTo>
                      <a:pt x="315" y="64"/>
                      <a:pt x="312" y="62"/>
                      <a:pt x="312" y="61"/>
                    </a:cubicBezTo>
                    <a:cubicBezTo>
                      <a:pt x="312" y="59"/>
                      <a:pt x="312" y="58"/>
                      <a:pt x="311" y="58"/>
                    </a:cubicBezTo>
                    <a:cubicBezTo>
                      <a:pt x="309" y="58"/>
                      <a:pt x="307" y="57"/>
                      <a:pt x="306" y="54"/>
                    </a:cubicBezTo>
                    <a:cubicBezTo>
                      <a:pt x="304" y="50"/>
                      <a:pt x="302" y="50"/>
                      <a:pt x="300" y="49"/>
                    </a:cubicBezTo>
                    <a:cubicBezTo>
                      <a:pt x="299" y="49"/>
                      <a:pt x="294" y="51"/>
                      <a:pt x="292" y="52"/>
                    </a:cubicBezTo>
                    <a:cubicBezTo>
                      <a:pt x="290" y="52"/>
                      <a:pt x="287" y="51"/>
                      <a:pt x="285" y="50"/>
                    </a:cubicBezTo>
                    <a:cubicBezTo>
                      <a:pt x="282" y="50"/>
                      <a:pt x="281" y="46"/>
                      <a:pt x="278" y="46"/>
                    </a:cubicBezTo>
                    <a:cubicBezTo>
                      <a:pt x="276" y="47"/>
                      <a:pt x="275" y="51"/>
                      <a:pt x="274" y="51"/>
                    </a:cubicBezTo>
                    <a:cubicBezTo>
                      <a:pt x="272" y="51"/>
                      <a:pt x="269" y="42"/>
                      <a:pt x="265" y="37"/>
                    </a:cubicBezTo>
                    <a:cubicBezTo>
                      <a:pt x="262" y="32"/>
                      <a:pt x="256" y="21"/>
                      <a:pt x="250" y="19"/>
                    </a:cubicBezTo>
                    <a:cubicBezTo>
                      <a:pt x="245" y="17"/>
                      <a:pt x="247" y="15"/>
                      <a:pt x="248" y="13"/>
                    </a:cubicBezTo>
                    <a:cubicBezTo>
                      <a:pt x="250" y="12"/>
                      <a:pt x="245" y="11"/>
                      <a:pt x="243" y="13"/>
                    </a:cubicBezTo>
                    <a:cubicBezTo>
                      <a:pt x="241" y="14"/>
                      <a:pt x="238" y="16"/>
                      <a:pt x="235" y="17"/>
                    </a:cubicBezTo>
                    <a:cubicBezTo>
                      <a:pt x="233" y="17"/>
                      <a:pt x="229" y="21"/>
                      <a:pt x="227" y="20"/>
                    </a:cubicBezTo>
                    <a:cubicBezTo>
                      <a:pt x="224" y="19"/>
                      <a:pt x="223" y="24"/>
                      <a:pt x="221" y="22"/>
                    </a:cubicBezTo>
                    <a:cubicBezTo>
                      <a:pt x="219" y="20"/>
                      <a:pt x="224" y="18"/>
                      <a:pt x="224" y="17"/>
                    </a:cubicBezTo>
                    <a:cubicBezTo>
                      <a:pt x="224" y="15"/>
                      <a:pt x="220" y="17"/>
                      <a:pt x="219" y="16"/>
                    </a:cubicBezTo>
                    <a:cubicBezTo>
                      <a:pt x="218" y="15"/>
                      <a:pt x="216" y="14"/>
                      <a:pt x="216" y="16"/>
                    </a:cubicBezTo>
                    <a:cubicBezTo>
                      <a:pt x="216" y="17"/>
                      <a:pt x="213" y="16"/>
                      <a:pt x="213" y="15"/>
                    </a:cubicBezTo>
                    <a:cubicBezTo>
                      <a:pt x="213" y="14"/>
                      <a:pt x="212" y="11"/>
                      <a:pt x="210" y="13"/>
                    </a:cubicBezTo>
                    <a:cubicBezTo>
                      <a:pt x="209" y="15"/>
                      <a:pt x="204" y="16"/>
                      <a:pt x="203" y="14"/>
                    </a:cubicBezTo>
                    <a:cubicBezTo>
                      <a:pt x="202" y="13"/>
                      <a:pt x="204" y="13"/>
                      <a:pt x="204" y="11"/>
                    </a:cubicBezTo>
                    <a:cubicBezTo>
                      <a:pt x="204" y="9"/>
                      <a:pt x="202" y="7"/>
                      <a:pt x="202" y="5"/>
                    </a:cubicBezTo>
                    <a:cubicBezTo>
                      <a:pt x="203" y="3"/>
                      <a:pt x="199" y="1"/>
                      <a:pt x="197" y="2"/>
                    </a:cubicBezTo>
                    <a:cubicBezTo>
                      <a:pt x="195" y="3"/>
                      <a:pt x="193" y="2"/>
                      <a:pt x="191" y="1"/>
                    </a:cubicBezTo>
                    <a:cubicBezTo>
                      <a:pt x="189" y="0"/>
                      <a:pt x="181" y="2"/>
                      <a:pt x="181" y="3"/>
                    </a:cubicBezTo>
                    <a:cubicBezTo>
                      <a:pt x="181" y="5"/>
                      <a:pt x="171" y="7"/>
                      <a:pt x="169" y="7"/>
                    </a:cubicBezTo>
                    <a:cubicBezTo>
                      <a:pt x="167" y="8"/>
                      <a:pt x="160" y="9"/>
                      <a:pt x="158" y="9"/>
                    </a:cubicBezTo>
                    <a:cubicBezTo>
                      <a:pt x="155" y="10"/>
                      <a:pt x="153" y="12"/>
                      <a:pt x="150" y="12"/>
                    </a:cubicBezTo>
                    <a:cubicBezTo>
                      <a:pt x="146" y="12"/>
                      <a:pt x="140" y="12"/>
                      <a:pt x="137" y="14"/>
                    </a:cubicBezTo>
                    <a:cubicBezTo>
                      <a:pt x="135" y="17"/>
                      <a:pt x="130" y="15"/>
                      <a:pt x="128" y="16"/>
                    </a:cubicBezTo>
                    <a:cubicBezTo>
                      <a:pt x="126" y="16"/>
                      <a:pt x="122" y="15"/>
                      <a:pt x="121" y="16"/>
                    </a:cubicBezTo>
                    <a:cubicBezTo>
                      <a:pt x="120" y="17"/>
                      <a:pt x="120" y="21"/>
                      <a:pt x="121" y="23"/>
                    </a:cubicBezTo>
                    <a:cubicBezTo>
                      <a:pt x="122" y="24"/>
                      <a:pt x="128" y="25"/>
                      <a:pt x="128" y="26"/>
                    </a:cubicBezTo>
                    <a:cubicBezTo>
                      <a:pt x="129" y="27"/>
                      <a:pt x="123" y="27"/>
                      <a:pt x="120" y="28"/>
                    </a:cubicBezTo>
                    <a:cubicBezTo>
                      <a:pt x="117" y="28"/>
                      <a:pt x="118" y="32"/>
                      <a:pt x="118" y="33"/>
                    </a:cubicBezTo>
                    <a:cubicBezTo>
                      <a:pt x="119" y="35"/>
                      <a:pt x="116" y="37"/>
                      <a:pt x="114" y="38"/>
                    </a:cubicBezTo>
                    <a:cubicBezTo>
                      <a:pt x="111" y="38"/>
                      <a:pt x="114" y="42"/>
                      <a:pt x="116" y="42"/>
                    </a:cubicBezTo>
                    <a:cubicBezTo>
                      <a:pt x="118" y="42"/>
                      <a:pt x="120" y="44"/>
                      <a:pt x="121" y="44"/>
                    </a:cubicBezTo>
                    <a:cubicBezTo>
                      <a:pt x="123" y="44"/>
                      <a:pt x="123" y="47"/>
                      <a:pt x="123" y="49"/>
                    </a:cubicBezTo>
                    <a:cubicBezTo>
                      <a:pt x="123" y="52"/>
                      <a:pt x="121" y="52"/>
                      <a:pt x="118" y="52"/>
                    </a:cubicBezTo>
                    <a:cubicBezTo>
                      <a:pt x="116" y="52"/>
                      <a:pt x="114" y="50"/>
                      <a:pt x="112" y="50"/>
                    </a:cubicBezTo>
                    <a:cubicBezTo>
                      <a:pt x="111" y="49"/>
                      <a:pt x="111" y="53"/>
                      <a:pt x="110" y="54"/>
                    </a:cubicBezTo>
                    <a:cubicBezTo>
                      <a:pt x="108" y="54"/>
                      <a:pt x="108" y="51"/>
                      <a:pt x="106" y="51"/>
                    </a:cubicBezTo>
                    <a:cubicBezTo>
                      <a:pt x="104" y="51"/>
                      <a:pt x="101" y="51"/>
                      <a:pt x="100" y="49"/>
                    </a:cubicBezTo>
                    <a:cubicBezTo>
                      <a:pt x="100" y="47"/>
                      <a:pt x="95" y="46"/>
                      <a:pt x="92" y="48"/>
                    </a:cubicBezTo>
                    <a:cubicBezTo>
                      <a:pt x="90" y="50"/>
                      <a:pt x="90" y="49"/>
                      <a:pt x="88" y="48"/>
                    </a:cubicBezTo>
                    <a:cubicBezTo>
                      <a:pt x="86" y="47"/>
                      <a:pt x="81" y="49"/>
                      <a:pt x="80" y="50"/>
                    </a:cubicBezTo>
                    <a:cubicBezTo>
                      <a:pt x="79" y="52"/>
                      <a:pt x="75" y="53"/>
                      <a:pt x="72" y="51"/>
                    </a:cubicBezTo>
                    <a:cubicBezTo>
                      <a:pt x="70" y="49"/>
                      <a:pt x="68" y="49"/>
                      <a:pt x="68" y="51"/>
                    </a:cubicBezTo>
                    <a:cubicBezTo>
                      <a:pt x="68" y="54"/>
                      <a:pt x="66" y="52"/>
                      <a:pt x="66" y="50"/>
                    </a:cubicBezTo>
                    <a:cubicBezTo>
                      <a:pt x="66" y="49"/>
                      <a:pt x="61" y="46"/>
                      <a:pt x="59" y="44"/>
                    </a:cubicBezTo>
                    <a:cubicBezTo>
                      <a:pt x="57" y="43"/>
                      <a:pt x="50" y="43"/>
                      <a:pt x="50" y="42"/>
                    </a:cubicBezTo>
                    <a:cubicBezTo>
                      <a:pt x="49" y="40"/>
                      <a:pt x="45" y="39"/>
                      <a:pt x="44" y="42"/>
                    </a:cubicBezTo>
                    <a:cubicBezTo>
                      <a:pt x="43" y="44"/>
                      <a:pt x="41" y="42"/>
                      <a:pt x="40" y="42"/>
                    </a:cubicBezTo>
                    <a:cubicBezTo>
                      <a:pt x="38" y="41"/>
                      <a:pt x="35" y="43"/>
                      <a:pt x="34" y="43"/>
                    </a:cubicBezTo>
                    <a:cubicBezTo>
                      <a:pt x="32" y="44"/>
                      <a:pt x="28" y="47"/>
                      <a:pt x="25" y="47"/>
                    </a:cubicBezTo>
                    <a:cubicBezTo>
                      <a:pt x="23" y="47"/>
                      <a:pt x="24" y="50"/>
                      <a:pt x="21" y="51"/>
                    </a:cubicBezTo>
                    <a:cubicBezTo>
                      <a:pt x="18" y="52"/>
                      <a:pt x="18" y="54"/>
                      <a:pt x="19" y="55"/>
                    </a:cubicBezTo>
                    <a:cubicBezTo>
                      <a:pt x="19" y="57"/>
                      <a:pt x="21" y="59"/>
                      <a:pt x="18" y="60"/>
                    </a:cubicBezTo>
                    <a:cubicBezTo>
                      <a:pt x="15" y="62"/>
                      <a:pt x="14" y="57"/>
                      <a:pt x="11" y="55"/>
                    </a:cubicBezTo>
                    <a:cubicBezTo>
                      <a:pt x="9" y="53"/>
                      <a:pt x="7" y="55"/>
                      <a:pt x="7" y="58"/>
                    </a:cubicBezTo>
                    <a:cubicBezTo>
                      <a:pt x="7" y="60"/>
                      <a:pt x="4" y="60"/>
                      <a:pt x="3" y="63"/>
                    </a:cubicBezTo>
                    <a:cubicBezTo>
                      <a:pt x="1" y="65"/>
                      <a:pt x="5" y="66"/>
                      <a:pt x="5" y="67"/>
                    </a:cubicBezTo>
                    <a:cubicBezTo>
                      <a:pt x="5" y="68"/>
                      <a:pt x="3" y="69"/>
                      <a:pt x="2" y="69"/>
                    </a:cubicBezTo>
                    <a:cubicBezTo>
                      <a:pt x="2" y="70"/>
                      <a:pt x="0" y="73"/>
                      <a:pt x="0" y="74"/>
                    </a:cubicBezTo>
                    <a:cubicBezTo>
                      <a:pt x="1" y="75"/>
                      <a:pt x="5" y="75"/>
                      <a:pt x="5" y="78"/>
                    </a:cubicBezTo>
                    <a:cubicBezTo>
                      <a:pt x="5" y="80"/>
                      <a:pt x="4" y="83"/>
                      <a:pt x="6" y="82"/>
                    </a:cubicBezTo>
                    <a:cubicBezTo>
                      <a:pt x="9" y="81"/>
                      <a:pt x="11" y="82"/>
                      <a:pt x="12" y="82"/>
                    </a:cubicBezTo>
                    <a:cubicBezTo>
                      <a:pt x="14" y="82"/>
                      <a:pt x="15" y="84"/>
                      <a:pt x="17" y="87"/>
                    </a:cubicBezTo>
                    <a:cubicBezTo>
                      <a:pt x="20" y="90"/>
                      <a:pt x="21" y="92"/>
                      <a:pt x="18" y="92"/>
                    </a:cubicBezTo>
                    <a:cubicBezTo>
                      <a:pt x="16" y="93"/>
                      <a:pt x="17" y="94"/>
                      <a:pt x="20" y="96"/>
                    </a:cubicBezTo>
                    <a:cubicBezTo>
                      <a:pt x="21" y="96"/>
                      <a:pt x="22" y="97"/>
                      <a:pt x="23" y="97"/>
                    </a:cubicBezTo>
                    <a:cubicBezTo>
                      <a:pt x="23" y="97"/>
                      <a:pt x="24" y="97"/>
                      <a:pt x="24" y="96"/>
                    </a:cubicBezTo>
                    <a:cubicBezTo>
                      <a:pt x="28" y="93"/>
                      <a:pt x="36" y="89"/>
                      <a:pt x="41" y="91"/>
                    </a:cubicBezTo>
                    <a:cubicBezTo>
                      <a:pt x="46" y="92"/>
                      <a:pt x="51" y="90"/>
                      <a:pt x="53" y="93"/>
                    </a:cubicBezTo>
                    <a:cubicBezTo>
                      <a:pt x="56" y="97"/>
                      <a:pt x="53" y="103"/>
                      <a:pt x="54" y="105"/>
                    </a:cubicBezTo>
                    <a:cubicBezTo>
                      <a:pt x="55" y="107"/>
                      <a:pt x="50" y="108"/>
                      <a:pt x="46" y="107"/>
                    </a:cubicBezTo>
                    <a:cubicBezTo>
                      <a:pt x="43" y="107"/>
                      <a:pt x="36" y="109"/>
                      <a:pt x="36" y="111"/>
                    </a:cubicBezTo>
                    <a:cubicBezTo>
                      <a:pt x="37" y="113"/>
                      <a:pt x="40" y="118"/>
                      <a:pt x="35" y="115"/>
                    </a:cubicBezTo>
                    <a:cubicBezTo>
                      <a:pt x="31" y="113"/>
                      <a:pt x="29" y="118"/>
                      <a:pt x="31" y="118"/>
                    </a:cubicBezTo>
                    <a:cubicBezTo>
                      <a:pt x="34" y="118"/>
                      <a:pt x="37" y="121"/>
                      <a:pt x="37" y="123"/>
                    </a:cubicBezTo>
                    <a:cubicBezTo>
                      <a:pt x="37" y="125"/>
                      <a:pt x="38" y="130"/>
                      <a:pt x="40" y="129"/>
                    </a:cubicBezTo>
                    <a:cubicBezTo>
                      <a:pt x="42" y="129"/>
                      <a:pt x="42" y="133"/>
                      <a:pt x="46" y="133"/>
                    </a:cubicBezTo>
                    <a:cubicBezTo>
                      <a:pt x="49" y="132"/>
                      <a:pt x="52" y="134"/>
                      <a:pt x="50" y="137"/>
                    </a:cubicBezTo>
                    <a:cubicBezTo>
                      <a:pt x="47" y="140"/>
                      <a:pt x="51" y="148"/>
                      <a:pt x="52" y="146"/>
                    </a:cubicBezTo>
                    <a:cubicBezTo>
                      <a:pt x="53" y="145"/>
                      <a:pt x="52" y="143"/>
                      <a:pt x="53" y="141"/>
                    </a:cubicBezTo>
                    <a:cubicBezTo>
                      <a:pt x="51" y="137"/>
                      <a:pt x="59" y="137"/>
                      <a:pt x="61" y="137"/>
                    </a:cubicBezTo>
                    <a:cubicBezTo>
                      <a:pt x="64" y="137"/>
                      <a:pt x="68" y="140"/>
                      <a:pt x="71" y="144"/>
                    </a:cubicBezTo>
                    <a:cubicBezTo>
                      <a:pt x="74" y="148"/>
                      <a:pt x="77" y="146"/>
                      <a:pt x="77" y="146"/>
                    </a:cubicBezTo>
                    <a:cubicBezTo>
                      <a:pt x="78" y="110"/>
                      <a:pt x="78" y="110"/>
                      <a:pt x="78" y="110"/>
                    </a:cubicBezTo>
                    <a:cubicBezTo>
                      <a:pt x="98" y="105"/>
                      <a:pt x="98" y="105"/>
                      <a:pt x="98" y="105"/>
                    </a:cubicBezTo>
                    <a:cubicBezTo>
                      <a:pt x="99" y="104"/>
                      <a:pt x="99" y="104"/>
                      <a:pt x="99" y="103"/>
                    </a:cubicBezTo>
                    <a:cubicBezTo>
                      <a:pt x="102" y="99"/>
                      <a:pt x="105" y="103"/>
                      <a:pt x="106" y="103"/>
                    </a:cubicBezTo>
                    <a:cubicBezTo>
                      <a:pt x="107" y="104"/>
                      <a:pt x="107" y="99"/>
                      <a:pt x="110" y="100"/>
                    </a:cubicBezTo>
                    <a:cubicBezTo>
                      <a:pt x="113" y="100"/>
                      <a:pt x="109" y="104"/>
                      <a:pt x="112" y="104"/>
                    </a:cubicBezTo>
                    <a:cubicBezTo>
                      <a:pt x="113" y="104"/>
                      <a:pt x="117" y="110"/>
                      <a:pt x="116" y="115"/>
                    </a:cubicBezTo>
                    <a:cubicBezTo>
                      <a:pt x="119" y="118"/>
                      <a:pt x="125" y="124"/>
                      <a:pt x="125" y="125"/>
                    </a:cubicBezTo>
                    <a:cubicBezTo>
                      <a:pt x="126" y="127"/>
                      <a:pt x="134" y="124"/>
                      <a:pt x="136" y="125"/>
                    </a:cubicBezTo>
                    <a:cubicBezTo>
                      <a:pt x="137" y="125"/>
                      <a:pt x="150" y="125"/>
                      <a:pt x="152" y="125"/>
                    </a:cubicBezTo>
                    <a:cubicBezTo>
                      <a:pt x="154" y="125"/>
                      <a:pt x="156" y="129"/>
                      <a:pt x="158" y="130"/>
                    </a:cubicBezTo>
                    <a:cubicBezTo>
                      <a:pt x="161" y="131"/>
                      <a:pt x="160" y="135"/>
                      <a:pt x="160" y="138"/>
                    </a:cubicBezTo>
                    <a:cubicBezTo>
                      <a:pt x="161" y="140"/>
                      <a:pt x="164" y="143"/>
                      <a:pt x="165" y="146"/>
                    </a:cubicBezTo>
                    <a:cubicBezTo>
                      <a:pt x="165" y="148"/>
                      <a:pt x="169" y="147"/>
                      <a:pt x="172" y="148"/>
                    </a:cubicBezTo>
                    <a:cubicBezTo>
                      <a:pt x="174" y="148"/>
                      <a:pt x="178" y="149"/>
                      <a:pt x="178" y="152"/>
                    </a:cubicBezTo>
                    <a:cubicBezTo>
                      <a:pt x="179" y="154"/>
                      <a:pt x="182" y="152"/>
                      <a:pt x="182" y="151"/>
                    </a:cubicBezTo>
                    <a:cubicBezTo>
                      <a:pt x="182" y="149"/>
                      <a:pt x="186" y="146"/>
                      <a:pt x="190" y="144"/>
                    </a:cubicBezTo>
                    <a:cubicBezTo>
                      <a:pt x="193" y="143"/>
                      <a:pt x="194" y="143"/>
                      <a:pt x="195" y="144"/>
                    </a:cubicBezTo>
                    <a:cubicBezTo>
                      <a:pt x="196" y="142"/>
                      <a:pt x="197" y="140"/>
                      <a:pt x="197" y="139"/>
                    </a:cubicBezTo>
                    <a:cubicBezTo>
                      <a:pt x="199" y="139"/>
                      <a:pt x="202" y="136"/>
                      <a:pt x="202" y="134"/>
                    </a:cubicBezTo>
                    <a:cubicBezTo>
                      <a:pt x="203" y="131"/>
                      <a:pt x="209" y="131"/>
                      <a:pt x="213" y="134"/>
                    </a:cubicBezTo>
                    <a:cubicBezTo>
                      <a:pt x="218" y="136"/>
                      <a:pt x="220" y="136"/>
                      <a:pt x="221" y="132"/>
                    </a:cubicBezTo>
                    <a:cubicBezTo>
                      <a:pt x="221" y="129"/>
                      <a:pt x="227" y="128"/>
                      <a:pt x="229" y="129"/>
                    </a:cubicBezTo>
                    <a:cubicBezTo>
                      <a:pt x="231" y="130"/>
                      <a:pt x="237" y="133"/>
                      <a:pt x="240" y="132"/>
                    </a:cubicBezTo>
                    <a:cubicBezTo>
                      <a:pt x="242" y="131"/>
                      <a:pt x="257" y="132"/>
                      <a:pt x="260" y="133"/>
                    </a:cubicBezTo>
                    <a:cubicBezTo>
                      <a:pt x="264" y="134"/>
                      <a:pt x="265" y="132"/>
                      <a:pt x="268" y="136"/>
                    </a:cubicBezTo>
                    <a:cubicBezTo>
                      <a:pt x="270" y="139"/>
                      <a:pt x="272" y="136"/>
                      <a:pt x="275" y="138"/>
                    </a:cubicBezTo>
                    <a:cubicBezTo>
                      <a:pt x="275" y="137"/>
                      <a:pt x="274" y="136"/>
                      <a:pt x="274" y="135"/>
                    </a:cubicBezTo>
                    <a:cubicBezTo>
                      <a:pt x="274" y="133"/>
                      <a:pt x="278" y="131"/>
                      <a:pt x="279" y="129"/>
                    </a:cubicBezTo>
                    <a:cubicBezTo>
                      <a:pt x="279" y="127"/>
                      <a:pt x="275" y="122"/>
                      <a:pt x="275" y="120"/>
                    </a:cubicBezTo>
                    <a:cubicBezTo>
                      <a:pt x="275" y="118"/>
                      <a:pt x="275" y="114"/>
                      <a:pt x="274" y="113"/>
                    </a:cubicBezTo>
                    <a:cubicBezTo>
                      <a:pt x="272" y="112"/>
                      <a:pt x="277" y="110"/>
                      <a:pt x="278" y="110"/>
                    </a:cubicBezTo>
                    <a:cubicBezTo>
                      <a:pt x="281" y="110"/>
                      <a:pt x="285" y="107"/>
                      <a:pt x="286" y="108"/>
                    </a:cubicBezTo>
                    <a:cubicBezTo>
                      <a:pt x="287" y="109"/>
                      <a:pt x="289" y="110"/>
                      <a:pt x="292" y="110"/>
                    </a:cubicBezTo>
                    <a:cubicBezTo>
                      <a:pt x="294" y="110"/>
                      <a:pt x="293" y="107"/>
                      <a:pt x="292" y="106"/>
                    </a:cubicBezTo>
                    <a:cubicBezTo>
                      <a:pt x="290" y="105"/>
                      <a:pt x="296" y="94"/>
                      <a:pt x="297" y="91"/>
                    </a:cubicBezTo>
                    <a:cubicBezTo>
                      <a:pt x="297" y="87"/>
                      <a:pt x="299" y="90"/>
                      <a:pt x="302" y="91"/>
                    </a:cubicBezTo>
                    <a:cubicBezTo>
                      <a:pt x="305" y="91"/>
                      <a:pt x="308" y="90"/>
                      <a:pt x="309" y="91"/>
                    </a:cubicBezTo>
                    <a:cubicBezTo>
                      <a:pt x="311" y="92"/>
                      <a:pt x="316" y="90"/>
                      <a:pt x="317" y="88"/>
                    </a:cubicBezTo>
                    <a:cubicBezTo>
                      <a:pt x="318" y="87"/>
                      <a:pt x="316" y="86"/>
                      <a:pt x="316" y="82"/>
                    </a:cubicBezTo>
                    <a:cubicBezTo>
                      <a:pt x="316" y="78"/>
                      <a:pt x="318" y="76"/>
                      <a:pt x="321" y="76"/>
                    </a:cubicBezTo>
                    <a:cubicBezTo>
                      <a:pt x="324" y="76"/>
                      <a:pt x="325" y="73"/>
                      <a:pt x="325" y="71"/>
                    </a:cubicBezTo>
                    <a:cubicBezTo>
                      <a:pt x="325" y="70"/>
                      <a:pt x="327" y="69"/>
                      <a:pt x="327" y="66"/>
                    </a:cubicBezTo>
                    <a:cubicBezTo>
                      <a:pt x="326" y="65"/>
                      <a:pt x="326" y="64"/>
                      <a:pt x="326" y="63"/>
                    </a:cubicBezTo>
                    <a:close/>
                    <a:moveTo>
                      <a:pt x="122" y="98"/>
                    </a:moveTo>
                    <a:cubicBezTo>
                      <a:pt x="121" y="99"/>
                      <a:pt x="112" y="97"/>
                      <a:pt x="111" y="95"/>
                    </a:cubicBezTo>
                    <a:cubicBezTo>
                      <a:pt x="110" y="93"/>
                      <a:pt x="124" y="95"/>
                      <a:pt x="122" y="98"/>
                    </a:cubicBezTo>
                    <a:close/>
                    <a:moveTo>
                      <a:pt x="257" y="97"/>
                    </a:moveTo>
                    <a:cubicBezTo>
                      <a:pt x="250" y="97"/>
                      <a:pt x="236" y="94"/>
                      <a:pt x="230" y="100"/>
                    </a:cubicBezTo>
                    <a:cubicBezTo>
                      <a:pt x="224" y="107"/>
                      <a:pt x="228" y="110"/>
                      <a:pt x="226" y="111"/>
                    </a:cubicBezTo>
                    <a:cubicBezTo>
                      <a:pt x="223" y="111"/>
                      <a:pt x="221" y="101"/>
                      <a:pt x="225" y="97"/>
                    </a:cubicBezTo>
                    <a:cubicBezTo>
                      <a:pt x="228" y="94"/>
                      <a:pt x="239" y="93"/>
                      <a:pt x="245" y="94"/>
                    </a:cubicBezTo>
                    <a:cubicBezTo>
                      <a:pt x="252" y="96"/>
                      <a:pt x="264" y="93"/>
                      <a:pt x="265" y="93"/>
                    </a:cubicBezTo>
                    <a:cubicBezTo>
                      <a:pt x="267" y="94"/>
                      <a:pt x="264" y="97"/>
                      <a:pt x="257" y="9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4" name="Freeform 165">
                <a:extLst>
                  <a:ext uri="{FF2B5EF4-FFF2-40B4-BE49-F238E27FC236}">
                    <a16:creationId xmlns:a16="http://schemas.microsoft.com/office/drawing/2014/main" id="{2BB45075-6164-4468-BB37-83B8EC1CA3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6820" y="3983146"/>
                <a:ext cx="341285" cy="356342"/>
              </a:xfrm>
              <a:custGeom>
                <a:avLst/>
                <a:gdLst>
                  <a:gd name="T0" fmla="*/ 132 w 148"/>
                  <a:gd name="T1" fmla="*/ 72 h 155"/>
                  <a:gd name="T2" fmla="*/ 132 w 148"/>
                  <a:gd name="T3" fmla="*/ 67 h 155"/>
                  <a:gd name="T4" fmla="*/ 130 w 148"/>
                  <a:gd name="T5" fmla="*/ 65 h 155"/>
                  <a:gd name="T6" fmla="*/ 133 w 148"/>
                  <a:gd name="T7" fmla="*/ 57 h 155"/>
                  <a:gd name="T8" fmla="*/ 136 w 148"/>
                  <a:gd name="T9" fmla="*/ 51 h 155"/>
                  <a:gd name="T10" fmla="*/ 139 w 148"/>
                  <a:gd name="T11" fmla="*/ 38 h 155"/>
                  <a:gd name="T12" fmla="*/ 145 w 148"/>
                  <a:gd name="T13" fmla="*/ 31 h 155"/>
                  <a:gd name="T14" fmla="*/ 145 w 148"/>
                  <a:gd name="T15" fmla="*/ 23 h 155"/>
                  <a:gd name="T16" fmla="*/ 146 w 148"/>
                  <a:gd name="T17" fmla="*/ 16 h 155"/>
                  <a:gd name="T18" fmla="*/ 133 w 148"/>
                  <a:gd name="T19" fmla="*/ 9 h 155"/>
                  <a:gd name="T20" fmla="*/ 123 w 148"/>
                  <a:gd name="T21" fmla="*/ 9 h 155"/>
                  <a:gd name="T22" fmla="*/ 118 w 148"/>
                  <a:gd name="T23" fmla="*/ 3 h 155"/>
                  <a:gd name="T24" fmla="*/ 112 w 148"/>
                  <a:gd name="T25" fmla="*/ 4 h 155"/>
                  <a:gd name="T26" fmla="*/ 96 w 148"/>
                  <a:gd name="T27" fmla="*/ 4 h 155"/>
                  <a:gd name="T28" fmla="*/ 82 w 148"/>
                  <a:gd name="T29" fmla="*/ 6 h 155"/>
                  <a:gd name="T30" fmla="*/ 64 w 148"/>
                  <a:gd name="T31" fmla="*/ 9 h 155"/>
                  <a:gd name="T32" fmla="*/ 49 w 148"/>
                  <a:gd name="T33" fmla="*/ 11 h 155"/>
                  <a:gd name="T34" fmla="*/ 48 w 148"/>
                  <a:gd name="T35" fmla="*/ 25 h 155"/>
                  <a:gd name="T36" fmla="*/ 39 w 148"/>
                  <a:gd name="T37" fmla="*/ 50 h 155"/>
                  <a:gd name="T38" fmla="*/ 31 w 148"/>
                  <a:gd name="T39" fmla="*/ 72 h 155"/>
                  <a:gd name="T40" fmla="*/ 23 w 148"/>
                  <a:gd name="T41" fmla="*/ 83 h 155"/>
                  <a:gd name="T42" fmla="*/ 13 w 148"/>
                  <a:gd name="T43" fmla="*/ 83 h 155"/>
                  <a:gd name="T44" fmla="*/ 0 w 148"/>
                  <a:gd name="T45" fmla="*/ 86 h 155"/>
                  <a:gd name="T46" fmla="*/ 3 w 148"/>
                  <a:gd name="T47" fmla="*/ 96 h 155"/>
                  <a:gd name="T48" fmla="*/ 34 w 148"/>
                  <a:gd name="T49" fmla="*/ 94 h 155"/>
                  <a:gd name="T50" fmla="*/ 39 w 148"/>
                  <a:gd name="T51" fmla="*/ 106 h 155"/>
                  <a:gd name="T52" fmla="*/ 55 w 148"/>
                  <a:gd name="T53" fmla="*/ 110 h 155"/>
                  <a:gd name="T54" fmla="*/ 64 w 148"/>
                  <a:gd name="T55" fmla="*/ 103 h 155"/>
                  <a:gd name="T56" fmla="*/ 74 w 148"/>
                  <a:gd name="T57" fmla="*/ 106 h 155"/>
                  <a:gd name="T58" fmla="*/ 74 w 148"/>
                  <a:gd name="T59" fmla="*/ 123 h 155"/>
                  <a:gd name="T60" fmla="*/ 78 w 148"/>
                  <a:gd name="T61" fmla="*/ 136 h 155"/>
                  <a:gd name="T62" fmla="*/ 89 w 148"/>
                  <a:gd name="T63" fmla="*/ 133 h 155"/>
                  <a:gd name="T64" fmla="*/ 94 w 148"/>
                  <a:gd name="T65" fmla="*/ 136 h 155"/>
                  <a:gd name="T66" fmla="*/ 101 w 148"/>
                  <a:gd name="T67" fmla="*/ 137 h 155"/>
                  <a:gd name="T68" fmla="*/ 110 w 148"/>
                  <a:gd name="T69" fmla="*/ 143 h 155"/>
                  <a:gd name="T70" fmla="*/ 116 w 148"/>
                  <a:gd name="T71" fmla="*/ 141 h 155"/>
                  <a:gd name="T72" fmla="*/ 127 w 148"/>
                  <a:gd name="T73" fmla="*/ 147 h 155"/>
                  <a:gd name="T74" fmla="*/ 136 w 148"/>
                  <a:gd name="T75" fmla="*/ 153 h 155"/>
                  <a:gd name="T76" fmla="*/ 136 w 148"/>
                  <a:gd name="T77" fmla="*/ 144 h 155"/>
                  <a:gd name="T78" fmla="*/ 125 w 148"/>
                  <a:gd name="T79" fmla="*/ 140 h 155"/>
                  <a:gd name="T80" fmla="*/ 127 w 148"/>
                  <a:gd name="T81" fmla="*/ 123 h 155"/>
                  <a:gd name="T82" fmla="*/ 131 w 148"/>
                  <a:gd name="T83" fmla="*/ 113 h 155"/>
                  <a:gd name="T84" fmla="*/ 141 w 148"/>
                  <a:gd name="T85" fmla="*/ 112 h 155"/>
                  <a:gd name="T86" fmla="*/ 135 w 148"/>
                  <a:gd name="T87" fmla="*/ 102 h 1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48" h="155">
                    <a:moveTo>
                      <a:pt x="135" y="102"/>
                    </a:moveTo>
                    <a:cubicBezTo>
                      <a:pt x="131" y="100"/>
                      <a:pt x="130" y="73"/>
                      <a:pt x="132" y="72"/>
                    </a:cubicBezTo>
                    <a:cubicBezTo>
                      <a:pt x="132" y="72"/>
                      <a:pt x="132" y="73"/>
                      <a:pt x="133" y="73"/>
                    </a:cubicBezTo>
                    <a:cubicBezTo>
                      <a:pt x="132" y="67"/>
                      <a:pt x="132" y="67"/>
                      <a:pt x="132" y="67"/>
                    </a:cubicBezTo>
                    <a:cubicBezTo>
                      <a:pt x="132" y="67"/>
                      <a:pt x="132" y="67"/>
                      <a:pt x="132" y="67"/>
                    </a:cubicBezTo>
                    <a:cubicBezTo>
                      <a:pt x="131" y="67"/>
                      <a:pt x="130" y="66"/>
                      <a:pt x="130" y="65"/>
                    </a:cubicBezTo>
                    <a:cubicBezTo>
                      <a:pt x="130" y="62"/>
                      <a:pt x="132" y="62"/>
                      <a:pt x="132" y="62"/>
                    </a:cubicBezTo>
                    <a:cubicBezTo>
                      <a:pt x="132" y="62"/>
                      <a:pt x="131" y="58"/>
                      <a:pt x="133" y="57"/>
                    </a:cubicBezTo>
                    <a:cubicBezTo>
                      <a:pt x="134" y="57"/>
                      <a:pt x="134" y="57"/>
                      <a:pt x="134" y="56"/>
                    </a:cubicBezTo>
                    <a:cubicBezTo>
                      <a:pt x="135" y="55"/>
                      <a:pt x="136" y="52"/>
                      <a:pt x="136" y="51"/>
                    </a:cubicBezTo>
                    <a:cubicBezTo>
                      <a:pt x="136" y="48"/>
                      <a:pt x="136" y="46"/>
                      <a:pt x="137" y="44"/>
                    </a:cubicBezTo>
                    <a:cubicBezTo>
                      <a:pt x="138" y="42"/>
                      <a:pt x="138" y="39"/>
                      <a:pt x="139" y="38"/>
                    </a:cubicBezTo>
                    <a:cubicBezTo>
                      <a:pt x="140" y="37"/>
                      <a:pt x="140" y="34"/>
                      <a:pt x="142" y="33"/>
                    </a:cubicBezTo>
                    <a:cubicBezTo>
                      <a:pt x="144" y="33"/>
                      <a:pt x="145" y="32"/>
                      <a:pt x="145" y="31"/>
                    </a:cubicBezTo>
                    <a:cubicBezTo>
                      <a:pt x="146" y="30"/>
                      <a:pt x="148" y="29"/>
                      <a:pt x="148" y="27"/>
                    </a:cubicBezTo>
                    <a:cubicBezTo>
                      <a:pt x="148" y="25"/>
                      <a:pt x="145" y="25"/>
                      <a:pt x="145" y="23"/>
                    </a:cubicBezTo>
                    <a:cubicBezTo>
                      <a:pt x="145" y="21"/>
                      <a:pt x="146" y="16"/>
                      <a:pt x="146" y="16"/>
                    </a:cubicBezTo>
                    <a:cubicBezTo>
                      <a:pt x="146" y="16"/>
                      <a:pt x="146" y="16"/>
                      <a:pt x="146" y="16"/>
                    </a:cubicBezTo>
                    <a:cubicBezTo>
                      <a:pt x="142" y="13"/>
                      <a:pt x="138" y="9"/>
                      <a:pt x="137" y="8"/>
                    </a:cubicBezTo>
                    <a:cubicBezTo>
                      <a:pt x="135" y="7"/>
                      <a:pt x="133" y="9"/>
                      <a:pt x="133" y="9"/>
                    </a:cubicBezTo>
                    <a:cubicBezTo>
                      <a:pt x="133" y="9"/>
                      <a:pt x="130" y="7"/>
                      <a:pt x="128" y="9"/>
                    </a:cubicBezTo>
                    <a:cubicBezTo>
                      <a:pt x="126" y="11"/>
                      <a:pt x="123" y="9"/>
                      <a:pt x="123" y="9"/>
                    </a:cubicBezTo>
                    <a:cubicBezTo>
                      <a:pt x="123" y="9"/>
                      <a:pt x="121" y="7"/>
                      <a:pt x="120" y="5"/>
                    </a:cubicBezTo>
                    <a:cubicBezTo>
                      <a:pt x="119" y="4"/>
                      <a:pt x="119" y="3"/>
                      <a:pt x="118" y="3"/>
                    </a:cubicBezTo>
                    <a:cubicBezTo>
                      <a:pt x="118" y="3"/>
                      <a:pt x="118" y="3"/>
                      <a:pt x="118" y="3"/>
                    </a:cubicBezTo>
                    <a:cubicBezTo>
                      <a:pt x="112" y="4"/>
                      <a:pt x="112" y="4"/>
                      <a:pt x="112" y="4"/>
                    </a:cubicBezTo>
                    <a:cubicBezTo>
                      <a:pt x="112" y="4"/>
                      <a:pt x="104" y="0"/>
                      <a:pt x="103" y="3"/>
                    </a:cubicBezTo>
                    <a:cubicBezTo>
                      <a:pt x="101" y="6"/>
                      <a:pt x="100" y="4"/>
                      <a:pt x="96" y="4"/>
                    </a:cubicBezTo>
                    <a:cubicBezTo>
                      <a:pt x="93" y="4"/>
                      <a:pt x="90" y="5"/>
                      <a:pt x="88" y="6"/>
                    </a:cubicBezTo>
                    <a:cubicBezTo>
                      <a:pt x="86" y="7"/>
                      <a:pt x="83" y="5"/>
                      <a:pt x="82" y="6"/>
                    </a:cubicBezTo>
                    <a:cubicBezTo>
                      <a:pt x="80" y="7"/>
                      <a:pt x="79" y="12"/>
                      <a:pt x="79" y="12"/>
                    </a:cubicBezTo>
                    <a:cubicBezTo>
                      <a:pt x="64" y="9"/>
                      <a:pt x="64" y="9"/>
                      <a:pt x="64" y="9"/>
                    </a:cubicBezTo>
                    <a:cubicBezTo>
                      <a:pt x="64" y="9"/>
                      <a:pt x="61" y="4"/>
                      <a:pt x="57" y="4"/>
                    </a:cubicBezTo>
                    <a:cubicBezTo>
                      <a:pt x="54" y="4"/>
                      <a:pt x="49" y="11"/>
                      <a:pt x="49" y="11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9" y="20"/>
                      <a:pt x="49" y="23"/>
                      <a:pt x="48" y="25"/>
                    </a:cubicBezTo>
                    <a:cubicBezTo>
                      <a:pt x="46" y="27"/>
                      <a:pt x="45" y="28"/>
                      <a:pt x="45" y="33"/>
                    </a:cubicBezTo>
                    <a:cubicBezTo>
                      <a:pt x="45" y="38"/>
                      <a:pt x="39" y="46"/>
                      <a:pt x="39" y="50"/>
                    </a:cubicBezTo>
                    <a:cubicBezTo>
                      <a:pt x="39" y="54"/>
                      <a:pt x="32" y="56"/>
                      <a:pt x="32" y="59"/>
                    </a:cubicBezTo>
                    <a:cubicBezTo>
                      <a:pt x="32" y="61"/>
                      <a:pt x="31" y="67"/>
                      <a:pt x="31" y="72"/>
                    </a:cubicBezTo>
                    <a:cubicBezTo>
                      <a:pt x="31" y="78"/>
                      <a:pt x="28" y="73"/>
                      <a:pt x="28" y="78"/>
                    </a:cubicBezTo>
                    <a:cubicBezTo>
                      <a:pt x="28" y="83"/>
                      <a:pt x="26" y="80"/>
                      <a:pt x="23" y="83"/>
                    </a:cubicBezTo>
                    <a:cubicBezTo>
                      <a:pt x="21" y="85"/>
                      <a:pt x="20" y="86"/>
                      <a:pt x="20" y="83"/>
                    </a:cubicBezTo>
                    <a:cubicBezTo>
                      <a:pt x="20" y="81"/>
                      <a:pt x="16" y="80"/>
                      <a:pt x="13" y="83"/>
                    </a:cubicBezTo>
                    <a:cubicBezTo>
                      <a:pt x="10" y="85"/>
                      <a:pt x="9" y="83"/>
                      <a:pt x="8" y="82"/>
                    </a:cubicBezTo>
                    <a:cubicBezTo>
                      <a:pt x="7" y="82"/>
                      <a:pt x="4" y="84"/>
                      <a:pt x="0" y="86"/>
                    </a:cubicBezTo>
                    <a:cubicBezTo>
                      <a:pt x="2" y="89"/>
                      <a:pt x="3" y="92"/>
                      <a:pt x="3" y="95"/>
                    </a:cubicBezTo>
                    <a:cubicBezTo>
                      <a:pt x="3" y="95"/>
                      <a:pt x="3" y="96"/>
                      <a:pt x="3" y="96"/>
                    </a:cubicBezTo>
                    <a:cubicBezTo>
                      <a:pt x="5" y="95"/>
                      <a:pt x="7" y="94"/>
                      <a:pt x="8" y="94"/>
                    </a:cubicBezTo>
                    <a:cubicBezTo>
                      <a:pt x="10" y="93"/>
                      <a:pt x="34" y="94"/>
                      <a:pt x="34" y="94"/>
                    </a:cubicBezTo>
                    <a:cubicBezTo>
                      <a:pt x="34" y="94"/>
                      <a:pt x="36" y="97"/>
                      <a:pt x="35" y="100"/>
                    </a:cubicBezTo>
                    <a:cubicBezTo>
                      <a:pt x="35" y="103"/>
                      <a:pt x="37" y="102"/>
                      <a:pt x="39" y="106"/>
                    </a:cubicBezTo>
                    <a:cubicBezTo>
                      <a:pt x="40" y="111"/>
                      <a:pt x="42" y="112"/>
                      <a:pt x="45" y="111"/>
                    </a:cubicBezTo>
                    <a:cubicBezTo>
                      <a:pt x="49" y="110"/>
                      <a:pt x="53" y="110"/>
                      <a:pt x="55" y="110"/>
                    </a:cubicBezTo>
                    <a:cubicBezTo>
                      <a:pt x="56" y="110"/>
                      <a:pt x="56" y="104"/>
                      <a:pt x="58" y="103"/>
                    </a:cubicBezTo>
                    <a:cubicBezTo>
                      <a:pt x="60" y="102"/>
                      <a:pt x="64" y="103"/>
                      <a:pt x="64" y="103"/>
                    </a:cubicBezTo>
                    <a:cubicBezTo>
                      <a:pt x="64" y="103"/>
                      <a:pt x="65" y="105"/>
                      <a:pt x="68" y="105"/>
                    </a:cubicBezTo>
                    <a:cubicBezTo>
                      <a:pt x="72" y="105"/>
                      <a:pt x="74" y="103"/>
                      <a:pt x="74" y="106"/>
                    </a:cubicBezTo>
                    <a:cubicBezTo>
                      <a:pt x="74" y="108"/>
                      <a:pt x="74" y="111"/>
                      <a:pt x="75" y="112"/>
                    </a:cubicBezTo>
                    <a:cubicBezTo>
                      <a:pt x="76" y="113"/>
                      <a:pt x="72" y="122"/>
                      <a:pt x="74" y="123"/>
                    </a:cubicBezTo>
                    <a:cubicBezTo>
                      <a:pt x="76" y="125"/>
                      <a:pt x="78" y="128"/>
                      <a:pt x="78" y="130"/>
                    </a:cubicBezTo>
                    <a:cubicBezTo>
                      <a:pt x="78" y="132"/>
                      <a:pt x="76" y="136"/>
                      <a:pt x="78" y="136"/>
                    </a:cubicBezTo>
                    <a:cubicBezTo>
                      <a:pt x="79" y="137"/>
                      <a:pt x="80" y="134"/>
                      <a:pt x="82" y="134"/>
                    </a:cubicBezTo>
                    <a:cubicBezTo>
                      <a:pt x="85" y="134"/>
                      <a:pt x="87" y="135"/>
                      <a:pt x="89" y="133"/>
                    </a:cubicBezTo>
                    <a:cubicBezTo>
                      <a:pt x="90" y="133"/>
                      <a:pt x="91" y="133"/>
                      <a:pt x="91" y="134"/>
                    </a:cubicBezTo>
                    <a:cubicBezTo>
                      <a:pt x="93" y="134"/>
                      <a:pt x="94" y="136"/>
                      <a:pt x="94" y="136"/>
                    </a:cubicBezTo>
                    <a:cubicBezTo>
                      <a:pt x="94" y="136"/>
                      <a:pt x="94" y="138"/>
                      <a:pt x="96" y="137"/>
                    </a:cubicBezTo>
                    <a:cubicBezTo>
                      <a:pt x="97" y="137"/>
                      <a:pt x="101" y="136"/>
                      <a:pt x="101" y="137"/>
                    </a:cubicBezTo>
                    <a:cubicBezTo>
                      <a:pt x="100" y="138"/>
                      <a:pt x="102" y="142"/>
                      <a:pt x="103" y="141"/>
                    </a:cubicBezTo>
                    <a:cubicBezTo>
                      <a:pt x="105" y="140"/>
                      <a:pt x="108" y="143"/>
                      <a:pt x="110" y="143"/>
                    </a:cubicBezTo>
                    <a:cubicBezTo>
                      <a:pt x="112" y="143"/>
                      <a:pt x="114" y="143"/>
                      <a:pt x="114" y="142"/>
                    </a:cubicBezTo>
                    <a:cubicBezTo>
                      <a:pt x="114" y="141"/>
                      <a:pt x="116" y="139"/>
                      <a:pt x="116" y="141"/>
                    </a:cubicBezTo>
                    <a:cubicBezTo>
                      <a:pt x="117" y="142"/>
                      <a:pt x="119" y="145"/>
                      <a:pt x="121" y="145"/>
                    </a:cubicBezTo>
                    <a:cubicBezTo>
                      <a:pt x="122" y="145"/>
                      <a:pt x="127" y="145"/>
                      <a:pt x="127" y="147"/>
                    </a:cubicBezTo>
                    <a:cubicBezTo>
                      <a:pt x="127" y="148"/>
                      <a:pt x="128" y="152"/>
                      <a:pt x="130" y="153"/>
                    </a:cubicBezTo>
                    <a:cubicBezTo>
                      <a:pt x="132" y="155"/>
                      <a:pt x="136" y="153"/>
                      <a:pt x="136" y="153"/>
                    </a:cubicBezTo>
                    <a:cubicBezTo>
                      <a:pt x="136" y="153"/>
                      <a:pt x="137" y="152"/>
                      <a:pt x="137" y="150"/>
                    </a:cubicBezTo>
                    <a:cubicBezTo>
                      <a:pt x="137" y="147"/>
                      <a:pt x="137" y="144"/>
                      <a:pt x="136" y="144"/>
                    </a:cubicBezTo>
                    <a:cubicBezTo>
                      <a:pt x="135" y="144"/>
                      <a:pt x="133" y="147"/>
                      <a:pt x="131" y="146"/>
                    </a:cubicBezTo>
                    <a:cubicBezTo>
                      <a:pt x="128" y="145"/>
                      <a:pt x="126" y="140"/>
                      <a:pt x="125" y="140"/>
                    </a:cubicBezTo>
                    <a:cubicBezTo>
                      <a:pt x="124" y="139"/>
                      <a:pt x="127" y="134"/>
                      <a:pt x="127" y="132"/>
                    </a:cubicBezTo>
                    <a:cubicBezTo>
                      <a:pt x="127" y="130"/>
                      <a:pt x="129" y="124"/>
                      <a:pt x="127" y="123"/>
                    </a:cubicBezTo>
                    <a:cubicBezTo>
                      <a:pt x="126" y="122"/>
                      <a:pt x="127" y="120"/>
                      <a:pt x="129" y="119"/>
                    </a:cubicBezTo>
                    <a:cubicBezTo>
                      <a:pt x="130" y="117"/>
                      <a:pt x="128" y="113"/>
                      <a:pt x="131" y="113"/>
                    </a:cubicBezTo>
                    <a:cubicBezTo>
                      <a:pt x="133" y="113"/>
                      <a:pt x="139" y="114"/>
                      <a:pt x="140" y="112"/>
                    </a:cubicBezTo>
                    <a:cubicBezTo>
                      <a:pt x="140" y="112"/>
                      <a:pt x="141" y="112"/>
                      <a:pt x="141" y="112"/>
                    </a:cubicBezTo>
                    <a:cubicBezTo>
                      <a:pt x="141" y="111"/>
                      <a:pt x="141" y="111"/>
                      <a:pt x="141" y="110"/>
                    </a:cubicBezTo>
                    <a:cubicBezTo>
                      <a:pt x="139" y="107"/>
                      <a:pt x="138" y="103"/>
                      <a:pt x="135" y="10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5" name="Freeform 166">
                <a:extLst>
                  <a:ext uri="{FF2B5EF4-FFF2-40B4-BE49-F238E27FC236}">
                    <a16:creationId xmlns:a16="http://schemas.microsoft.com/office/drawing/2014/main" id="{919D173C-7F86-45C2-AB0F-C6F6311809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0464" y="4132459"/>
                <a:ext cx="30113" cy="38896"/>
              </a:xfrm>
              <a:custGeom>
                <a:avLst/>
                <a:gdLst>
                  <a:gd name="T0" fmla="*/ 1 w 13"/>
                  <a:gd name="T1" fmla="*/ 8 h 17"/>
                  <a:gd name="T2" fmla="*/ 3 w 13"/>
                  <a:gd name="T3" fmla="*/ 17 h 17"/>
                  <a:gd name="T4" fmla="*/ 6 w 13"/>
                  <a:gd name="T5" fmla="*/ 15 h 17"/>
                  <a:gd name="T6" fmla="*/ 13 w 13"/>
                  <a:gd name="T7" fmla="*/ 5 h 17"/>
                  <a:gd name="T8" fmla="*/ 10 w 13"/>
                  <a:gd name="T9" fmla="*/ 4 h 17"/>
                  <a:gd name="T10" fmla="*/ 10 w 13"/>
                  <a:gd name="T11" fmla="*/ 0 h 17"/>
                  <a:gd name="T12" fmla="*/ 6 w 13"/>
                  <a:gd name="T13" fmla="*/ 0 h 17"/>
                  <a:gd name="T14" fmla="*/ 2 w 13"/>
                  <a:gd name="T15" fmla="*/ 2 h 17"/>
                  <a:gd name="T16" fmla="*/ 0 w 13"/>
                  <a:gd name="T17" fmla="*/ 2 h 17"/>
                  <a:gd name="T18" fmla="*/ 0 w 13"/>
                  <a:gd name="T19" fmla="*/ 2 h 17"/>
                  <a:gd name="T20" fmla="*/ 1 w 13"/>
                  <a:gd name="T21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3" h="17">
                    <a:moveTo>
                      <a:pt x="1" y="8"/>
                    </a:moveTo>
                    <a:cubicBezTo>
                      <a:pt x="1" y="10"/>
                      <a:pt x="2" y="13"/>
                      <a:pt x="3" y="17"/>
                    </a:cubicBezTo>
                    <a:cubicBezTo>
                      <a:pt x="4" y="16"/>
                      <a:pt x="5" y="15"/>
                      <a:pt x="6" y="15"/>
                    </a:cubicBezTo>
                    <a:cubicBezTo>
                      <a:pt x="8" y="14"/>
                      <a:pt x="13" y="5"/>
                      <a:pt x="13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1" y="2"/>
                      <a:pt x="10" y="0"/>
                    </a:cubicBezTo>
                    <a:cubicBezTo>
                      <a:pt x="8" y="0"/>
                      <a:pt x="6" y="0"/>
                      <a:pt x="6" y="0"/>
                    </a:cubicBezTo>
                    <a:cubicBezTo>
                      <a:pt x="6" y="0"/>
                      <a:pt x="7" y="3"/>
                      <a:pt x="2" y="2"/>
                    </a:cubicBezTo>
                    <a:cubicBezTo>
                      <a:pt x="2" y="2"/>
                      <a:pt x="1" y="2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lnTo>
                      <a:pt x="1" y="8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6" name="Freeform 167">
                <a:extLst>
                  <a:ext uri="{FF2B5EF4-FFF2-40B4-BE49-F238E27FC236}">
                    <a16:creationId xmlns:a16="http://schemas.microsoft.com/office/drawing/2014/main" id="{2E2141BC-6271-4181-8663-5D32A4C986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9284" y="4284281"/>
                <a:ext cx="198247" cy="318700"/>
              </a:xfrm>
              <a:custGeom>
                <a:avLst/>
                <a:gdLst>
                  <a:gd name="T0" fmla="*/ 85 w 86"/>
                  <a:gd name="T1" fmla="*/ 35 h 138"/>
                  <a:gd name="T2" fmla="*/ 83 w 86"/>
                  <a:gd name="T3" fmla="*/ 20 h 138"/>
                  <a:gd name="T4" fmla="*/ 82 w 86"/>
                  <a:gd name="T5" fmla="*/ 0 h 138"/>
                  <a:gd name="T6" fmla="*/ 82 w 86"/>
                  <a:gd name="T7" fmla="*/ 0 h 138"/>
                  <a:gd name="T8" fmla="*/ 73 w 86"/>
                  <a:gd name="T9" fmla="*/ 5 h 138"/>
                  <a:gd name="T10" fmla="*/ 68 w 86"/>
                  <a:gd name="T11" fmla="*/ 6 h 138"/>
                  <a:gd name="T12" fmla="*/ 63 w 86"/>
                  <a:gd name="T13" fmla="*/ 6 h 138"/>
                  <a:gd name="T14" fmla="*/ 60 w 86"/>
                  <a:gd name="T15" fmla="*/ 9 h 138"/>
                  <a:gd name="T16" fmla="*/ 56 w 86"/>
                  <a:gd name="T17" fmla="*/ 9 h 138"/>
                  <a:gd name="T18" fmla="*/ 49 w 86"/>
                  <a:gd name="T19" fmla="*/ 10 h 138"/>
                  <a:gd name="T20" fmla="*/ 46 w 86"/>
                  <a:gd name="T21" fmla="*/ 8 h 138"/>
                  <a:gd name="T22" fmla="*/ 41 w 86"/>
                  <a:gd name="T23" fmla="*/ 9 h 138"/>
                  <a:gd name="T24" fmla="*/ 37 w 86"/>
                  <a:gd name="T25" fmla="*/ 8 h 138"/>
                  <a:gd name="T26" fmla="*/ 36 w 86"/>
                  <a:gd name="T27" fmla="*/ 11 h 138"/>
                  <a:gd name="T28" fmla="*/ 40 w 86"/>
                  <a:gd name="T29" fmla="*/ 28 h 138"/>
                  <a:gd name="T30" fmla="*/ 45 w 86"/>
                  <a:gd name="T31" fmla="*/ 33 h 138"/>
                  <a:gd name="T32" fmla="*/ 45 w 86"/>
                  <a:gd name="T33" fmla="*/ 41 h 138"/>
                  <a:gd name="T34" fmla="*/ 40 w 86"/>
                  <a:gd name="T35" fmla="*/ 46 h 138"/>
                  <a:gd name="T36" fmla="*/ 40 w 86"/>
                  <a:gd name="T37" fmla="*/ 54 h 138"/>
                  <a:gd name="T38" fmla="*/ 32 w 86"/>
                  <a:gd name="T39" fmla="*/ 44 h 138"/>
                  <a:gd name="T40" fmla="*/ 34 w 86"/>
                  <a:gd name="T41" fmla="*/ 33 h 138"/>
                  <a:gd name="T42" fmla="*/ 28 w 86"/>
                  <a:gd name="T43" fmla="*/ 32 h 138"/>
                  <a:gd name="T44" fmla="*/ 22 w 86"/>
                  <a:gd name="T45" fmla="*/ 29 h 138"/>
                  <a:gd name="T46" fmla="*/ 0 w 86"/>
                  <a:gd name="T47" fmla="*/ 37 h 138"/>
                  <a:gd name="T48" fmla="*/ 1 w 86"/>
                  <a:gd name="T49" fmla="*/ 43 h 138"/>
                  <a:gd name="T50" fmla="*/ 1 w 86"/>
                  <a:gd name="T51" fmla="*/ 43 h 138"/>
                  <a:gd name="T52" fmla="*/ 2 w 86"/>
                  <a:gd name="T53" fmla="*/ 45 h 138"/>
                  <a:gd name="T54" fmla="*/ 12 w 86"/>
                  <a:gd name="T55" fmla="*/ 48 h 138"/>
                  <a:gd name="T56" fmla="*/ 22 w 86"/>
                  <a:gd name="T57" fmla="*/ 51 h 138"/>
                  <a:gd name="T58" fmla="*/ 22 w 86"/>
                  <a:gd name="T59" fmla="*/ 63 h 138"/>
                  <a:gd name="T60" fmla="*/ 20 w 86"/>
                  <a:gd name="T61" fmla="*/ 71 h 138"/>
                  <a:gd name="T62" fmla="*/ 22 w 86"/>
                  <a:gd name="T63" fmla="*/ 77 h 138"/>
                  <a:gd name="T64" fmla="*/ 18 w 86"/>
                  <a:gd name="T65" fmla="*/ 83 h 138"/>
                  <a:gd name="T66" fmla="*/ 16 w 86"/>
                  <a:gd name="T67" fmla="*/ 91 h 138"/>
                  <a:gd name="T68" fmla="*/ 8 w 86"/>
                  <a:gd name="T69" fmla="*/ 99 h 138"/>
                  <a:gd name="T70" fmla="*/ 8 w 86"/>
                  <a:gd name="T71" fmla="*/ 99 h 138"/>
                  <a:gd name="T72" fmla="*/ 13 w 86"/>
                  <a:gd name="T73" fmla="*/ 114 h 138"/>
                  <a:gd name="T74" fmla="*/ 14 w 86"/>
                  <a:gd name="T75" fmla="*/ 129 h 138"/>
                  <a:gd name="T76" fmla="*/ 15 w 86"/>
                  <a:gd name="T77" fmla="*/ 138 h 138"/>
                  <a:gd name="T78" fmla="*/ 21 w 86"/>
                  <a:gd name="T79" fmla="*/ 137 h 138"/>
                  <a:gd name="T80" fmla="*/ 21 w 86"/>
                  <a:gd name="T81" fmla="*/ 133 h 138"/>
                  <a:gd name="T82" fmla="*/ 18 w 86"/>
                  <a:gd name="T83" fmla="*/ 130 h 138"/>
                  <a:gd name="T84" fmla="*/ 31 w 86"/>
                  <a:gd name="T85" fmla="*/ 121 h 138"/>
                  <a:gd name="T86" fmla="*/ 41 w 86"/>
                  <a:gd name="T87" fmla="*/ 115 h 138"/>
                  <a:gd name="T88" fmla="*/ 41 w 86"/>
                  <a:gd name="T89" fmla="*/ 103 h 138"/>
                  <a:gd name="T90" fmla="*/ 40 w 86"/>
                  <a:gd name="T91" fmla="*/ 93 h 138"/>
                  <a:gd name="T92" fmla="*/ 36 w 86"/>
                  <a:gd name="T93" fmla="*/ 83 h 138"/>
                  <a:gd name="T94" fmla="*/ 37 w 86"/>
                  <a:gd name="T95" fmla="*/ 77 h 138"/>
                  <a:gd name="T96" fmla="*/ 41 w 86"/>
                  <a:gd name="T97" fmla="*/ 72 h 138"/>
                  <a:gd name="T98" fmla="*/ 48 w 86"/>
                  <a:gd name="T99" fmla="*/ 68 h 138"/>
                  <a:gd name="T100" fmla="*/ 56 w 86"/>
                  <a:gd name="T101" fmla="*/ 59 h 138"/>
                  <a:gd name="T102" fmla="*/ 72 w 86"/>
                  <a:gd name="T103" fmla="*/ 52 h 138"/>
                  <a:gd name="T104" fmla="*/ 85 w 86"/>
                  <a:gd name="T105" fmla="*/ 35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86" h="138">
                    <a:moveTo>
                      <a:pt x="85" y="35"/>
                    </a:moveTo>
                    <a:cubicBezTo>
                      <a:pt x="84" y="33"/>
                      <a:pt x="82" y="23"/>
                      <a:pt x="83" y="20"/>
                    </a:cubicBezTo>
                    <a:cubicBezTo>
                      <a:pt x="83" y="16"/>
                      <a:pt x="82" y="5"/>
                      <a:pt x="82" y="0"/>
                    </a:cubicBezTo>
                    <a:cubicBezTo>
                      <a:pt x="82" y="0"/>
                      <a:pt x="82" y="0"/>
                      <a:pt x="82" y="0"/>
                    </a:cubicBezTo>
                    <a:cubicBezTo>
                      <a:pt x="78" y="2"/>
                      <a:pt x="74" y="4"/>
                      <a:pt x="73" y="5"/>
                    </a:cubicBezTo>
                    <a:cubicBezTo>
                      <a:pt x="73" y="6"/>
                      <a:pt x="70" y="4"/>
                      <a:pt x="68" y="6"/>
                    </a:cubicBezTo>
                    <a:cubicBezTo>
                      <a:pt x="66" y="8"/>
                      <a:pt x="65" y="6"/>
                      <a:pt x="63" y="6"/>
                    </a:cubicBezTo>
                    <a:cubicBezTo>
                      <a:pt x="61" y="5"/>
                      <a:pt x="61" y="7"/>
                      <a:pt x="60" y="9"/>
                    </a:cubicBezTo>
                    <a:cubicBezTo>
                      <a:pt x="60" y="10"/>
                      <a:pt x="57" y="10"/>
                      <a:pt x="56" y="9"/>
                    </a:cubicBezTo>
                    <a:cubicBezTo>
                      <a:pt x="54" y="9"/>
                      <a:pt x="51" y="10"/>
                      <a:pt x="49" y="10"/>
                    </a:cubicBezTo>
                    <a:cubicBezTo>
                      <a:pt x="47" y="10"/>
                      <a:pt x="48" y="9"/>
                      <a:pt x="46" y="8"/>
                    </a:cubicBezTo>
                    <a:cubicBezTo>
                      <a:pt x="44" y="7"/>
                      <a:pt x="43" y="9"/>
                      <a:pt x="41" y="9"/>
                    </a:cubicBezTo>
                    <a:cubicBezTo>
                      <a:pt x="41" y="9"/>
                      <a:pt x="38" y="9"/>
                      <a:pt x="37" y="8"/>
                    </a:cubicBezTo>
                    <a:cubicBezTo>
                      <a:pt x="37" y="10"/>
                      <a:pt x="37" y="10"/>
                      <a:pt x="36" y="11"/>
                    </a:cubicBezTo>
                    <a:cubicBezTo>
                      <a:pt x="35" y="15"/>
                      <a:pt x="40" y="24"/>
                      <a:pt x="40" y="28"/>
                    </a:cubicBezTo>
                    <a:cubicBezTo>
                      <a:pt x="42" y="30"/>
                      <a:pt x="44" y="32"/>
                      <a:pt x="45" y="33"/>
                    </a:cubicBezTo>
                    <a:cubicBezTo>
                      <a:pt x="47" y="36"/>
                      <a:pt x="45" y="35"/>
                      <a:pt x="45" y="41"/>
                    </a:cubicBezTo>
                    <a:cubicBezTo>
                      <a:pt x="45" y="47"/>
                      <a:pt x="43" y="44"/>
                      <a:pt x="40" y="46"/>
                    </a:cubicBezTo>
                    <a:cubicBezTo>
                      <a:pt x="38" y="48"/>
                      <a:pt x="40" y="52"/>
                      <a:pt x="40" y="54"/>
                    </a:cubicBezTo>
                    <a:cubicBezTo>
                      <a:pt x="39" y="55"/>
                      <a:pt x="33" y="45"/>
                      <a:pt x="32" y="44"/>
                    </a:cubicBezTo>
                    <a:cubicBezTo>
                      <a:pt x="32" y="42"/>
                      <a:pt x="35" y="37"/>
                      <a:pt x="34" y="33"/>
                    </a:cubicBezTo>
                    <a:cubicBezTo>
                      <a:pt x="33" y="30"/>
                      <a:pt x="29" y="32"/>
                      <a:pt x="28" y="32"/>
                    </a:cubicBezTo>
                    <a:cubicBezTo>
                      <a:pt x="26" y="33"/>
                      <a:pt x="23" y="29"/>
                      <a:pt x="22" y="29"/>
                    </a:cubicBezTo>
                    <a:cubicBezTo>
                      <a:pt x="21" y="29"/>
                      <a:pt x="0" y="37"/>
                      <a:pt x="0" y="37"/>
                    </a:cubicBezTo>
                    <a:cubicBezTo>
                      <a:pt x="1" y="43"/>
                      <a:pt x="1" y="43"/>
                      <a:pt x="1" y="43"/>
                    </a:cubicBezTo>
                    <a:cubicBezTo>
                      <a:pt x="1" y="43"/>
                      <a:pt x="1" y="43"/>
                      <a:pt x="1" y="43"/>
                    </a:cubicBezTo>
                    <a:cubicBezTo>
                      <a:pt x="2" y="45"/>
                      <a:pt x="2" y="45"/>
                      <a:pt x="2" y="45"/>
                    </a:cubicBezTo>
                    <a:cubicBezTo>
                      <a:pt x="2" y="45"/>
                      <a:pt x="9" y="46"/>
                      <a:pt x="12" y="48"/>
                    </a:cubicBezTo>
                    <a:cubicBezTo>
                      <a:pt x="16" y="50"/>
                      <a:pt x="21" y="50"/>
                      <a:pt x="22" y="51"/>
                    </a:cubicBezTo>
                    <a:cubicBezTo>
                      <a:pt x="23" y="52"/>
                      <a:pt x="22" y="60"/>
                      <a:pt x="22" y="63"/>
                    </a:cubicBezTo>
                    <a:cubicBezTo>
                      <a:pt x="22" y="67"/>
                      <a:pt x="18" y="68"/>
                      <a:pt x="20" y="71"/>
                    </a:cubicBezTo>
                    <a:cubicBezTo>
                      <a:pt x="22" y="73"/>
                      <a:pt x="21" y="76"/>
                      <a:pt x="22" y="77"/>
                    </a:cubicBezTo>
                    <a:cubicBezTo>
                      <a:pt x="24" y="77"/>
                      <a:pt x="20" y="82"/>
                      <a:pt x="18" y="83"/>
                    </a:cubicBezTo>
                    <a:cubicBezTo>
                      <a:pt x="16" y="84"/>
                      <a:pt x="18" y="88"/>
                      <a:pt x="16" y="91"/>
                    </a:cubicBezTo>
                    <a:cubicBezTo>
                      <a:pt x="15" y="92"/>
                      <a:pt x="11" y="96"/>
                      <a:pt x="8" y="99"/>
                    </a:cubicBezTo>
                    <a:cubicBezTo>
                      <a:pt x="8" y="99"/>
                      <a:pt x="8" y="99"/>
                      <a:pt x="8" y="99"/>
                    </a:cubicBezTo>
                    <a:cubicBezTo>
                      <a:pt x="9" y="100"/>
                      <a:pt x="11" y="113"/>
                      <a:pt x="13" y="114"/>
                    </a:cubicBezTo>
                    <a:cubicBezTo>
                      <a:pt x="15" y="115"/>
                      <a:pt x="14" y="127"/>
                      <a:pt x="14" y="129"/>
                    </a:cubicBezTo>
                    <a:cubicBezTo>
                      <a:pt x="14" y="130"/>
                      <a:pt x="15" y="138"/>
                      <a:pt x="15" y="138"/>
                    </a:cubicBezTo>
                    <a:cubicBezTo>
                      <a:pt x="15" y="138"/>
                      <a:pt x="18" y="137"/>
                      <a:pt x="21" y="137"/>
                    </a:cubicBezTo>
                    <a:cubicBezTo>
                      <a:pt x="21" y="136"/>
                      <a:pt x="21" y="134"/>
                      <a:pt x="21" y="133"/>
                    </a:cubicBezTo>
                    <a:cubicBezTo>
                      <a:pt x="21" y="130"/>
                      <a:pt x="19" y="133"/>
                      <a:pt x="18" y="130"/>
                    </a:cubicBezTo>
                    <a:cubicBezTo>
                      <a:pt x="17" y="128"/>
                      <a:pt x="24" y="123"/>
                      <a:pt x="31" y="121"/>
                    </a:cubicBezTo>
                    <a:cubicBezTo>
                      <a:pt x="37" y="119"/>
                      <a:pt x="40" y="117"/>
                      <a:pt x="41" y="115"/>
                    </a:cubicBezTo>
                    <a:cubicBezTo>
                      <a:pt x="41" y="112"/>
                      <a:pt x="41" y="106"/>
                      <a:pt x="41" y="103"/>
                    </a:cubicBezTo>
                    <a:cubicBezTo>
                      <a:pt x="42" y="100"/>
                      <a:pt x="41" y="99"/>
                      <a:pt x="40" y="93"/>
                    </a:cubicBezTo>
                    <a:cubicBezTo>
                      <a:pt x="39" y="87"/>
                      <a:pt x="37" y="86"/>
                      <a:pt x="36" y="83"/>
                    </a:cubicBezTo>
                    <a:cubicBezTo>
                      <a:pt x="35" y="79"/>
                      <a:pt x="35" y="77"/>
                      <a:pt x="37" y="77"/>
                    </a:cubicBezTo>
                    <a:cubicBezTo>
                      <a:pt x="39" y="77"/>
                      <a:pt x="39" y="76"/>
                      <a:pt x="41" y="72"/>
                    </a:cubicBezTo>
                    <a:cubicBezTo>
                      <a:pt x="43" y="69"/>
                      <a:pt x="45" y="70"/>
                      <a:pt x="48" y="68"/>
                    </a:cubicBezTo>
                    <a:cubicBezTo>
                      <a:pt x="51" y="66"/>
                      <a:pt x="51" y="63"/>
                      <a:pt x="56" y="59"/>
                    </a:cubicBezTo>
                    <a:cubicBezTo>
                      <a:pt x="61" y="55"/>
                      <a:pt x="67" y="55"/>
                      <a:pt x="72" y="52"/>
                    </a:cubicBezTo>
                    <a:cubicBezTo>
                      <a:pt x="77" y="49"/>
                      <a:pt x="86" y="37"/>
                      <a:pt x="85" y="3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7" name="Freeform 168">
                <a:extLst>
                  <a:ext uri="{FF2B5EF4-FFF2-40B4-BE49-F238E27FC236}">
                    <a16:creationId xmlns:a16="http://schemas.microsoft.com/office/drawing/2014/main" id="{9E9FC834-BA4D-40C7-BCA1-9A8D3C45F8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7992" y="4104855"/>
                <a:ext cx="200756" cy="203266"/>
              </a:xfrm>
              <a:custGeom>
                <a:avLst/>
                <a:gdLst>
                  <a:gd name="T0" fmla="*/ 81 w 87"/>
                  <a:gd name="T1" fmla="*/ 71 h 88"/>
                  <a:gd name="T2" fmla="*/ 78 w 87"/>
                  <a:gd name="T3" fmla="*/ 63 h 88"/>
                  <a:gd name="T4" fmla="*/ 77 w 87"/>
                  <a:gd name="T5" fmla="*/ 56 h 88"/>
                  <a:gd name="T6" fmla="*/ 79 w 87"/>
                  <a:gd name="T7" fmla="*/ 50 h 88"/>
                  <a:gd name="T8" fmla="*/ 75 w 87"/>
                  <a:gd name="T9" fmla="*/ 43 h 88"/>
                  <a:gd name="T10" fmla="*/ 78 w 87"/>
                  <a:gd name="T11" fmla="*/ 31 h 88"/>
                  <a:gd name="T12" fmla="*/ 65 w 87"/>
                  <a:gd name="T13" fmla="*/ 21 h 88"/>
                  <a:gd name="T14" fmla="*/ 65 w 87"/>
                  <a:gd name="T15" fmla="*/ 16 h 88"/>
                  <a:gd name="T16" fmla="*/ 35 w 87"/>
                  <a:gd name="T17" fmla="*/ 0 h 88"/>
                  <a:gd name="T18" fmla="*/ 31 w 87"/>
                  <a:gd name="T19" fmla="*/ 8 h 88"/>
                  <a:gd name="T20" fmla="*/ 31 w 87"/>
                  <a:gd name="T21" fmla="*/ 13 h 88"/>
                  <a:gd name="T22" fmla="*/ 18 w 87"/>
                  <a:gd name="T23" fmla="*/ 12 h 88"/>
                  <a:gd name="T24" fmla="*/ 18 w 87"/>
                  <a:gd name="T25" fmla="*/ 0 h 88"/>
                  <a:gd name="T26" fmla="*/ 12 w 87"/>
                  <a:gd name="T27" fmla="*/ 0 h 88"/>
                  <a:gd name="T28" fmla="*/ 8 w 87"/>
                  <a:gd name="T29" fmla="*/ 1 h 88"/>
                  <a:gd name="T30" fmla="*/ 9 w 87"/>
                  <a:gd name="T31" fmla="*/ 5 h 88"/>
                  <a:gd name="T32" fmla="*/ 10 w 87"/>
                  <a:gd name="T33" fmla="*/ 10 h 88"/>
                  <a:gd name="T34" fmla="*/ 7 w 87"/>
                  <a:gd name="T35" fmla="*/ 12 h 88"/>
                  <a:gd name="T36" fmla="*/ 7 w 87"/>
                  <a:gd name="T37" fmla="*/ 16 h 88"/>
                  <a:gd name="T38" fmla="*/ 10 w 87"/>
                  <a:gd name="T39" fmla="*/ 17 h 88"/>
                  <a:gd name="T40" fmla="*/ 3 w 87"/>
                  <a:gd name="T41" fmla="*/ 27 h 88"/>
                  <a:gd name="T42" fmla="*/ 0 w 87"/>
                  <a:gd name="T43" fmla="*/ 29 h 88"/>
                  <a:gd name="T44" fmla="*/ 4 w 87"/>
                  <a:gd name="T45" fmla="*/ 44 h 88"/>
                  <a:gd name="T46" fmla="*/ 9 w 87"/>
                  <a:gd name="T47" fmla="*/ 54 h 88"/>
                  <a:gd name="T48" fmla="*/ 11 w 87"/>
                  <a:gd name="T49" fmla="*/ 61 h 88"/>
                  <a:gd name="T50" fmla="*/ 6 w 87"/>
                  <a:gd name="T51" fmla="*/ 57 h 88"/>
                  <a:gd name="T52" fmla="*/ 6 w 87"/>
                  <a:gd name="T53" fmla="*/ 59 h 88"/>
                  <a:gd name="T54" fmla="*/ 5 w 87"/>
                  <a:gd name="T55" fmla="*/ 59 h 88"/>
                  <a:gd name="T56" fmla="*/ 11 w 87"/>
                  <a:gd name="T57" fmla="*/ 62 h 88"/>
                  <a:gd name="T58" fmla="*/ 19 w 87"/>
                  <a:gd name="T59" fmla="*/ 65 h 88"/>
                  <a:gd name="T60" fmla="*/ 29 w 87"/>
                  <a:gd name="T61" fmla="*/ 70 h 88"/>
                  <a:gd name="T62" fmla="*/ 29 w 87"/>
                  <a:gd name="T63" fmla="*/ 71 h 88"/>
                  <a:gd name="T64" fmla="*/ 35 w 87"/>
                  <a:gd name="T65" fmla="*/ 71 h 88"/>
                  <a:gd name="T66" fmla="*/ 36 w 87"/>
                  <a:gd name="T67" fmla="*/ 70 h 88"/>
                  <a:gd name="T68" fmla="*/ 42 w 87"/>
                  <a:gd name="T69" fmla="*/ 86 h 88"/>
                  <a:gd name="T70" fmla="*/ 46 w 87"/>
                  <a:gd name="T71" fmla="*/ 87 h 88"/>
                  <a:gd name="T72" fmla="*/ 51 w 87"/>
                  <a:gd name="T73" fmla="*/ 86 h 88"/>
                  <a:gd name="T74" fmla="*/ 54 w 87"/>
                  <a:gd name="T75" fmla="*/ 88 h 88"/>
                  <a:gd name="T76" fmla="*/ 61 w 87"/>
                  <a:gd name="T77" fmla="*/ 87 h 88"/>
                  <a:gd name="T78" fmla="*/ 65 w 87"/>
                  <a:gd name="T79" fmla="*/ 87 h 88"/>
                  <a:gd name="T80" fmla="*/ 68 w 87"/>
                  <a:gd name="T81" fmla="*/ 84 h 88"/>
                  <a:gd name="T82" fmla="*/ 73 w 87"/>
                  <a:gd name="T83" fmla="*/ 84 h 88"/>
                  <a:gd name="T84" fmla="*/ 78 w 87"/>
                  <a:gd name="T85" fmla="*/ 83 h 88"/>
                  <a:gd name="T86" fmla="*/ 87 w 87"/>
                  <a:gd name="T87" fmla="*/ 78 h 88"/>
                  <a:gd name="T88" fmla="*/ 81 w 87"/>
                  <a:gd name="T89" fmla="*/ 71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87" h="88">
                    <a:moveTo>
                      <a:pt x="81" y="71"/>
                    </a:moveTo>
                    <a:cubicBezTo>
                      <a:pt x="81" y="66"/>
                      <a:pt x="78" y="66"/>
                      <a:pt x="78" y="63"/>
                    </a:cubicBezTo>
                    <a:cubicBezTo>
                      <a:pt x="78" y="59"/>
                      <a:pt x="79" y="56"/>
                      <a:pt x="77" y="56"/>
                    </a:cubicBezTo>
                    <a:cubicBezTo>
                      <a:pt x="76" y="55"/>
                      <a:pt x="77" y="53"/>
                      <a:pt x="79" y="50"/>
                    </a:cubicBezTo>
                    <a:cubicBezTo>
                      <a:pt x="81" y="47"/>
                      <a:pt x="75" y="47"/>
                      <a:pt x="75" y="43"/>
                    </a:cubicBezTo>
                    <a:cubicBezTo>
                      <a:pt x="74" y="41"/>
                      <a:pt x="76" y="36"/>
                      <a:pt x="78" y="31"/>
                    </a:cubicBezTo>
                    <a:cubicBezTo>
                      <a:pt x="72" y="26"/>
                      <a:pt x="65" y="21"/>
                      <a:pt x="65" y="21"/>
                    </a:cubicBezTo>
                    <a:cubicBezTo>
                      <a:pt x="65" y="16"/>
                      <a:pt x="65" y="16"/>
                      <a:pt x="65" y="16"/>
                    </a:cubicBezTo>
                    <a:cubicBezTo>
                      <a:pt x="35" y="0"/>
                      <a:pt x="35" y="0"/>
                      <a:pt x="35" y="0"/>
                    </a:cubicBezTo>
                    <a:cubicBezTo>
                      <a:pt x="35" y="4"/>
                      <a:pt x="33" y="7"/>
                      <a:pt x="31" y="8"/>
                    </a:cubicBezTo>
                    <a:cubicBezTo>
                      <a:pt x="29" y="9"/>
                      <a:pt x="34" y="12"/>
                      <a:pt x="31" y="13"/>
                    </a:cubicBezTo>
                    <a:cubicBezTo>
                      <a:pt x="29" y="13"/>
                      <a:pt x="23" y="10"/>
                      <a:pt x="18" y="12"/>
                    </a:cubicBezTo>
                    <a:cubicBezTo>
                      <a:pt x="15" y="13"/>
                      <a:pt x="16" y="6"/>
                      <a:pt x="18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2" y="0"/>
                      <a:pt x="10" y="1"/>
                      <a:pt x="8" y="1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5"/>
                      <a:pt x="11" y="8"/>
                      <a:pt x="10" y="10"/>
                    </a:cubicBezTo>
                    <a:cubicBezTo>
                      <a:pt x="10" y="11"/>
                      <a:pt x="9" y="11"/>
                      <a:pt x="7" y="12"/>
                    </a:cubicBezTo>
                    <a:cubicBezTo>
                      <a:pt x="8" y="14"/>
                      <a:pt x="7" y="16"/>
                      <a:pt x="7" y="16"/>
                    </a:cubicBezTo>
                    <a:cubicBezTo>
                      <a:pt x="10" y="17"/>
                      <a:pt x="10" y="17"/>
                      <a:pt x="10" y="17"/>
                    </a:cubicBezTo>
                    <a:cubicBezTo>
                      <a:pt x="10" y="17"/>
                      <a:pt x="5" y="26"/>
                      <a:pt x="3" y="27"/>
                    </a:cubicBezTo>
                    <a:cubicBezTo>
                      <a:pt x="2" y="27"/>
                      <a:pt x="1" y="28"/>
                      <a:pt x="0" y="29"/>
                    </a:cubicBezTo>
                    <a:cubicBezTo>
                      <a:pt x="1" y="35"/>
                      <a:pt x="2" y="42"/>
                      <a:pt x="4" y="44"/>
                    </a:cubicBezTo>
                    <a:cubicBezTo>
                      <a:pt x="9" y="48"/>
                      <a:pt x="8" y="52"/>
                      <a:pt x="9" y="54"/>
                    </a:cubicBezTo>
                    <a:cubicBezTo>
                      <a:pt x="10" y="57"/>
                      <a:pt x="13" y="60"/>
                      <a:pt x="11" y="61"/>
                    </a:cubicBezTo>
                    <a:cubicBezTo>
                      <a:pt x="9" y="62"/>
                      <a:pt x="8" y="60"/>
                      <a:pt x="6" y="57"/>
                    </a:cubicBezTo>
                    <a:cubicBezTo>
                      <a:pt x="6" y="58"/>
                      <a:pt x="6" y="58"/>
                      <a:pt x="6" y="59"/>
                    </a:cubicBezTo>
                    <a:cubicBezTo>
                      <a:pt x="6" y="59"/>
                      <a:pt x="5" y="59"/>
                      <a:pt x="5" y="59"/>
                    </a:cubicBezTo>
                    <a:cubicBezTo>
                      <a:pt x="8" y="61"/>
                      <a:pt x="10" y="62"/>
                      <a:pt x="11" y="62"/>
                    </a:cubicBezTo>
                    <a:cubicBezTo>
                      <a:pt x="13" y="62"/>
                      <a:pt x="17" y="65"/>
                      <a:pt x="19" y="65"/>
                    </a:cubicBezTo>
                    <a:cubicBezTo>
                      <a:pt x="21" y="66"/>
                      <a:pt x="28" y="69"/>
                      <a:pt x="29" y="70"/>
                    </a:cubicBezTo>
                    <a:cubicBezTo>
                      <a:pt x="29" y="70"/>
                      <a:pt x="29" y="70"/>
                      <a:pt x="29" y="71"/>
                    </a:cubicBezTo>
                    <a:cubicBezTo>
                      <a:pt x="31" y="70"/>
                      <a:pt x="33" y="70"/>
                      <a:pt x="35" y="71"/>
                    </a:cubicBezTo>
                    <a:cubicBezTo>
                      <a:pt x="35" y="70"/>
                      <a:pt x="35" y="70"/>
                      <a:pt x="36" y="70"/>
                    </a:cubicBezTo>
                    <a:cubicBezTo>
                      <a:pt x="39" y="70"/>
                      <a:pt x="42" y="80"/>
                      <a:pt x="42" y="86"/>
                    </a:cubicBezTo>
                    <a:cubicBezTo>
                      <a:pt x="43" y="87"/>
                      <a:pt x="46" y="87"/>
                      <a:pt x="46" y="87"/>
                    </a:cubicBezTo>
                    <a:cubicBezTo>
                      <a:pt x="48" y="87"/>
                      <a:pt x="49" y="85"/>
                      <a:pt x="51" y="86"/>
                    </a:cubicBezTo>
                    <a:cubicBezTo>
                      <a:pt x="53" y="87"/>
                      <a:pt x="52" y="88"/>
                      <a:pt x="54" y="88"/>
                    </a:cubicBezTo>
                    <a:cubicBezTo>
                      <a:pt x="56" y="88"/>
                      <a:pt x="59" y="87"/>
                      <a:pt x="61" y="87"/>
                    </a:cubicBezTo>
                    <a:cubicBezTo>
                      <a:pt x="62" y="88"/>
                      <a:pt x="65" y="88"/>
                      <a:pt x="65" y="87"/>
                    </a:cubicBezTo>
                    <a:cubicBezTo>
                      <a:pt x="66" y="85"/>
                      <a:pt x="66" y="83"/>
                      <a:pt x="68" y="84"/>
                    </a:cubicBezTo>
                    <a:cubicBezTo>
                      <a:pt x="70" y="84"/>
                      <a:pt x="71" y="86"/>
                      <a:pt x="73" y="84"/>
                    </a:cubicBezTo>
                    <a:cubicBezTo>
                      <a:pt x="75" y="82"/>
                      <a:pt x="78" y="84"/>
                      <a:pt x="78" y="83"/>
                    </a:cubicBezTo>
                    <a:cubicBezTo>
                      <a:pt x="79" y="82"/>
                      <a:pt x="83" y="80"/>
                      <a:pt x="87" y="78"/>
                    </a:cubicBezTo>
                    <a:cubicBezTo>
                      <a:pt x="87" y="73"/>
                      <a:pt x="82" y="75"/>
                      <a:pt x="81" y="7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8" name="Freeform 169">
                <a:extLst>
                  <a:ext uri="{FF2B5EF4-FFF2-40B4-BE49-F238E27FC236}">
                    <a16:creationId xmlns:a16="http://schemas.microsoft.com/office/drawing/2014/main" id="{F72D6D50-6040-4419-B895-D2118825D5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5709" y="4266714"/>
                <a:ext cx="61482" cy="144293"/>
              </a:xfrm>
              <a:custGeom>
                <a:avLst/>
                <a:gdLst>
                  <a:gd name="T0" fmla="*/ 25 w 27"/>
                  <a:gd name="T1" fmla="*/ 41 h 63"/>
                  <a:gd name="T2" fmla="*/ 20 w 27"/>
                  <a:gd name="T3" fmla="*/ 36 h 63"/>
                  <a:gd name="T4" fmla="*/ 20 w 27"/>
                  <a:gd name="T5" fmla="*/ 38 h 63"/>
                  <a:gd name="T6" fmla="*/ 11 w 27"/>
                  <a:gd name="T7" fmla="*/ 25 h 63"/>
                  <a:gd name="T8" fmla="*/ 12 w 27"/>
                  <a:gd name="T9" fmla="*/ 11 h 63"/>
                  <a:gd name="T10" fmla="*/ 10 w 27"/>
                  <a:gd name="T11" fmla="*/ 1 h 63"/>
                  <a:gd name="T12" fmla="*/ 4 w 27"/>
                  <a:gd name="T13" fmla="*/ 1 h 63"/>
                  <a:gd name="T14" fmla="*/ 8 w 27"/>
                  <a:gd name="T15" fmla="*/ 8 h 63"/>
                  <a:gd name="T16" fmla="*/ 5 w 27"/>
                  <a:gd name="T17" fmla="*/ 10 h 63"/>
                  <a:gd name="T18" fmla="*/ 5 w 27"/>
                  <a:gd name="T19" fmla="*/ 23 h 63"/>
                  <a:gd name="T20" fmla="*/ 2 w 27"/>
                  <a:gd name="T21" fmla="*/ 25 h 63"/>
                  <a:gd name="T22" fmla="*/ 1 w 27"/>
                  <a:gd name="T23" fmla="*/ 33 h 63"/>
                  <a:gd name="T24" fmla="*/ 2 w 27"/>
                  <a:gd name="T25" fmla="*/ 37 h 63"/>
                  <a:gd name="T26" fmla="*/ 2 w 27"/>
                  <a:gd name="T27" fmla="*/ 37 h 63"/>
                  <a:gd name="T28" fmla="*/ 8 w 27"/>
                  <a:gd name="T29" fmla="*/ 40 h 63"/>
                  <a:gd name="T30" fmla="*/ 14 w 27"/>
                  <a:gd name="T31" fmla="*/ 41 h 63"/>
                  <a:gd name="T32" fmla="*/ 12 w 27"/>
                  <a:gd name="T33" fmla="*/ 52 h 63"/>
                  <a:gd name="T34" fmla="*/ 20 w 27"/>
                  <a:gd name="T35" fmla="*/ 62 h 63"/>
                  <a:gd name="T36" fmla="*/ 20 w 27"/>
                  <a:gd name="T37" fmla="*/ 54 h 63"/>
                  <a:gd name="T38" fmla="*/ 25 w 27"/>
                  <a:gd name="T39" fmla="*/ 49 h 63"/>
                  <a:gd name="T40" fmla="*/ 25 w 27"/>
                  <a:gd name="T41" fmla="*/ 41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7" h="63">
                    <a:moveTo>
                      <a:pt x="25" y="41"/>
                    </a:moveTo>
                    <a:cubicBezTo>
                      <a:pt x="24" y="40"/>
                      <a:pt x="22" y="38"/>
                      <a:pt x="20" y="36"/>
                    </a:cubicBezTo>
                    <a:cubicBezTo>
                      <a:pt x="20" y="37"/>
                      <a:pt x="20" y="37"/>
                      <a:pt x="20" y="38"/>
                    </a:cubicBezTo>
                    <a:cubicBezTo>
                      <a:pt x="17" y="41"/>
                      <a:pt x="12" y="31"/>
                      <a:pt x="11" y="25"/>
                    </a:cubicBezTo>
                    <a:cubicBezTo>
                      <a:pt x="10" y="19"/>
                      <a:pt x="14" y="17"/>
                      <a:pt x="12" y="11"/>
                    </a:cubicBezTo>
                    <a:cubicBezTo>
                      <a:pt x="10" y="6"/>
                      <a:pt x="8" y="2"/>
                      <a:pt x="10" y="1"/>
                    </a:cubicBezTo>
                    <a:cubicBezTo>
                      <a:pt x="8" y="0"/>
                      <a:pt x="6" y="0"/>
                      <a:pt x="4" y="1"/>
                    </a:cubicBezTo>
                    <a:cubicBezTo>
                      <a:pt x="6" y="3"/>
                      <a:pt x="8" y="7"/>
                      <a:pt x="8" y="8"/>
                    </a:cubicBezTo>
                    <a:cubicBezTo>
                      <a:pt x="8" y="10"/>
                      <a:pt x="6" y="8"/>
                      <a:pt x="5" y="10"/>
                    </a:cubicBezTo>
                    <a:cubicBezTo>
                      <a:pt x="4" y="12"/>
                      <a:pt x="3" y="22"/>
                      <a:pt x="5" y="23"/>
                    </a:cubicBezTo>
                    <a:cubicBezTo>
                      <a:pt x="7" y="25"/>
                      <a:pt x="2" y="24"/>
                      <a:pt x="2" y="25"/>
                    </a:cubicBezTo>
                    <a:cubicBezTo>
                      <a:pt x="2" y="27"/>
                      <a:pt x="1" y="33"/>
                      <a:pt x="1" y="33"/>
                    </a:cubicBezTo>
                    <a:cubicBezTo>
                      <a:pt x="0" y="33"/>
                      <a:pt x="1" y="35"/>
                      <a:pt x="2" y="37"/>
                    </a:cubicBezTo>
                    <a:cubicBezTo>
                      <a:pt x="2" y="37"/>
                      <a:pt x="2" y="37"/>
                      <a:pt x="2" y="37"/>
                    </a:cubicBezTo>
                    <a:cubicBezTo>
                      <a:pt x="3" y="37"/>
                      <a:pt x="6" y="41"/>
                      <a:pt x="8" y="40"/>
                    </a:cubicBezTo>
                    <a:cubicBezTo>
                      <a:pt x="9" y="40"/>
                      <a:pt x="13" y="38"/>
                      <a:pt x="14" y="41"/>
                    </a:cubicBezTo>
                    <a:cubicBezTo>
                      <a:pt x="15" y="45"/>
                      <a:pt x="12" y="50"/>
                      <a:pt x="12" y="52"/>
                    </a:cubicBezTo>
                    <a:cubicBezTo>
                      <a:pt x="13" y="53"/>
                      <a:pt x="19" y="63"/>
                      <a:pt x="20" y="62"/>
                    </a:cubicBezTo>
                    <a:cubicBezTo>
                      <a:pt x="20" y="60"/>
                      <a:pt x="18" y="56"/>
                      <a:pt x="20" y="54"/>
                    </a:cubicBezTo>
                    <a:cubicBezTo>
                      <a:pt x="23" y="52"/>
                      <a:pt x="25" y="55"/>
                      <a:pt x="25" y="49"/>
                    </a:cubicBezTo>
                    <a:cubicBezTo>
                      <a:pt x="25" y="43"/>
                      <a:pt x="27" y="44"/>
                      <a:pt x="25" y="4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9" name="Freeform 170">
                <a:extLst>
                  <a:ext uri="{FF2B5EF4-FFF2-40B4-BE49-F238E27FC236}">
                    <a16:creationId xmlns:a16="http://schemas.microsoft.com/office/drawing/2014/main" id="{B66750E4-EDC1-40DF-9A9D-1FC19EA157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74440" y="3276736"/>
                <a:ext cx="143039" cy="97869"/>
              </a:xfrm>
              <a:custGeom>
                <a:avLst/>
                <a:gdLst>
                  <a:gd name="T0" fmla="*/ 50 w 62"/>
                  <a:gd name="T1" fmla="*/ 34 h 42"/>
                  <a:gd name="T2" fmla="*/ 53 w 62"/>
                  <a:gd name="T3" fmla="*/ 36 h 42"/>
                  <a:gd name="T4" fmla="*/ 59 w 62"/>
                  <a:gd name="T5" fmla="*/ 38 h 42"/>
                  <a:gd name="T6" fmla="*/ 62 w 62"/>
                  <a:gd name="T7" fmla="*/ 38 h 42"/>
                  <a:gd name="T8" fmla="*/ 60 w 62"/>
                  <a:gd name="T9" fmla="*/ 27 h 42"/>
                  <a:gd name="T10" fmla="*/ 52 w 62"/>
                  <a:gd name="T11" fmla="*/ 22 h 42"/>
                  <a:gd name="T12" fmla="*/ 51 w 62"/>
                  <a:gd name="T13" fmla="*/ 15 h 42"/>
                  <a:gd name="T14" fmla="*/ 40 w 62"/>
                  <a:gd name="T15" fmla="*/ 16 h 42"/>
                  <a:gd name="T16" fmla="*/ 34 w 62"/>
                  <a:gd name="T17" fmla="*/ 14 h 42"/>
                  <a:gd name="T18" fmla="*/ 26 w 62"/>
                  <a:gd name="T19" fmla="*/ 14 h 42"/>
                  <a:gd name="T20" fmla="*/ 15 w 62"/>
                  <a:gd name="T21" fmla="*/ 13 h 42"/>
                  <a:gd name="T22" fmla="*/ 21 w 62"/>
                  <a:gd name="T23" fmla="*/ 8 h 42"/>
                  <a:gd name="T24" fmla="*/ 23 w 62"/>
                  <a:gd name="T25" fmla="*/ 8 h 42"/>
                  <a:gd name="T26" fmla="*/ 26 w 62"/>
                  <a:gd name="T27" fmla="*/ 2 h 42"/>
                  <a:gd name="T28" fmla="*/ 20 w 62"/>
                  <a:gd name="T29" fmla="*/ 3 h 42"/>
                  <a:gd name="T30" fmla="*/ 14 w 62"/>
                  <a:gd name="T31" fmla="*/ 4 h 42"/>
                  <a:gd name="T32" fmla="*/ 10 w 62"/>
                  <a:gd name="T33" fmla="*/ 9 h 42"/>
                  <a:gd name="T34" fmla="*/ 8 w 62"/>
                  <a:gd name="T35" fmla="*/ 13 h 42"/>
                  <a:gd name="T36" fmla="*/ 0 w 62"/>
                  <a:gd name="T37" fmla="*/ 16 h 42"/>
                  <a:gd name="T38" fmla="*/ 5 w 62"/>
                  <a:gd name="T39" fmla="*/ 22 h 42"/>
                  <a:gd name="T40" fmla="*/ 6 w 62"/>
                  <a:gd name="T41" fmla="*/ 29 h 42"/>
                  <a:gd name="T42" fmla="*/ 3 w 62"/>
                  <a:gd name="T43" fmla="*/ 38 h 42"/>
                  <a:gd name="T44" fmla="*/ 7 w 62"/>
                  <a:gd name="T45" fmla="*/ 38 h 42"/>
                  <a:gd name="T46" fmla="*/ 15 w 62"/>
                  <a:gd name="T47" fmla="*/ 36 h 42"/>
                  <a:gd name="T48" fmla="*/ 23 w 62"/>
                  <a:gd name="T49" fmla="*/ 32 h 42"/>
                  <a:gd name="T50" fmla="*/ 30 w 62"/>
                  <a:gd name="T51" fmla="*/ 25 h 42"/>
                  <a:gd name="T52" fmla="*/ 33 w 62"/>
                  <a:gd name="T53" fmla="*/ 32 h 42"/>
                  <a:gd name="T54" fmla="*/ 33 w 62"/>
                  <a:gd name="T55" fmla="*/ 41 h 42"/>
                  <a:gd name="T56" fmla="*/ 37 w 62"/>
                  <a:gd name="T57" fmla="*/ 41 h 42"/>
                  <a:gd name="T58" fmla="*/ 41 w 62"/>
                  <a:gd name="T59" fmla="*/ 40 h 42"/>
                  <a:gd name="T60" fmla="*/ 50 w 62"/>
                  <a:gd name="T61" fmla="*/ 34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62" h="42">
                    <a:moveTo>
                      <a:pt x="50" y="34"/>
                    </a:moveTo>
                    <a:cubicBezTo>
                      <a:pt x="52" y="35"/>
                      <a:pt x="52" y="37"/>
                      <a:pt x="53" y="36"/>
                    </a:cubicBezTo>
                    <a:cubicBezTo>
                      <a:pt x="55" y="36"/>
                      <a:pt x="58" y="37"/>
                      <a:pt x="59" y="38"/>
                    </a:cubicBezTo>
                    <a:cubicBezTo>
                      <a:pt x="60" y="38"/>
                      <a:pt x="62" y="38"/>
                      <a:pt x="62" y="38"/>
                    </a:cubicBezTo>
                    <a:cubicBezTo>
                      <a:pt x="62" y="38"/>
                      <a:pt x="60" y="29"/>
                      <a:pt x="60" y="27"/>
                    </a:cubicBezTo>
                    <a:cubicBezTo>
                      <a:pt x="60" y="24"/>
                      <a:pt x="52" y="22"/>
                      <a:pt x="52" y="22"/>
                    </a:cubicBezTo>
                    <a:cubicBezTo>
                      <a:pt x="51" y="15"/>
                      <a:pt x="51" y="15"/>
                      <a:pt x="51" y="15"/>
                    </a:cubicBezTo>
                    <a:cubicBezTo>
                      <a:pt x="51" y="15"/>
                      <a:pt x="42" y="16"/>
                      <a:pt x="40" y="16"/>
                    </a:cubicBezTo>
                    <a:cubicBezTo>
                      <a:pt x="39" y="15"/>
                      <a:pt x="35" y="16"/>
                      <a:pt x="34" y="14"/>
                    </a:cubicBezTo>
                    <a:cubicBezTo>
                      <a:pt x="32" y="12"/>
                      <a:pt x="29" y="16"/>
                      <a:pt x="26" y="14"/>
                    </a:cubicBezTo>
                    <a:cubicBezTo>
                      <a:pt x="23" y="12"/>
                      <a:pt x="15" y="15"/>
                      <a:pt x="15" y="13"/>
                    </a:cubicBezTo>
                    <a:cubicBezTo>
                      <a:pt x="15" y="11"/>
                      <a:pt x="18" y="8"/>
                      <a:pt x="21" y="8"/>
                    </a:cubicBezTo>
                    <a:cubicBezTo>
                      <a:pt x="21" y="8"/>
                      <a:pt x="22" y="8"/>
                      <a:pt x="23" y="8"/>
                    </a:cubicBezTo>
                    <a:cubicBezTo>
                      <a:pt x="24" y="7"/>
                      <a:pt x="26" y="3"/>
                      <a:pt x="26" y="2"/>
                    </a:cubicBezTo>
                    <a:cubicBezTo>
                      <a:pt x="25" y="0"/>
                      <a:pt x="22" y="1"/>
                      <a:pt x="20" y="3"/>
                    </a:cubicBezTo>
                    <a:cubicBezTo>
                      <a:pt x="19" y="4"/>
                      <a:pt x="15" y="2"/>
                      <a:pt x="14" y="4"/>
                    </a:cubicBezTo>
                    <a:cubicBezTo>
                      <a:pt x="14" y="6"/>
                      <a:pt x="13" y="9"/>
                      <a:pt x="10" y="9"/>
                    </a:cubicBezTo>
                    <a:cubicBezTo>
                      <a:pt x="8" y="9"/>
                      <a:pt x="10" y="12"/>
                      <a:pt x="8" y="13"/>
                    </a:cubicBezTo>
                    <a:cubicBezTo>
                      <a:pt x="6" y="14"/>
                      <a:pt x="1" y="14"/>
                      <a:pt x="0" y="16"/>
                    </a:cubicBezTo>
                    <a:cubicBezTo>
                      <a:pt x="0" y="18"/>
                      <a:pt x="6" y="20"/>
                      <a:pt x="5" y="22"/>
                    </a:cubicBezTo>
                    <a:cubicBezTo>
                      <a:pt x="5" y="25"/>
                      <a:pt x="8" y="28"/>
                      <a:pt x="6" y="29"/>
                    </a:cubicBezTo>
                    <a:cubicBezTo>
                      <a:pt x="4" y="31"/>
                      <a:pt x="3" y="33"/>
                      <a:pt x="3" y="38"/>
                    </a:cubicBezTo>
                    <a:cubicBezTo>
                      <a:pt x="4" y="39"/>
                      <a:pt x="6" y="40"/>
                      <a:pt x="7" y="38"/>
                    </a:cubicBezTo>
                    <a:cubicBezTo>
                      <a:pt x="8" y="36"/>
                      <a:pt x="15" y="38"/>
                      <a:pt x="15" y="36"/>
                    </a:cubicBezTo>
                    <a:cubicBezTo>
                      <a:pt x="15" y="34"/>
                      <a:pt x="23" y="34"/>
                      <a:pt x="23" y="32"/>
                    </a:cubicBezTo>
                    <a:cubicBezTo>
                      <a:pt x="23" y="30"/>
                      <a:pt x="27" y="25"/>
                      <a:pt x="30" y="25"/>
                    </a:cubicBezTo>
                    <a:cubicBezTo>
                      <a:pt x="33" y="25"/>
                      <a:pt x="30" y="30"/>
                      <a:pt x="33" y="32"/>
                    </a:cubicBezTo>
                    <a:cubicBezTo>
                      <a:pt x="36" y="33"/>
                      <a:pt x="31" y="39"/>
                      <a:pt x="33" y="41"/>
                    </a:cubicBezTo>
                    <a:cubicBezTo>
                      <a:pt x="34" y="42"/>
                      <a:pt x="35" y="42"/>
                      <a:pt x="37" y="41"/>
                    </a:cubicBezTo>
                    <a:cubicBezTo>
                      <a:pt x="38" y="41"/>
                      <a:pt x="40" y="40"/>
                      <a:pt x="41" y="40"/>
                    </a:cubicBezTo>
                    <a:cubicBezTo>
                      <a:pt x="45" y="37"/>
                      <a:pt x="49" y="33"/>
                      <a:pt x="50" y="34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0" name="Freeform 171">
                <a:extLst>
                  <a:ext uri="{FF2B5EF4-FFF2-40B4-BE49-F238E27FC236}">
                    <a16:creationId xmlns:a16="http://schemas.microsoft.com/office/drawing/2014/main" id="{0164B8D6-87C3-4035-A187-B339C5CB02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6704" y="3601710"/>
                <a:ext cx="16311" cy="35132"/>
              </a:xfrm>
              <a:custGeom>
                <a:avLst/>
                <a:gdLst>
                  <a:gd name="T0" fmla="*/ 6 w 7"/>
                  <a:gd name="T1" fmla="*/ 14 h 15"/>
                  <a:gd name="T2" fmla="*/ 3 w 7"/>
                  <a:gd name="T3" fmla="*/ 11 h 15"/>
                  <a:gd name="T4" fmla="*/ 0 w 7"/>
                  <a:gd name="T5" fmla="*/ 6 h 15"/>
                  <a:gd name="T6" fmla="*/ 3 w 7"/>
                  <a:gd name="T7" fmla="*/ 3 h 15"/>
                  <a:gd name="T8" fmla="*/ 4 w 7"/>
                  <a:gd name="T9" fmla="*/ 9 h 15"/>
                  <a:gd name="T10" fmla="*/ 6 w 7"/>
                  <a:gd name="T11" fmla="*/ 14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15">
                    <a:moveTo>
                      <a:pt x="6" y="14"/>
                    </a:moveTo>
                    <a:cubicBezTo>
                      <a:pt x="6" y="15"/>
                      <a:pt x="3" y="13"/>
                      <a:pt x="3" y="11"/>
                    </a:cubicBezTo>
                    <a:cubicBezTo>
                      <a:pt x="3" y="9"/>
                      <a:pt x="0" y="9"/>
                      <a:pt x="0" y="6"/>
                    </a:cubicBezTo>
                    <a:cubicBezTo>
                      <a:pt x="0" y="2"/>
                      <a:pt x="2" y="0"/>
                      <a:pt x="3" y="3"/>
                    </a:cubicBezTo>
                    <a:cubicBezTo>
                      <a:pt x="5" y="6"/>
                      <a:pt x="4" y="8"/>
                      <a:pt x="4" y="9"/>
                    </a:cubicBezTo>
                    <a:cubicBezTo>
                      <a:pt x="4" y="11"/>
                      <a:pt x="7" y="12"/>
                      <a:pt x="6" y="14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1" name="Freeform 172">
                <a:extLst>
                  <a:ext uri="{FF2B5EF4-FFF2-40B4-BE49-F238E27FC236}">
                    <a16:creationId xmlns:a16="http://schemas.microsoft.com/office/drawing/2014/main" id="{6B4015FF-BF2A-4F46-AB18-CAD2C28359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2857" y="3884023"/>
                <a:ext cx="23840" cy="17566"/>
              </a:xfrm>
              <a:custGeom>
                <a:avLst/>
                <a:gdLst>
                  <a:gd name="T0" fmla="*/ 2 w 10"/>
                  <a:gd name="T1" fmla="*/ 7 h 8"/>
                  <a:gd name="T2" fmla="*/ 2 w 10"/>
                  <a:gd name="T3" fmla="*/ 4 h 8"/>
                  <a:gd name="T4" fmla="*/ 7 w 10"/>
                  <a:gd name="T5" fmla="*/ 2 h 8"/>
                  <a:gd name="T6" fmla="*/ 8 w 10"/>
                  <a:gd name="T7" fmla="*/ 7 h 8"/>
                  <a:gd name="T8" fmla="*/ 2 w 10"/>
                  <a:gd name="T9" fmla="*/ 7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8">
                    <a:moveTo>
                      <a:pt x="2" y="7"/>
                    </a:moveTo>
                    <a:cubicBezTo>
                      <a:pt x="1" y="6"/>
                      <a:pt x="3" y="4"/>
                      <a:pt x="2" y="4"/>
                    </a:cubicBezTo>
                    <a:cubicBezTo>
                      <a:pt x="0" y="3"/>
                      <a:pt x="6" y="0"/>
                      <a:pt x="7" y="2"/>
                    </a:cubicBezTo>
                    <a:cubicBezTo>
                      <a:pt x="9" y="4"/>
                      <a:pt x="10" y="6"/>
                      <a:pt x="8" y="7"/>
                    </a:cubicBezTo>
                    <a:cubicBezTo>
                      <a:pt x="6" y="7"/>
                      <a:pt x="3" y="8"/>
                      <a:pt x="2" y="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2" name="Freeform 173">
                <a:extLst>
                  <a:ext uri="{FF2B5EF4-FFF2-40B4-BE49-F238E27FC236}">
                    <a16:creationId xmlns:a16="http://schemas.microsoft.com/office/drawing/2014/main" id="{8365C8BD-71AA-4763-8DA0-E3ECD91AF5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17720" y="3267953"/>
                <a:ext cx="62736" cy="52698"/>
              </a:xfrm>
              <a:custGeom>
                <a:avLst/>
                <a:gdLst>
                  <a:gd name="T0" fmla="*/ 25 w 27"/>
                  <a:gd name="T1" fmla="*/ 18 h 23"/>
                  <a:gd name="T2" fmla="*/ 20 w 27"/>
                  <a:gd name="T3" fmla="*/ 12 h 23"/>
                  <a:gd name="T4" fmla="*/ 17 w 27"/>
                  <a:gd name="T5" fmla="*/ 6 h 23"/>
                  <a:gd name="T6" fmla="*/ 15 w 27"/>
                  <a:gd name="T7" fmla="*/ 1 h 23"/>
                  <a:gd name="T8" fmla="*/ 8 w 27"/>
                  <a:gd name="T9" fmla="*/ 1 h 23"/>
                  <a:gd name="T10" fmla="*/ 0 w 27"/>
                  <a:gd name="T11" fmla="*/ 2 h 23"/>
                  <a:gd name="T12" fmla="*/ 2 w 27"/>
                  <a:gd name="T13" fmla="*/ 9 h 23"/>
                  <a:gd name="T14" fmla="*/ 8 w 27"/>
                  <a:gd name="T15" fmla="*/ 11 h 23"/>
                  <a:gd name="T16" fmla="*/ 9 w 27"/>
                  <a:gd name="T17" fmla="*/ 14 h 23"/>
                  <a:gd name="T18" fmla="*/ 10 w 27"/>
                  <a:gd name="T19" fmla="*/ 14 h 23"/>
                  <a:gd name="T20" fmla="*/ 12 w 27"/>
                  <a:gd name="T21" fmla="*/ 16 h 23"/>
                  <a:gd name="T22" fmla="*/ 16 w 27"/>
                  <a:gd name="T23" fmla="*/ 18 h 23"/>
                  <a:gd name="T24" fmla="*/ 20 w 27"/>
                  <a:gd name="T25" fmla="*/ 19 h 23"/>
                  <a:gd name="T26" fmla="*/ 22 w 27"/>
                  <a:gd name="T27" fmla="*/ 23 h 23"/>
                  <a:gd name="T28" fmla="*/ 27 w 27"/>
                  <a:gd name="T29" fmla="*/ 22 h 23"/>
                  <a:gd name="T30" fmla="*/ 25 w 27"/>
                  <a:gd name="T31" fmla="*/ 18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7" h="23">
                    <a:moveTo>
                      <a:pt x="25" y="18"/>
                    </a:moveTo>
                    <a:cubicBezTo>
                      <a:pt x="25" y="16"/>
                      <a:pt x="20" y="15"/>
                      <a:pt x="20" y="12"/>
                    </a:cubicBezTo>
                    <a:cubicBezTo>
                      <a:pt x="20" y="10"/>
                      <a:pt x="17" y="8"/>
                      <a:pt x="17" y="6"/>
                    </a:cubicBezTo>
                    <a:cubicBezTo>
                      <a:pt x="18" y="5"/>
                      <a:pt x="16" y="3"/>
                      <a:pt x="15" y="1"/>
                    </a:cubicBezTo>
                    <a:cubicBezTo>
                      <a:pt x="13" y="1"/>
                      <a:pt x="10" y="0"/>
                      <a:pt x="8" y="1"/>
                    </a:cubicBezTo>
                    <a:cubicBezTo>
                      <a:pt x="5" y="1"/>
                      <a:pt x="3" y="2"/>
                      <a:pt x="0" y="2"/>
                    </a:cubicBezTo>
                    <a:cubicBezTo>
                      <a:pt x="1" y="5"/>
                      <a:pt x="0" y="5"/>
                      <a:pt x="2" y="9"/>
                    </a:cubicBezTo>
                    <a:cubicBezTo>
                      <a:pt x="3" y="12"/>
                      <a:pt x="7" y="10"/>
                      <a:pt x="8" y="11"/>
                    </a:cubicBezTo>
                    <a:cubicBezTo>
                      <a:pt x="8" y="12"/>
                      <a:pt x="9" y="13"/>
                      <a:pt x="9" y="14"/>
                    </a:cubicBezTo>
                    <a:cubicBezTo>
                      <a:pt x="9" y="14"/>
                      <a:pt x="10" y="14"/>
                      <a:pt x="10" y="14"/>
                    </a:cubicBezTo>
                    <a:cubicBezTo>
                      <a:pt x="11" y="14"/>
                      <a:pt x="12" y="15"/>
                      <a:pt x="12" y="16"/>
                    </a:cubicBezTo>
                    <a:cubicBezTo>
                      <a:pt x="14" y="16"/>
                      <a:pt x="15" y="17"/>
                      <a:pt x="16" y="18"/>
                    </a:cubicBezTo>
                    <a:cubicBezTo>
                      <a:pt x="17" y="18"/>
                      <a:pt x="18" y="17"/>
                      <a:pt x="20" y="19"/>
                    </a:cubicBezTo>
                    <a:cubicBezTo>
                      <a:pt x="22" y="21"/>
                      <a:pt x="22" y="22"/>
                      <a:pt x="22" y="23"/>
                    </a:cubicBezTo>
                    <a:cubicBezTo>
                      <a:pt x="23" y="23"/>
                      <a:pt x="25" y="23"/>
                      <a:pt x="27" y="22"/>
                    </a:cubicBezTo>
                    <a:cubicBezTo>
                      <a:pt x="26" y="21"/>
                      <a:pt x="25" y="19"/>
                      <a:pt x="25" y="18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3" name="Freeform 174">
                <a:extLst>
                  <a:ext uri="{FF2B5EF4-FFF2-40B4-BE49-F238E27FC236}">
                    <a16:creationId xmlns:a16="http://schemas.microsoft.com/office/drawing/2014/main" id="{19CBFC91-307F-4A75-AF4D-954E5F06675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45324" y="3256660"/>
                <a:ext cx="92850" cy="75284"/>
              </a:xfrm>
              <a:custGeom>
                <a:avLst/>
                <a:gdLst>
                  <a:gd name="T0" fmla="*/ 38 w 40"/>
                  <a:gd name="T1" fmla="*/ 11 h 33"/>
                  <a:gd name="T2" fmla="*/ 31 w 40"/>
                  <a:gd name="T3" fmla="*/ 2 h 33"/>
                  <a:gd name="T4" fmla="*/ 25 w 40"/>
                  <a:gd name="T5" fmla="*/ 5 h 33"/>
                  <a:gd name="T6" fmla="*/ 22 w 40"/>
                  <a:gd name="T7" fmla="*/ 5 h 33"/>
                  <a:gd name="T8" fmla="*/ 16 w 40"/>
                  <a:gd name="T9" fmla="*/ 1 h 33"/>
                  <a:gd name="T10" fmla="*/ 13 w 40"/>
                  <a:gd name="T11" fmla="*/ 0 h 33"/>
                  <a:gd name="T12" fmla="*/ 12 w 40"/>
                  <a:gd name="T13" fmla="*/ 3 h 33"/>
                  <a:gd name="T14" fmla="*/ 14 w 40"/>
                  <a:gd name="T15" fmla="*/ 7 h 33"/>
                  <a:gd name="T16" fmla="*/ 8 w 40"/>
                  <a:gd name="T17" fmla="*/ 6 h 33"/>
                  <a:gd name="T18" fmla="*/ 3 w 40"/>
                  <a:gd name="T19" fmla="*/ 4 h 33"/>
                  <a:gd name="T20" fmla="*/ 5 w 40"/>
                  <a:gd name="T21" fmla="*/ 11 h 33"/>
                  <a:gd name="T22" fmla="*/ 8 w 40"/>
                  <a:gd name="T23" fmla="*/ 17 h 33"/>
                  <a:gd name="T24" fmla="*/ 13 w 40"/>
                  <a:gd name="T25" fmla="*/ 23 h 33"/>
                  <a:gd name="T26" fmla="*/ 15 w 40"/>
                  <a:gd name="T27" fmla="*/ 27 h 33"/>
                  <a:gd name="T28" fmla="*/ 24 w 40"/>
                  <a:gd name="T29" fmla="*/ 21 h 33"/>
                  <a:gd name="T30" fmla="*/ 26 w 40"/>
                  <a:gd name="T31" fmla="*/ 29 h 33"/>
                  <a:gd name="T32" fmla="*/ 32 w 40"/>
                  <a:gd name="T33" fmla="*/ 33 h 33"/>
                  <a:gd name="T34" fmla="*/ 33 w 40"/>
                  <a:gd name="T35" fmla="*/ 28 h 33"/>
                  <a:gd name="T36" fmla="*/ 38 w 40"/>
                  <a:gd name="T37" fmla="*/ 11 h 33"/>
                  <a:gd name="T38" fmla="*/ 4 w 40"/>
                  <a:gd name="T39" fmla="*/ 23 h 33"/>
                  <a:gd name="T40" fmla="*/ 0 w 40"/>
                  <a:gd name="T41" fmla="*/ 21 h 33"/>
                  <a:gd name="T42" fmla="*/ 3 w 40"/>
                  <a:gd name="T43" fmla="*/ 25 h 33"/>
                  <a:gd name="T44" fmla="*/ 8 w 40"/>
                  <a:gd name="T45" fmla="*/ 28 h 33"/>
                  <a:gd name="T46" fmla="*/ 10 w 40"/>
                  <a:gd name="T47" fmla="*/ 28 h 33"/>
                  <a:gd name="T48" fmla="*/ 8 w 40"/>
                  <a:gd name="T49" fmla="*/ 24 h 33"/>
                  <a:gd name="T50" fmla="*/ 4 w 40"/>
                  <a:gd name="T51" fmla="*/ 2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40" h="33">
                    <a:moveTo>
                      <a:pt x="38" y="11"/>
                    </a:moveTo>
                    <a:cubicBezTo>
                      <a:pt x="37" y="9"/>
                      <a:pt x="34" y="6"/>
                      <a:pt x="31" y="2"/>
                    </a:cubicBezTo>
                    <a:cubicBezTo>
                      <a:pt x="30" y="5"/>
                      <a:pt x="26" y="4"/>
                      <a:pt x="25" y="5"/>
                    </a:cubicBezTo>
                    <a:cubicBezTo>
                      <a:pt x="25" y="7"/>
                      <a:pt x="23" y="5"/>
                      <a:pt x="22" y="5"/>
                    </a:cubicBezTo>
                    <a:cubicBezTo>
                      <a:pt x="21" y="6"/>
                      <a:pt x="18" y="2"/>
                      <a:pt x="16" y="1"/>
                    </a:cubicBezTo>
                    <a:cubicBezTo>
                      <a:pt x="15" y="1"/>
                      <a:pt x="14" y="1"/>
                      <a:pt x="13" y="0"/>
                    </a:cubicBezTo>
                    <a:cubicBezTo>
                      <a:pt x="12" y="1"/>
                      <a:pt x="11" y="2"/>
                      <a:pt x="12" y="3"/>
                    </a:cubicBezTo>
                    <a:cubicBezTo>
                      <a:pt x="12" y="4"/>
                      <a:pt x="16" y="5"/>
                      <a:pt x="14" y="7"/>
                    </a:cubicBezTo>
                    <a:cubicBezTo>
                      <a:pt x="13" y="8"/>
                      <a:pt x="9" y="7"/>
                      <a:pt x="8" y="6"/>
                    </a:cubicBezTo>
                    <a:cubicBezTo>
                      <a:pt x="7" y="5"/>
                      <a:pt x="3" y="3"/>
                      <a:pt x="3" y="4"/>
                    </a:cubicBezTo>
                    <a:cubicBezTo>
                      <a:pt x="2" y="6"/>
                      <a:pt x="6" y="9"/>
                      <a:pt x="5" y="11"/>
                    </a:cubicBezTo>
                    <a:cubicBezTo>
                      <a:pt x="5" y="13"/>
                      <a:pt x="8" y="15"/>
                      <a:pt x="8" y="17"/>
                    </a:cubicBezTo>
                    <a:cubicBezTo>
                      <a:pt x="8" y="20"/>
                      <a:pt x="13" y="21"/>
                      <a:pt x="13" y="23"/>
                    </a:cubicBezTo>
                    <a:cubicBezTo>
                      <a:pt x="13" y="24"/>
                      <a:pt x="14" y="26"/>
                      <a:pt x="15" y="27"/>
                    </a:cubicBezTo>
                    <a:cubicBezTo>
                      <a:pt x="19" y="26"/>
                      <a:pt x="22" y="23"/>
                      <a:pt x="24" y="21"/>
                    </a:cubicBezTo>
                    <a:cubicBezTo>
                      <a:pt x="28" y="19"/>
                      <a:pt x="27" y="27"/>
                      <a:pt x="26" y="29"/>
                    </a:cubicBezTo>
                    <a:cubicBezTo>
                      <a:pt x="25" y="30"/>
                      <a:pt x="29" y="32"/>
                      <a:pt x="32" y="33"/>
                    </a:cubicBezTo>
                    <a:cubicBezTo>
                      <a:pt x="32" y="31"/>
                      <a:pt x="32" y="29"/>
                      <a:pt x="33" y="28"/>
                    </a:cubicBezTo>
                    <a:cubicBezTo>
                      <a:pt x="37" y="23"/>
                      <a:pt x="40" y="15"/>
                      <a:pt x="38" y="11"/>
                    </a:cubicBezTo>
                    <a:close/>
                    <a:moveTo>
                      <a:pt x="4" y="23"/>
                    </a:moveTo>
                    <a:cubicBezTo>
                      <a:pt x="3" y="22"/>
                      <a:pt x="2" y="21"/>
                      <a:pt x="0" y="21"/>
                    </a:cubicBezTo>
                    <a:cubicBezTo>
                      <a:pt x="1" y="22"/>
                      <a:pt x="1" y="24"/>
                      <a:pt x="3" y="25"/>
                    </a:cubicBezTo>
                    <a:cubicBezTo>
                      <a:pt x="6" y="27"/>
                      <a:pt x="1" y="27"/>
                      <a:pt x="8" y="28"/>
                    </a:cubicBezTo>
                    <a:cubicBezTo>
                      <a:pt x="9" y="28"/>
                      <a:pt x="9" y="28"/>
                      <a:pt x="10" y="28"/>
                    </a:cubicBezTo>
                    <a:cubicBezTo>
                      <a:pt x="10" y="27"/>
                      <a:pt x="10" y="26"/>
                      <a:pt x="8" y="24"/>
                    </a:cubicBezTo>
                    <a:cubicBezTo>
                      <a:pt x="6" y="22"/>
                      <a:pt x="5" y="23"/>
                      <a:pt x="4" y="2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4" name="Freeform 175">
                <a:extLst>
                  <a:ext uri="{FF2B5EF4-FFF2-40B4-BE49-F238E27FC236}">
                    <a16:creationId xmlns:a16="http://schemas.microsoft.com/office/drawing/2014/main" id="{7DB09ADC-EE60-4BFA-8965-A13CE0877C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41439" y="3334453"/>
                <a:ext cx="264747" cy="189464"/>
              </a:xfrm>
              <a:custGeom>
                <a:avLst/>
                <a:gdLst>
                  <a:gd name="T0" fmla="*/ 111 w 115"/>
                  <a:gd name="T1" fmla="*/ 11 h 82"/>
                  <a:gd name="T2" fmla="*/ 108 w 115"/>
                  <a:gd name="T3" fmla="*/ 9 h 82"/>
                  <a:gd name="T4" fmla="*/ 99 w 115"/>
                  <a:gd name="T5" fmla="*/ 15 h 82"/>
                  <a:gd name="T6" fmla="*/ 95 w 115"/>
                  <a:gd name="T7" fmla="*/ 16 h 82"/>
                  <a:gd name="T8" fmla="*/ 91 w 115"/>
                  <a:gd name="T9" fmla="*/ 16 h 82"/>
                  <a:gd name="T10" fmla="*/ 91 w 115"/>
                  <a:gd name="T11" fmla="*/ 7 h 82"/>
                  <a:gd name="T12" fmla="*/ 88 w 115"/>
                  <a:gd name="T13" fmla="*/ 0 h 82"/>
                  <a:gd name="T14" fmla="*/ 81 w 115"/>
                  <a:gd name="T15" fmla="*/ 7 h 82"/>
                  <a:gd name="T16" fmla="*/ 73 w 115"/>
                  <a:gd name="T17" fmla="*/ 11 h 82"/>
                  <a:gd name="T18" fmla="*/ 65 w 115"/>
                  <a:gd name="T19" fmla="*/ 13 h 82"/>
                  <a:gd name="T20" fmla="*/ 58 w 115"/>
                  <a:gd name="T21" fmla="*/ 11 h 82"/>
                  <a:gd name="T22" fmla="*/ 51 w 115"/>
                  <a:gd name="T23" fmla="*/ 9 h 82"/>
                  <a:gd name="T24" fmla="*/ 44 w 115"/>
                  <a:gd name="T25" fmla="*/ 8 h 82"/>
                  <a:gd name="T26" fmla="*/ 38 w 115"/>
                  <a:gd name="T27" fmla="*/ 11 h 82"/>
                  <a:gd name="T28" fmla="*/ 33 w 115"/>
                  <a:gd name="T29" fmla="*/ 19 h 82"/>
                  <a:gd name="T30" fmla="*/ 22 w 115"/>
                  <a:gd name="T31" fmla="*/ 26 h 82"/>
                  <a:gd name="T32" fmla="*/ 15 w 115"/>
                  <a:gd name="T33" fmla="*/ 29 h 82"/>
                  <a:gd name="T34" fmla="*/ 9 w 115"/>
                  <a:gd name="T35" fmla="*/ 27 h 82"/>
                  <a:gd name="T36" fmla="*/ 6 w 115"/>
                  <a:gd name="T37" fmla="*/ 31 h 82"/>
                  <a:gd name="T38" fmla="*/ 2 w 115"/>
                  <a:gd name="T39" fmla="*/ 37 h 82"/>
                  <a:gd name="T40" fmla="*/ 1 w 115"/>
                  <a:gd name="T41" fmla="*/ 44 h 82"/>
                  <a:gd name="T42" fmla="*/ 1 w 115"/>
                  <a:gd name="T43" fmla="*/ 53 h 82"/>
                  <a:gd name="T44" fmla="*/ 3 w 115"/>
                  <a:gd name="T45" fmla="*/ 62 h 82"/>
                  <a:gd name="T46" fmla="*/ 11 w 115"/>
                  <a:gd name="T47" fmla="*/ 66 h 82"/>
                  <a:gd name="T48" fmla="*/ 2 w 115"/>
                  <a:gd name="T49" fmla="*/ 78 h 82"/>
                  <a:gd name="T50" fmla="*/ 4 w 115"/>
                  <a:gd name="T51" fmla="*/ 80 h 82"/>
                  <a:gd name="T52" fmla="*/ 16 w 115"/>
                  <a:gd name="T53" fmla="*/ 82 h 82"/>
                  <a:gd name="T54" fmla="*/ 49 w 115"/>
                  <a:gd name="T55" fmla="*/ 78 h 82"/>
                  <a:gd name="T56" fmla="*/ 48 w 115"/>
                  <a:gd name="T57" fmla="*/ 69 h 82"/>
                  <a:gd name="T58" fmla="*/ 54 w 115"/>
                  <a:gd name="T59" fmla="*/ 66 h 82"/>
                  <a:gd name="T60" fmla="*/ 60 w 115"/>
                  <a:gd name="T61" fmla="*/ 64 h 82"/>
                  <a:gd name="T62" fmla="*/ 68 w 115"/>
                  <a:gd name="T63" fmla="*/ 61 h 82"/>
                  <a:gd name="T64" fmla="*/ 72 w 115"/>
                  <a:gd name="T65" fmla="*/ 58 h 82"/>
                  <a:gd name="T66" fmla="*/ 75 w 115"/>
                  <a:gd name="T67" fmla="*/ 49 h 82"/>
                  <a:gd name="T68" fmla="*/ 80 w 115"/>
                  <a:gd name="T69" fmla="*/ 46 h 82"/>
                  <a:gd name="T70" fmla="*/ 78 w 115"/>
                  <a:gd name="T71" fmla="*/ 41 h 82"/>
                  <a:gd name="T72" fmla="*/ 87 w 115"/>
                  <a:gd name="T73" fmla="*/ 41 h 82"/>
                  <a:gd name="T74" fmla="*/ 87 w 115"/>
                  <a:gd name="T75" fmla="*/ 34 h 82"/>
                  <a:gd name="T76" fmla="*/ 91 w 115"/>
                  <a:gd name="T77" fmla="*/ 29 h 82"/>
                  <a:gd name="T78" fmla="*/ 90 w 115"/>
                  <a:gd name="T79" fmla="*/ 24 h 82"/>
                  <a:gd name="T80" fmla="*/ 91 w 115"/>
                  <a:gd name="T81" fmla="*/ 20 h 82"/>
                  <a:gd name="T82" fmla="*/ 92 w 115"/>
                  <a:gd name="T83" fmla="*/ 19 h 82"/>
                  <a:gd name="T84" fmla="*/ 96 w 115"/>
                  <a:gd name="T85" fmla="*/ 18 h 82"/>
                  <a:gd name="T86" fmla="*/ 107 w 115"/>
                  <a:gd name="T87" fmla="*/ 15 h 82"/>
                  <a:gd name="T88" fmla="*/ 115 w 115"/>
                  <a:gd name="T89" fmla="*/ 12 h 82"/>
                  <a:gd name="T90" fmla="*/ 111 w 115"/>
                  <a:gd name="T91" fmla="*/ 11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15" h="82">
                    <a:moveTo>
                      <a:pt x="111" y="11"/>
                    </a:moveTo>
                    <a:cubicBezTo>
                      <a:pt x="110" y="12"/>
                      <a:pt x="110" y="10"/>
                      <a:pt x="108" y="9"/>
                    </a:cubicBezTo>
                    <a:cubicBezTo>
                      <a:pt x="107" y="8"/>
                      <a:pt x="103" y="12"/>
                      <a:pt x="99" y="15"/>
                    </a:cubicBezTo>
                    <a:cubicBezTo>
                      <a:pt x="98" y="15"/>
                      <a:pt x="96" y="16"/>
                      <a:pt x="95" y="16"/>
                    </a:cubicBezTo>
                    <a:cubicBezTo>
                      <a:pt x="93" y="17"/>
                      <a:pt x="92" y="17"/>
                      <a:pt x="91" y="16"/>
                    </a:cubicBezTo>
                    <a:cubicBezTo>
                      <a:pt x="89" y="14"/>
                      <a:pt x="94" y="8"/>
                      <a:pt x="91" y="7"/>
                    </a:cubicBezTo>
                    <a:cubicBezTo>
                      <a:pt x="88" y="5"/>
                      <a:pt x="91" y="0"/>
                      <a:pt x="88" y="0"/>
                    </a:cubicBezTo>
                    <a:cubicBezTo>
                      <a:pt x="85" y="0"/>
                      <a:pt x="81" y="5"/>
                      <a:pt x="81" y="7"/>
                    </a:cubicBezTo>
                    <a:cubicBezTo>
                      <a:pt x="81" y="9"/>
                      <a:pt x="73" y="9"/>
                      <a:pt x="73" y="11"/>
                    </a:cubicBezTo>
                    <a:cubicBezTo>
                      <a:pt x="73" y="13"/>
                      <a:pt x="66" y="11"/>
                      <a:pt x="65" y="13"/>
                    </a:cubicBezTo>
                    <a:cubicBezTo>
                      <a:pt x="63" y="16"/>
                      <a:pt x="60" y="11"/>
                      <a:pt x="58" y="11"/>
                    </a:cubicBezTo>
                    <a:cubicBezTo>
                      <a:pt x="55" y="11"/>
                      <a:pt x="54" y="8"/>
                      <a:pt x="51" y="9"/>
                    </a:cubicBezTo>
                    <a:cubicBezTo>
                      <a:pt x="48" y="10"/>
                      <a:pt x="47" y="8"/>
                      <a:pt x="44" y="8"/>
                    </a:cubicBezTo>
                    <a:cubicBezTo>
                      <a:pt x="42" y="7"/>
                      <a:pt x="41" y="12"/>
                      <a:pt x="38" y="11"/>
                    </a:cubicBezTo>
                    <a:cubicBezTo>
                      <a:pt x="35" y="11"/>
                      <a:pt x="34" y="16"/>
                      <a:pt x="33" y="19"/>
                    </a:cubicBezTo>
                    <a:cubicBezTo>
                      <a:pt x="32" y="23"/>
                      <a:pt x="21" y="23"/>
                      <a:pt x="22" y="26"/>
                    </a:cubicBezTo>
                    <a:cubicBezTo>
                      <a:pt x="22" y="30"/>
                      <a:pt x="15" y="31"/>
                      <a:pt x="15" y="29"/>
                    </a:cubicBezTo>
                    <a:cubicBezTo>
                      <a:pt x="14" y="26"/>
                      <a:pt x="10" y="28"/>
                      <a:pt x="9" y="27"/>
                    </a:cubicBezTo>
                    <a:cubicBezTo>
                      <a:pt x="8" y="26"/>
                      <a:pt x="5" y="28"/>
                      <a:pt x="6" y="31"/>
                    </a:cubicBezTo>
                    <a:cubicBezTo>
                      <a:pt x="6" y="34"/>
                      <a:pt x="3" y="36"/>
                      <a:pt x="2" y="37"/>
                    </a:cubicBezTo>
                    <a:cubicBezTo>
                      <a:pt x="2" y="38"/>
                      <a:pt x="0" y="42"/>
                      <a:pt x="1" y="44"/>
                    </a:cubicBezTo>
                    <a:cubicBezTo>
                      <a:pt x="3" y="46"/>
                      <a:pt x="0" y="49"/>
                      <a:pt x="1" y="53"/>
                    </a:cubicBezTo>
                    <a:cubicBezTo>
                      <a:pt x="3" y="56"/>
                      <a:pt x="2" y="61"/>
                      <a:pt x="3" y="62"/>
                    </a:cubicBezTo>
                    <a:cubicBezTo>
                      <a:pt x="3" y="63"/>
                      <a:pt x="9" y="63"/>
                      <a:pt x="11" y="66"/>
                    </a:cubicBezTo>
                    <a:cubicBezTo>
                      <a:pt x="12" y="70"/>
                      <a:pt x="3" y="76"/>
                      <a:pt x="2" y="78"/>
                    </a:cubicBezTo>
                    <a:cubicBezTo>
                      <a:pt x="2" y="78"/>
                      <a:pt x="3" y="79"/>
                      <a:pt x="4" y="80"/>
                    </a:cubicBezTo>
                    <a:cubicBezTo>
                      <a:pt x="8" y="80"/>
                      <a:pt x="12" y="81"/>
                      <a:pt x="16" y="82"/>
                    </a:cubicBezTo>
                    <a:cubicBezTo>
                      <a:pt x="22" y="82"/>
                      <a:pt x="48" y="78"/>
                      <a:pt x="49" y="78"/>
                    </a:cubicBezTo>
                    <a:cubicBezTo>
                      <a:pt x="49" y="77"/>
                      <a:pt x="48" y="71"/>
                      <a:pt x="48" y="69"/>
                    </a:cubicBezTo>
                    <a:cubicBezTo>
                      <a:pt x="48" y="68"/>
                      <a:pt x="52" y="65"/>
                      <a:pt x="54" y="66"/>
                    </a:cubicBezTo>
                    <a:cubicBezTo>
                      <a:pt x="57" y="66"/>
                      <a:pt x="60" y="66"/>
                      <a:pt x="60" y="64"/>
                    </a:cubicBezTo>
                    <a:cubicBezTo>
                      <a:pt x="60" y="62"/>
                      <a:pt x="68" y="59"/>
                      <a:pt x="68" y="61"/>
                    </a:cubicBezTo>
                    <a:cubicBezTo>
                      <a:pt x="69" y="63"/>
                      <a:pt x="72" y="63"/>
                      <a:pt x="72" y="58"/>
                    </a:cubicBezTo>
                    <a:cubicBezTo>
                      <a:pt x="73" y="53"/>
                      <a:pt x="72" y="49"/>
                      <a:pt x="75" y="49"/>
                    </a:cubicBezTo>
                    <a:cubicBezTo>
                      <a:pt x="78" y="49"/>
                      <a:pt x="81" y="47"/>
                      <a:pt x="80" y="46"/>
                    </a:cubicBezTo>
                    <a:cubicBezTo>
                      <a:pt x="80" y="44"/>
                      <a:pt x="77" y="42"/>
                      <a:pt x="78" y="41"/>
                    </a:cubicBezTo>
                    <a:cubicBezTo>
                      <a:pt x="79" y="40"/>
                      <a:pt x="86" y="43"/>
                      <a:pt x="87" y="41"/>
                    </a:cubicBezTo>
                    <a:cubicBezTo>
                      <a:pt x="88" y="39"/>
                      <a:pt x="86" y="36"/>
                      <a:pt x="87" y="34"/>
                    </a:cubicBezTo>
                    <a:cubicBezTo>
                      <a:pt x="89" y="33"/>
                      <a:pt x="92" y="31"/>
                      <a:pt x="91" y="29"/>
                    </a:cubicBezTo>
                    <a:cubicBezTo>
                      <a:pt x="91" y="27"/>
                      <a:pt x="92" y="26"/>
                      <a:pt x="90" y="24"/>
                    </a:cubicBezTo>
                    <a:cubicBezTo>
                      <a:pt x="88" y="22"/>
                      <a:pt x="89" y="20"/>
                      <a:pt x="91" y="20"/>
                    </a:cubicBezTo>
                    <a:cubicBezTo>
                      <a:pt x="91" y="20"/>
                      <a:pt x="92" y="20"/>
                      <a:pt x="92" y="19"/>
                    </a:cubicBezTo>
                    <a:cubicBezTo>
                      <a:pt x="94" y="19"/>
                      <a:pt x="95" y="19"/>
                      <a:pt x="96" y="18"/>
                    </a:cubicBezTo>
                    <a:cubicBezTo>
                      <a:pt x="99" y="16"/>
                      <a:pt x="105" y="14"/>
                      <a:pt x="107" y="15"/>
                    </a:cubicBezTo>
                    <a:cubicBezTo>
                      <a:pt x="109" y="15"/>
                      <a:pt x="113" y="15"/>
                      <a:pt x="115" y="12"/>
                    </a:cubicBezTo>
                    <a:cubicBezTo>
                      <a:pt x="114" y="12"/>
                      <a:pt x="112" y="11"/>
                      <a:pt x="111" y="1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5" name="Freeform 176">
                <a:extLst>
                  <a:ext uri="{FF2B5EF4-FFF2-40B4-BE49-F238E27FC236}">
                    <a16:creationId xmlns:a16="http://schemas.microsoft.com/office/drawing/2014/main" id="{5F612F07-26EA-45FC-A6A9-CACAD599B1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50223" y="3362057"/>
                <a:ext cx="306153" cy="277294"/>
              </a:xfrm>
              <a:custGeom>
                <a:avLst/>
                <a:gdLst>
                  <a:gd name="T0" fmla="*/ 123 w 133"/>
                  <a:gd name="T1" fmla="*/ 7 h 120"/>
                  <a:gd name="T2" fmla="*/ 113 w 133"/>
                  <a:gd name="T3" fmla="*/ 1 h 120"/>
                  <a:gd name="T4" fmla="*/ 103 w 133"/>
                  <a:gd name="T5" fmla="*/ 3 h 120"/>
                  <a:gd name="T6" fmla="*/ 88 w 133"/>
                  <a:gd name="T7" fmla="*/ 7 h 120"/>
                  <a:gd name="T8" fmla="*/ 86 w 133"/>
                  <a:gd name="T9" fmla="*/ 12 h 120"/>
                  <a:gd name="T10" fmla="*/ 83 w 133"/>
                  <a:gd name="T11" fmla="*/ 22 h 120"/>
                  <a:gd name="T12" fmla="*/ 74 w 133"/>
                  <a:gd name="T13" fmla="*/ 29 h 120"/>
                  <a:gd name="T14" fmla="*/ 71 w 133"/>
                  <a:gd name="T15" fmla="*/ 37 h 120"/>
                  <a:gd name="T16" fmla="*/ 64 w 133"/>
                  <a:gd name="T17" fmla="*/ 49 h 120"/>
                  <a:gd name="T18" fmla="*/ 50 w 133"/>
                  <a:gd name="T19" fmla="*/ 54 h 120"/>
                  <a:gd name="T20" fmla="*/ 45 w 133"/>
                  <a:gd name="T21" fmla="*/ 66 h 120"/>
                  <a:gd name="T22" fmla="*/ 0 w 133"/>
                  <a:gd name="T23" fmla="*/ 68 h 120"/>
                  <a:gd name="T24" fmla="*/ 12 w 133"/>
                  <a:gd name="T25" fmla="*/ 79 h 120"/>
                  <a:gd name="T26" fmla="*/ 18 w 133"/>
                  <a:gd name="T27" fmla="*/ 94 h 120"/>
                  <a:gd name="T28" fmla="*/ 5 w 133"/>
                  <a:gd name="T29" fmla="*/ 105 h 120"/>
                  <a:gd name="T30" fmla="*/ 21 w 133"/>
                  <a:gd name="T31" fmla="*/ 106 h 120"/>
                  <a:gd name="T32" fmla="*/ 40 w 133"/>
                  <a:gd name="T33" fmla="*/ 105 h 120"/>
                  <a:gd name="T34" fmla="*/ 50 w 133"/>
                  <a:gd name="T35" fmla="*/ 111 h 120"/>
                  <a:gd name="T36" fmla="*/ 59 w 133"/>
                  <a:gd name="T37" fmla="*/ 120 h 120"/>
                  <a:gd name="T38" fmla="*/ 60 w 133"/>
                  <a:gd name="T39" fmla="*/ 120 h 120"/>
                  <a:gd name="T40" fmla="*/ 75 w 133"/>
                  <a:gd name="T41" fmla="*/ 114 h 120"/>
                  <a:gd name="T42" fmla="*/ 78 w 133"/>
                  <a:gd name="T43" fmla="*/ 106 h 120"/>
                  <a:gd name="T44" fmla="*/ 70 w 133"/>
                  <a:gd name="T45" fmla="*/ 92 h 120"/>
                  <a:gd name="T46" fmla="*/ 82 w 133"/>
                  <a:gd name="T47" fmla="*/ 85 h 120"/>
                  <a:gd name="T48" fmla="*/ 92 w 133"/>
                  <a:gd name="T49" fmla="*/ 78 h 120"/>
                  <a:gd name="T50" fmla="*/ 102 w 133"/>
                  <a:gd name="T51" fmla="*/ 66 h 120"/>
                  <a:gd name="T52" fmla="*/ 110 w 133"/>
                  <a:gd name="T53" fmla="*/ 57 h 120"/>
                  <a:gd name="T54" fmla="*/ 116 w 133"/>
                  <a:gd name="T55" fmla="*/ 45 h 120"/>
                  <a:gd name="T56" fmla="*/ 107 w 133"/>
                  <a:gd name="T57" fmla="*/ 34 h 120"/>
                  <a:gd name="T58" fmla="*/ 110 w 133"/>
                  <a:gd name="T59" fmla="*/ 22 h 120"/>
                  <a:gd name="T60" fmla="*/ 130 w 133"/>
                  <a:gd name="T61" fmla="*/ 21 h 120"/>
                  <a:gd name="T62" fmla="*/ 127 w 133"/>
                  <a:gd name="T63" fmla="*/ 13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33" h="120">
                    <a:moveTo>
                      <a:pt x="127" y="13"/>
                    </a:moveTo>
                    <a:cubicBezTo>
                      <a:pt x="123" y="11"/>
                      <a:pt x="123" y="8"/>
                      <a:pt x="123" y="7"/>
                    </a:cubicBezTo>
                    <a:cubicBezTo>
                      <a:pt x="123" y="6"/>
                      <a:pt x="118" y="3"/>
                      <a:pt x="115" y="1"/>
                    </a:cubicBezTo>
                    <a:cubicBezTo>
                      <a:pt x="115" y="1"/>
                      <a:pt x="114" y="1"/>
                      <a:pt x="113" y="1"/>
                    </a:cubicBezTo>
                    <a:cubicBezTo>
                      <a:pt x="113" y="1"/>
                      <a:pt x="112" y="1"/>
                      <a:pt x="111" y="0"/>
                    </a:cubicBezTo>
                    <a:cubicBezTo>
                      <a:pt x="109" y="3"/>
                      <a:pt x="105" y="3"/>
                      <a:pt x="103" y="3"/>
                    </a:cubicBezTo>
                    <a:cubicBezTo>
                      <a:pt x="101" y="2"/>
                      <a:pt x="95" y="4"/>
                      <a:pt x="92" y="6"/>
                    </a:cubicBezTo>
                    <a:cubicBezTo>
                      <a:pt x="91" y="7"/>
                      <a:pt x="90" y="7"/>
                      <a:pt x="88" y="7"/>
                    </a:cubicBezTo>
                    <a:cubicBezTo>
                      <a:pt x="88" y="8"/>
                      <a:pt x="87" y="8"/>
                      <a:pt x="87" y="8"/>
                    </a:cubicBezTo>
                    <a:cubicBezTo>
                      <a:pt x="85" y="8"/>
                      <a:pt x="84" y="10"/>
                      <a:pt x="86" y="12"/>
                    </a:cubicBezTo>
                    <a:cubicBezTo>
                      <a:pt x="88" y="14"/>
                      <a:pt x="87" y="15"/>
                      <a:pt x="87" y="17"/>
                    </a:cubicBezTo>
                    <a:cubicBezTo>
                      <a:pt x="88" y="19"/>
                      <a:pt x="85" y="21"/>
                      <a:pt x="83" y="22"/>
                    </a:cubicBezTo>
                    <a:cubicBezTo>
                      <a:pt x="82" y="24"/>
                      <a:pt x="84" y="27"/>
                      <a:pt x="83" y="29"/>
                    </a:cubicBezTo>
                    <a:cubicBezTo>
                      <a:pt x="82" y="31"/>
                      <a:pt x="75" y="28"/>
                      <a:pt x="74" y="29"/>
                    </a:cubicBezTo>
                    <a:cubicBezTo>
                      <a:pt x="73" y="30"/>
                      <a:pt x="76" y="32"/>
                      <a:pt x="76" y="34"/>
                    </a:cubicBezTo>
                    <a:cubicBezTo>
                      <a:pt x="77" y="35"/>
                      <a:pt x="74" y="37"/>
                      <a:pt x="71" y="37"/>
                    </a:cubicBezTo>
                    <a:cubicBezTo>
                      <a:pt x="68" y="37"/>
                      <a:pt x="69" y="41"/>
                      <a:pt x="68" y="46"/>
                    </a:cubicBezTo>
                    <a:cubicBezTo>
                      <a:pt x="68" y="51"/>
                      <a:pt x="65" y="51"/>
                      <a:pt x="64" y="49"/>
                    </a:cubicBezTo>
                    <a:cubicBezTo>
                      <a:pt x="64" y="47"/>
                      <a:pt x="56" y="50"/>
                      <a:pt x="56" y="52"/>
                    </a:cubicBezTo>
                    <a:cubicBezTo>
                      <a:pt x="56" y="54"/>
                      <a:pt x="53" y="54"/>
                      <a:pt x="50" y="54"/>
                    </a:cubicBezTo>
                    <a:cubicBezTo>
                      <a:pt x="48" y="53"/>
                      <a:pt x="44" y="56"/>
                      <a:pt x="44" y="57"/>
                    </a:cubicBezTo>
                    <a:cubicBezTo>
                      <a:pt x="44" y="59"/>
                      <a:pt x="45" y="65"/>
                      <a:pt x="45" y="66"/>
                    </a:cubicBezTo>
                    <a:cubicBezTo>
                      <a:pt x="44" y="66"/>
                      <a:pt x="18" y="70"/>
                      <a:pt x="12" y="70"/>
                    </a:cubicBezTo>
                    <a:cubicBezTo>
                      <a:pt x="8" y="69"/>
                      <a:pt x="4" y="68"/>
                      <a:pt x="0" y="68"/>
                    </a:cubicBezTo>
                    <a:cubicBezTo>
                      <a:pt x="1" y="70"/>
                      <a:pt x="3" y="71"/>
                      <a:pt x="4" y="73"/>
                    </a:cubicBezTo>
                    <a:cubicBezTo>
                      <a:pt x="5" y="75"/>
                      <a:pt x="8" y="78"/>
                      <a:pt x="12" y="79"/>
                    </a:cubicBezTo>
                    <a:cubicBezTo>
                      <a:pt x="16" y="81"/>
                      <a:pt x="14" y="88"/>
                      <a:pt x="16" y="88"/>
                    </a:cubicBezTo>
                    <a:cubicBezTo>
                      <a:pt x="18" y="89"/>
                      <a:pt x="20" y="94"/>
                      <a:pt x="18" y="94"/>
                    </a:cubicBezTo>
                    <a:cubicBezTo>
                      <a:pt x="15" y="95"/>
                      <a:pt x="13" y="95"/>
                      <a:pt x="10" y="97"/>
                    </a:cubicBezTo>
                    <a:cubicBezTo>
                      <a:pt x="8" y="98"/>
                      <a:pt x="5" y="101"/>
                      <a:pt x="5" y="105"/>
                    </a:cubicBezTo>
                    <a:cubicBezTo>
                      <a:pt x="5" y="105"/>
                      <a:pt x="6" y="106"/>
                      <a:pt x="6" y="107"/>
                    </a:cubicBezTo>
                    <a:cubicBezTo>
                      <a:pt x="12" y="107"/>
                      <a:pt x="20" y="107"/>
                      <a:pt x="21" y="106"/>
                    </a:cubicBezTo>
                    <a:cubicBezTo>
                      <a:pt x="22" y="104"/>
                      <a:pt x="25" y="104"/>
                      <a:pt x="27" y="105"/>
                    </a:cubicBezTo>
                    <a:cubicBezTo>
                      <a:pt x="29" y="106"/>
                      <a:pt x="37" y="107"/>
                      <a:pt x="40" y="105"/>
                    </a:cubicBezTo>
                    <a:cubicBezTo>
                      <a:pt x="44" y="103"/>
                      <a:pt x="46" y="105"/>
                      <a:pt x="46" y="107"/>
                    </a:cubicBezTo>
                    <a:cubicBezTo>
                      <a:pt x="46" y="109"/>
                      <a:pt x="48" y="109"/>
                      <a:pt x="50" y="111"/>
                    </a:cubicBezTo>
                    <a:cubicBezTo>
                      <a:pt x="52" y="113"/>
                      <a:pt x="50" y="115"/>
                      <a:pt x="52" y="117"/>
                    </a:cubicBezTo>
                    <a:cubicBezTo>
                      <a:pt x="53" y="118"/>
                      <a:pt x="55" y="118"/>
                      <a:pt x="59" y="120"/>
                    </a:cubicBezTo>
                    <a:cubicBezTo>
                      <a:pt x="59" y="120"/>
                      <a:pt x="59" y="120"/>
                      <a:pt x="60" y="120"/>
                    </a:cubicBezTo>
                    <a:cubicBezTo>
                      <a:pt x="60" y="120"/>
                      <a:pt x="60" y="120"/>
                      <a:pt x="60" y="120"/>
                    </a:cubicBezTo>
                    <a:cubicBezTo>
                      <a:pt x="62" y="118"/>
                      <a:pt x="63" y="114"/>
                      <a:pt x="68" y="115"/>
                    </a:cubicBezTo>
                    <a:cubicBezTo>
                      <a:pt x="73" y="116"/>
                      <a:pt x="72" y="114"/>
                      <a:pt x="75" y="114"/>
                    </a:cubicBezTo>
                    <a:cubicBezTo>
                      <a:pt x="78" y="115"/>
                      <a:pt x="80" y="115"/>
                      <a:pt x="81" y="113"/>
                    </a:cubicBezTo>
                    <a:cubicBezTo>
                      <a:pt x="83" y="111"/>
                      <a:pt x="80" y="107"/>
                      <a:pt x="78" y="106"/>
                    </a:cubicBezTo>
                    <a:cubicBezTo>
                      <a:pt x="77" y="104"/>
                      <a:pt x="75" y="100"/>
                      <a:pt x="75" y="97"/>
                    </a:cubicBezTo>
                    <a:cubicBezTo>
                      <a:pt x="75" y="94"/>
                      <a:pt x="70" y="94"/>
                      <a:pt x="70" y="92"/>
                    </a:cubicBezTo>
                    <a:cubicBezTo>
                      <a:pt x="70" y="89"/>
                      <a:pt x="75" y="85"/>
                      <a:pt x="76" y="84"/>
                    </a:cubicBezTo>
                    <a:cubicBezTo>
                      <a:pt x="77" y="83"/>
                      <a:pt x="81" y="86"/>
                      <a:pt x="82" y="85"/>
                    </a:cubicBezTo>
                    <a:cubicBezTo>
                      <a:pt x="83" y="83"/>
                      <a:pt x="86" y="84"/>
                      <a:pt x="87" y="84"/>
                    </a:cubicBezTo>
                    <a:cubicBezTo>
                      <a:pt x="89" y="85"/>
                      <a:pt x="91" y="81"/>
                      <a:pt x="92" y="78"/>
                    </a:cubicBezTo>
                    <a:cubicBezTo>
                      <a:pt x="92" y="75"/>
                      <a:pt x="97" y="75"/>
                      <a:pt x="98" y="74"/>
                    </a:cubicBezTo>
                    <a:cubicBezTo>
                      <a:pt x="99" y="73"/>
                      <a:pt x="101" y="67"/>
                      <a:pt x="102" y="66"/>
                    </a:cubicBezTo>
                    <a:cubicBezTo>
                      <a:pt x="102" y="64"/>
                      <a:pt x="106" y="65"/>
                      <a:pt x="106" y="62"/>
                    </a:cubicBezTo>
                    <a:cubicBezTo>
                      <a:pt x="106" y="58"/>
                      <a:pt x="108" y="58"/>
                      <a:pt x="110" y="57"/>
                    </a:cubicBezTo>
                    <a:cubicBezTo>
                      <a:pt x="112" y="57"/>
                      <a:pt x="111" y="54"/>
                      <a:pt x="112" y="51"/>
                    </a:cubicBezTo>
                    <a:cubicBezTo>
                      <a:pt x="112" y="49"/>
                      <a:pt x="113" y="46"/>
                      <a:pt x="116" y="45"/>
                    </a:cubicBezTo>
                    <a:cubicBezTo>
                      <a:pt x="118" y="45"/>
                      <a:pt x="115" y="41"/>
                      <a:pt x="112" y="42"/>
                    </a:cubicBezTo>
                    <a:cubicBezTo>
                      <a:pt x="109" y="42"/>
                      <a:pt x="107" y="34"/>
                      <a:pt x="107" y="34"/>
                    </a:cubicBezTo>
                    <a:cubicBezTo>
                      <a:pt x="107" y="34"/>
                      <a:pt x="108" y="27"/>
                      <a:pt x="106" y="26"/>
                    </a:cubicBezTo>
                    <a:cubicBezTo>
                      <a:pt x="104" y="26"/>
                      <a:pt x="107" y="22"/>
                      <a:pt x="110" y="22"/>
                    </a:cubicBezTo>
                    <a:cubicBezTo>
                      <a:pt x="114" y="22"/>
                      <a:pt x="120" y="26"/>
                      <a:pt x="122" y="24"/>
                    </a:cubicBezTo>
                    <a:cubicBezTo>
                      <a:pt x="124" y="23"/>
                      <a:pt x="129" y="22"/>
                      <a:pt x="130" y="21"/>
                    </a:cubicBezTo>
                    <a:cubicBezTo>
                      <a:pt x="131" y="21"/>
                      <a:pt x="132" y="18"/>
                      <a:pt x="133" y="16"/>
                    </a:cubicBezTo>
                    <a:cubicBezTo>
                      <a:pt x="132" y="15"/>
                      <a:pt x="129" y="14"/>
                      <a:pt x="127" y="1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5" name="Freeform 177">
                <a:extLst>
                  <a:ext uri="{FF2B5EF4-FFF2-40B4-BE49-F238E27FC236}">
                    <a16:creationId xmlns:a16="http://schemas.microsoft.com/office/drawing/2014/main" id="{B37C169E-05F7-4F09-BB91-FDF1FA4AB81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63784" y="3980637"/>
                <a:ext cx="851959" cy="311172"/>
              </a:xfrm>
              <a:custGeom>
                <a:avLst/>
                <a:gdLst>
                  <a:gd name="T0" fmla="*/ 27 w 370"/>
                  <a:gd name="T1" fmla="*/ 57 h 135"/>
                  <a:gd name="T2" fmla="*/ 105 w 370"/>
                  <a:gd name="T3" fmla="*/ 72 h 135"/>
                  <a:gd name="T4" fmla="*/ 16 w 370"/>
                  <a:gd name="T5" fmla="*/ 37 h 135"/>
                  <a:gd name="T6" fmla="*/ 199 w 370"/>
                  <a:gd name="T7" fmla="*/ 95 h 135"/>
                  <a:gd name="T8" fmla="*/ 207 w 370"/>
                  <a:gd name="T9" fmla="*/ 76 h 135"/>
                  <a:gd name="T10" fmla="*/ 219 w 370"/>
                  <a:gd name="T11" fmla="*/ 79 h 135"/>
                  <a:gd name="T12" fmla="*/ 227 w 370"/>
                  <a:gd name="T13" fmla="*/ 54 h 135"/>
                  <a:gd name="T14" fmla="*/ 227 w 370"/>
                  <a:gd name="T15" fmla="*/ 45 h 135"/>
                  <a:gd name="T16" fmla="*/ 212 w 370"/>
                  <a:gd name="T17" fmla="*/ 38 h 135"/>
                  <a:gd name="T18" fmla="*/ 190 w 370"/>
                  <a:gd name="T19" fmla="*/ 69 h 135"/>
                  <a:gd name="T20" fmla="*/ 88 w 370"/>
                  <a:gd name="T21" fmla="*/ 75 h 135"/>
                  <a:gd name="T22" fmla="*/ 85 w 370"/>
                  <a:gd name="T23" fmla="*/ 62 h 135"/>
                  <a:gd name="T24" fmla="*/ 82 w 370"/>
                  <a:gd name="T25" fmla="*/ 68 h 135"/>
                  <a:gd name="T26" fmla="*/ 68 w 370"/>
                  <a:gd name="T27" fmla="*/ 51 h 135"/>
                  <a:gd name="T28" fmla="*/ 56 w 370"/>
                  <a:gd name="T29" fmla="*/ 36 h 135"/>
                  <a:gd name="T30" fmla="*/ 38 w 370"/>
                  <a:gd name="T31" fmla="*/ 24 h 135"/>
                  <a:gd name="T32" fmla="*/ 2 w 370"/>
                  <a:gd name="T33" fmla="*/ 3 h 135"/>
                  <a:gd name="T34" fmla="*/ 33 w 370"/>
                  <a:gd name="T35" fmla="*/ 46 h 135"/>
                  <a:gd name="T36" fmla="*/ 71 w 370"/>
                  <a:gd name="T37" fmla="*/ 91 h 135"/>
                  <a:gd name="T38" fmla="*/ 87 w 370"/>
                  <a:gd name="T39" fmla="*/ 84 h 135"/>
                  <a:gd name="T40" fmla="*/ 266 w 370"/>
                  <a:gd name="T41" fmla="*/ 37 h 135"/>
                  <a:gd name="T42" fmla="*/ 268 w 370"/>
                  <a:gd name="T43" fmla="*/ 46 h 135"/>
                  <a:gd name="T44" fmla="*/ 249 w 370"/>
                  <a:gd name="T45" fmla="*/ 75 h 135"/>
                  <a:gd name="T46" fmla="*/ 198 w 370"/>
                  <a:gd name="T47" fmla="*/ 119 h 135"/>
                  <a:gd name="T48" fmla="*/ 230 w 370"/>
                  <a:gd name="T49" fmla="*/ 115 h 135"/>
                  <a:gd name="T50" fmla="*/ 276 w 370"/>
                  <a:gd name="T51" fmla="*/ 76 h 135"/>
                  <a:gd name="T52" fmla="*/ 156 w 370"/>
                  <a:gd name="T53" fmla="*/ 113 h 135"/>
                  <a:gd name="T54" fmla="*/ 140 w 370"/>
                  <a:gd name="T55" fmla="*/ 105 h 135"/>
                  <a:gd name="T56" fmla="*/ 88 w 370"/>
                  <a:gd name="T57" fmla="*/ 98 h 135"/>
                  <a:gd name="T58" fmla="*/ 94 w 370"/>
                  <a:gd name="T59" fmla="*/ 109 h 135"/>
                  <a:gd name="T60" fmla="*/ 144 w 370"/>
                  <a:gd name="T61" fmla="*/ 117 h 135"/>
                  <a:gd name="T62" fmla="*/ 156 w 370"/>
                  <a:gd name="T63" fmla="*/ 113 h 135"/>
                  <a:gd name="T64" fmla="*/ 323 w 370"/>
                  <a:gd name="T65" fmla="*/ 76 h 135"/>
                  <a:gd name="T66" fmla="*/ 289 w 370"/>
                  <a:gd name="T67" fmla="*/ 59 h 135"/>
                  <a:gd name="T68" fmla="*/ 310 w 370"/>
                  <a:gd name="T69" fmla="*/ 67 h 135"/>
                  <a:gd name="T70" fmla="*/ 298 w 370"/>
                  <a:gd name="T71" fmla="*/ 72 h 135"/>
                  <a:gd name="T72" fmla="*/ 317 w 370"/>
                  <a:gd name="T73" fmla="*/ 81 h 135"/>
                  <a:gd name="T74" fmla="*/ 351 w 370"/>
                  <a:gd name="T75" fmla="*/ 102 h 135"/>
                  <a:gd name="T76" fmla="*/ 362 w 370"/>
                  <a:gd name="T77" fmla="*/ 115 h 135"/>
                  <a:gd name="T78" fmla="*/ 343 w 370"/>
                  <a:gd name="T79" fmla="*/ 61 h 135"/>
                  <a:gd name="T80" fmla="*/ 236 w 370"/>
                  <a:gd name="T81" fmla="*/ 125 h 135"/>
                  <a:gd name="T82" fmla="*/ 240 w 370"/>
                  <a:gd name="T83" fmla="*/ 127 h 135"/>
                  <a:gd name="T84" fmla="*/ 242 w 370"/>
                  <a:gd name="T85" fmla="*/ 124 h 135"/>
                  <a:gd name="T86" fmla="*/ 178 w 370"/>
                  <a:gd name="T87" fmla="*/ 48 h 135"/>
                  <a:gd name="T88" fmla="*/ 183 w 370"/>
                  <a:gd name="T89" fmla="*/ 28 h 135"/>
                  <a:gd name="T90" fmla="*/ 182 w 370"/>
                  <a:gd name="T91" fmla="*/ 14 h 135"/>
                  <a:gd name="T92" fmla="*/ 161 w 370"/>
                  <a:gd name="T93" fmla="*/ 25 h 135"/>
                  <a:gd name="T94" fmla="*/ 144 w 370"/>
                  <a:gd name="T95" fmla="*/ 36 h 135"/>
                  <a:gd name="T96" fmla="*/ 118 w 370"/>
                  <a:gd name="T97" fmla="*/ 37 h 135"/>
                  <a:gd name="T98" fmla="*/ 110 w 370"/>
                  <a:gd name="T99" fmla="*/ 43 h 135"/>
                  <a:gd name="T100" fmla="*/ 129 w 370"/>
                  <a:gd name="T101" fmla="*/ 73 h 135"/>
                  <a:gd name="T102" fmla="*/ 156 w 370"/>
                  <a:gd name="T103" fmla="*/ 80 h 135"/>
                  <a:gd name="T104" fmla="*/ 192 w 370"/>
                  <a:gd name="T105" fmla="*/ 127 h 135"/>
                  <a:gd name="T106" fmla="*/ 192 w 370"/>
                  <a:gd name="T107" fmla="*/ 127 h 135"/>
                  <a:gd name="T108" fmla="*/ 168 w 370"/>
                  <a:gd name="T109" fmla="*/ 120 h 135"/>
                  <a:gd name="T110" fmla="*/ 180 w 370"/>
                  <a:gd name="T111" fmla="*/ 115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370" h="135">
                    <a:moveTo>
                      <a:pt x="27" y="57"/>
                    </a:moveTo>
                    <a:cubicBezTo>
                      <a:pt x="27" y="58"/>
                      <a:pt x="30" y="63"/>
                      <a:pt x="31" y="62"/>
                    </a:cubicBezTo>
                    <a:cubicBezTo>
                      <a:pt x="33" y="60"/>
                      <a:pt x="29" y="53"/>
                      <a:pt x="27" y="57"/>
                    </a:cubicBezTo>
                    <a:close/>
                    <a:moveTo>
                      <a:pt x="105" y="72"/>
                    </a:moveTo>
                    <a:cubicBezTo>
                      <a:pt x="105" y="70"/>
                      <a:pt x="99" y="71"/>
                      <a:pt x="101" y="74"/>
                    </a:cubicBezTo>
                    <a:cubicBezTo>
                      <a:pt x="103" y="77"/>
                      <a:pt x="105" y="74"/>
                      <a:pt x="105" y="72"/>
                    </a:cubicBezTo>
                    <a:close/>
                    <a:moveTo>
                      <a:pt x="16" y="37"/>
                    </a:moveTo>
                    <a:cubicBezTo>
                      <a:pt x="15" y="39"/>
                      <a:pt x="18" y="46"/>
                      <a:pt x="21" y="43"/>
                    </a:cubicBezTo>
                    <a:cubicBezTo>
                      <a:pt x="24" y="40"/>
                      <a:pt x="16" y="34"/>
                      <a:pt x="16" y="37"/>
                    </a:cubicBezTo>
                    <a:close/>
                    <a:moveTo>
                      <a:pt x="195" y="77"/>
                    </a:moveTo>
                    <a:cubicBezTo>
                      <a:pt x="199" y="78"/>
                      <a:pt x="198" y="83"/>
                      <a:pt x="198" y="86"/>
                    </a:cubicBezTo>
                    <a:cubicBezTo>
                      <a:pt x="197" y="89"/>
                      <a:pt x="196" y="96"/>
                      <a:pt x="199" y="95"/>
                    </a:cubicBezTo>
                    <a:cubicBezTo>
                      <a:pt x="202" y="94"/>
                      <a:pt x="205" y="89"/>
                      <a:pt x="203" y="87"/>
                    </a:cubicBezTo>
                    <a:cubicBezTo>
                      <a:pt x="201" y="86"/>
                      <a:pt x="201" y="75"/>
                      <a:pt x="202" y="73"/>
                    </a:cubicBezTo>
                    <a:cubicBezTo>
                      <a:pt x="203" y="70"/>
                      <a:pt x="209" y="72"/>
                      <a:pt x="207" y="76"/>
                    </a:cubicBezTo>
                    <a:cubicBezTo>
                      <a:pt x="205" y="80"/>
                      <a:pt x="211" y="80"/>
                      <a:pt x="211" y="84"/>
                    </a:cubicBezTo>
                    <a:cubicBezTo>
                      <a:pt x="211" y="89"/>
                      <a:pt x="215" y="86"/>
                      <a:pt x="218" y="85"/>
                    </a:cubicBezTo>
                    <a:cubicBezTo>
                      <a:pt x="222" y="84"/>
                      <a:pt x="222" y="82"/>
                      <a:pt x="219" y="79"/>
                    </a:cubicBezTo>
                    <a:cubicBezTo>
                      <a:pt x="216" y="76"/>
                      <a:pt x="221" y="72"/>
                      <a:pt x="217" y="70"/>
                    </a:cubicBezTo>
                    <a:cubicBezTo>
                      <a:pt x="214" y="67"/>
                      <a:pt x="211" y="64"/>
                      <a:pt x="215" y="63"/>
                    </a:cubicBezTo>
                    <a:cubicBezTo>
                      <a:pt x="218" y="62"/>
                      <a:pt x="228" y="56"/>
                      <a:pt x="227" y="54"/>
                    </a:cubicBezTo>
                    <a:cubicBezTo>
                      <a:pt x="226" y="52"/>
                      <a:pt x="212" y="55"/>
                      <a:pt x="210" y="59"/>
                    </a:cubicBezTo>
                    <a:cubicBezTo>
                      <a:pt x="209" y="63"/>
                      <a:pt x="199" y="58"/>
                      <a:pt x="200" y="51"/>
                    </a:cubicBezTo>
                    <a:cubicBezTo>
                      <a:pt x="202" y="44"/>
                      <a:pt x="221" y="42"/>
                      <a:pt x="227" y="45"/>
                    </a:cubicBezTo>
                    <a:cubicBezTo>
                      <a:pt x="233" y="48"/>
                      <a:pt x="239" y="41"/>
                      <a:pt x="241" y="37"/>
                    </a:cubicBezTo>
                    <a:cubicBezTo>
                      <a:pt x="243" y="33"/>
                      <a:pt x="236" y="37"/>
                      <a:pt x="232" y="40"/>
                    </a:cubicBezTo>
                    <a:cubicBezTo>
                      <a:pt x="228" y="43"/>
                      <a:pt x="218" y="40"/>
                      <a:pt x="212" y="38"/>
                    </a:cubicBezTo>
                    <a:cubicBezTo>
                      <a:pt x="207" y="36"/>
                      <a:pt x="207" y="41"/>
                      <a:pt x="202" y="42"/>
                    </a:cubicBezTo>
                    <a:cubicBezTo>
                      <a:pt x="198" y="43"/>
                      <a:pt x="199" y="53"/>
                      <a:pt x="197" y="54"/>
                    </a:cubicBezTo>
                    <a:cubicBezTo>
                      <a:pt x="195" y="55"/>
                      <a:pt x="195" y="62"/>
                      <a:pt x="190" y="69"/>
                    </a:cubicBezTo>
                    <a:cubicBezTo>
                      <a:pt x="186" y="76"/>
                      <a:pt x="192" y="77"/>
                      <a:pt x="195" y="77"/>
                    </a:cubicBezTo>
                    <a:close/>
                    <a:moveTo>
                      <a:pt x="87" y="84"/>
                    </a:moveTo>
                    <a:cubicBezTo>
                      <a:pt x="86" y="80"/>
                      <a:pt x="88" y="77"/>
                      <a:pt x="88" y="75"/>
                    </a:cubicBezTo>
                    <a:cubicBezTo>
                      <a:pt x="88" y="74"/>
                      <a:pt x="89" y="73"/>
                      <a:pt x="91" y="73"/>
                    </a:cubicBezTo>
                    <a:cubicBezTo>
                      <a:pt x="93" y="74"/>
                      <a:pt x="93" y="69"/>
                      <a:pt x="91" y="68"/>
                    </a:cubicBezTo>
                    <a:cubicBezTo>
                      <a:pt x="90" y="68"/>
                      <a:pt x="89" y="62"/>
                      <a:pt x="85" y="62"/>
                    </a:cubicBezTo>
                    <a:cubicBezTo>
                      <a:pt x="81" y="62"/>
                      <a:pt x="81" y="65"/>
                      <a:pt x="84" y="65"/>
                    </a:cubicBezTo>
                    <a:cubicBezTo>
                      <a:pt x="86" y="66"/>
                      <a:pt x="88" y="68"/>
                      <a:pt x="87" y="69"/>
                    </a:cubicBezTo>
                    <a:cubicBezTo>
                      <a:pt x="86" y="71"/>
                      <a:pt x="85" y="68"/>
                      <a:pt x="82" y="68"/>
                    </a:cubicBezTo>
                    <a:cubicBezTo>
                      <a:pt x="79" y="68"/>
                      <a:pt x="81" y="64"/>
                      <a:pt x="77" y="64"/>
                    </a:cubicBezTo>
                    <a:cubicBezTo>
                      <a:pt x="73" y="63"/>
                      <a:pt x="74" y="56"/>
                      <a:pt x="70" y="56"/>
                    </a:cubicBezTo>
                    <a:cubicBezTo>
                      <a:pt x="66" y="56"/>
                      <a:pt x="66" y="53"/>
                      <a:pt x="68" y="51"/>
                    </a:cubicBezTo>
                    <a:cubicBezTo>
                      <a:pt x="71" y="48"/>
                      <a:pt x="64" y="46"/>
                      <a:pt x="64" y="43"/>
                    </a:cubicBezTo>
                    <a:cubicBezTo>
                      <a:pt x="64" y="41"/>
                      <a:pt x="60" y="42"/>
                      <a:pt x="60" y="40"/>
                    </a:cubicBezTo>
                    <a:cubicBezTo>
                      <a:pt x="60" y="37"/>
                      <a:pt x="58" y="39"/>
                      <a:pt x="56" y="36"/>
                    </a:cubicBezTo>
                    <a:cubicBezTo>
                      <a:pt x="54" y="33"/>
                      <a:pt x="53" y="36"/>
                      <a:pt x="51" y="33"/>
                    </a:cubicBezTo>
                    <a:cubicBezTo>
                      <a:pt x="49" y="31"/>
                      <a:pt x="46" y="30"/>
                      <a:pt x="45" y="31"/>
                    </a:cubicBezTo>
                    <a:cubicBezTo>
                      <a:pt x="43" y="31"/>
                      <a:pt x="39" y="28"/>
                      <a:pt x="38" y="24"/>
                    </a:cubicBezTo>
                    <a:cubicBezTo>
                      <a:pt x="37" y="21"/>
                      <a:pt x="26" y="16"/>
                      <a:pt x="24" y="12"/>
                    </a:cubicBezTo>
                    <a:cubicBezTo>
                      <a:pt x="23" y="8"/>
                      <a:pt x="19" y="6"/>
                      <a:pt x="12" y="6"/>
                    </a:cubicBezTo>
                    <a:cubicBezTo>
                      <a:pt x="6" y="7"/>
                      <a:pt x="4" y="0"/>
                      <a:pt x="2" y="3"/>
                    </a:cubicBezTo>
                    <a:cubicBezTo>
                      <a:pt x="0" y="7"/>
                      <a:pt x="9" y="16"/>
                      <a:pt x="13" y="19"/>
                    </a:cubicBezTo>
                    <a:cubicBezTo>
                      <a:pt x="17" y="21"/>
                      <a:pt x="19" y="30"/>
                      <a:pt x="24" y="30"/>
                    </a:cubicBezTo>
                    <a:cubicBezTo>
                      <a:pt x="29" y="31"/>
                      <a:pt x="29" y="46"/>
                      <a:pt x="33" y="46"/>
                    </a:cubicBezTo>
                    <a:cubicBezTo>
                      <a:pt x="36" y="47"/>
                      <a:pt x="44" y="59"/>
                      <a:pt x="45" y="65"/>
                    </a:cubicBezTo>
                    <a:cubicBezTo>
                      <a:pt x="46" y="71"/>
                      <a:pt x="54" y="74"/>
                      <a:pt x="57" y="79"/>
                    </a:cubicBezTo>
                    <a:cubicBezTo>
                      <a:pt x="59" y="83"/>
                      <a:pt x="70" y="89"/>
                      <a:pt x="71" y="91"/>
                    </a:cubicBezTo>
                    <a:cubicBezTo>
                      <a:pt x="73" y="93"/>
                      <a:pt x="74" y="97"/>
                      <a:pt x="75" y="95"/>
                    </a:cubicBezTo>
                    <a:cubicBezTo>
                      <a:pt x="76" y="93"/>
                      <a:pt x="81" y="95"/>
                      <a:pt x="84" y="95"/>
                    </a:cubicBezTo>
                    <a:cubicBezTo>
                      <a:pt x="86" y="96"/>
                      <a:pt x="87" y="87"/>
                      <a:pt x="87" y="84"/>
                    </a:cubicBezTo>
                    <a:close/>
                    <a:moveTo>
                      <a:pt x="268" y="46"/>
                    </a:moveTo>
                    <a:cubicBezTo>
                      <a:pt x="274" y="46"/>
                      <a:pt x="271" y="43"/>
                      <a:pt x="271" y="40"/>
                    </a:cubicBezTo>
                    <a:cubicBezTo>
                      <a:pt x="271" y="36"/>
                      <a:pt x="266" y="39"/>
                      <a:pt x="266" y="37"/>
                    </a:cubicBezTo>
                    <a:cubicBezTo>
                      <a:pt x="266" y="36"/>
                      <a:pt x="265" y="29"/>
                      <a:pt x="261" y="34"/>
                    </a:cubicBezTo>
                    <a:cubicBezTo>
                      <a:pt x="257" y="40"/>
                      <a:pt x="262" y="53"/>
                      <a:pt x="265" y="52"/>
                    </a:cubicBezTo>
                    <a:cubicBezTo>
                      <a:pt x="268" y="51"/>
                      <a:pt x="263" y="45"/>
                      <a:pt x="268" y="46"/>
                    </a:cubicBezTo>
                    <a:close/>
                    <a:moveTo>
                      <a:pt x="249" y="75"/>
                    </a:moveTo>
                    <a:cubicBezTo>
                      <a:pt x="250" y="79"/>
                      <a:pt x="257" y="81"/>
                      <a:pt x="259" y="78"/>
                    </a:cubicBezTo>
                    <a:cubicBezTo>
                      <a:pt x="261" y="75"/>
                      <a:pt x="248" y="71"/>
                      <a:pt x="249" y="75"/>
                    </a:cubicBezTo>
                    <a:close/>
                    <a:moveTo>
                      <a:pt x="230" y="115"/>
                    </a:moveTo>
                    <a:cubicBezTo>
                      <a:pt x="224" y="114"/>
                      <a:pt x="219" y="119"/>
                      <a:pt x="213" y="117"/>
                    </a:cubicBezTo>
                    <a:cubicBezTo>
                      <a:pt x="207" y="114"/>
                      <a:pt x="197" y="117"/>
                      <a:pt x="198" y="119"/>
                    </a:cubicBezTo>
                    <a:cubicBezTo>
                      <a:pt x="199" y="121"/>
                      <a:pt x="205" y="121"/>
                      <a:pt x="211" y="121"/>
                    </a:cubicBezTo>
                    <a:cubicBezTo>
                      <a:pt x="217" y="122"/>
                      <a:pt x="223" y="118"/>
                      <a:pt x="227" y="118"/>
                    </a:cubicBezTo>
                    <a:cubicBezTo>
                      <a:pt x="232" y="118"/>
                      <a:pt x="236" y="116"/>
                      <a:pt x="230" y="115"/>
                    </a:cubicBezTo>
                    <a:close/>
                    <a:moveTo>
                      <a:pt x="281" y="72"/>
                    </a:moveTo>
                    <a:cubicBezTo>
                      <a:pt x="275" y="70"/>
                      <a:pt x="264" y="72"/>
                      <a:pt x="265" y="75"/>
                    </a:cubicBezTo>
                    <a:cubicBezTo>
                      <a:pt x="266" y="78"/>
                      <a:pt x="271" y="76"/>
                      <a:pt x="276" y="76"/>
                    </a:cubicBezTo>
                    <a:cubicBezTo>
                      <a:pt x="281" y="76"/>
                      <a:pt x="284" y="80"/>
                      <a:pt x="286" y="80"/>
                    </a:cubicBezTo>
                    <a:cubicBezTo>
                      <a:pt x="289" y="80"/>
                      <a:pt x="287" y="74"/>
                      <a:pt x="281" y="72"/>
                    </a:cubicBezTo>
                    <a:close/>
                    <a:moveTo>
                      <a:pt x="156" y="113"/>
                    </a:moveTo>
                    <a:cubicBezTo>
                      <a:pt x="155" y="110"/>
                      <a:pt x="146" y="113"/>
                      <a:pt x="142" y="111"/>
                    </a:cubicBezTo>
                    <a:cubicBezTo>
                      <a:pt x="137" y="109"/>
                      <a:pt x="147" y="107"/>
                      <a:pt x="150" y="105"/>
                    </a:cubicBezTo>
                    <a:cubicBezTo>
                      <a:pt x="153" y="103"/>
                      <a:pt x="148" y="103"/>
                      <a:pt x="140" y="105"/>
                    </a:cubicBezTo>
                    <a:cubicBezTo>
                      <a:pt x="133" y="107"/>
                      <a:pt x="124" y="100"/>
                      <a:pt x="124" y="103"/>
                    </a:cubicBezTo>
                    <a:cubicBezTo>
                      <a:pt x="123" y="106"/>
                      <a:pt x="110" y="102"/>
                      <a:pt x="106" y="99"/>
                    </a:cubicBezTo>
                    <a:cubicBezTo>
                      <a:pt x="103" y="97"/>
                      <a:pt x="90" y="94"/>
                      <a:pt x="88" y="98"/>
                    </a:cubicBezTo>
                    <a:cubicBezTo>
                      <a:pt x="85" y="103"/>
                      <a:pt x="83" y="99"/>
                      <a:pt x="84" y="103"/>
                    </a:cubicBezTo>
                    <a:cubicBezTo>
                      <a:pt x="85" y="106"/>
                      <a:pt x="88" y="104"/>
                      <a:pt x="90" y="104"/>
                    </a:cubicBezTo>
                    <a:cubicBezTo>
                      <a:pt x="92" y="104"/>
                      <a:pt x="91" y="108"/>
                      <a:pt x="94" y="109"/>
                    </a:cubicBezTo>
                    <a:cubicBezTo>
                      <a:pt x="97" y="109"/>
                      <a:pt x="107" y="112"/>
                      <a:pt x="108" y="110"/>
                    </a:cubicBezTo>
                    <a:cubicBezTo>
                      <a:pt x="109" y="108"/>
                      <a:pt x="119" y="110"/>
                      <a:pt x="124" y="114"/>
                    </a:cubicBezTo>
                    <a:cubicBezTo>
                      <a:pt x="128" y="118"/>
                      <a:pt x="139" y="118"/>
                      <a:pt x="144" y="117"/>
                    </a:cubicBezTo>
                    <a:cubicBezTo>
                      <a:pt x="148" y="116"/>
                      <a:pt x="153" y="120"/>
                      <a:pt x="154" y="118"/>
                    </a:cubicBezTo>
                    <a:cubicBezTo>
                      <a:pt x="156" y="115"/>
                      <a:pt x="159" y="121"/>
                      <a:pt x="164" y="118"/>
                    </a:cubicBezTo>
                    <a:cubicBezTo>
                      <a:pt x="168" y="114"/>
                      <a:pt x="156" y="116"/>
                      <a:pt x="156" y="113"/>
                    </a:cubicBezTo>
                    <a:close/>
                    <a:moveTo>
                      <a:pt x="343" y="61"/>
                    </a:moveTo>
                    <a:cubicBezTo>
                      <a:pt x="339" y="61"/>
                      <a:pt x="339" y="67"/>
                      <a:pt x="336" y="67"/>
                    </a:cubicBezTo>
                    <a:cubicBezTo>
                      <a:pt x="333" y="67"/>
                      <a:pt x="328" y="74"/>
                      <a:pt x="323" y="76"/>
                    </a:cubicBezTo>
                    <a:cubicBezTo>
                      <a:pt x="317" y="78"/>
                      <a:pt x="317" y="59"/>
                      <a:pt x="314" y="56"/>
                    </a:cubicBezTo>
                    <a:cubicBezTo>
                      <a:pt x="311" y="52"/>
                      <a:pt x="297" y="49"/>
                      <a:pt x="296" y="53"/>
                    </a:cubicBezTo>
                    <a:cubicBezTo>
                      <a:pt x="294" y="57"/>
                      <a:pt x="289" y="55"/>
                      <a:pt x="289" y="59"/>
                    </a:cubicBezTo>
                    <a:cubicBezTo>
                      <a:pt x="288" y="62"/>
                      <a:pt x="290" y="61"/>
                      <a:pt x="293" y="61"/>
                    </a:cubicBezTo>
                    <a:cubicBezTo>
                      <a:pt x="296" y="61"/>
                      <a:pt x="296" y="63"/>
                      <a:pt x="298" y="66"/>
                    </a:cubicBezTo>
                    <a:cubicBezTo>
                      <a:pt x="299" y="69"/>
                      <a:pt x="308" y="67"/>
                      <a:pt x="310" y="67"/>
                    </a:cubicBezTo>
                    <a:cubicBezTo>
                      <a:pt x="313" y="67"/>
                      <a:pt x="314" y="71"/>
                      <a:pt x="310" y="69"/>
                    </a:cubicBezTo>
                    <a:cubicBezTo>
                      <a:pt x="306" y="68"/>
                      <a:pt x="306" y="71"/>
                      <a:pt x="303" y="70"/>
                    </a:cubicBezTo>
                    <a:cubicBezTo>
                      <a:pt x="300" y="70"/>
                      <a:pt x="296" y="70"/>
                      <a:pt x="298" y="72"/>
                    </a:cubicBezTo>
                    <a:cubicBezTo>
                      <a:pt x="300" y="73"/>
                      <a:pt x="303" y="75"/>
                      <a:pt x="303" y="79"/>
                    </a:cubicBezTo>
                    <a:cubicBezTo>
                      <a:pt x="303" y="83"/>
                      <a:pt x="309" y="82"/>
                      <a:pt x="309" y="79"/>
                    </a:cubicBezTo>
                    <a:cubicBezTo>
                      <a:pt x="309" y="76"/>
                      <a:pt x="311" y="80"/>
                      <a:pt x="317" y="81"/>
                    </a:cubicBezTo>
                    <a:cubicBezTo>
                      <a:pt x="322" y="83"/>
                      <a:pt x="319" y="85"/>
                      <a:pt x="324" y="85"/>
                    </a:cubicBezTo>
                    <a:cubicBezTo>
                      <a:pt x="329" y="85"/>
                      <a:pt x="342" y="89"/>
                      <a:pt x="347" y="93"/>
                    </a:cubicBezTo>
                    <a:cubicBezTo>
                      <a:pt x="351" y="96"/>
                      <a:pt x="348" y="99"/>
                      <a:pt x="351" y="102"/>
                    </a:cubicBezTo>
                    <a:cubicBezTo>
                      <a:pt x="354" y="105"/>
                      <a:pt x="355" y="109"/>
                      <a:pt x="351" y="109"/>
                    </a:cubicBezTo>
                    <a:cubicBezTo>
                      <a:pt x="347" y="109"/>
                      <a:pt x="342" y="114"/>
                      <a:pt x="343" y="116"/>
                    </a:cubicBezTo>
                    <a:cubicBezTo>
                      <a:pt x="344" y="118"/>
                      <a:pt x="358" y="115"/>
                      <a:pt x="362" y="115"/>
                    </a:cubicBezTo>
                    <a:cubicBezTo>
                      <a:pt x="364" y="115"/>
                      <a:pt x="366" y="119"/>
                      <a:pt x="370" y="121"/>
                    </a:cubicBezTo>
                    <a:cubicBezTo>
                      <a:pt x="370" y="71"/>
                      <a:pt x="370" y="71"/>
                      <a:pt x="370" y="71"/>
                    </a:cubicBezTo>
                    <a:cubicBezTo>
                      <a:pt x="360" y="67"/>
                      <a:pt x="346" y="61"/>
                      <a:pt x="343" y="61"/>
                    </a:cubicBezTo>
                    <a:close/>
                    <a:moveTo>
                      <a:pt x="240" y="121"/>
                    </a:moveTo>
                    <a:cubicBezTo>
                      <a:pt x="239" y="122"/>
                      <a:pt x="238" y="122"/>
                      <a:pt x="237" y="122"/>
                    </a:cubicBezTo>
                    <a:cubicBezTo>
                      <a:pt x="237" y="123"/>
                      <a:pt x="237" y="124"/>
                      <a:pt x="236" y="125"/>
                    </a:cubicBezTo>
                    <a:cubicBezTo>
                      <a:pt x="235" y="125"/>
                      <a:pt x="234" y="124"/>
                      <a:pt x="233" y="123"/>
                    </a:cubicBezTo>
                    <a:cubicBezTo>
                      <a:pt x="229" y="125"/>
                      <a:pt x="226" y="131"/>
                      <a:pt x="230" y="132"/>
                    </a:cubicBezTo>
                    <a:cubicBezTo>
                      <a:pt x="233" y="134"/>
                      <a:pt x="237" y="130"/>
                      <a:pt x="240" y="127"/>
                    </a:cubicBezTo>
                    <a:cubicBezTo>
                      <a:pt x="240" y="126"/>
                      <a:pt x="240" y="126"/>
                      <a:pt x="241" y="125"/>
                    </a:cubicBezTo>
                    <a:cubicBezTo>
                      <a:pt x="241" y="125"/>
                      <a:pt x="241" y="125"/>
                      <a:pt x="242" y="124"/>
                    </a:cubicBezTo>
                    <a:cubicBezTo>
                      <a:pt x="242" y="124"/>
                      <a:pt x="242" y="124"/>
                      <a:pt x="242" y="124"/>
                    </a:cubicBezTo>
                    <a:cubicBezTo>
                      <a:pt x="242" y="123"/>
                      <a:pt x="241" y="122"/>
                      <a:pt x="240" y="121"/>
                    </a:cubicBezTo>
                    <a:close/>
                    <a:moveTo>
                      <a:pt x="174" y="60"/>
                    </a:moveTo>
                    <a:cubicBezTo>
                      <a:pt x="178" y="57"/>
                      <a:pt x="179" y="52"/>
                      <a:pt x="178" y="48"/>
                    </a:cubicBezTo>
                    <a:cubicBezTo>
                      <a:pt x="178" y="43"/>
                      <a:pt x="189" y="43"/>
                      <a:pt x="191" y="41"/>
                    </a:cubicBezTo>
                    <a:cubicBezTo>
                      <a:pt x="192" y="39"/>
                      <a:pt x="188" y="36"/>
                      <a:pt x="185" y="34"/>
                    </a:cubicBezTo>
                    <a:cubicBezTo>
                      <a:pt x="182" y="33"/>
                      <a:pt x="185" y="30"/>
                      <a:pt x="183" y="28"/>
                    </a:cubicBezTo>
                    <a:cubicBezTo>
                      <a:pt x="180" y="26"/>
                      <a:pt x="177" y="21"/>
                      <a:pt x="180" y="21"/>
                    </a:cubicBezTo>
                    <a:cubicBezTo>
                      <a:pt x="183" y="21"/>
                      <a:pt x="178" y="16"/>
                      <a:pt x="180" y="15"/>
                    </a:cubicBezTo>
                    <a:cubicBezTo>
                      <a:pt x="181" y="15"/>
                      <a:pt x="181" y="14"/>
                      <a:pt x="182" y="14"/>
                    </a:cubicBezTo>
                    <a:cubicBezTo>
                      <a:pt x="180" y="13"/>
                      <a:pt x="179" y="13"/>
                      <a:pt x="178" y="13"/>
                    </a:cubicBezTo>
                    <a:cubicBezTo>
                      <a:pt x="174" y="13"/>
                      <a:pt x="165" y="12"/>
                      <a:pt x="165" y="18"/>
                    </a:cubicBezTo>
                    <a:cubicBezTo>
                      <a:pt x="166" y="24"/>
                      <a:pt x="160" y="22"/>
                      <a:pt x="161" y="25"/>
                    </a:cubicBezTo>
                    <a:cubicBezTo>
                      <a:pt x="161" y="29"/>
                      <a:pt x="158" y="29"/>
                      <a:pt x="158" y="33"/>
                    </a:cubicBezTo>
                    <a:cubicBezTo>
                      <a:pt x="159" y="37"/>
                      <a:pt x="156" y="35"/>
                      <a:pt x="151" y="38"/>
                    </a:cubicBezTo>
                    <a:cubicBezTo>
                      <a:pt x="146" y="40"/>
                      <a:pt x="148" y="36"/>
                      <a:pt x="144" y="36"/>
                    </a:cubicBezTo>
                    <a:cubicBezTo>
                      <a:pt x="139" y="36"/>
                      <a:pt x="138" y="39"/>
                      <a:pt x="135" y="40"/>
                    </a:cubicBezTo>
                    <a:cubicBezTo>
                      <a:pt x="133" y="41"/>
                      <a:pt x="127" y="39"/>
                      <a:pt x="125" y="41"/>
                    </a:cubicBezTo>
                    <a:cubicBezTo>
                      <a:pt x="123" y="42"/>
                      <a:pt x="120" y="37"/>
                      <a:pt x="118" y="37"/>
                    </a:cubicBezTo>
                    <a:cubicBezTo>
                      <a:pt x="117" y="37"/>
                      <a:pt x="116" y="35"/>
                      <a:pt x="116" y="32"/>
                    </a:cubicBezTo>
                    <a:cubicBezTo>
                      <a:pt x="116" y="32"/>
                      <a:pt x="115" y="32"/>
                      <a:pt x="115" y="32"/>
                    </a:cubicBezTo>
                    <a:cubicBezTo>
                      <a:pt x="112" y="32"/>
                      <a:pt x="107" y="40"/>
                      <a:pt x="110" y="43"/>
                    </a:cubicBezTo>
                    <a:cubicBezTo>
                      <a:pt x="113" y="46"/>
                      <a:pt x="112" y="52"/>
                      <a:pt x="114" y="54"/>
                    </a:cubicBezTo>
                    <a:cubicBezTo>
                      <a:pt x="116" y="57"/>
                      <a:pt x="121" y="57"/>
                      <a:pt x="121" y="62"/>
                    </a:cubicBezTo>
                    <a:cubicBezTo>
                      <a:pt x="121" y="67"/>
                      <a:pt x="125" y="75"/>
                      <a:pt x="129" y="73"/>
                    </a:cubicBezTo>
                    <a:cubicBezTo>
                      <a:pt x="132" y="71"/>
                      <a:pt x="134" y="74"/>
                      <a:pt x="135" y="76"/>
                    </a:cubicBezTo>
                    <a:cubicBezTo>
                      <a:pt x="136" y="78"/>
                      <a:pt x="143" y="75"/>
                      <a:pt x="146" y="75"/>
                    </a:cubicBezTo>
                    <a:cubicBezTo>
                      <a:pt x="148" y="75"/>
                      <a:pt x="155" y="77"/>
                      <a:pt x="156" y="80"/>
                    </a:cubicBezTo>
                    <a:cubicBezTo>
                      <a:pt x="156" y="83"/>
                      <a:pt x="163" y="80"/>
                      <a:pt x="168" y="78"/>
                    </a:cubicBezTo>
                    <a:cubicBezTo>
                      <a:pt x="172" y="76"/>
                      <a:pt x="169" y="63"/>
                      <a:pt x="174" y="60"/>
                    </a:cubicBezTo>
                    <a:close/>
                    <a:moveTo>
                      <a:pt x="192" y="127"/>
                    </a:moveTo>
                    <a:cubicBezTo>
                      <a:pt x="193" y="129"/>
                      <a:pt x="197" y="129"/>
                      <a:pt x="199" y="130"/>
                    </a:cubicBezTo>
                    <a:cubicBezTo>
                      <a:pt x="200" y="132"/>
                      <a:pt x="206" y="135"/>
                      <a:pt x="206" y="131"/>
                    </a:cubicBezTo>
                    <a:cubicBezTo>
                      <a:pt x="206" y="127"/>
                      <a:pt x="190" y="124"/>
                      <a:pt x="192" y="127"/>
                    </a:cubicBezTo>
                    <a:close/>
                    <a:moveTo>
                      <a:pt x="180" y="115"/>
                    </a:moveTo>
                    <a:cubicBezTo>
                      <a:pt x="179" y="117"/>
                      <a:pt x="175" y="118"/>
                      <a:pt x="172" y="116"/>
                    </a:cubicBezTo>
                    <a:cubicBezTo>
                      <a:pt x="170" y="114"/>
                      <a:pt x="167" y="118"/>
                      <a:pt x="168" y="120"/>
                    </a:cubicBezTo>
                    <a:cubicBezTo>
                      <a:pt x="169" y="121"/>
                      <a:pt x="174" y="125"/>
                      <a:pt x="180" y="122"/>
                    </a:cubicBezTo>
                    <a:cubicBezTo>
                      <a:pt x="186" y="119"/>
                      <a:pt x="190" y="122"/>
                      <a:pt x="192" y="119"/>
                    </a:cubicBezTo>
                    <a:cubicBezTo>
                      <a:pt x="193" y="116"/>
                      <a:pt x="181" y="113"/>
                      <a:pt x="180" y="11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6" name="Freeform 178">
                <a:extLst>
                  <a:ext uri="{FF2B5EF4-FFF2-40B4-BE49-F238E27FC236}">
                    <a16:creationId xmlns:a16="http://schemas.microsoft.com/office/drawing/2014/main" id="{DB1CCE59-D01C-4498-8428-6F422AC2365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200806" y="4242875"/>
                <a:ext cx="61482" cy="26349"/>
              </a:xfrm>
              <a:custGeom>
                <a:avLst/>
                <a:gdLst>
                  <a:gd name="T0" fmla="*/ 3 w 27"/>
                  <a:gd name="T1" fmla="*/ 9 h 11"/>
                  <a:gd name="T2" fmla="*/ 0 w 27"/>
                  <a:gd name="T3" fmla="*/ 9 h 11"/>
                  <a:gd name="T4" fmla="*/ 3 w 27"/>
                  <a:gd name="T5" fmla="*/ 11 h 11"/>
                  <a:gd name="T6" fmla="*/ 4 w 27"/>
                  <a:gd name="T7" fmla="*/ 8 h 11"/>
                  <a:gd name="T8" fmla="*/ 3 w 27"/>
                  <a:gd name="T9" fmla="*/ 9 h 11"/>
                  <a:gd name="T10" fmla="*/ 3 w 27"/>
                  <a:gd name="T11" fmla="*/ 9 h 11"/>
                  <a:gd name="T12" fmla="*/ 14 w 27"/>
                  <a:gd name="T13" fmla="*/ 2 h 11"/>
                  <a:gd name="T14" fmla="*/ 8 w 27"/>
                  <a:gd name="T15" fmla="*/ 7 h 11"/>
                  <a:gd name="T16" fmla="*/ 7 w 27"/>
                  <a:gd name="T17" fmla="*/ 7 h 11"/>
                  <a:gd name="T18" fmla="*/ 9 w 27"/>
                  <a:gd name="T19" fmla="*/ 10 h 11"/>
                  <a:gd name="T20" fmla="*/ 26 w 27"/>
                  <a:gd name="T21" fmla="*/ 2 h 11"/>
                  <a:gd name="T22" fmla="*/ 14 w 27"/>
                  <a:gd name="T23" fmla="*/ 2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7" h="11">
                    <a:moveTo>
                      <a:pt x="3" y="9"/>
                    </a:moveTo>
                    <a:cubicBezTo>
                      <a:pt x="2" y="9"/>
                      <a:pt x="1" y="9"/>
                      <a:pt x="0" y="9"/>
                    </a:cubicBezTo>
                    <a:cubicBezTo>
                      <a:pt x="1" y="10"/>
                      <a:pt x="2" y="11"/>
                      <a:pt x="3" y="11"/>
                    </a:cubicBezTo>
                    <a:cubicBezTo>
                      <a:pt x="4" y="10"/>
                      <a:pt x="4" y="9"/>
                      <a:pt x="4" y="8"/>
                    </a:cubicBezTo>
                    <a:cubicBezTo>
                      <a:pt x="4" y="8"/>
                      <a:pt x="4" y="9"/>
                      <a:pt x="3" y="9"/>
                    </a:cubicBezTo>
                    <a:cubicBezTo>
                      <a:pt x="3" y="9"/>
                      <a:pt x="3" y="9"/>
                      <a:pt x="3" y="9"/>
                    </a:cubicBezTo>
                    <a:close/>
                    <a:moveTo>
                      <a:pt x="14" y="2"/>
                    </a:moveTo>
                    <a:cubicBezTo>
                      <a:pt x="11" y="2"/>
                      <a:pt x="10" y="5"/>
                      <a:pt x="8" y="7"/>
                    </a:cubicBezTo>
                    <a:cubicBezTo>
                      <a:pt x="7" y="7"/>
                      <a:pt x="7" y="7"/>
                      <a:pt x="7" y="7"/>
                    </a:cubicBezTo>
                    <a:cubicBezTo>
                      <a:pt x="8" y="8"/>
                      <a:pt x="9" y="9"/>
                      <a:pt x="9" y="10"/>
                    </a:cubicBezTo>
                    <a:cubicBezTo>
                      <a:pt x="14" y="7"/>
                      <a:pt x="26" y="4"/>
                      <a:pt x="26" y="2"/>
                    </a:cubicBezTo>
                    <a:cubicBezTo>
                      <a:pt x="27" y="0"/>
                      <a:pt x="19" y="3"/>
                      <a:pt x="14" y="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7" name="Freeform 179">
                <a:extLst>
                  <a:ext uri="{FF2B5EF4-FFF2-40B4-BE49-F238E27FC236}">
                    <a16:creationId xmlns:a16="http://schemas.microsoft.com/office/drawing/2014/main" id="{F7988573-2527-4619-9B40-44B145BE367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45187" y="3136207"/>
                <a:ext cx="214558" cy="233379"/>
              </a:xfrm>
              <a:custGeom>
                <a:avLst/>
                <a:gdLst>
                  <a:gd name="T0" fmla="*/ 65 w 93"/>
                  <a:gd name="T1" fmla="*/ 87 h 101"/>
                  <a:gd name="T2" fmla="*/ 55 w 93"/>
                  <a:gd name="T3" fmla="*/ 87 h 101"/>
                  <a:gd name="T4" fmla="*/ 48 w 93"/>
                  <a:gd name="T5" fmla="*/ 90 h 101"/>
                  <a:gd name="T6" fmla="*/ 57 w 93"/>
                  <a:gd name="T7" fmla="*/ 95 h 101"/>
                  <a:gd name="T8" fmla="*/ 66 w 93"/>
                  <a:gd name="T9" fmla="*/ 101 h 101"/>
                  <a:gd name="T10" fmla="*/ 68 w 93"/>
                  <a:gd name="T11" fmla="*/ 95 h 101"/>
                  <a:gd name="T12" fmla="*/ 71 w 93"/>
                  <a:gd name="T13" fmla="*/ 88 h 101"/>
                  <a:gd name="T14" fmla="*/ 65 w 93"/>
                  <a:gd name="T15" fmla="*/ 87 h 101"/>
                  <a:gd name="T16" fmla="*/ 19 w 93"/>
                  <a:gd name="T17" fmla="*/ 60 h 101"/>
                  <a:gd name="T18" fmla="*/ 13 w 93"/>
                  <a:gd name="T19" fmla="*/ 62 h 101"/>
                  <a:gd name="T20" fmla="*/ 16 w 93"/>
                  <a:gd name="T21" fmla="*/ 72 h 101"/>
                  <a:gd name="T22" fmla="*/ 19 w 93"/>
                  <a:gd name="T23" fmla="*/ 80 h 101"/>
                  <a:gd name="T24" fmla="*/ 25 w 93"/>
                  <a:gd name="T25" fmla="*/ 76 h 101"/>
                  <a:gd name="T26" fmla="*/ 26 w 93"/>
                  <a:gd name="T27" fmla="*/ 63 h 101"/>
                  <a:gd name="T28" fmla="*/ 19 w 93"/>
                  <a:gd name="T29" fmla="*/ 60 h 101"/>
                  <a:gd name="T30" fmla="*/ 77 w 93"/>
                  <a:gd name="T31" fmla="*/ 56 h 101"/>
                  <a:gd name="T32" fmla="*/ 71 w 93"/>
                  <a:gd name="T33" fmla="*/ 52 h 101"/>
                  <a:gd name="T34" fmla="*/ 59 w 93"/>
                  <a:gd name="T35" fmla="*/ 39 h 101"/>
                  <a:gd name="T36" fmla="*/ 47 w 93"/>
                  <a:gd name="T37" fmla="*/ 27 h 101"/>
                  <a:gd name="T38" fmla="*/ 47 w 93"/>
                  <a:gd name="T39" fmla="*/ 19 h 101"/>
                  <a:gd name="T40" fmla="*/ 51 w 93"/>
                  <a:gd name="T41" fmla="*/ 15 h 101"/>
                  <a:gd name="T42" fmla="*/ 51 w 93"/>
                  <a:gd name="T43" fmla="*/ 4 h 101"/>
                  <a:gd name="T44" fmla="*/ 47 w 93"/>
                  <a:gd name="T45" fmla="*/ 3 h 101"/>
                  <a:gd name="T46" fmla="*/ 46 w 93"/>
                  <a:gd name="T47" fmla="*/ 0 h 101"/>
                  <a:gd name="T48" fmla="*/ 39 w 93"/>
                  <a:gd name="T49" fmla="*/ 1 h 101"/>
                  <a:gd name="T50" fmla="*/ 34 w 93"/>
                  <a:gd name="T51" fmla="*/ 2 h 101"/>
                  <a:gd name="T52" fmla="*/ 33 w 93"/>
                  <a:gd name="T53" fmla="*/ 2 h 101"/>
                  <a:gd name="T54" fmla="*/ 32 w 93"/>
                  <a:gd name="T55" fmla="*/ 3 h 101"/>
                  <a:gd name="T56" fmla="*/ 31 w 93"/>
                  <a:gd name="T57" fmla="*/ 5 h 101"/>
                  <a:gd name="T58" fmla="*/ 28 w 93"/>
                  <a:gd name="T59" fmla="*/ 6 h 101"/>
                  <a:gd name="T60" fmla="*/ 24 w 93"/>
                  <a:gd name="T61" fmla="*/ 7 h 101"/>
                  <a:gd name="T62" fmla="*/ 22 w 93"/>
                  <a:gd name="T63" fmla="*/ 9 h 101"/>
                  <a:gd name="T64" fmla="*/ 19 w 93"/>
                  <a:gd name="T65" fmla="*/ 12 h 101"/>
                  <a:gd name="T66" fmla="*/ 15 w 93"/>
                  <a:gd name="T67" fmla="*/ 6 h 101"/>
                  <a:gd name="T68" fmla="*/ 11 w 93"/>
                  <a:gd name="T69" fmla="*/ 12 h 101"/>
                  <a:gd name="T70" fmla="*/ 4 w 93"/>
                  <a:gd name="T71" fmla="*/ 12 h 101"/>
                  <a:gd name="T72" fmla="*/ 5 w 93"/>
                  <a:gd name="T73" fmla="*/ 16 h 101"/>
                  <a:gd name="T74" fmla="*/ 3 w 93"/>
                  <a:gd name="T75" fmla="*/ 19 h 101"/>
                  <a:gd name="T76" fmla="*/ 2 w 93"/>
                  <a:gd name="T77" fmla="*/ 21 h 101"/>
                  <a:gd name="T78" fmla="*/ 4 w 93"/>
                  <a:gd name="T79" fmla="*/ 25 h 101"/>
                  <a:gd name="T80" fmla="*/ 6 w 93"/>
                  <a:gd name="T81" fmla="*/ 29 h 101"/>
                  <a:gd name="T82" fmla="*/ 10 w 93"/>
                  <a:gd name="T83" fmla="*/ 31 h 101"/>
                  <a:gd name="T84" fmla="*/ 9 w 93"/>
                  <a:gd name="T85" fmla="*/ 33 h 101"/>
                  <a:gd name="T86" fmla="*/ 13 w 93"/>
                  <a:gd name="T87" fmla="*/ 32 h 101"/>
                  <a:gd name="T88" fmla="*/ 18 w 93"/>
                  <a:gd name="T89" fmla="*/ 27 h 101"/>
                  <a:gd name="T90" fmla="*/ 29 w 93"/>
                  <a:gd name="T91" fmla="*/ 32 h 101"/>
                  <a:gd name="T92" fmla="*/ 32 w 93"/>
                  <a:gd name="T93" fmla="*/ 37 h 101"/>
                  <a:gd name="T94" fmla="*/ 40 w 93"/>
                  <a:gd name="T95" fmla="*/ 47 h 101"/>
                  <a:gd name="T96" fmla="*/ 50 w 93"/>
                  <a:gd name="T97" fmla="*/ 56 h 101"/>
                  <a:gd name="T98" fmla="*/ 58 w 93"/>
                  <a:gd name="T99" fmla="*/ 59 h 101"/>
                  <a:gd name="T100" fmla="*/ 65 w 93"/>
                  <a:gd name="T101" fmla="*/ 64 h 101"/>
                  <a:gd name="T102" fmla="*/ 71 w 93"/>
                  <a:gd name="T103" fmla="*/ 69 h 101"/>
                  <a:gd name="T104" fmla="*/ 74 w 93"/>
                  <a:gd name="T105" fmla="*/ 73 h 101"/>
                  <a:gd name="T106" fmla="*/ 74 w 93"/>
                  <a:gd name="T107" fmla="*/ 82 h 101"/>
                  <a:gd name="T108" fmla="*/ 74 w 93"/>
                  <a:gd name="T109" fmla="*/ 89 h 101"/>
                  <a:gd name="T110" fmla="*/ 78 w 93"/>
                  <a:gd name="T111" fmla="*/ 82 h 101"/>
                  <a:gd name="T112" fmla="*/ 83 w 93"/>
                  <a:gd name="T113" fmla="*/ 77 h 101"/>
                  <a:gd name="T114" fmla="*/ 79 w 93"/>
                  <a:gd name="T115" fmla="*/ 71 h 101"/>
                  <a:gd name="T116" fmla="*/ 87 w 93"/>
                  <a:gd name="T117" fmla="*/ 67 h 101"/>
                  <a:gd name="T118" fmla="*/ 93 w 93"/>
                  <a:gd name="T119" fmla="*/ 68 h 101"/>
                  <a:gd name="T120" fmla="*/ 77 w 93"/>
                  <a:gd name="T121" fmla="*/ 56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93" h="101">
                    <a:moveTo>
                      <a:pt x="65" y="87"/>
                    </a:moveTo>
                    <a:cubicBezTo>
                      <a:pt x="60" y="88"/>
                      <a:pt x="58" y="89"/>
                      <a:pt x="55" y="87"/>
                    </a:cubicBezTo>
                    <a:cubicBezTo>
                      <a:pt x="52" y="86"/>
                      <a:pt x="48" y="89"/>
                      <a:pt x="48" y="90"/>
                    </a:cubicBezTo>
                    <a:cubicBezTo>
                      <a:pt x="49" y="92"/>
                      <a:pt x="51" y="93"/>
                      <a:pt x="57" y="95"/>
                    </a:cubicBezTo>
                    <a:cubicBezTo>
                      <a:pt x="63" y="97"/>
                      <a:pt x="63" y="101"/>
                      <a:pt x="66" y="101"/>
                    </a:cubicBezTo>
                    <a:cubicBezTo>
                      <a:pt x="68" y="101"/>
                      <a:pt x="69" y="98"/>
                      <a:pt x="68" y="95"/>
                    </a:cubicBezTo>
                    <a:cubicBezTo>
                      <a:pt x="67" y="92"/>
                      <a:pt x="71" y="88"/>
                      <a:pt x="71" y="88"/>
                    </a:cubicBezTo>
                    <a:cubicBezTo>
                      <a:pt x="72" y="87"/>
                      <a:pt x="70" y="86"/>
                      <a:pt x="65" y="87"/>
                    </a:cubicBezTo>
                    <a:close/>
                    <a:moveTo>
                      <a:pt x="19" y="60"/>
                    </a:moveTo>
                    <a:cubicBezTo>
                      <a:pt x="16" y="63"/>
                      <a:pt x="14" y="60"/>
                      <a:pt x="13" y="62"/>
                    </a:cubicBezTo>
                    <a:cubicBezTo>
                      <a:pt x="12" y="64"/>
                      <a:pt x="17" y="67"/>
                      <a:pt x="16" y="72"/>
                    </a:cubicBezTo>
                    <a:cubicBezTo>
                      <a:pt x="15" y="77"/>
                      <a:pt x="17" y="83"/>
                      <a:pt x="19" y="80"/>
                    </a:cubicBezTo>
                    <a:cubicBezTo>
                      <a:pt x="22" y="77"/>
                      <a:pt x="23" y="78"/>
                      <a:pt x="25" y="76"/>
                    </a:cubicBezTo>
                    <a:cubicBezTo>
                      <a:pt x="26" y="74"/>
                      <a:pt x="25" y="67"/>
                      <a:pt x="26" y="63"/>
                    </a:cubicBezTo>
                    <a:cubicBezTo>
                      <a:pt x="27" y="60"/>
                      <a:pt x="21" y="58"/>
                      <a:pt x="19" y="60"/>
                    </a:cubicBezTo>
                    <a:close/>
                    <a:moveTo>
                      <a:pt x="77" y="56"/>
                    </a:moveTo>
                    <a:cubicBezTo>
                      <a:pt x="74" y="55"/>
                      <a:pt x="76" y="52"/>
                      <a:pt x="71" y="52"/>
                    </a:cubicBezTo>
                    <a:cubicBezTo>
                      <a:pt x="66" y="52"/>
                      <a:pt x="60" y="46"/>
                      <a:pt x="59" y="39"/>
                    </a:cubicBezTo>
                    <a:cubicBezTo>
                      <a:pt x="57" y="32"/>
                      <a:pt x="49" y="32"/>
                      <a:pt x="47" y="27"/>
                    </a:cubicBezTo>
                    <a:cubicBezTo>
                      <a:pt x="45" y="23"/>
                      <a:pt x="49" y="23"/>
                      <a:pt x="47" y="19"/>
                    </a:cubicBezTo>
                    <a:cubicBezTo>
                      <a:pt x="47" y="17"/>
                      <a:pt x="49" y="16"/>
                      <a:pt x="51" y="15"/>
                    </a:cubicBezTo>
                    <a:cubicBezTo>
                      <a:pt x="51" y="11"/>
                      <a:pt x="51" y="7"/>
                      <a:pt x="51" y="4"/>
                    </a:cubicBezTo>
                    <a:cubicBezTo>
                      <a:pt x="50" y="4"/>
                      <a:pt x="48" y="4"/>
                      <a:pt x="47" y="3"/>
                    </a:cubicBezTo>
                    <a:cubicBezTo>
                      <a:pt x="46" y="3"/>
                      <a:pt x="46" y="0"/>
                      <a:pt x="46" y="0"/>
                    </a:cubicBezTo>
                    <a:cubicBezTo>
                      <a:pt x="45" y="0"/>
                      <a:pt x="40" y="0"/>
                      <a:pt x="39" y="1"/>
                    </a:cubicBezTo>
                    <a:cubicBezTo>
                      <a:pt x="38" y="2"/>
                      <a:pt x="36" y="3"/>
                      <a:pt x="34" y="2"/>
                    </a:cubicBezTo>
                    <a:cubicBezTo>
                      <a:pt x="34" y="2"/>
                      <a:pt x="34" y="2"/>
                      <a:pt x="33" y="2"/>
                    </a:cubicBezTo>
                    <a:cubicBezTo>
                      <a:pt x="32" y="3"/>
                      <a:pt x="32" y="3"/>
                      <a:pt x="32" y="3"/>
                    </a:cubicBezTo>
                    <a:cubicBezTo>
                      <a:pt x="32" y="3"/>
                      <a:pt x="32" y="5"/>
                      <a:pt x="31" y="5"/>
                    </a:cubicBezTo>
                    <a:cubicBezTo>
                      <a:pt x="30" y="5"/>
                      <a:pt x="28" y="4"/>
                      <a:pt x="28" y="6"/>
                    </a:cubicBezTo>
                    <a:cubicBezTo>
                      <a:pt x="28" y="8"/>
                      <a:pt x="26" y="7"/>
                      <a:pt x="24" y="7"/>
                    </a:cubicBezTo>
                    <a:cubicBezTo>
                      <a:pt x="23" y="7"/>
                      <a:pt x="22" y="7"/>
                      <a:pt x="22" y="9"/>
                    </a:cubicBezTo>
                    <a:cubicBezTo>
                      <a:pt x="22" y="10"/>
                      <a:pt x="21" y="13"/>
                      <a:pt x="19" y="12"/>
                    </a:cubicBezTo>
                    <a:cubicBezTo>
                      <a:pt x="18" y="10"/>
                      <a:pt x="16" y="6"/>
                      <a:pt x="15" y="6"/>
                    </a:cubicBezTo>
                    <a:cubicBezTo>
                      <a:pt x="14" y="7"/>
                      <a:pt x="13" y="12"/>
                      <a:pt x="11" y="12"/>
                    </a:cubicBezTo>
                    <a:cubicBezTo>
                      <a:pt x="10" y="12"/>
                      <a:pt x="6" y="12"/>
                      <a:pt x="4" y="12"/>
                    </a:cubicBezTo>
                    <a:cubicBezTo>
                      <a:pt x="3" y="14"/>
                      <a:pt x="4" y="16"/>
                      <a:pt x="5" y="16"/>
                    </a:cubicBezTo>
                    <a:cubicBezTo>
                      <a:pt x="6" y="17"/>
                      <a:pt x="4" y="19"/>
                      <a:pt x="3" y="19"/>
                    </a:cubicBezTo>
                    <a:cubicBezTo>
                      <a:pt x="2" y="20"/>
                      <a:pt x="0" y="19"/>
                      <a:pt x="2" y="21"/>
                    </a:cubicBezTo>
                    <a:cubicBezTo>
                      <a:pt x="3" y="23"/>
                      <a:pt x="5" y="23"/>
                      <a:pt x="4" y="25"/>
                    </a:cubicBezTo>
                    <a:cubicBezTo>
                      <a:pt x="3" y="27"/>
                      <a:pt x="4" y="29"/>
                      <a:pt x="6" y="29"/>
                    </a:cubicBezTo>
                    <a:cubicBezTo>
                      <a:pt x="8" y="29"/>
                      <a:pt x="10" y="29"/>
                      <a:pt x="10" y="31"/>
                    </a:cubicBezTo>
                    <a:cubicBezTo>
                      <a:pt x="9" y="31"/>
                      <a:pt x="9" y="32"/>
                      <a:pt x="9" y="33"/>
                    </a:cubicBezTo>
                    <a:cubicBezTo>
                      <a:pt x="10" y="33"/>
                      <a:pt x="11" y="33"/>
                      <a:pt x="13" y="32"/>
                    </a:cubicBezTo>
                    <a:cubicBezTo>
                      <a:pt x="15" y="31"/>
                      <a:pt x="14" y="29"/>
                      <a:pt x="18" y="27"/>
                    </a:cubicBezTo>
                    <a:cubicBezTo>
                      <a:pt x="22" y="26"/>
                      <a:pt x="28" y="30"/>
                      <a:pt x="29" y="32"/>
                    </a:cubicBezTo>
                    <a:cubicBezTo>
                      <a:pt x="31" y="35"/>
                      <a:pt x="32" y="35"/>
                      <a:pt x="32" y="37"/>
                    </a:cubicBezTo>
                    <a:cubicBezTo>
                      <a:pt x="32" y="39"/>
                      <a:pt x="34" y="43"/>
                      <a:pt x="40" y="47"/>
                    </a:cubicBezTo>
                    <a:cubicBezTo>
                      <a:pt x="45" y="50"/>
                      <a:pt x="47" y="54"/>
                      <a:pt x="50" y="56"/>
                    </a:cubicBezTo>
                    <a:cubicBezTo>
                      <a:pt x="53" y="58"/>
                      <a:pt x="56" y="57"/>
                      <a:pt x="58" y="59"/>
                    </a:cubicBezTo>
                    <a:cubicBezTo>
                      <a:pt x="60" y="61"/>
                      <a:pt x="62" y="63"/>
                      <a:pt x="65" y="64"/>
                    </a:cubicBezTo>
                    <a:cubicBezTo>
                      <a:pt x="68" y="65"/>
                      <a:pt x="68" y="68"/>
                      <a:pt x="71" y="69"/>
                    </a:cubicBezTo>
                    <a:cubicBezTo>
                      <a:pt x="74" y="69"/>
                      <a:pt x="72" y="71"/>
                      <a:pt x="74" y="73"/>
                    </a:cubicBezTo>
                    <a:cubicBezTo>
                      <a:pt x="75" y="76"/>
                      <a:pt x="76" y="80"/>
                      <a:pt x="74" y="82"/>
                    </a:cubicBezTo>
                    <a:cubicBezTo>
                      <a:pt x="72" y="85"/>
                      <a:pt x="73" y="89"/>
                      <a:pt x="74" y="89"/>
                    </a:cubicBezTo>
                    <a:cubicBezTo>
                      <a:pt x="75" y="89"/>
                      <a:pt x="78" y="84"/>
                      <a:pt x="78" y="82"/>
                    </a:cubicBezTo>
                    <a:cubicBezTo>
                      <a:pt x="79" y="80"/>
                      <a:pt x="81" y="80"/>
                      <a:pt x="83" y="77"/>
                    </a:cubicBezTo>
                    <a:cubicBezTo>
                      <a:pt x="85" y="75"/>
                      <a:pt x="80" y="74"/>
                      <a:pt x="79" y="71"/>
                    </a:cubicBezTo>
                    <a:cubicBezTo>
                      <a:pt x="78" y="68"/>
                      <a:pt x="83" y="65"/>
                      <a:pt x="87" y="67"/>
                    </a:cubicBezTo>
                    <a:cubicBezTo>
                      <a:pt x="91" y="70"/>
                      <a:pt x="93" y="72"/>
                      <a:pt x="93" y="68"/>
                    </a:cubicBezTo>
                    <a:cubicBezTo>
                      <a:pt x="93" y="64"/>
                      <a:pt x="80" y="58"/>
                      <a:pt x="77" y="56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8" name="Freeform 180">
                <a:extLst>
                  <a:ext uri="{FF2B5EF4-FFF2-40B4-BE49-F238E27FC236}">
                    <a16:creationId xmlns:a16="http://schemas.microsoft.com/office/drawing/2014/main" id="{37D15F75-35B9-44BC-AE67-6BF589890F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59745" y="3221528"/>
                <a:ext cx="22585" cy="30113"/>
              </a:xfrm>
              <a:custGeom>
                <a:avLst/>
                <a:gdLst>
                  <a:gd name="T0" fmla="*/ 4 w 10"/>
                  <a:gd name="T1" fmla="*/ 0 h 13"/>
                  <a:gd name="T2" fmla="*/ 0 w 10"/>
                  <a:gd name="T3" fmla="*/ 6 h 13"/>
                  <a:gd name="T4" fmla="*/ 0 w 10"/>
                  <a:gd name="T5" fmla="*/ 8 h 13"/>
                  <a:gd name="T6" fmla="*/ 6 w 10"/>
                  <a:gd name="T7" fmla="*/ 13 h 13"/>
                  <a:gd name="T8" fmla="*/ 6 w 10"/>
                  <a:gd name="T9" fmla="*/ 13 h 13"/>
                  <a:gd name="T10" fmla="*/ 10 w 10"/>
                  <a:gd name="T11" fmla="*/ 7 h 13"/>
                  <a:gd name="T12" fmla="*/ 4 w 10"/>
                  <a:gd name="T13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13">
                    <a:moveTo>
                      <a:pt x="4" y="0"/>
                    </a:moveTo>
                    <a:cubicBezTo>
                      <a:pt x="2" y="2"/>
                      <a:pt x="0" y="5"/>
                      <a:pt x="0" y="6"/>
                    </a:cubicBezTo>
                    <a:cubicBezTo>
                      <a:pt x="1" y="6"/>
                      <a:pt x="0" y="7"/>
                      <a:pt x="0" y="8"/>
                    </a:cubicBezTo>
                    <a:cubicBezTo>
                      <a:pt x="2" y="10"/>
                      <a:pt x="4" y="12"/>
                      <a:pt x="6" y="13"/>
                    </a:cubicBezTo>
                    <a:cubicBezTo>
                      <a:pt x="6" y="13"/>
                      <a:pt x="6" y="13"/>
                      <a:pt x="6" y="13"/>
                    </a:cubicBezTo>
                    <a:cubicBezTo>
                      <a:pt x="7" y="10"/>
                      <a:pt x="9" y="7"/>
                      <a:pt x="10" y="7"/>
                    </a:cubicBezTo>
                    <a:cubicBezTo>
                      <a:pt x="8" y="5"/>
                      <a:pt x="5" y="2"/>
                      <a:pt x="4" y="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9" name="Freeform 181">
                <a:extLst>
                  <a:ext uri="{FF2B5EF4-FFF2-40B4-BE49-F238E27FC236}">
                    <a16:creationId xmlns:a16="http://schemas.microsoft.com/office/drawing/2014/main" id="{56893D7D-6A56-4356-8DBF-8B59664638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66019" y="3155028"/>
                <a:ext cx="76538" cy="92850"/>
              </a:xfrm>
              <a:custGeom>
                <a:avLst/>
                <a:gdLst>
                  <a:gd name="T0" fmla="*/ 29 w 33"/>
                  <a:gd name="T1" fmla="*/ 27 h 40"/>
                  <a:gd name="T2" fmla="*/ 29 w 33"/>
                  <a:gd name="T3" fmla="*/ 21 h 40"/>
                  <a:gd name="T4" fmla="*/ 29 w 33"/>
                  <a:gd name="T5" fmla="*/ 17 h 40"/>
                  <a:gd name="T6" fmla="*/ 20 w 33"/>
                  <a:gd name="T7" fmla="*/ 14 h 40"/>
                  <a:gd name="T8" fmla="*/ 19 w 33"/>
                  <a:gd name="T9" fmla="*/ 9 h 40"/>
                  <a:gd name="T10" fmla="*/ 16 w 33"/>
                  <a:gd name="T11" fmla="*/ 7 h 40"/>
                  <a:gd name="T12" fmla="*/ 13 w 33"/>
                  <a:gd name="T13" fmla="*/ 2 h 40"/>
                  <a:gd name="T14" fmla="*/ 14 w 33"/>
                  <a:gd name="T15" fmla="*/ 2 h 40"/>
                  <a:gd name="T16" fmla="*/ 11 w 33"/>
                  <a:gd name="T17" fmla="*/ 1 h 40"/>
                  <a:gd name="T18" fmla="*/ 8 w 33"/>
                  <a:gd name="T19" fmla="*/ 0 h 40"/>
                  <a:gd name="T20" fmla="*/ 0 w 33"/>
                  <a:gd name="T21" fmla="*/ 3 h 40"/>
                  <a:gd name="T22" fmla="*/ 2 w 33"/>
                  <a:gd name="T23" fmla="*/ 8 h 40"/>
                  <a:gd name="T24" fmla="*/ 4 w 33"/>
                  <a:gd name="T25" fmla="*/ 13 h 40"/>
                  <a:gd name="T26" fmla="*/ 4 w 33"/>
                  <a:gd name="T27" fmla="*/ 26 h 40"/>
                  <a:gd name="T28" fmla="*/ 1 w 33"/>
                  <a:gd name="T29" fmla="*/ 29 h 40"/>
                  <a:gd name="T30" fmla="*/ 7 w 33"/>
                  <a:gd name="T31" fmla="*/ 36 h 40"/>
                  <a:gd name="T32" fmla="*/ 7 w 33"/>
                  <a:gd name="T33" fmla="*/ 36 h 40"/>
                  <a:gd name="T34" fmla="*/ 15 w 33"/>
                  <a:gd name="T35" fmla="*/ 40 h 40"/>
                  <a:gd name="T36" fmla="*/ 28 w 33"/>
                  <a:gd name="T37" fmla="*/ 38 h 40"/>
                  <a:gd name="T38" fmla="*/ 29 w 33"/>
                  <a:gd name="T39" fmla="*/ 35 h 40"/>
                  <a:gd name="T40" fmla="*/ 31 w 33"/>
                  <a:gd name="T41" fmla="*/ 32 h 40"/>
                  <a:gd name="T42" fmla="*/ 29 w 33"/>
                  <a:gd name="T43" fmla="*/ 27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3" h="40">
                    <a:moveTo>
                      <a:pt x="29" y="27"/>
                    </a:moveTo>
                    <a:cubicBezTo>
                      <a:pt x="27" y="25"/>
                      <a:pt x="27" y="23"/>
                      <a:pt x="29" y="21"/>
                    </a:cubicBezTo>
                    <a:cubicBezTo>
                      <a:pt x="30" y="20"/>
                      <a:pt x="29" y="19"/>
                      <a:pt x="29" y="17"/>
                    </a:cubicBezTo>
                    <a:cubicBezTo>
                      <a:pt x="29" y="15"/>
                      <a:pt x="21" y="15"/>
                      <a:pt x="20" y="14"/>
                    </a:cubicBezTo>
                    <a:cubicBezTo>
                      <a:pt x="19" y="14"/>
                      <a:pt x="21" y="9"/>
                      <a:pt x="19" y="9"/>
                    </a:cubicBezTo>
                    <a:cubicBezTo>
                      <a:pt x="17" y="9"/>
                      <a:pt x="16" y="8"/>
                      <a:pt x="16" y="7"/>
                    </a:cubicBezTo>
                    <a:cubicBezTo>
                      <a:pt x="16" y="5"/>
                      <a:pt x="13" y="3"/>
                      <a:pt x="13" y="2"/>
                    </a:cubicBezTo>
                    <a:cubicBezTo>
                      <a:pt x="13" y="2"/>
                      <a:pt x="14" y="2"/>
                      <a:pt x="14" y="2"/>
                    </a:cubicBezTo>
                    <a:cubicBezTo>
                      <a:pt x="13" y="1"/>
                      <a:pt x="12" y="1"/>
                      <a:pt x="11" y="1"/>
                    </a:cubicBezTo>
                    <a:cubicBezTo>
                      <a:pt x="10" y="1"/>
                      <a:pt x="8" y="0"/>
                      <a:pt x="8" y="0"/>
                    </a:cubicBezTo>
                    <a:cubicBezTo>
                      <a:pt x="8" y="0"/>
                      <a:pt x="3" y="2"/>
                      <a:pt x="0" y="3"/>
                    </a:cubicBezTo>
                    <a:cubicBezTo>
                      <a:pt x="0" y="5"/>
                      <a:pt x="0" y="7"/>
                      <a:pt x="2" y="8"/>
                    </a:cubicBezTo>
                    <a:cubicBezTo>
                      <a:pt x="4" y="9"/>
                      <a:pt x="3" y="11"/>
                      <a:pt x="4" y="13"/>
                    </a:cubicBezTo>
                    <a:cubicBezTo>
                      <a:pt x="5" y="16"/>
                      <a:pt x="5" y="26"/>
                      <a:pt x="4" y="26"/>
                    </a:cubicBezTo>
                    <a:cubicBezTo>
                      <a:pt x="3" y="26"/>
                      <a:pt x="2" y="27"/>
                      <a:pt x="1" y="29"/>
                    </a:cubicBezTo>
                    <a:cubicBezTo>
                      <a:pt x="2" y="31"/>
                      <a:pt x="5" y="34"/>
                      <a:pt x="7" y="36"/>
                    </a:cubicBezTo>
                    <a:cubicBezTo>
                      <a:pt x="7" y="36"/>
                      <a:pt x="7" y="36"/>
                      <a:pt x="7" y="36"/>
                    </a:cubicBezTo>
                    <a:cubicBezTo>
                      <a:pt x="9" y="36"/>
                      <a:pt x="15" y="40"/>
                      <a:pt x="15" y="40"/>
                    </a:cubicBezTo>
                    <a:cubicBezTo>
                      <a:pt x="15" y="40"/>
                      <a:pt x="23" y="39"/>
                      <a:pt x="28" y="38"/>
                    </a:cubicBezTo>
                    <a:cubicBezTo>
                      <a:pt x="28" y="37"/>
                      <a:pt x="29" y="36"/>
                      <a:pt x="29" y="35"/>
                    </a:cubicBezTo>
                    <a:cubicBezTo>
                      <a:pt x="28" y="34"/>
                      <a:pt x="30" y="32"/>
                      <a:pt x="31" y="32"/>
                    </a:cubicBezTo>
                    <a:cubicBezTo>
                      <a:pt x="33" y="32"/>
                      <a:pt x="31" y="29"/>
                      <a:pt x="29" y="2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560" name="Text Placeholder 553">
            <a:extLst>
              <a:ext uri="{FF2B5EF4-FFF2-40B4-BE49-F238E27FC236}">
                <a16:creationId xmlns:a16="http://schemas.microsoft.com/office/drawing/2014/main" id="{D912895C-B21A-4D2F-8D0B-7647A17FE88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08111" y="2605399"/>
            <a:ext cx="470585" cy="568049"/>
          </a:xfrm>
          <a:custGeom>
            <a:avLst/>
            <a:gdLst>
              <a:gd name="connsiteX0" fmla="*/ 197521 w 395043"/>
              <a:gd name="connsiteY0" fmla="*/ 127878 h 476860"/>
              <a:gd name="connsiteX1" fmla="*/ 134426 w 395043"/>
              <a:gd name="connsiteY1" fmla="*/ 190974 h 476860"/>
              <a:gd name="connsiteX2" fmla="*/ 197521 w 395043"/>
              <a:gd name="connsiteY2" fmla="*/ 254069 h 476860"/>
              <a:gd name="connsiteX3" fmla="*/ 260616 w 395043"/>
              <a:gd name="connsiteY3" fmla="*/ 190974 h 476860"/>
              <a:gd name="connsiteX4" fmla="*/ 197521 w 395043"/>
              <a:gd name="connsiteY4" fmla="*/ 127878 h 476860"/>
              <a:gd name="connsiteX5" fmla="*/ 197522 w 395043"/>
              <a:gd name="connsiteY5" fmla="*/ 0 h 476860"/>
              <a:gd name="connsiteX6" fmla="*/ 337191 w 395043"/>
              <a:gd name="connsiteY6" fmla="*/ 57853 h 476860"/>
              <a:gd name="connsiteX7" fmla="*/ 337191 w 395043"/>
              <a:gd name="connsiteY7" fmla="*/ 57854 h 476860"/>
              <a:gd name="connsiteX8" fmla="*/ 337191 w 395043"/>
              <a:gd name="connsiteY8" fmla="*/ 337192 h 476860"/>
              <a:gd name="connsiteX9" fmla="*/ 197522 w 395043"/>
              <a:gd name="connsiteY9" fmla="*/ 476860 h 476860"/>
              <a:gd name="connsiteX10" fmla="*/ 57853 w 395043"/>
              <a:gd name="connsiteY10" fmla="*/ 337191 h 476860"/>
              <a:gd name="connsiteX11" fmla="*/ 57853 w 395043"/>
              <a:gd name="connsiteY11" fmla="*/ 57853 h 476860"/>
              <a:gd name="connsiteX12" fmla="*/ 197522 w 395043"/>
              <a:gd name="connsiteY12" fmla="*/ 0 h 4768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95043" h="476860">
                <a:moveTo>
                  <a:pt x="197521" y="127878"/>
                </a:moveTo>
                <a:cubicBezTo>
                  <a:pt x="162675" y="127878"/>
                  <a:pt x="134426" y="156127"/>
                  <a:pt x="134426" y="190974"/>
                </a:cubicBezTo>
                <a:cubicBezTo>
                  <a:pt x="134427" y="225819"/>
                  <a:pt x="162676" y="254068"/>
                  <a:pt x="197521" y="254069"/>
                </a:cubicBezTo>
                <a:cubicBezTo>
                  <a:pt x="232368" y="254069"/>
                  <a:pt x="260616" y="225820"/>
                  <a:pt x="260616" y="190974"/>
                </a:cubicBezTo>
                <a:cubicBezTo>
                  <a:pt x="260616" y="156127"/>
                  <a:pt x="232368" y="127878"/>
                  <a:pt x="197521" y="127878"/>
                </a:cubicBezTo>
                <a:close/>
                <a:moveTo>
                  <a:pt x="197522" y="0"/>
                </a:moveTo>
                <a:cubicBezTo>
                  <a:pt x="248073" y="0"/>
                  <a:pt x="298623" y="19285"/>
                  <a:pt x="337191" y="57853"/>
                </a:cubicBezTo>
                <a:lnTo>
                  <a:pt x="337191" y="57854"/>
                </a:lnTo>
                <a:cubicBezTo>
                  <a:pt x="414327" y="134991"/>
                  <a:pt x="414327" y="260055"/>
                  <a:pt x="337191" y="337192"/>
                </a:cubicBezTo>
                <a:lnTo>
                  <a:pt x="197522" y="476860"/>
                </a:lnTo>
                <a:lnTo>
                  <a:pt x="57853" y="337191"/>
                </a:lnTo>
                <a:cubicBezTo>
                  <a:pt x="-19284" y="260054"/>
                  <a:pt x="-19284" y="134990"/>
                  <a:pt x="57853" y="57853"/>
                </a:cubicBezTo>
                <a:cubicBezTo>
                  <a:pt x="96421" y="19285"/>
                  <a:pt x="146971" y="0"/>
                  <a:pt x="197522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none" lIns="640080" anchor="ctr" anchorCtr="0">
            <a:noAutofit/>
          </a:bodyPr>
          <a:lstStyle>
            <a:lvl1pPr>
              <a:defRPr sz="2400" b="1"/>
            </a:lvl1pPr>
          </a:lstStyle>
          <a:p>
            <a:pPr lvl="0"/>
            <a:r>
              <a:rPr lang="en-US"/>
              <a:t>Bucharest, Romani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AE62B8-76B4-48AF-BECC-7E8965977A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979591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ptop Screensh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 hidden="1">
            <a:extLst>
              <a:ext uri="{FF2B5EF4-FFF2-40B4-BE49-F238E27FC236}">
                <a16:creationId xmlns:a16="http://schemas.microsoft.com/office/drawing/2014/main" id="{17CDA781-D5FC-4C3F-93B0-299A1CC43DE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312103" y="715198"/>
            <a:ext cx="9301845" cy="5352540"/>
          </a:xfrm>
          <a:prstGeom prst="rect">
            <a:avLst/>
          </a:prstGeom>
        </p:spPr>
      </p:pic>
      <p:pic>
        <p:nvPicPr>
          <p:cNvPr id="6" name="Picture 5" descr="A picture containing text, indoor, monitor, computer&#10;&#10;Description automatically generated">
            <a:extLst>
              <a:ext uri="{FF2B5EF4-FFF2-40B4-BE49-F238E27FC236}">
                <a16:creationId xmlns:a16="http://schemas.microsoft.com/office/drawing/2014/main" id="{901AC528-DDC1-F9E4-1686-444353B9454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3502" y="43252"/>
            <a:ext cx="10461820" cy="6408347"/>
          </a:xfrm>
          <a:prstGeom prst="rect">
            <a:avLst/>
          </a:prstGeom>
        </p:spPr>
      </p:pic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DAEF34FC-F283-EAE8-A23E-2F59B5A1B03B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2387956" y="1162050"/>
            <a:ext cx="7412912" cy="4178300"/>
          </a:xfrm>
          <a:solidFill>
            <a:schemeClr val="bg2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2" name="Graphic 1" hidden="1">
            <a:extLst>
              <a:ext uri="{FF2B5EF4-FFF2-40B4-BE49-F238E27FC236}">
                <a16:creationId xmlns:a16="http://schemas.microsoft.com/office/drawing/2014/main" id="{B7961E54-2D5C-F2C8-B5EB-C247C5FC79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312103" y="715198"/>
            <a:ext cx="9301845" cy="53525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6071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– Grid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49">
            <a:extLst>
              <a:ext uri="{FF2B5EF4-FFF2-40B4-BE49-F238E27FC236}">
                <a16:creationId xmlns:a16="http://schemas.microsoft.com/office/drawing/2014/main" id="{E409AA73-CDC0-765C-694A-2D6DFEB8FDB4}"/>
              </a:ext>
            </a:extLst>
          </p:cNvPr>
          <p:cNvSpPr txBox="1">
            <a:spLocks/>
          </p:cNvSpPr>
          <p:nvPr userDrawn="1"/>
        </p:nvSpPr>
        <p:spPr>
          <a:xfrm>
            <a:off x="3554947" y="3895115"/>
            <a:ext cx="2120055" cy="2120038"/>
          </a:xfrm>
          <a:custGeom>
            <a:avLst/>
            <a:gdLst>
              <a:gd name="connsiteX0" fmla="*/ 265718 w 531436"/>
              <a:gd name="connsiteY0" fmla="*/ 0 h 531432"/>
              <a:gd name="connsiteX1" fmla="*/ 531436 w 531436"/>
              <a:gd name="connsiteY1" fmla="*/ 265716 h 531432"/>
              <a:gd name="connsiteX2" fmla="*/ 265718 w 531436"/>
              <a:gd name="connsiteY2" fmla="*/ 531432 h 531432"/>
              <a:gd name="connsiteX3" fmla="*/ 0 w 531436"/>
              <a:gd name="connsiteY3" fmla="*/ 265716 h 531432"/>
              <a:gd name="connsiteX4" fmla="*/ 265718 w 531436"/>
              <a:gd name="connsiteY4" fmla="*/ 0 h 531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1436" h="531432">
                <a:moveTo>
                  <a:pt x="265718" y="0"/>
                </a:moveTo>
                <a:cubicBezTo>
                  <a:pt x="412470" y="0"/>
                  <a:pt x="531436" y="118965"/>
                  <a:pt x="531436" y="265716"/>
                </a:cubicBezTo>
                <a:cubicBezTo>
                  <a:pt x="531436" y="412467"/>
                  <a:pt x="412470" y="531432"/>
                  <a:pt x="265718" y="531432"/>
                </a:cubicBezTo>
                <a:cubicBezTo>
                  <a:pt x="118966" y="531432"/>
                  <a:pt x="0" y="412467"/>
                  <a:pt x="0" y="265716"/>
                </a:cubicBezTo>
                <a:cubicBezTo>
                  <a:pt x="0" y="118965"/>
                  <a:pt x="118966" y="0"/>
                  <a:pt x="265718" y="0"/>
                </a:cubicBezTo>
                <a:close/>
              </a:path>
            </a:pathLst>
          </a:custGeom>
          <a:solidFill>
            <a:srgbClr val="E7EAEA"/>
          </a:solidFill>
        </p:spPr>
        <p:txBody>
          <a:bodyPr wrap="square">
            <a:noAutofit/>
          </a:bodyPr>
          <a:lstStyle>
            <a:defPPr>
              <a:defRPr lang="en-US"/>
            </a:defPPr>
            <a:lvl1pPr lvl="0" indent="0">
              <a:spcBef>
                <a:spcPts val="1000"/>
              </a:spcBef>
              <a:buFont typeface="Arial"/>
              <a:buNone/>
              <a:defRPr sz="2000">
                <a:solidFill>
                  <a:schemeClr val="bg1">
                    <a:alpha val="0"/>
                  </a:schemeClr>
                </a:solidFill>
                <a:latin typeface="Arial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885C7D94-3E00-5250-D2FC-2DC0FB4C43E5}"/>
              </a:ext>
            </a:extLst>
          </p:cNvPr>
          <p:cNvSpPr/>
          <p:nvPr userDrawn="1"/>
        </p:nvSpPr>
        <p:spPr>
          <a:xfrm>
            <a:off x="8125180" y="2180403"/>
            <a:ext cx="4063645" cy="4677597"/>
          </a:xfrm>
          <a:custGeom>
            <a:avLst/>
            <a:gdLst>
              <a:gd name="connsiteX0" fmla="*/ 4063645 w 4063645"/>
              <a:gd name="connsiteY0" fmla="*/ 0 h 4677597"/>
              <a:gd name="connsiteX1" fmla="*/ 4063645 w 4063645"/>
              <a:gd name="connsiteY1" fmla="*/ 2137265 h 4677597"/>
              <a:gd name="connsiteX2" fmla="*/ 3862190 w 4063645"/>
              <a:gd name="connsiteY2" fmla="*/ 2166337 h 4677597"/>
              <a:gd name="connsiteX3" fmla="*/ 2758545 w 4063645"/>
              <a:gd name="connsiteY3" fmla="*/ 2753506 h 4677597"/>
              <a:gd name="connsiteX4" fmla="*/ 2171374 w 4063645"/>
              <a:gd name="connsiteY4" fmla="*/ 4673988 h 4677597"/>
              <a:gd name="connsiteX5" fmla="*/ 2172255 w 4063645"/>
              <a:gd name="connsiteY5" fmla="*/ 4677597 h 4677597"/>
              <a:gd name="connsiteX6" fmla="*/ 19867 w 4063645"/>
              <a:gd name="connsiteY6" fmla="*/ 4677596 h 4677597"/>
              <a:gd name="connsiteX7" fmla="*/ 19545 w 4063645"/>
              <a:gd name="connsiteY7" fmla="*/ 4674915 h 4677597"/>
              <a:gd name="connsiteX8" fmla="*/ 1250832 w 4063645"/>
              <a:gd name="connsiteY8" fmla="*/ 1245793 h 4677597"/>
              <a:gd name="connsiteX9" fmla="*/ 3861258 w 4063645"/>
              <a:gd name="connsiteY9" fmla="*/ 14507 h 4677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063645" h="4677597">
                <a:moveTo>
                  <a:pt x="4063645" y="0"/>
                </a:moveTo>
                <a:lnTo>
                  <a:pt x="4063645" y="2137265"/>
                </a:lnTo>
                <a:lnTo>
                  <a:pt x="3862190" y="2166337"/>
                </a:lnTo>
                <a:cubicBezTo>
                  <a:pt x="3457826" y="2244626"/>
                  <a:pt x="3071703" y="2440348"/>
                  <a:pt x="2758545" y="2753506"/>
                </a:cubicBezTo>
                <a:cubicBezTo>
                  <a:pt x="2236616" y="3275436"/>
                  <a:pt x="2040891" y="4000046"/>
                  <a:pt x="2171374" y="4673988"/>
                </a:cubicBezTo>
                <a:lnTo>
                  <a:pt x="2172255" y="4677597"/>
                </a:lnTo>
                <a:lnTo>
                  <a:pt x="19867" y="4677596"/>
                </a:lnTo>
                <a:lnTo>
                  <a:pt x="19545" y="4674915"/>
                </a:lnTo>
                <a:cubicBezTo>
                  <a:pt x="-97720" y="3449909"/>
                  <a:pt x="312708" y="2183917"/>
                  <a:pt x="1250832" y="1245793"/>
                </a:cubicBezTo>
                <a:cubicBezTo>
                  <a:pt x="1980483" y="516142"/>
                  <a:pt x="2908474" y="105714"/>
                  <a:pt x="3861258" y="14507"/>
                </a:cubicBezTo>
                <a:close/>
              </a:path>
            </a:pathLst>
          </a:custGeom>
          <a:solidFill>
            <a:srgbClr val="E7EAEA"/>
          </a:solidFill>
        </p:spPr>
        <p:txBody>
          <a:bodyPr wrap="square">
            <a:noAutofit/>
          </a:bodyPr>
          <a:lstStyle/>
          <a:p>
            <a:pPr lvl="0" indent="0">
              <a:spcBef>
                <a:spcPts val="1000"/>
              </a:spcBef>
              <a:buFont typeface="Arial"/>
              <a:buNone/>
            </a:pPr>
            <a:endParaRPr lang="en-US" sz="2000" err="1">
              <a:solidFill>
                <a:schemeClr val="bg1">
                  <a:alpha val="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7242CCC4-1787-F7E5-8E54-B36340B4A37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2972" y="2298411"/>
            <a:ext cx="5292030" cy="1231106"/>
          </a:xfrm>
        </p:spPr>
        <p:txBody>
          <a:bodyPr lIns="0" tIns="0" rIns="0" bIns="0" anchor="b" anchorCtr="0">
            <a:spAutoFit/>
          </a:bodyPr>
          <a:lstStyle>
            <a:lvl1pPr algn="l">
              <a:lnSpc>
                <a:spcPct val="80000"/>
              </a:lnSpc>
              <a:defRPr sz="5000" b="1" i="0" spc="-100">
                <a:solidFill>
                  <a:schemeClr val="tx2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32B9D6E8-245C-3C54-92E0-315B8D8172A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2972" y="3583491"/>
            <a:ext cx="5292030" cy="366254"/>
          </a:xfrm>
        </p:spPr>
        <p:txBody>
          <a:bodyPr lIns="0" tIns="0" rIns="0" bIns="0" anchor="t" anchorCtr="0">
            <a:spAutoFit/>
          </a:bodyPr>
          <a:lstStyle>
            <a:lvl1pPr marL="0" indent="0" algn="l">
              <a:lnSpc>
                <a:spcPct val="85000"/>
              </a:lnSpc>
              <a:spcBef>
                <a:spcPts val="800"/>
              </a:spcBef>
              <a:buNone/>
              <a:defRPr sz="2800" b="1" i="0" spc="-50">
                <a:solidFill>
                  <a:schemeClr val="tx2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subtitle style</a:t>
            </a: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00143333-DBBD-FD7F-B20A-BA3A743DECC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109166" y="6221029"/>
            <a:ext cx="2700248" cy="357052"/>
          </a:xfrm>
        </p:spPr>
        <p:txBody>
          <a:bodyPr anchor="b" anchorCtr="0"/>
          <a:lstStyle>
            <a:lvl1pPr algn="r">
              <a:defRPr sz="800">
                <a:solidFill>
                  <a:schemeClr val="tx2"/>
                </a:solidFill>
              </a:defRPr>
            </a:lvl1pPr>
            <a:lvl2pPr marL="0" indent="0">
              <a:buNone/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DFCAAEA0-B7F6-7329-D5BA-2F8124E7A74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877" y="6084140"/>
            <a:ext cx="3034341" cy="557784"/>
          </a:xfrm>
          <a:prstGeom prst="rect">
            <a:avLst/>
          </a:prstGeom>
        </p:spPr>
      </p:pic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ADBEE0A5-6977-0DCC-B175-EACC6024AF9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6045200" y="4457699"/>
            <a:ext cx="3730692" cy="24145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692204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Imag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5">
            <a:extLst>
              <a:ext uri="{FF2B5EF4-FFF2-40B4-BE49-F238E27FC236}">
                <a16:creationId xmlns:a16="http://schemas.microsoft.com/office/drawing/2014/main" id="{E1B3FAEE-4E78-46C7-9DB6-5C22BB3E16F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-1" y="0"/>
            <a:ext cx="12188825" cy="6858000"/>
          </a:xfrm>
          <a:solidFill>
            <a:schemeClr val="bg2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57073770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1" y="1783536"/>
            <a:ext cx="11428412" cy="1679947"/>
          </a:xfrm>
        </p:spPr>
        <p:txBody>
          <a:bodyPr tIns="0">
            <a:spAutoFit/>
          </a:bodyPr>
          <a:lstStyle>
            <a:lvl2pPr>
              <a:buClr>
                <a:schemeClr val="tx1"/>
              </a:buClr>
              <a:defRPr baseline="0"/>
            </a:lvl2pPr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2" y="1382712"/>
            <a:ext cx="11427050" cy="27699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5D76FC-5FC2-0A6E-2E54-FE137E70F7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79983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0B26C9-C562-4C9E-9D7E-52E44652AF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89DB295E-C37C-4211-B0AE-52425FDE08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1653" y="1384313"/>
            <a:ext cx="5497831" cy="27699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94777BAB-A976-435B-9BA1-5B6E981D317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12553" y="1384313"/>
            <a:ext cx="5497831" cy="27699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AFC59AEB-0C20-4BAC-A591-A240AD7D7548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381001" y="1781174"/>
            <a:ext cx="5498484" cy="1679947"/>
          </a:xfrm>
        </p:spPr>
        <p:txBody>
          <a:bodyPr tIns="0">
            <a:spAutoFit/>
          </a:bodyPr>
          <a:lstStyle>
            <a:lvl2pPr marL="174625" indent="-174625">
              <a:buClr>
                <a:schemeClr val="accent1"/>
              </a:buClr>
              <a:defRPr lang="en-US" sz="2000" kern="1200" baseline="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>
              <a:buClr>
                <a:schemeClr val="accent1"/>
              </a:buClr>
              <a:defRPr lang="en-US" sz="20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>
              <a:buClr>
                <a:schemeClr val="accent1"/>
              </a:buClr>
              <a:defRPr lang="en-US" sz="20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>
              <a:buClr>
                <a:schemeClr val="tx1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174625" lvl="1" indent="-174625" algn="l" defTabSz="457200" rtl="0" eaLnBrk="1" latinLnBrk="0" hangingPunct="1">
              <a:spcBef>
                <a:spcPts val="50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Second level</a:t>
            </a:r>
          </a:p>
          <a:p>
            <a:pPr marL="339725" lvl="2" indent="-165100" algn="l" defTabSz="457200" rtl="0" eaLnBrk="1" latinLnBrk="0" hangingPunct="1">
              <a:spcBef>
                <a:spcPts val="300"/>
              </a:spcBef>
              <a:buClr>
                <a:schemeClr val="tx1"/>
              </a:buClr>
              <a:buFont typeface="Lucida Grande"/>
              <a:buChar char="-"/>
            </a:pPr>
            <a:r>
              <a:rPr lang="en-US" dirty="0"/>
              <a:t>Third level</a:t>
            </a:r>
          </a:p>
          <a:p>
            <a:pPr marL="512763" lvl="3" indent="-173038" algn="l" defTabSz="457200" rtl="0" eaLnBrk="1" latinLnBrk="0" hangingPunct="1">
              <a:spcBef>
                <a:spcPts val="20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14114AF-055C-4E9E-BD24-0EA4638FFBA5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6311901" y="1781174"/>
            <a:ext cx="5498484" cy="1679947"/>
          </a:xfrm>
        </p:spPr>
        <p:txBody>
          <a:bodyPr tIns="0">
            <a:spAutoFit/>
          </a:bodyPr>
          <a:lstStyle>
            <a:lvl2pPr marL="174625" indent="-174625">
              <a:buClr>
                <a:schemeClr val="accent1"/>
              </a:buClr>
              <a:defRPr lang="en-US" sz="2000" kern="1200" baseline="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>
              <a:buClr>
                <a:schemeClr val="accent1"/>
              </a:buClr>
              <a:defRPr lang="en-US" sz="20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>
              <a:buClr>
                <a:schemeClr val="accent1"/>
              </a:buClr>
              <a:defRPr lang="en-US" sz="20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>
              <a:buClr>
                <a:schemeClr val="accent1"/>
              </a:buClr>
              <a:defRPr lang="en-US" sz="20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174625" lvl="1" indent="-174625" algn="l" defTabSz="457200" rtl="0" eaLnBrk="1" latinLnBrk="0" hangingPunct="1">
              <a:spcBef>
                <a:spcPts val="50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Second level</a:t>
            </a:r>
          </a:p>
          <a:p>
            <a:pPr marL="339725" lvl="2" indent="-165100" algn="l" defTabSz="457200" rtl="0" eaLnBrk="1" latinLnBrk="0" hangingPunct="1">
              <a:spcBef>
                <a:spcPts val="300"/>
              </a:spcBef>
              <a:buClr>
                <a:schemeClr val="tx1"/>
              </a:buClr>
              <a:buFont typeface="Lucida Grande"/>
              <a:buChar char="-"/>
            </a:pPr>
            <a:r>
              <a:rPr lang="en-US" dirty="0"/>
              <a:t>Third level</a:t>
            </a:r>
          </a:p>
          <a:p>
            <a:pPr marL="512763" lvl="3" indent="-173038" algn="l" defTabSz="457200" rtl="0" eaLnBrk="1" latinLnBrk="0" hangingPunct="1">
              <a:spcBef>
                <a:spcPts val="20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Fourth level</a:t>
            </a:r>
          </a:p>
          <a:p>
            <a:pPr marL="687388" lvl="4" indent="-174625" algn="l" defTabSz="457200" rtl="0" eaLnBrk="1" latinLnBrk="0" hangingPunct="1">
              <a:spcBef>
                <a:spcPts val="100"/>
              </a:spcBef>
              <a:buClr>
                <a:schemeClr val="tx1"/>
              </a:buClr>
              <a:buFont typeface="Lucida Grande"/>
              <a:buChar char="-"/>
            </a:pPr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4477450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8BABC588-5798-4369-86EA-9B137E4E1DB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1001" y="1384313"/>
            <a:ext cx="3627082" cy="27699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2136F9D9-C115-4CFC-8288-DA3519CE2A0C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381001" y="1781174"/>
            <a:ext cx="3632832" cy="1679947"/>
          </a:xfrm>
        </p:spPr>
        <p:txBody>
          <a:bodyPr tIns="0">
            <a:spAutoFit/>
          </a:bodyPr>
          <a:lstStyle>
            <a:lvl2pPr marL="174625" indent="-174625">
              <a:buClr>
                <a:schemeClr val="accent1"/>
              </a:buClr>
              <a:defRPr lang="en-US" sz="2000" kern="1200" baseline="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>
              <a:buClr>
                <a:schemeClr val="accent1"/>
              </a:buClr>
              <a:defRPr lang="en-US" sz="20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>
              <a:buClr>
                <a:schemeClr val="accent1"/>
              </a:buClr>
              <a:defRPr lang="en-US" sz="20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>
              <a:buClr>
                <a:schemeClr val="tx1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174625" lvl="1" indent="-174625" algn="l" defTabSz="457200" rtl="0" eaLnBrk="1" latinLnBrk="0" hangingPunct="1">
              <a:spcBef>
                <a:spcPts val="50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Second level</a:t>
            </a:r>
          </a:p>
          <a:p>
            <a:pPr marL="339725" lvl="2" indent="-165100" algn="l" defTabSz="457200" rtl="0" eaLnBrk="1" latinLnBrk="0" hangingPunct="1">
              <a:spcBef>
                <a:spcPts val="300"/>
              </a:spcBef>
              <a:buClr>
                <a:schemeClr val="tx1"/>
              </a:buClr>
              <a:buFont typeface="Lucida Grande"/>
              <a:buChar char="-"/>
            </a:pPr>
            <a:r>
              <a:rPr lang="en-US" dirty="0"/>
              <a:t>Third level</a:t>
            </a:r>
          </a:p>
          <a:p>
            <a:pPr marL="512763" lvl="3" indent="-173038" algn="l" defTabSz="457200" rtl="0" eaLnBrk="1" latinLnBrk="0" hangingPunct="1">
              <a:spcBef>
                <a:spcPts val="20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EFCBBFC1-DBA9-47B0-8B7C-C8EF0A6DD6E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79550" y="1384313"/>
            <a:ext cx="3627082" cy="27699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45F79959-0949-4FB6-BF24-B3C0EBA34E8A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4276272" y="1781174"/>
            <a:ext cx="3632832" cy="1679947"/>
          </a:xfrm>
        </p:spPr>
        <p:txBody>
          <a:bodyPr tIns="0">
            <a:spAutoFit/>
          </a:bodyPr>
          <a:lstStyle>
            <a:lvl2pPr marL="174625" indent="-174625">
              <a:buClr>
                <a:schemeClr val="accent1"/>
              </a:buClr>
              <a:defRPr lang="en-US" sz="2000" kern="1200" baseline="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>
              <a:buClr>
                <a:schemeClr val="accent1"/>
              </a:buClr>
              <a:defRPr lang="en-US" sz="20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>
              <a:buClr>
                <a:schemeClr val="accent1"/>
              </a:buClr>
              <a:defRPr lang="en-US" sz="20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>
              <a:buClr>
                <a:schemeClr val="accent1"/>
              </a:buClr>
              <a:defRPr lang="en-US" sz="20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174625" lvl="1" indent="-174625" algn="l" defTabSz="457200" rtl="0" eaLnBrk="1" latinLnBrk="0" hangingPunct="1">
              <a:spcBef>
                <a:spcPts val="50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Second level</a:t>
            </a:r>
          </a:p>
          <a:p>
            <a:pPr marL="339725" lvl="2" indent="-165100" algn="l" defTabSz="457200" rtl="0" eaLnBrk="1" latinLnBrk="0" hangingPunct="1">
              <a:spcBef>
                <a:spcPts val="300"/>
              </a:spcBef>
              <a:buClr>
                <a:schemeClr val="tx1"/>
              </a:buClr>
              <a:buFont typeface="Lucida Grande"/>
              <a:buChar char="-"/>
            </a:pPr>
            <a:r>
              <a:rPr lang="en-US" dirty="0"/>
              <a:t>Third level</a:t>
            </a:r>
          </a:p>
          <a:p>
            <a:pPr marL="512763" lvl="3" indent="-173038" algn="l" defTabSz="457200" rtl="0" eaLnBrk="1" latinLnBrk="0" hangingPunct="1">
              <a:spcBef>
                <a:spcPts val="20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Fourth level</a:t>
            </a:r>
          </a:p>
          <a:p>
            <a:pPr marL="687388" lvl="4" indent="-174625" algn="l" defTabSz="457200" rtl="0" eaLnBrk="1" latinLnBrk="0" hangingPunct="1">
              <a:spcBef>
                <a:spcPts val="100"/>
              </a:spcBef>
              <a:buClr>
                <a:schemeClr val="tx1"/>
              </a:buClr>
              <a:buFont typeface="Lucida Grande"/>
              <a:buChar char="-"/>
            </a:pPr>
            <a:r>
              <a:rPr lang="en-US" dirty="0"/>
              <a:t>Fifth level</a:t>
            </a:r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00983EFC-9FEF-46E8-9574-59C9D66F27C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178099" y="1384313"/>
            <a:ext cx="3627082" cy="27699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D08D5800-8154-4234-B28D-C636F2E768A3}"/>
              </a:ext>
            </a:extLst>
          </p:cNvPr>
          <p:cNvSpPr>
            <a:spLocks noGrp="1"/>
          </p:cNvSpPr>
          <p:nvPr>
            <p:ph idx="24"/>
          </p:nvPr>
        </p:nvSpPr>
        <p:spPr>
          <a:xfrm>
            <a:off x="8171544" y="1781174"/>
            <a:ext cx="3632832" cy="1679947"/>
          </a:xfrm>
        </p:spPr>
        <p:txBody>
          <a:bodyPr tIns="0">
            <a:spAutoFit/>
          </a:bodyPr>
          <a:lstStyle>
            <a:lvl2pPr marL="174625" indent="-174625">
              <a:buClr>
                <a:schemeClr val="accent1"/>
              </a:buClr>
              <a:defRPr lang="en-US" sz="2000" kern="1200" baseline="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>
              <a:buClr>
                <a:schemeClr val="accent1"/>
              </a:buClr>
              <a:defRPr lang="en-US" sz="20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>
              <a:buClr>
                <a:schemeClr val="accent1"/>
              </a:buClr>
              <a:defRPr lang="en-US" sz="20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>
              <a:buClr>
                <a:schemeClr val="accent1"/>
              </a:buClr>
              <a:defRPr lang="en-US" sz="20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174625" lvl="1" indent="-174625" algn="l" defTabSz="457200" rtl="0" eaLnBrk="1" latinLnBrk="0" hangingPunct="1">
              <a:spcBef>
                <a:spcPts val="50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Second level</a:t>
            </a:r>
          </a:p>
          <a:p>
            <a:pPr marL="339725" lvl="2" indent="-165100" algn="l" defTabSz="457200" rtl="0" eaLnBrk="1" latinLnBrk="0" hangingPunct="1">
              <a:spcBef>
                <a:spcPts val="300"/>
              </a:spcBef>
              <a:buClr>
                <a:schemeClr val="tx1"/>
              </a:buClr>
              <a:buFont typeface="Lucida Grande"/>
              <a:buChar char="-"/>
            </a:pPr>
            <a:r>
              <a:rPr lang="en-US" dirty="0"/>
              <a:t>Third level</a:t>
            </a:r>
          </a:p>
          <a:p>
            <a:pPr marL="512763" lvl="3" indent="-173038" algn="l" defTabSz="457200" rtl="0" eaLnBrk="1" latinLnBrk="0" hangingPunct="1">
              <a:spcBef>
                <a:spcPts val="20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Fourth level</a:t>
            </a:r>
          </a:p>
          <a:p>
            <a:pPr marL="687388" lvl="4" indent="-174625" algn="l" defTabSz="457200" rtl="0" eaLnBrk="1" latinLnBrk="0" hangingPunct="1">
              <a:spcBef>
                <a:spcPts val="100"/>
              </a:spcBef>
              <a:buClr>
                <a:schemeClr val="tx1"/>
              </a:buClr>
              <a:buFont typeface="Lucida Grande"/>
              <a:buChar char="-"/>
            </a:pPr>
            <a:r>
              <a:rPr lang="en-US" dirty="0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27AFD46-0A5D-43AC-A0F5-91BC9C4AE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3819210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FBF14531-4635-4BAC-8BFB-80B5D5B93B7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1001" y="1384313"/>
            <a:ext cx="2736982" cy="27699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BB4E2362-E356-4A39-BFCD-3E1AEA06E41E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381001" y="1781174"/>
            <a:ext cx="2741320" cy="1987724"/>
          </a:xfrm>
        </p:spPr>
        <p:txBody>
          <a:bodyPr tIns="0">
            <a:spAutoFit/>
          </a:bodyPr>
          <a:lstStyle>
            <a:lvl2pPr marL="174625" indent="-174625">
              <a:buClr>
                <a:schemeClr val="accent1"/>
              </a:buClr>
              <a:defRPr lang="en-US" sz="2000" kern="1200" baseline="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>
              <a:buClr>
                <a:schemeClr val="accent1"/>
              </a:buClr>
              <a:defRPr lang="en-US" sz="20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>
              <a:buClr>
                <a:schemeClr val="accent1"/>
              </a:buClr>
              <a:defRPr lang="en-US" sz="20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>
              <a:buClr>
                <a:schemeClr val="accent1"/>
              </a:buClr>
              <a:defRPr lang="en-US" sz="20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174625" lvl="1" indent="-174625" algn="l" defTabSz="457200" rtl="0" eaLnBrk="1" latinLnBrk="0" hangingPunct="1">
              <a:spcBef>
                <a:spcPts val="50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Second level</a:t>
            </a:r>
          </a:p>
          <a:p>
            <a:pPr marL="339725" lvl="2" indent="-165100" algn="l" defTabSz="457200" rtl="0" eaLnBrk="1" latinLnBrk="0" hangingPunct="1">
              <a:spcBef>
                <a:spcPts val="300"/>
              </a:spcBef>
              <a:buClr>
                <a:schemeClr val="tx1"/>
              </a:buClr>
              <a:buFont typeface="Lucida Grande"/>
              <a:buChar char="-"/>
            </a:pPr>
            <a:r>
              <a:rPr lang="en-US" dirty="0"/>
              <a:t>Third level</a:t>
            </a:r>
          </a:p>
          <a:p>
            <a:pPr marL="512763" lvl="3" indent="-173038" algn="l" defTabSz="457200" rtl="0" eaLnBrk="1" latinLnBrk="0" hangingPunct="1">
              <a:spcBef>
                <a:spcPts val="20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Fourth level</a:t>
            </a:r>
          </a:p>
          <a:p>
            <a:pPr marL="687388" lvl="4" indent="-174625" algn="l" defTabSz="457200" rtl="0" eaLnBrk="1" latinLnBrk="0" hangingPunct="1">
              <a:spcBef>
                <a:spcPts val="100"/>
              </a:spcBef>
              <a:buClr>
                <a:schemeClr val="tx1"/>
              </a:buClr>
              <a:buFont typeface="Lucida Grande"/>
              <a:buChar char="-"/>
            </a:pPr>
            <a:r>
              <a:rPr lang="en-US" dirty="0"/>
              <a:t>Fifth level</a:t>
            </a:r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5DED9890-AE6A-4175-A2D3-94CD8046DE1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278242" y="1384313"/>
            <a:ext cx="2736982" cy="27699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BB3C3060-27A6-4548-B724-025333818485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3276601" y="1781174"/>
            <a:ext cx="2741320" cy="1987724"/>
          </a:xfrm>
        </p:spPr>
        <p:txBody>
          <a:bodyPr tIns="0">
            <a:spAutoFit/>
          </a:bodyPr>
          <a:lstStyle>
            <a:lvl2pPr marL="174625" indent="-174625">
              <a:buClr>
                <a:schemeClr val="accent1"/>
              </a:buClr>
              <a:defRPr lang="en-US" sz="2000" kern="1200" baseline="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>
              <a:buClr>
                <a:schemeClr val="accent1"/>
              </a:buClr>
              <a:defRPr lang="en-US" sz="20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>
              <a:buClr>
                <a:schemeClr val="accent1"/>
              </a:buClr>
              <a:defRPr lang="en-US" sz="20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>
              <a:buClr>
                <a:schemeClr val="accent1"/>
              </a:buClr>
              <a:defRPr lang="en-US" sz="20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174625" lvl="1" indent="-174625" algn="l" defTabSz="457200" rtl="0" eaLnBrk="1" latinLnBrk="0" hangingPunct="1">
              <a:spcBef>
                <a:spcPts val="50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Second level</a:t>
            </a:r>
          </a:p>
          <a:p>
            <a:pPr marL="339725" lvl="2" indent="-165100" algn="l" defTabSz="457200" rtl="0" eaLnBrk="1" latinLnBrk="0" hangingPunct="1">
              <a:spcBef>
                <a:spcPts val="300"/>
              </a:spcBef>
              <a:buClr>
                <a:schemeClr val="tx1"/>
              </a:buClr>
              <a:buFont typeface="Lucida Grande"/>
              <a:buChar char="-"/>
            </a:pPr>
            <a:r>
              <a:rPr lang="en-US" dirty="0"/>
              <a:t>Third level</a:t>
            </a:r>
          </a:p>
          <a:p>
            <a:pPr marL="512763" lvl="3" indent="-173038" algn="l" defTabSz="457200" rtl="0" eaLnBrk="1" latinLnBrk="0" hangingPunct="1">
              <a:spcBef>
                <a:spcPts val="20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Fourth level</a:t>
            </a:r>
          </a:p>
          <a:p>
            <a:pPr marL="687388" lvl="4" indent="-174625" algn="l" defTabSz="457200" rtl="0" eaLnBrk="1" latinLnBrk="0" hangingPunct="1">
              <a:spcBef>
                <a:spcPts val="100"/>
              </a:spcBef>
              <a:buClr>
                <a:schemeClr val="tx1"/>
              </a:buClr>
              <a:buFont typeface="Lucida Grande"/>
              <a:buChar char="-"/>
            </a:pPr>
            <a:r>
              <a:rPr lang="en-US" dirty="0"/>
              <a:t>Fifth level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85B79AD3-9CCE-4AA6-A9B4-5F9A43BC781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175483" y="1384313"/>
            <a:ext cx="2736982" cy="27699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4C5F5AA9-D133-46A4-A522-544F77D1A78B}"/>
              </a:ext>
            </a:extLst>
          </p:cNvPr>
          <p:cNvSpPr>
            <a:spLocks noGrp="1"/>
          </p:cNvSpPr>
          <p:nvPr>
            <p:ph idx="24"/>
          </p:nvPr>
        </p:nvSpPr>
        <p:spPr>
          <a:xfrm>
            <a:off x="6172201" y="1781174"/>
            <a:ext cx="2741320" cy="1987724"/>
          </a:xfrm>
        </p:spPr>
        <p:txBody>
          <a:bodyPr tIns="0">
            <a:spAutoFit/>
          </a:bodyPr>
          <a:lstStyle>
            <a:lvl2pPr marL="174625" indent="-174625">
              <a:buClr>
                <a:schemeClr val="accent1"/>
              </a:buClr>
              <a:defRPr lang="en-US" sz="2000" kern="1200" baseline="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>
              <a:buClr>
                <a:schemeClr val="accent1"/>
              </a:buClr>
              <a:defRPr lang="en-US" sz="20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>
              <a:buClr>
                <a:schemeClr val="accent1"/>
              </a:buClr>
              <a:defRPr lang="en-US" sz="20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>
              <a:buClr>
                <a:schemeClr val="accent1"/>
              </a:buClr>
              <a:defRPr lang="en-US" sz="20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174625" lvl="1" indent="-174625" algn="l" defTabSz="457200" rtl="0" eaLnBrk="1" latinLnBrk="0" hangingPunct="1">
              <a:spcBef>
                <a:spcPts val="50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Second level</a:t>
            </a:r>
          </a:p>
          <a:p>
            <a:pPr marL="339725" lvl="2" indent="-165100" algn="l" defTabSz="457200" rtl="0" eaLnBrk="1" latinLnBrk="0" hangingPunct="1">
              <a:spcBef>
                <a:spcPts val="300"/>
              </a:spcBef>
              <a:buClr>
                <a:schemeClr val="tx1"/>
              </a:buClr>
              <a:buFont typeface="Lucida Grande"/>
              <a:buChar char="-"/>
            </a:pPr>
            <a:r>
              <a:rPr lang="en-US" dirty="0"/>
              <a:t>Third level</a:t>
            </a:r>
          </a:p>
          <a:p>
            <a:pPr marL="512763" lvl="3" indent="-173038" algn="l" defTabSz="457200" rtl="0" eaLnBrk="1" latinLnBrk="0" hangingPunct="1">
              <a:spcBef>
                <a:spcPts val="20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Fourth level</a:t>
            </a:r>
          </a:p>
          <a:p>
            <a:pPr marL="687388" lvl="4" indent="-174625" algn="l" defTabSz="457200" rtl="0" eaLnBrk="1" latinLnBrk="0" hangingPunct="1">
              <a:spcBef>
                <a:spcPts val="100"/>
              </a:spcBef>
              <a:buClr>
                <a:schemeClr val="tx1"/>
              </a:buClr>
              <a:buFont typeface="Lucida Grande"/>
              <a:buChar char="-"/>
            </a:pPr>
            <a:r>
              <a:rPr lang="en-US" dirty="0"/>
              <a:t>Fifth level</a:t>
            </a:r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2AD1F5CB-9325-407F-A82E-AD63D7DB55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072725" y="1384313"/>
            <a:ext cx="2736982" cy="27699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D422D8ED-8DB0-4D9F-8593-51376DCEC52C}"/>
              </a:ext>
            </a:extLst>
          </p:cNvPr>
          <p:cNvSpPr>
            <a:spLocks noGrp="1"/>
          </p:cNvSpPr>
          <p:nvPr>
            <p:ph idx="26"/>
          </p:nvPr>
        </p:nvSpPr>
        <p:spPr>
          <a:xfrm>
            <a:off x="9067801" y="1781174"/>
            <a:ext cx="2741320" cy="1987724"/>
          </a:xfrm>
        </p:spPr>
        <p:txBody>
          <a:bodyPr tIns="0">
            <a:spAutoFit/>
          </a:bodyPr>
          <a:lstStyle>
            <a:lvl2pPr marL="174625" indent="-174625">
              <a:buClr>
                <a:schemeClr val="accent1"/>
              </a:buClr>
              <a:defRPr lang="en-US" sz="2000" kern="1200" baseline="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>
              <a:buClr>
                <a:schemeClr val="accent1"/>
              </a:buClr>
              <a:defRPr lang="en-US" sz="20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>
              <a:buClr>
                <a:schemeClr val="accent1"/>
              </a:buClr>
              <a:defRPr lang="en-US" sz="20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>
              <a:buClr>
                <a:schemeClr val="accent1"/>
              </a:buClr>
              <a:defRPr lang="en-US" sz="20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174625" lvl="1" indent="-174625" algn="l" defTabSz="457200" rtl="0" eaLnBrk="1" latinLnBrk="0" hangingPunct="1">
              <a:spcBef>
                <a:spcPts val="50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Second level</a:t>
            </a:r>
          </a:p>
          <a:p>
            <a:pPr marL="339725" lvl="2" indent="-165100" algn="l" defTabSz="457200" rtl="0" eaLnBrk="1" latinLnBrk="0" hangingPunct="1">
              <a:spcBef>
                <a:spcPts val="300"/>
              </a:spcBef>
              <a:buClr>
                <a:schemeClr val="tx1"/>
              </a:buClr>
              <a:buFont typeface="Lucida Grande"/>
              <a:buChar char="-"/>
            </a:pPr>
            <a:r>
              <a:rPr lang="en-US" dirty="0"/>
              <a:t>Third level</a:t>
            </a:r>
          </a:p>
          <a:p>
            <a:pPr marL="512763" lvl="3" indent="-173038" algn="l" defTabSz="457200" rtl="0" eaLnBrk="1" latinLnBrk="0" hangingPunct="1">
              <a:spcBef>
                <a:spcPts val="20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Fourth level</a:t>
            </a:r>
          </a:p>
          <a:p>
            <a:pPr marL="687388" lvl="4" indent="-174625" algn="l" defTabSz="457200" rtl="0" eaLnBrk="1" latinLnBrk="0" hangingPunct="1">
              <a:spcBef>
                <a:spcPts val="100"/>
              </a:spcBef>
              <a:buClr>
                <a:schemeClr val="tx1"/>
              </a:buClr>
              <a:buFont typeface="Lucida Grande"/>
              <a:buChar char="-"/>
            </a:pPr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9A4D9F3-C7D9-43F2-953A-454ACDC677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0632697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FBF14531-4635-4BAC-8BFB-80B5D5B93B7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1001" y="1412013"/>
            <a:ext cx="2143176" cy="24929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18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2472D317-8C7C-4435-97B7-AD733CBE008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701609" y="1412013"/>
            <a:ext cx="2143176" cy="24929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18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7C950CA8-931F-42EC-8D1C-684B10BA33D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22217" y="1412013"/>
            <a:ext cx="2143176" cy="24929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18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31" name="Text Placeholder 14">
            <a:extLst>
              <a:ext uri="{FF2B5EF4-FFF2-40B4-BE49-F238E27FC236}">
                <a16:creationId xmlns:a16="http://schemas.microsoft.com/office/drawing/2014/main" id="{CFB36ED7-BBFD-4DB9-9421-F9BE8CD07C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342825" y="1412013"/>
            <a:ext cx="2143176" cy="24929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18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33" name="Text Placeholder 14">
            <a:extLst>
              <a:ext uri="{FF2B5EF4-FFF2-40B4-BE49-F238E27FC236}">
                <a16:creationId xmlns:a16="http://schemas.microsoft.com/office/drawing/2014/main" id="{D6519DA7-2099-4BBE-BC01-9482B3B5413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663434" y="1412013"/>
            <a:ext cx="2143176" cy="24929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18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BDFC327-60D5-4420-B53E-212D6DE488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667CDA3-2D8A-6C25-0F85-6E1AB88FC8F0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80999" y="1781174"/>
            <a:ext cx="2143176" cy="1803058"/>
          </a:xfrm>
        </p:spPr>
        <p:txBody>
          <a:bodyPr>
            <a:sp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6E2471F9-5675-827E-F772-4E8A589A7DE9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2701608" y="1781174"/>
            <a:ext cx="2143176" cy="1803058"/>
          </a:xfrm>
        </p:spPr>
        <p:txBody>
          <a:bodyPr>
            <a:sp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B0252D70-3D81-1CBE-A29A-3BE42249843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5022217" y="1781174"/>
            <a:ext cx="2143176" cy="1803058"/>
          </a:xfrm>
        </p:spPr>
        <p:txBody>
          <a:bodyPr>
            <a:sp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E8EE84D0-DE36-1F33-0569-3071708C6552}"/>
              </a:ext>
            </a:extLst>
          </p:cNvPr>
          <p:cNvSpPr>
            <a:spLocks noGrp="1"/>
          </p:cNvSpPr>
          <p:nvPr>
            <p:ph sz="quarter" idx="31"/>
          </p:nvPr>
        </p:nvSpPr>
        <p:spPr>
          <a:xfrm>
            <a:off x="7342826" y="1781174"/>
            <a:ext cx="2143176" cy="1803058"/>
          </a:xfrm>
        </p:spPr>
        <p:txBody>
          <a:bodyPr>
            <a:sp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74FC6590-45B4-60C9-51D1-402D9BEC1CD8}"/>
              </a:ext>
            </a:extLst>
          </p:cNvPr>
          <p:cNvSpPr>
            <a:spLocks noGrp="1"/>
          </p:cNvSpPr>
          <p:nvPr>
            <p:ph sz="quarter" idx="32"/>
          </p:nvPr>
        </p:nvSpPr>
        <p:spPr>
          <a:xfrm>
            <a:off x="9663434" y="1781174"/>
            <a:ext cx="2143176" cy="1803058"/>
          </a:xfrm>
        </p:spPr>
        <p:txBody>
          <a:bodyPr>
            <a:sp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8267989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8BABC588-5798-4369-86EA-9B137E4E1DB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1001" y="1384313"/>
            <a:ext cx="3614674" cy="27699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2136F9D9-C115-4CFC-8288-DA3519CE2A0C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81001" y="1781173"/>
            <a:ext cx="3620405" cy="1359346"/>
          </a:xfrm>
        </p:spPr>
        <p:txBody>
          <a:bodyPr tIns="0">
            <a:spAutoFit/>
          </a:bodyPr>
          <a:lstStyle>
            <a:lvl2pPr marL="174625" indent="-174625">
              <a:buClr>
                <a:schemeClr val="accent1"/>
              </a:buClr>
              <a:defRPr lang="en-US" sz="2000" kern="1200" baseline="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>
              <a:buClr>
                <a:schemeClr val="accent1"/>
              </a:buClr>
              <a:defRPr lang="en-US" sz="20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>
              <a:buClr>
                <a:schemeClr val="accent1"/>
              </a:buClr>
              <a:defRPr lang="en-US" sz="20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marL="174625" lvl="1" indent="-174625" algn="l" defTabSz="457200" rtl="0" eaLnBrk="1" latinLnBrk="0" hangingPunct="1">
              <a:spcBef>
                <a:spcPts val="50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Second level</a:t>
            </a:r>
          </a:p>
          <a:p>
            <a:pPr marL="339725" lvl="2" indent="-165100" algn="l" defTabSz="457200" rtl="0" eaLnBrk="1" latinLnBrk="0" hangingPunct="1">
              <a:spcBef>
                <a:spcPts val="300"/>
              </a:spcBef>
              <a:buClr>
                <a:schemeClr val="tx1"/>
              </a:buClr>
              <a:buFont typeface="Lucida Grande"/>
              <a:buChar char="-"/>
            </a:pPr>
            <a:r>
              <a:rPr lang="en-US" dirty="0"/>
              <a:t>Third level</a:t>
            </a:r>
          </a:p>
          <a:p>
            <a:pPr marL="512763" lvl="3" indent="-173038" algn="l" defTabSz="457200" rtl="0" eaLnBrk="1" latinLnBrk="0" hangingPunct="1">
              <a:spcBef>
                <a:spcPts val="20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Fourth level</a:t>
            </a:r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EFCBBFC1-DBA9-47B0-8B7C-C8EF0A6DD6E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88273" y="1384313"/>
            <a:ext cx="3614674" cy="27699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45F79959-0949-4FB6-BF24-B3C0EBA34E8A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4285005" y="1781173"/>
            <a:ext cx="3620405" cy="1359346"/>
          </a:xfrm>
        </p:spPr>
        <p:txBody>
          <a:bodyPr tIns="0">
            <a:spAutoFit/>
          </a:bodyPr>
          <a:lstStyle>
            <a:lvl2pPr marL="174625" indent="-174625">
              <a:buClr>
                <a:schemeClr val="accent1"/>
              </a:buClr>
              <a:defRPr lang="en-US" sz="2000" kern="1200" baseline="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>
              <a:buClr>
                <a:schemeClr val="accent1"/>
              </a:buClr>
              <a:defRPr lang="en-US" sz="20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>
              <a:buClr>
                <a:schemeClr val="accent1"/>
              </a:buClr>
              <a:defRPr lang="en-US" sz="20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marL="174625" lvl="1" indent="-174625" algn="l" defTabSz="457200" rtl="0" eaLnBrk="1" latinLnBrk="0" hangingPunct="1">
              <a:spcBef>
                <a:spcPts val="50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Second level</a:t>
            </a:r>
          </a:p>
          <a:p>
            <a:pPr marL="339725" lvl="2" indent="-165100" algn="l" defTabSz="457200" rtl="0" eaLnBrk="1" latinLnBrk="0" hangingPunct="1">
              <a:spcBef>
                <a:spcPts val="300"/>
              </a:spcBef>
              <a:buClr>
                <a:schemeClr val="tx1"/>
              </a:buClr>
              <a:buFont typeface="Lucida Grande"/>
              <a:buChar char="-"/>
            </a:pPr>
            <a:r>
              <a:rPr lang="en-US" dirty="0"/>
              <a:t>Third level</a:t>
            </a:r>
          </a:p>
          <a:p>
            <a:pPr marL="512763" lvl="3" indent="-173038" algn="l" defTabSz="457200" rtl="0" eaLnBrk="1" latinLnBrk="0" hangingPunct="1">
              <a:spcBef>
                <a:spcPts val="20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Fourth level</a:t>
            </a:r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00983EFC-9FEF-46E8-9574-59C9D66F27C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195545" y="1384313"/>
            <a:ext cx="3614674" cy="27699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D08D5800-8154-4234-B28D-C636F2E768A3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8189009" y="1781173"/>
            <a:ext cx="3620405" cy="1359346"/>
          </a:xfrm>
        </p:spPr>
        <p:txBody>
          <a:bodyPr tIns="0">
            <a:spAutoFit/>
          </a:bodyPr>
          <a:lstStyle>
            <a:lvl2pPr marL="174625" indent="-174625">
              <a:buClr>
                <a:schemeClr val="accent1"/>
              </a:buClr>
              <a:defRPr lang="en-US" sz="2000" kern="1200" baseline="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>
              <a:buClr>
                <a:schemeClr val="accent1"/>
              </a:buClr>
              <a:defRPr lang="en-US" sz="20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>
              <a:buClr>
                <a:schemeClr val="accent1"/>
              </a:buClr>
              <a:defRPr lang="en-US" sz="20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marL="174625" lvl="1" indent="-174625" algn="l" defTabSz="457200" rtl="0" eaLnBrk="1" latinLnBrk="0" hangingPunct="1">
              <a:spcBef>
                <a:spcPts val="50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Second level</a:t>
            </a:r>
          </a:p>
          <a:p>
            <a:pPr marL="339725" lvl="2" indent="-165100" algn="l" defTabSz="457200" rtl="0" eaLnBrk="1" latinLnBrk="0" hangingPunct="1">
              <a:spcBef>
                <a:spcPts val="300"/>
              </a:spcBef>
              <a:buClr>
                <a:schemeClr val="tx1"/>
              </a:buClr>
              <a:buFont typeface="Lucida Grande"/>
              <a:buChar char="-"/>
            </a:pPr>
            <a:r>
              <a:rPr lang="en-US" dirty="0"/>
              <a:t>Third level</a:t>
            </a:r>
          </a:p>
          <a:p>
            <a:pPr marL="512763" lvl="3" indent="-173038" algn="l" defTabSz="457200" rtl="0" eaLnBrk="1" latinLnBrk="0" hangingPunct="1">
              <a:spcBef>
                <a:spcPts val="20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Fourth level</a:t>
            </a:r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3433CE7C-F359-47A8-841D-14982B8C8FE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81001" y="4044051"/>
            <a:ext cx="3614674" cy="27699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641F7901-0058-4543-B156-041351228BF3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381001" y="4440912"/>
            <a:ext cx="3620405" cy="1359346"/>
          </a:xfrm>
        </p:spPr>
        <p:txBody>
          <a:bodyPr tIns="0">
            <a:spAutoFit/>
          </a:bodyPr>
          <a:lstStyle>
            <a:lvl2pPr marL="174625" indent="-174625">
              <a:buClr>
                <a:schemeClr val="accent1"/>
              </a:buClr>
              <a:defRPr lang="en-US" sz="2000" kern="1200" baseline="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>
              <a:buClr>
                <a:schemeClr val="accent1"/>
              </a:buClr>
              <a:defRPr lang="en-US" sz="20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>
              <a:buClr>
                <a:schemeClr val="accent1"/>
              </a:buClr>
              <a:defRPr lang="en-US" sz="20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marL="174625" lvl="1" indent="-174625" algn="l" defTabSz="457200" rtl="0" eaLnBrk="1" latinLnBrk="0" hangingPunct="1">
              <a:spcBef>
                <a:spcPts val="50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Second level</a:t>
            </a:r>
          </a:p>
          <a:p>
            <a:pPr marL="339725" lvl="2" indent="-165100" algn="l" defTabSz="457200" rtl="0" eaLnBrk="1" latinLnBrk="0" hangingPunct="1">
              <a:spcBef>
                <a:spcPts val="300"/>
              </a:spcBef>
              <a:buClr>
                <a:schemeClr val="tx1"/>
              </a:buClr>
              <a:buFont typeface="Lucida Grande"/>
              <a:buChar char="-"/>
            </a:pPr>
            <a:r>
              <a:rPr lang="en-US" dirty="0"/>
              <a:t>Third level</a:t>
            </a:r>
          </a:p>
          <a:p>
            <a:pPr marL="512763" lvl="3" indent="-173038" algn="l" defTabSz="457200" rtl="0" eaLnBrk="1" latinLnBrk="0" hangingPunct="1">
              <a:spcBef>
                <a:spcPts val="20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Fourth level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3B24EDE4-1DE9-4DA3-A5DE-8AA56EA30F8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288273" y="4044051"/>
            <a:ext cx="3614674" cy="27699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C9E62CC6-7DD7-4F2C-92A7-592426B1F84C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4285005" y="4440912"/>
            <a:ext cx="3620405" cy="1359346"/>
          </a:xfrm>
        </p:spPr>
        <p:txBody>
          <a:bodyPr tIns="0">
            <a:spAutoFit/>
          </a:bodyPr>
          <a:lstStyle>
            <a:lvl2pPr marL="174625" indent="-174625">
              <a:buClr>
                <a:schemeClr val="accent1"/>
              </a:buClr>
              <a:defRPr lang="en-US" sz="2000" kern="1200" baseline="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>
              <a:buClr>
                <a:schemeClr val="accent1"/>
              </a:buClr>
              <a:defRPr lang="en-US" sz="20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>
              <a:buClr>
                <a:schemeClr val="accent1"/>
              </a:buClr>
              <a:defRPr lang="en-US" sz="20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marL="174625" lvl="1" indent="-174625" algn="l" defTabSz="457200" rtl="0" eaLnBrk="1" latinLnBrk="0" hangingPunct="1">
              <a:spcBef>
                <a:spcPts val="50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Second level</a:t>
            </a:r>
          </a:p>
          <a:p>
            <a:pPr marL="339725" lvl="2" indent="-165100" algn="l" defTabSz="457200" rtl="0" eaLnBrk="1" latinLnBrk="0" hangingPunct="1">
              <a:spcBef>
                <a:spcPts val="300"/>
              </a:spcBef>
              <a:buClr>
                <a:schemeClr val="tx1"/>
              </a:buClr>
              <a:buFont typeface="Lucida Grande"/>
              <a:buChar char="-"/>
            </a:pPr>
            <a:r>
              <a:rPr lang="en-US" dirty="0"/>
              <a:t>Third level</a:t>
            </a:r>
          </a:p>
          <a:p>
            <a:pPr marL="512763" lvl="3" indent="-173038" algn="l" defTabSz="457200" rtl="0" eaLnBrk="1" latinLnBrk="0" hangingPunct="1">
              <a:spcBef>
                <a:spcPts val="20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Fourth level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753DB1F1-4AE8-4CB2-9862-800506C55B5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195545" y="4044051"/>
            <a:ext cx="3614674" cy="27699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62DFB085-0C55-4FCF-A2C8-2D229DB955D0}"/>
              </a:ext>
            </a:extLst>
          </p:cNvPr>
          <p:cNvSpPr>
            <a:spLocks noGrp="1"/>
          </p:cNvSpPr>
          <p:nvPr>
            <p:ph idx="30" hasCustomPrompt="1"/>
          </p:nvPr>
        </p:nvSpPr>
        <p:spPr>
          <a:xfrm>
            <a:off x="8189009" y="4440912"/>
            <a:ext cx="3620405" cy="1359346"/>
          </a:xfrm>
        </p:spPr>
        <p:txBody>
          <a:bodyPr tIns="0">
            <a:spAutoFit/>
          </a:bodyPr>
          <a:lstStyle>
            <a:lvl2pPr marL="174625" indent="-174625">
              <a:buClr>
                <a:schemeClr val="accent1"/>
              </a:buClr>
              <a:defRPr lang="en-US" sz="2000" kern="1200" baseline="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>
              <a:buClr>
                <a:schemeClr val="accent1"/>
              </a:buClr>
              <a:defRPr lang="en-US" sz="20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>
              <a:buClr>
                <a:schemeClr val="accent1"/>
              </a:buClr>
              <a:defRPr lang="en-US" sz="20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marL="174625" lvl="1" indent="-174625" algn="l" defTabSz="457200" rtl="0" eaLnBrk="1" latinLnBrk="0" hangingPunct="1">
              <a:spcBef>
                <a:spcPts val="50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Second level</a:t>
            </a:r>
          </a:p>
          <a:p>
            <a:pPr marL="339725" lvl="2" indent="-165100" algn="l" defTabSz="457200" rtl="0" eaLnBrk="1" latinLnBrk="0" hangingPunct="1">
              <a:spcBef>
                <a:spcPts val="300"/>
              </a:spcBef>
              <a:buClr>
                <a:schemeClr val="tx1"/>
              </a:buClr>
              <a:buFont typeface="Lucida Grande"/>
              <a:buChar char="-"/>
            </a:pPr>
            <a:r>
              <a:rPr lang="en-US" dirty="0"/>
              <a:t>Third level</a:t>
            </a:r>
          </a:p>
          <a:p>
            <a:pPr marL="512763" lvl="3" indent="-173038" algn="l" defTabSz="457200" rtl="0" eaLnBrk="1" latinLnBrk="0" hangingPunct="1">
              <a:spcBef>
                <a:spcPts val="20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Four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CE697B4-F430-4CA7-935A-2F894B6230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6231466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 +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2766129"/>
            <a:ext cx="2068454" cy="18004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13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Nam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21" hasCustomPrompt="1"/>
          </p:nvPr>
        </p:nvSpPr>
        <p:spPr>
          <a:xfrm>
            <a:off x="381001" y="3024574"/>
            <a:ext cx="2068211" cy="593689"/>
          </a:xfrm>
        </p:spPr>
        <p:txBody>
          <a:bodyPr>
            <a:sp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200" baseline="0"/>
            </a:lvl1pPr>
            <a:lvl2pPr marL="112713" indent="-112713">
              <a:lnSpc>
                <a:spcPct val="110000"/>
              </a:lnSpc>
              <a:spcBef>
                <a:spcPts val="0"/>
              </a:spcBef>
              <a:buClr>
                <a:schemeClr val="tx1"/>
              </a:buClr>
              <a:defRPr sz="1200"/>
            </a:lvl2pPr>
            <a:lvl3pPr marL="225425" indent="-112713">
              <a:lnSpc>
                <a:spcPct val="110000"/>
              </a:lnSpc>
              <a:spcBef>
                <a:spcPts val="0"/>
              </a:spcBef>
              <a:buClr>
                <a:schemeClr val="tx1"/>
              </a:buClr>
              <a:defRPr sz="1200"/>
            </a:lvl3pPr>
            <a:lvl4pPr marL="339725" indent="-114300">
              <a:lnSpc>
                <a:spcPct val="110000"/>
              </a:lnSpc>
              <a:spcBef>
                <a:spcPts val="0"/>
              </a:spcBef>
              <a:defRPr sz="1200"/>
            </a:lvl4pPr>
            <a:lvl5pPr marL="460375" indent="-120650">
              <a:lnSpc>
                <a:spcPct val="110000"/>
              </a:lnSpc>
              <a:spcBef>
                <a:spcPts val="0"/>
              </a:spcBef>
              <a:defRPr sz="1200"/>
            </a:lvl5pPr>
          </a:lstStyle>
          <a:p>
            <a:pPr lvl="0"/>
            <a:r>
              <a:rPr lang="en-US" dirty="0"/>
              <a:t>Insert title &amp; email addres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28" hasCustomPrompt="1"/>
          </p:nvPr>
        </p:nvSpPr>
        <p:spPr>
          <a:xfrm>
            <a:off x="381002" y="4077353"/>
            <a:ext cx="8788398" cy="743793"/>
          </a:xfrm>
        </p:spPr>
        <p:txBody>
          <a:bodyPr>
            <a:spAutoFit/>
          </a:bodyPr>
          <a:lstStyle>
            <a:lvl1pPr>
              <a:defRPr sz="900"/>
            </a:lvl1pPr>
            <a:lvl2pPr marL="114300" indent="-114300">
              <a:spcBef>
                <a:spcPts val="100"/>
              </a:spcBef>
              <a:buClr>
                <a:schemeClr val="tx1"/>
              </a:buClr>
              <a:tabLst/>
              <a:defRPr sz="900"/>
            </a:lvl2pPr>
            <a:lvl3pPr marL="230188" indent="-115888">
              <a:spcBef>
                <a:spcPts val="100"/>
              </a:spcBef>
              <a:buClr>
                <a:schemeClr val="tx1"/>
              </a:buClr>
              <a:tabLst/>
              <a:defRPr sz="900"/>
            </a:lvl3pPr>
            <a:lvl4pPr marL="346075" indent="-115888">
              <a:spcBef>
                <a:spcPts val="100"/>
              </a:spcBef>
              <a:buClr>
                <a:schemeClr val="tx1"/>
              </a:buClr>
              <a:tabLst/>
              <a:defRPr sz="900"/>
            </a:lvl4pPr>
            <a:lvl5pPr marL="460375" indent="-114300">
              <a:spcBef>
                <a:spcPts val="100"/>
              </a:spcBef>
              <a:buClr>
                <a:schemeClr val="tx1"/>
              </a:buClr>
              <a:tabLst/>
              <a:defRPr sz="900"/>
            </a:lvl5pPr>
          </a:lstStyle>
          <a:p>
            <a:pPr lvl="0"/>
            <a:r>
              <a:rPr lang="en-US" dirty="0"/>
              <a:t>Insert Legal Copy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E338DBE-2C15-4F70-8277-DDD730F975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AC53361B-5856-4302-8CF7-6BF7C17066C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620983" y="2766129"/>
            <a:ext cx="2068454" cy="18004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13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Name</a:t>
            </a:r>
          </a:p>
        </p:txBody>
      </p:sp>
      <p:sp>
        <p:nvSpPr>
          <p:cNvPr id="31" name="Text Placeholder 20">
            <a:extLst>
              <a:ext uri="{FF2B5EF4-FFF2-40B4-BE49-F238E27FC236}">
                <a16:creationId xmlns:a16="http://schemas.microsoft.com/office/drawing/2014/main" id="{95A3F7CB-6CED-43C7-A382-F2A8F2EBD76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621064" y="3024574"/>
            <a:ext cx="2068211" cy="593689"/>
          </a:xfrm>
        </p:spPr>
        <p:txBody>
          <a:bodyPr>
            <a:sp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200" baseline="0"/>
            </a:lvl1pPr>
            <a:lvl2pPr marL="112713" indent="-112713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defRPr lang="en-US" sz="12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225425" indent="-112713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defRPr lang="en-US" sz="12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339725" indent="-114300">
              <a:lnSpc>
                <a:spcPct val="110000"/>
              </a:lnSpc>
              <a:spcBef>
                <a:spcPts val="0"/>
              </a:spcBef>
              <a:defRPr sz="1200"/>
            </a:lvl4pPr>
            <a:lvl5pPr marL="460375" indent="-120650">
              <a:lnSpc>
                <a:spcPct val="110000"/>
              </a:lnSpc>
              <a:spcBef>
                <a:spcPts val="0"/>
              </a:spcBef>
              <a:defRPr sz="1200"/>
            </a:lvl5pPr>
          </a:lstStyle>
          <a:p>
            <a:pPr lvl="0"/>
            <a:r>
              <a:rPr lang="en-US" dirty="0"/>
              <a:t>Insert title &amp; email address</a:t>
            </a:r>
          </a:p>
          <a:p>
            <a:pPr marL="112713" lvl="1" indent="-112713" algn="l" defTabSz="4572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Second level</a:t>
            </a:r>
          </a:p>
          <a:p>
            <a:pPr marL="225425" lvl="2" indent="-112713" algn="l" defTabSz="4572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tx1"/>
              </a:buClr>
              <a:buFont typeface="Lucida Grande"/>
              <a:buChar char="-"/>
            </a:pPr>
            <a:r>
              <a:rPr lang="en-US" dirty="0"/>
              <a:t>Third level</a:t>
            </a:r>
          </a:p>
        </p:txBody>
      </p:sp>
      <p:sp>
        <p:nvSpPr>
          <p:cNvPr id="32" name="Text Placeholder 14">
            <a:extLst>
              <a:ext uri="{FF2B5EF4-FFF2-40B4-BE49-F238E27FC236}">
                <a16:creationId xmlns:a16="http://schemas.microsoft.com/office/drawing/2014/main" id="{A59C17CE-8E20-47E7-9745-BD8DF5D69E9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860965" y="2766129"/>
            <a:ext cx="2068454" cy="18004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13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Name</a:t>
            </a:r>
          </a:p>
        </p:txBody>
      </p:sp>
      <p:sp>
        <p:nvSpPr>
          <p:cNvPr id="33" name="Text Placeholder 20">
            <a:extLst>
              <a:ext uri="{FF2B5EF4-FFF2-40B4-BE49-F238E27FC236}">
                <a16:creationId xmlns:a16="http://schemas.microsoft.com/office/drawing/2014/main" id="{0231F24C-AA35-4993-B9E0-BBEE487530C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861127" y="3024574"/>
            <a:ext cx="2068211" cy="593689"/>
          </a:xfrm>
        </p:spPr>
        <p:txBody>
          <a:bodyPr>
            <a:sp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200" baseline="0"/>
            </a:lvl1pPr>
            <a:lvl2pPr marL="112713" indent="-112713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defRPr lang="en-US" sz="12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225425" indent="-112713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defRPr lang="en-US" sz="12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339725" indent="-114300">
              <a:lnSpc>
                <a:spcPct val="110000"/>
              </a:lnSpc>
              <a:spcBef>
                <a:spcPts val="0"/>
              </a:spcBef>
              <a:defRPr sz="1200"/>
            </a:lvl4pPr>
            <a:lvl5pPr marL="460375" indent="-120650">
              <a:lnSpc>
                <a:spcPct val="110000"/>
              </a:lnSpc>
              <a:spcBef>
                <a:spcPts val="0"/>
              </a:spcBef>
              <a:defRPr sz="1200"/>
            </a:lvl5pPr>
          </a:lstStyle>
          <a:p>
            <a:pPr lvl="0"/>
            <a:r>
              <a:rPr lang="en-US" dirty="0"/>
              <a:t>Insert title &amp; email address</a:t>
            </a:r>
          </a:p>
          <a:p>
            <a:pPr marL="112713" lvl="1" indent="-112713" algn="l" defTabSz="4572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Second level</a:t>
            </a:r>
          </a:p>
          <a:p>
            <a:pPr marL="225425" lvl="2" indent="-112713" algn="l" defTabSz="4572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tx1"/>
              </a:buClr>
              <a:buFont typeface="Lucida Grande"/>
              <a:buChar char="-"/>
            </a:pPr>
            <a:r>
              <a:rPr lang="en-US" dirty="0"/>
              <a:t>Third level</a:t>
            </a:r>
          </a:p>
        </p:txBody>
      </p:sp>
      <p:sp>
        <p:nvSpPr>
          <p:cNvPr id="34" name="Text Placeholder 14">
            <a:extLst>
              <a:ext uri="{FF2B5EF4-FFF2-40B4-BE49-F238E27FC236}">
                <a16:creationId xmlns:a16="http://schemas.microsoft.com/office/drawing/2014/main" id="{4A5AC34E-3B4C-469E-B9C4-C085D8EC027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100946" y="2766129"/>
            <a:ext cx="2068454" cy="18004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13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Name</a:t>
            </a:r>
          </a:p>
        </p:txBody>
      </p:sp>
      <p:sp>
        <p:nvSpPr>
          <p:cNvPr id="35" name="Text Placeholder 20">
            <a:extLst>
              <a:ext uri="{FF2B5EF4-FFF2-40B4-BE49-F238E27FC236}">
                <a16:creationId xmlns:a16="http://schemas.microsoft.com/office/drawing/2014/main" id="{A0A6254F-A341-4409-90BD-661FAACB8D4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101189" y="3024574"/>
            <a:ext cx="2068211" cy="593689"/>
          </a:xfrm>
        </p:spPr>
        <p:txBody>
          <a:bodyPr>
            <a:sp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200" baseline="0"/>
            </a:lvl1pPr>
            <a:lvl2pPr marL="112713" indent="-112713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defRPr lang="en-US" sz="12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225425" indent="-112713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defRPr lang="en-US" sz="12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339725" indent="-114300">
              <a:lnSpc>
                <a:spcPct val="110000"/>
              </a:lnSpc>
              <a:spcBef>
                <a:spcPts val="0"/>
              </a:spcBef>
              <a:defRPr sz="1200"/>
            </a:lvl4pPr>
            <a:lvl5pPr marL="460375" indent="-120650">
              <a:lnSpc>
                <a:spcPct val="110000"/>
              </a:lnSpc>
              <a:spcBef>
                <a:spcPts val="0"/>
              </a:spcBef>
              <a:defRPr sz="1200"/>
            </a:lvl5pPr>
          </a:lstStyle>
          <a:p>
            <a:pPr lvl="0"/>
            <a:r>
              <a:rPr lang="en-US" dirty="0"/>
              <a:t>Insert title &amp; email address</a:t>
            </a:r>
          </a:p>
          <a:p>
            <a:pPr marL="112713" lvl="1" indent="-112713" algn="l" defTabSz="4572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Second level</a:t>
            </a:r>
          </a:p>
          <a:p>
            <a:pPr marL="225425" lvl="2" indent="-112713" algn="l" defTabSz="4572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tx1"/>
              </a:buClr>
              <a:buFont typeface="Lucida Grande"/>
              <a:buChar char="-"/>
            </a:pPr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89155165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3">
            <a:extLst>
              <a:ext uri="{FF2B5EF4-FFF2-40B4-BE49-F238E27FC236}">
                <a16:creationId xmlns:a16="http://schemas.microsoft.com/office/drawing/2014/main" id="{F6851EF3-E456-437C-A6B0-4799E41CBB8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4413" y="0"/>
            <a:ext cx="6094412" cy="6858000"/>
          </a:xfrm>
          <a:noFill/>
        </p:spPr>
        <p:txBody>
          <a:bodyPr anchor="ctr"/>
          <a:lstStyle>
            <a:lvl1pPr algn="ctr">
              <a:defRPr baseline="0"/>
            </a:lvl1pPr>
          </a:lstStyle>
          <a:p>
            <a:r>
              <a:rPr lang="en-US"/>
              <a:t>Click icon or drag to insert imag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2" y="1781173"/>
            <a:ext cx="5341141" cy="1679947"/>
          </a:xfrm>
        </p:spPr>
        <p:txBody>
          <a:bodyPr tIns="0">
            <a:spAutoFit/>
          </a:bodyPr>
          <a:lstStyle>
            <a:lvl2pPr marL="174625" indent="-174625">
              <a:buClr>
                <a:schemeClr val="accent1"/>
              </a:buClr>
              <a:defRPr lang="en-US" sz="2000" kern="1200" baseline="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>
              <a:buClr>
                <a:schemeClr val="accent1"/>
              </a:buClr>
              <a:defRPr lang="en-US" sz="20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>
              <a:buClr>
                <a:schemeClr val="accent1"/>
              </a:buClr>
              <a:defRPr lang="en-US" sz="20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>
              <a:buClr>
                <a:schemeClr val="accent1"/>
              </a:buClr>
              <a:defRPr lang="en-US" sz="20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174625" lvl="1" indent="-174625" algn="l" defTabSz="457200" rtl="0" eaLnBrk="1" latinLnBrk="0" hangingPunct="1">
              <a:spcBef>
                <a:spcPts val="50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Second level</a:t>
            </a:r>
          </a:p>
          <a:p>
            <a:pPr marL="339725" lvl="2" indent="-165100" algn="l" defTabSz="457200" rtl="0" eaLnBrk="1" latinLnBrk="0" hangingPunct="1">
              <a:spcBef>
                <a:spcPts val="300"/>
              </a:spcBef>
              <a:buClr>
                <a:schemeClr val="tx1"/>
              </a:buClr>
              <a:buFont typeface="Lucida Grande"/>
              <a:buChar char="-"/>
            </a:pPr>
            <a:r>
              <a:rPr lang="en-US" dirty="0"/>
              <a:t>Third level</a:t>
            </a:r>
          </a:p>
          <a:p>
            <a:pPr marL="512763" lvl="3" indent="-173038" algn="l" defTabSz="457200" rtl="0" eaLnBrk="1" latinLnBrk="0" hangingPunct="1">
              <a:spcBef>
                <a:spcPts val="20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Fourth level</a:t>
            </a:r>
          </a:p>
          <a:p>
            <a:pPr marL="687388" lvl="4" indent="-174625" algn="l" defTabSz="457200" rtl="0" eaLnBrk="1" latinLnBrk="0" hangingPunct="1">
              <a:spcBef>
                <a:spcPts val="100"/>
              </a:spcBef>
              <a:buClr>
                <a:schemeClr val="tx1"/>
              </a:buClr>
              <a:buFont typeface="Lucida Grande"/>
              <a:buChar char="-"/>
            </a:pPr>
            <a:r>
              <a:rPr lang="en-US" dirty="0"/>
              <a:t>Fifth level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381083" y="1384313"/>
            <a:ext cx="5340398" cy="27699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FEC3F1-CFF8-4AA4-BEA2-C7220A4A32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181698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4024731"/>
            <a:ext cx="2710314" cy="276999"/>
          </a:xfrm>
        </p:spPr>
        <p:txBody>
          <a:bodyPr tIns="0" anchor="b" anchorCtr="1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B5A77170-A9FD-45D4-8584-19D45A2A8F9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81001" y="4421592"/>
            <a:ext cx="2710691" cy="556563"/>
          </a:xfrm>
        </p:spPr>
        <p:txBody>
          <a:bodyPr anchor="t" anchorCtr="1">
            <a:spAutoFit/>
          </a:bodyPr>
          <a:lstStyle>
            <a:lvl1pPr>
              <a:defRPr sz="1600"/>
            </a:lvl1pPr>
            <a:lvl2pPr>
              <a:defRPr sz="16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D45E12E6-5FC6-4DAD-AFC7-D1C06F78D641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833665" y="1737114"/>
            <a:ext cx="1804987" cy="1804988"/>
          </a:xfrm>
          <a:prstGeom prst="ellipse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5B70EEE1-61F9-44E3-AE83-70A2FCDE472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86454" y="4024731"/>
            <a:ext cx="2710314" cy="276999"/>
          </a:xfrm>
        </p:spPr>
        <p:txBody>
          <a:bodyPr tIns="0" anchor="b" anchorCtr="1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CBF3F0D4-7BA6-430E-8092-94251D5111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286379" y="4421592"/>
            <a:ext cx="2710691" cy="556563"/>
          </a:xfrm>
        </p:spPr>
        <p:txBody>
          <a:bodyPr anchor="t" anchorCtr="1">
            <a:spAutoFit/>
          </a:bodyPr>
          <a:lstStyle>
            <a:lvl1pPr>
              <a:defRPr sz="1600"/>
            </a:lvl1pPr>
            <a:lvl2pPr>
              <a:defRPr sz="16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Picture Placeholder 6">
            <a:extLst>
              <a:ext uri="{FF2B5EF4-FFF2-40B4-BE49-F238E27FC236}">
                <a16:creationId xmlns:a16="http://schemas.microsoft.com/office/drawing/2014/main" id="{1D2FC425-D823-47D8-9213-2BED7731FFA9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3739118" y="1737114"/>
            <a:ext cx="1804987" cy="1804988"/>
          </a:xfrm>
          <a:prstGeom prst="ellipse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178182FC-A485-4780-8095-1090C2B8ED1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91907" y="4024731"/>
            <a:ext cx="2710314" cy="276999"/>
          </a:xfrm>
        </p:spPr>
        <p:txBody>
          <a:bodyPr tIns="0" anchor="b" anchorCtr="1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B467F341-791E-49E5-84A8-2C48795FE71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191757" y="4421592"/>
            <a:ext cx="2710691" cy="556563"/>
          </a:xfrm>
        </p:spPr>
        <p:txBody>
          <a:bodyPr anchor="t" anchorCtr="1">
            <a:spAutoFit/>
          </a:bodyPr>
          <a:lstStyle>
            <a:lvl1pPr>
              <a:defRPr sz="1600"/>
            </a:lvl1pPr>
            <a:lvl2pPr>
              <a:defRPr sz="16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Picture Placeholder 6">
            <a:extLst>
              <a:ext uri="{FF2B5EF4-FFF2-40B4-BE49-F238E27FC236}">
                <a16:creationId xmlns:a16="http://schemas.microsoft.com/office/drawing/2014/main" id="{665B243A-457D-4431-A51D-DE024E17A13D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644571" y="1737114"/>
            <a:ext cx="1804987" cy="1804988"/>
          </a:xfrm>
          <a:prstGeom prst="ellipse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6666DD00-9E5D-4272-9205-D57612EE559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97361" y="4024731"/>
            <a:ext cx="2710314" cy="276999"/>
          </a:xfrm>
        </p:spPr>
        <p:txBody>
          <a:bodyPr tIns="0" anchor="b" anchorCtr="1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3A0CC58B-4150-475B-A65A-9286B8F46A8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097134" y="4421592"/>
            <a:ext cx="2710691" cy="556563"/>
          </a:xfrm>
        </p:spPr>
        <p:txBody>
          <a:bodyPr anchor="t" anchorCtr="1">
            <a:spAutoFit/>
          </a:bodyPr>
          <a:lstStyle>
            <a:lvl1pPr>
              <a:defRPr sz="1600"/>
            </a:lvl1pPr>
            <a:lvl2pPr>
              <a:defRPr sz="16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535117A4-648E-4187-ABAF-F046B1725C1E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9550025" y="1737114"/>
            <a:ext cx="1804987" cy="1804988"/>
          </a:xfrm>
          <a:prstGeom prst="ellipse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D7CC241-9D6F-48F3-989A-87A4641E97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173088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– Grid Ligh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53767F06-786F-3D4D-337E-4B3833A9482B}"/>
              </a:ext>
            </a:extLst>
          </p:cNvPr>
          <p:cNvSpPr/>
          <p:nvPr userDrawn="1"/>
        </p:nvSpPr>
        <p:spPr>
          <a:xfrm>
            <a:off x="8125180" y="2180403"/>
            <a:ext cx="4063645" cy="4677597"/>
          </a:xfrm>
          <a:custGeom>
            <a:avLst/>
            <a:gdLst>
              <a:gd name="connsiteX0" fmla="*/ 4063645 w 4063645"/>
              <a:gd name="connsiteY0" fmla="*/ 0 h 4677597"/>
              <a:gd name="connsiteX1" fmla="*/ 4063645 w 4063645"/>
              <a:gd name="connsiteY1" fmla="*/ 2137265 h 4677597"/>
              <a:gd name="connsiteX2" fmla="*/ 3862190 w 4063645"/>
              <a:gd name="connsiteY2" fmla="*/ 2166337 h 4677597"/>
              <a:gd name="connsiteX3" fmla="*/ 2758545 w 4063645"/>
              <a:gd name="connsiteY3" fmla="*/ 2753506 h 4677597"/>
              <a:gd name="connsiteX4" fmla="*/ 2171374 w 4063645"/>
              <a:gd name="connsiteY4" fmla="*/ 4673988 h 4677597"/>
              <a:gd name="connsiteX5" fmla="*/ 2172255 w 4063645"/>
              <a:gd name="connsiteY5" fmla="*/ 4677597 h 4677597"/>
              <a:gd name="connsiteX6" fmla="*/ 19867 w 4063645"/>
              <a:gd name="connsiteY6" fmla="*/ 4677596 h 4677597"/>
              <a:gd name="connsiteX7" fmla="*/ 19545 w 4063645"/>
              <a:gd name="connsiteY7" fmla="*/ 4674915 h 4677597"/>
              <a:gd name="connsiteX8" fmla="*/ 1250832 w 4063645"/>
              <a:gd name="connsiteY8" fmla="*/ 1245793 h 4677597"/>
              <a:gd name="connsiteX9" fmla="*/ 3861258 w 4063645"/>
              <a:gd name="connsiteY9" fmla="*/ 14507 h 4677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063645" h="4677597">
                <a:moveTo>
                  <a:pt x="4063645" y="0"/>
                </a:moveTo>
                <a:lnTo>
                  <a:pt x="4063645" y="2137265"/>
                </a:lnTo>
                <a:lnTo>
                  <a:pt x="3862190" y="2166337"/>
                </a:lnTo>
                <a:cubicBezTo>
                  <a:pt x="3457826" y="2244626"/>
                  <a:pt x="3071703" y="2440348"/>
                  <a:pt x="2758545" y="2753506"/>
                </a:cubicBezTo>
                <a:cubicBezTo>
                  <a:pt x="2236616" y="3275436"/>
                  <a:pt x="2040891" y="4000046"/>
                  <a:pt x="2171374" y="4673988"/>
                </a:cubicBezTo>
                <a:lnTo>
                  <a:pt x="2172255" y="4677597"/>
                </a:lnTo>
                <a:lnTo>
                  <a:pt x="19867" y="4677596"/>
                </a:lnTo>
                <a:lnTo>
                  <a:pt x="19545" y="4674915"/>
                </a:lnTo>
                <a:cubicBezTo>
                  <a:pt x="-97720" y="3449909"/>
                  <a:pt x="312708" y="2183917"/>
                  <a:pt x="1250832" y="1245793"/>
                </a:cubicBezTo>
                <a:cubicBezTo>
                  <a:pt x="1980483" y="516142"/>
                  <a:pt x="2908474" y="105714"/>
                  <a:pt x="3861258" y="14507"/>
                </a:cubicBezTo>
                <a:close/>
              </a:path>
            </a:pathLst>
          </a:custGeom>
          <a:solidFill>
            <a:srgbClr val="FB5C3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/>
            <a:endParaRPr lang="en-US" sz="1400" b="0" i="0" err="1">
              <a:latin typeface="Arial"/>
              <a:cs typeface="Arial"/>
            </a:endParaRPr>
          </a:p>
        </p:txBody>
      </p:sp>
      <p:sp>
        <p:nvSpPr>
          <p:cNvPr id="12" name="Text Placeholder 49">
            <a:extLst>
              <a:ext uri="{FF2B5EF4-FFF2-40B4-BE49-F238E27FC236}">
                <a16:creationId xmlns:a16="http://schemas.microsoft.com/office/drawing/2014/main" id="{C5971528-7519-8D27-8319-0BAC38167AD0}"/>
              </a:ext>
            </a:extLst>
          </p:cNvPr>
          <p:cNvSpPr txBox="1">
            <a:spLocks/>
          </p:cNvSpPr>
          <p:nvPr userDrawn="1"/>
        </p:nvSpPr>
        <p:spPr>
          <a:xfrm>
            <a:off x="3554947" y="3895115"/>
            <a:ext cx="2120055" cy="2120038"/>
          </a:xfrm>
          <a:custGeom>
            <a:avLst/>
            <a:gdLst>
              <a:gd name="connsiteX0" fmla="*/ 265718 w 531436"/>
              <a:gd name="connsiteY0" fmla="*/ 0 h 531432"/>
              <a:gd name="connsiteX1" fmla="*/ 531436 w 531436"/>
              <a:gd name="connsiteY1" fmla="*/ 265716 h 531432"/>
              <a:gd name="connsiteX2" fmla="*/ 265718 w 531436"/>
              <a:gd name="connsiteY2" fmla="*/ 531432 h 531432"/>
              <a:gd name="connsiteX3" fmla="*/ 0 w 531436"/>
              <a:gd name="connsiteY3" fmla="*/ 265716 h 531432"/>
              <a:gd name="connsiteX4" fmla="*/ 265718 w 531436"/>
              <a:gd name="connsiteY4" fmla="*/ 0 h 531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1436" h="531432">
                <a:moveTo>
                  <a:pt x="265718" y="0"/>
                </a:moveTo>
                <a:cubicBezTo>
                  <a:pt x="412470" y="0"/>
                  <a:pt x="531436" y="118965"/>
                  <a:pt x="531436" y="265716"/>
                </a:cubicBezTo>
                <a:cubicBezTo>
                  <a:pt x="531436" y="412467"/>
                  <a:pt x="412470" y="531432"/>
                  <a:pt x="265718" y="531432"/>
                </a:cubicBezTo>
                <a:cubicBezTo>
                  <a:pt x="118966" y="531432"/>
                  <a:pt x="0" y="412467"/>
                  <a:pt x="0" y="265716"/>
                </a:cubicBezTo>
                <a:cubicBezTo>
                  <a:pt x="0" y="118965"/>
                  <a:pt x="118966" y="0"/>
                  <a:pt x="265718" y="0"/>
                </a:cubicBezTo>
                <a:close/>
              </a:path>
            </a:pathLst>
          </a:custGeom>
          <a:solidFill>
            <a:srgbClr val="FB5C3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 algn="ctr">
              <a:defRPr sz="1400" b="0" i="0">
                <a:solidFill>
                  <a:schemeClr val="lt1"/>
                </a:solidFill>
                <a:latin typeface="Arial"/>
                <a:cs typeface="Arial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029EDDE-5913-D770-3D7E-8AA9DD50B47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2972" y="2298411"/>
            <a:ext cx="5292030" cy="1231106"/>
          </a:xfrm>
        </p:spPr>
        <p:txBody>
          <a:bodyPr lIns="0" tIns="0" rIns="0" bIns="0" anchor="b" anchorCtr="0">
            <a:spAutoFit/>
          </a:bodyPr>
          <a:lstStyle>
            <a:lvl1pPr algn="l">
              <a:lnSpc>
                <a:spcPct val="80000"/>
              </a:lnSpc>
              <a:defRPr sz="5000" b="1" i="0" spc="-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C3750264-570F-EC56-3569-348B6924106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2972" y="3583491"/>
            <a:ext cx="5292030" cy="366254"/>
          </a:xfrm>
        </p:spPr>
        <p:txBody>
          <a:bodyPr lIns="0" tIns="0" rIns="0" bIns="0" anchor="t" anchorCtr="0">
            <a:spAutoFit/>
          </a:bodyPr>
          <a:lstStyle>
            <a:lvl1pPr marL="0" indent="0" algn="l">
              <a:lnSpc>
                <a:spcPct val="85000"/>
              </a:lnSpc>
              <a:spcBef>
                <a:spcPts val="800"/>
              </a:spcBef>
              <a:buNone/>
              <a:defRPr sz="2800" b="1" i="0" spc="-5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subtitle style</a:t>
            </a: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1599BBD5-72F2-F62D-3703-8A7CB82D7EF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109166" y="6221029"/>
            <a:ext cx="2700248" cy="357052"/>
          </a:xfrm>
        </p:spPr>
        <p:txBody>
          <a:bodyPr anchor="b" anchorCtr="0"/>
          <a:lstStyle>
            <a:lvl1pPr algn="r">
              <a:defRPr sz="800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CC217187-B9BF-BF40-2265-A7F664D7477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877" y="6084140"/>
            <a:ext cx="3034341" cy="557784"/>
          </a:xfrm>
          <a:prstGeom prst="rect">
            <a:avLst/>
          </a:prstGeom>
        </p:spPr>
      </p:pic>
      <p:pic>
        <p:nvPicPr>
          <p:cNvPr id="18" name="Picture 17" descr="A blue and white robot&#10;&#10;Description automatically generated with medium confidence">
            <a:extLst>
              <a:ext uri="{FF2B5EF4-FFF2-40B4-BE49-F238E27FC236}">
                <a16:creationId xmlns:a16="http://schemas.microsoft.com/office/drawing/2014/main" id="{3F23B5A5-BB46-EB31-FB82-E7B823A219A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6210300" y="4466167"/>
            <a:ext cx="3302000" cy="2201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53283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39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BAFF2E-6F51-EF5B-66E6-D885A69E45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148861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FD6920A-CA0A-440A-B89B-D0A900738D6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9414" y="1322388"/>
            <a:ext cx="11430668" cy="307777"/>
          </a:xfrm>
        </p:spPr>
        <p:txBody>
          <a:bodyPr numCol="2">
            <a:spAutoFit/>
          </a:bodyPr>
          <a:lstStyle>
            <a:lvl1pPr marL="365760" indent="-365760">
              <a:buClr>
                <a:schemeClr val="tx1"/>
              </a:buClr>
              <a:buFont typeface="+mj-lt"/>
              <a:buAutoNum type="arabicPeriod"/>
              <a:defRPr b="0"/>
            </a:lvl1pPr>
            <a:lvl2pPr marL="342900" indent="-342900">
              <a:buFont typeface="+mj-lt"/>
              <a:buAutoNum type="arabicPeriod"/>
              <a:defRPr/>
            </a:lvl2pPr>
            <a:lvl3pPr marL="517525" indent="-342900">
              <a:buFont typeface="+mj-lt"/>
              <a:buAutoNum type="arabicPeriod"/>
              <a:defRPr/>
            </a:lvl3pPr>
            <a:lvl4pPr marL="682625" indent="-342900">
              <a:buFont typeface="+mj-lt"/>
              <a:buAutoNum type="arabicPeriod"/>
              <a:defRPr/>
            </a:lvl4pPr>
            <a:lvl5pPr marL="855663" indent="-342900">
              <a:buFont typeface="+mj-lt"/>
              <a:buAutoNum type="arabicPeriod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3194017-35DB-4FBE-DC8B-21AEA1D5ED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864787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D60FF20-EA82-6DC1-5D9E-4471D109D2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75A7283-206E-9D72-27DD-90C8F6782BC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81000" y="1322388"/>
            <a:ext cx="11428413" cy="1679947"/>
          </a:xfrm>
        </p:spPr>
        <p:txBody>
          <a:bodyPr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230530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14804C5-F8D6-8BE0-4002-A27BDEFEA19C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81001" y="1783536"/>
            <a:ext cx="11428412" cy="1679947"/>
          </a:xfrm>
        </p:spPr>
        <p:txBody>
          <a:bodyPr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2" y="1382712"/>
            <a:ext cx="11427050" cy="27699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 dirty="0"/>
              <a:t>Insert Subhea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D69D99-A956-B31C-D047-EF2CDC2247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524671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89DB295E-C37C-4211-B0AE-52425FDE08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1653" y="1384313"/>
            <a:ext cx="5497831" cy="27699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94777BAB-A976-435B-9BA1-5B6E981D317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12553" y="1384313"/>
            <a:ext cx="5497831" cy="27699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A540E332-4472-82F9-F721-891AD70BCDD0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311901" y="1781174"/>
            <a:ext cx="5498484" cy="1679947"/>
          </a:xfrm>
        </p:spPr>
        <p:txBody>
          <a:bodyPr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A2C8692-0FF6-92F5-8649-CC388FECB8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CF07DD4E-1B03-A97C-4406-6E5106F5170E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379413" y="1781174"/>
            <a:ext cx="5498484" cy="1679947"/>
          </a:xfrm>
        </p:spPr>
        <p:txBody>
          <a:bodyPr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6745899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8BABC588-5798-4369-86EA-9B137E4E1DB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1001" y="1384313"/>
            <a:ext cx="3627082" cy="27699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6D0D713-96F9-98EB-DD97-68D6CB1CF764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381001" y="1781174"/>
            <a:ext cx="3632832" cy="1679947"/>
          </a:xfrm>
        </p:spPr>
        <p:txBody>
          <a:bodyPr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EFCBBFC1-DBA9-47B0-8B7C-C8EF0A6DD6E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79550" y="1384313"/>
            <a:ext cx="3627082" cy="27699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F0E7FF70-E077-DB59-5339-F280530885F8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4276272" y="1781174"/>
            <a:ext cx="3632832" cy="1679947"/>
          </a:xfrm>
        </p:spPr>
        <p:txBody>
          <a:bodyPr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00983EFC-9FEF-46E8-9574-59C9D66F27C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178099" y="1384313"/>
            <a:ext cx="3627082" cy="27699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8" name="Content Placeholder 5">
            <a:extLst>
              <a:ext uri="{FF2B5EF4-FFF2-40B4-BE49-F238E27FC236}">
                <a16:creationId xmlns:a16="http://schemas.microsoft.com/office/drawing/2014/main" id="{D5E2B3B7-69B4-8FCF-8D7B-BC5DB2EE5335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8171544" y="1781174"/>
            <a:ext cx="3632832" cy="1679947"/>
          </a:xfrm>
        </p:spPr>
        <p:txBody>
          <a:bodyPr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F31FE0F-EB71-0236-6CC4-1B995A6659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5396216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FBF14531-4635-4BAC-8BFB-80B5D5B93B7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1001" y="1384313"/>
            <a:ext cx="2736982" cy="27699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D07986D-0926-700A-EB1F-ACE31E8C1B1B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381001" y="1781174"/>
            <a:ext cx="2741320" cy="1987724"/>
          </a:xfrm>
        </p:spPr>
        <p:txBody>
          <a:bodyPr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5DED9890-AE6A-4175-A2D3-94CD8046DE1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278242" y="1384313"/>
            <a:ext cx="2736982" cy="27699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A0FFFA9E-1425-A696-23D8-F74007770C64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276601" y="1781174"/>
            <a:ext cx="2741320" cy="1987724"/>
          </a:xfrm>
        </p:spPr>
        <p:txBody>
          <a:bodyPr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85B79AD3-9CCE-4AA6-A9B4-5F9A43BC781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175483" y="1384313"/>
            <a:ext cx="2736982" cy="27699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01E12B69-E0AB-F458-E1E6-643D174A623E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6172201" y="1781174"/>
            <a:ext cx="2741320" cy="1987724"/>
          </a:xfrm>
        </p:spPr>
        <p:txBody>
          <a:bodyPr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2AD1F5CB-9325-407F-A82E-AD63D7DB55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072725" y="1384313"/>
            <a:ext cx="2736982" cy="27699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B97D9EBF-2C85-C739-5EA2-1C633E3F8D5D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9067801" y="1781174"/>
            <a:ext cx="2741320" cy="1987724"/>
          </a:xfrm>
        </p:spPr>
        <p:txBody>
          <a:bodyPr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8F5099D-4047-5648-5B79-08B696B481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6791648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FBF14531-4635-4BAC-8BFB-80B5D5B93B7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1001" y="1412013"/>
            <a:ext cx="2143176" cy="24929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18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BB4E2362-E356-4A39-BFCD-3E1AEA06E41E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381001" y="1781174"/>
            <a:ext cx="2146572" cy="1803058"/>
          </a:xfrm>
        </p:spPr>
        <p:txBody>
          <a:bodyPr tIns="0">
            <a:spAutoFit/>
          </a:bodyPr>
          <a:lstStyle>
            <a:lvl1pPr>
              <a:defRPr sz="1800"/>
            </a:lvl1pPr>
            <a:lvl2pPr>
              <a:buClr>
                <a:schemeClr val="tx1"/>
              </a:buClr>
              <a:defRPr sz="1800" baseline="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2472D317-8C7C-4435-97B7-AD733CBE008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701609" y="1412013"/>
            <a:ext cx="2143176" cy="24929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18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E4D2D360-EEE9-4391-80AA-F3022B2E44BA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2701461" y="1781174"/>
            <a:ext cx="2146572" cy="1803058"/>
          </a:xfrm>
        </p:spPr>
        <p:txBody>
          <a:bodyPr tIns="0">
            <a:spAutoFit/>
          </a:bodyPr>
          <a:lstStyle>
            <a:lvl1pPr>
              <a:defRPr sz="1800"/>
            </a:lvl1pPr>
            <a:lvl2pPr marL="174625" indent="-174625">
              <a:buClr>
                <a:schemeClr val="accent1"/>
              </a:buClr>
              <a:defRPr lang="en-US" sz="1800" kern="1200" baseline="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>
              <a:buClr>
                <a:schemeClr val="accent1"/>
              </a:buClr>
              <a:defRPr lang="en-US" sz="18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>
              <a:buClr>
                <a:schemeClr val="accent1"/>
              </a:buClr>
              <a:defRPr lang="en-US" sz="18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>
              <a:buClr>
                <a:schemeClr val="accent1"/>
              </a:buClr>
              <a:defRPr lang="en-US" sz="18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174625" lvl="1" indent="-174625" algn="l" defTabSz="457200" rtl="0" eaLnBrk="1" latinLnBrk="0" hangingPunct="1">
              <a:spcBef>
                <a:spcPts val="50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Second level</a:t>
            </a:r>
          </a:p>
          <a:p>
            <a:pPr marL="339725" lvl="2" indent="-165100" algn="l" defTabSz="457200" rtl="0" eaLnBrk="1" latinLnBrk="0" hangingPunct="1">
              <a:spcBef>
                <a:spcPts val="300"/>
              </a:spcBef>
              <a:buClr>
                <a:schemeClr val="tx1"/>
              </a:buClr>
              <a:buFont typeface="Lucida Grande"/>
              <a:buChar char="-"/>
            </a:pPr>
            <a:r>
              <a:rPr lang="en-US" dirty="0"/>
              <a:t>Third level</a:t>
            </a:r>
          </a:p>
          <a:p>
            <a:pPr marL="512763" lvl="3" indent="-173038" algn="l" defTabSz="457200" rtl="0" eaLnBrk="1" latinLnBrk="0" hangingPunct="1">
              <a:spcBef>
                <a:spcPts val="20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Fourth level</a:t>
            </a:r>
          </a:p>
          <a:p>
            <a:pPr marL="687388" lvl="4" indent="-174625" algn="l" defTabSz="457200" rtl="0" eaLnBrk="1" latinLnBrk="0" hangingPunct="1">
              <a:spcBef>
                <a:spcPts val="100"/>
              </a:spcBef>
              <a:buClr>
                <a:schemeClr val="tx1"/>
              </a:buClr>
              <a:buFont typeface="Lucida Grande"/>
              <a:buChar char="-"/>
            </a:pPr>
            <a:r>
              <a:rPr lang="en-US" dirty="0"/>
              <a:t>Fifth level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7C950CA8-931F-42EC-8D1C-684B10BA33D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22217" y="1412013"/>
            <a:ext cx="2143176" cy="24929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18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424531BF-7D09-4306-9D8E-78BAF0CD5048}"/>
              </a:ext>
            </a:extLst>
          </p:cNvPr>
          <p:cNvSpPr>
            <a:spLocks noGrp="1"/>
          </p:cNvSpPr>
          <p:nvPr>
            <p:ph idx="24"/>
          </p:nvPr>
        </p:nvSpPr>
        <p:spPr>
          <a:xfrm>
            <a:off x="5021921" y="1781174"/>
            <a:ext cx="2146572" cy="1803058"/>
          </a:xfrm>
        </p:spPr>
        <p:txBody>
          <a:bodyPr tIns="0">
            <a:spAutoFit/>
          </a:bodyPr>
          <a:lstStyle>
            <a:lvl1pPr>
              <a:defRPr sz="1800"/>
            </a:lvl1pPr>
            <a:lvl2pPr marL="174625" indent="-174625">
              <a:buClr>
                <a:schemeClr val="accent1"/>
              </a:buClr>
              <a:defRPr lang="en-US" sz="1800" kern="1200" baseline="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>
              <a:buClr>
                <a:schemeClr val="accent1"/>
              </a:buClr>
              <a:defRPr lang="en-US" sz="18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>
              <a:buClr>
                <a:schemeClr val="accent1"/>
              </a:buClr>
              <a:defRPr lang="en-US" sz="18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>
              <a:buClr>
                <a:schemeClr val="accent1"/>
              </a:buClr>
              <a:defRPr lang="en-US" sz="18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174625" lvl="1" indent="-174625" algn="l" defTabSz="457200" rtl="0" eaLnBrk="1" latinLnBrk="0" hangingPunct="1">
              <a:spcBef>
                <a:spcPts val="50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Second level</a:t>
            </a:r>
          </a:p>
          <a:p>
            <a:pPr marL="339725" lvl="2" indent="-165100" algn="l" defTabSz="457200" rtl="0" eaLnBrk="1" latinLnBrk="0" hangingPunct="1">
              <a:spcBef>
                <a:spcPts val="300"/>
              </a:spcBef>
              <a:buClr>
                <a:schemeClr val="tx1"/>
              </a:buClr>
              <a:buFont typeface="Lucida Grande"/>
              <a:buChar char="-"/>
            </a:pPr>
            <a:r>
              <a:rPr lang="en-US" dirty="0"/>
              <a:t>Third level</a:t>
            </a:r>
          </a:p>
          <a:p>
            <a:pPr marL="512763" lvl="3" indent="-173038" algn="l" defTabSz="457200" rtl="0" eaLnBrk="1" latinLnBrk="0" hangingPunct="1">
              <a:spcBef>
                <a:spcPts val="20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Fourth level</a:t>
            </a:r>
          </a:p>
          <a:p>
            <a:pPr marL="687388" lvl="4" indent="-174625" algn="l" defTabSz="457200" rtl="0" eaLnBrk="1" latinLnBrk="0" hangingPunct="1">
              <a:spcBef>
                <a:spcPts val="100"/>
              </a:spcBef>
              <a:buClr>
                <a:schemeClr val="tx1"/>
              </a:buClr>
              <a:buFont typeface="Lucida Grande"/>
              <a:buChar char="-"/>
            </a:pPr>
            <a:r>
              <a:rPr lang="en-US" dirty="0"/>
              <a:t>Fifth level</a:t>
            </a:r>
          </a:p>
        </p:txBody>
      </p:sp>
      <p:sp>
        <p:nvSpPr>
          <p:cNvPr id="31" name="Text Placeholder 14">
            <a:extLst>
              <a:ext uri="{FF2B5EF4-FFF2-40B4-BE49-F238E27FC236}">
                <a16:creationId xmlns:a16="http://schemas.microsoft.com/office/drawing/2014/main" id="{CFB36ED7-BBFD-4DB9-9421-F9BE8CD07C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342825" y="1412013"/>
            <a:ext cx="2143176" cy="24929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18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BBEA8CD3-8F3D-4C64-8375-1733B126A69B}"/>
              </a:ext>
            </a:extLst>
          </p:cNvPr>
          <p:cNvSpPr>
            <a:spLocks noGrp="1"/>
          </p:cNvSpPr>
          <p:nvPr>
            <p:ph idx="26"/>
          </p:nvPr>
        </p:nvSpPr>
        <p:spPr>
          <a:xfrm>
            <a:off x="7342381" y="1781174"/>
            <a:ext cx="2146572" cy="1803058"/>
          </a:xfrm>
        </p:spPr>
        <p:txBody>
          <a:bodyPr tIns="0">
            <a:spAutoFit/>
          </a:bodyPr>
          <a:lstStyle>
            <a:lvl1pPr>
              <a:defRPr sz="1800"/>
            </a:lvl1pPr>
            <a:lvl2pPr marL="174625" indent="-174625">
              <a:buClr>
                <a:schemeClr val="accent1"/>
              </a:buClr>
              <a:defRPr lang="en-US" sz="1800" kern="1200" baseline="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>
              <a:buClr>
                <a:schemeClr val="accent1"/>
              </a:buClr>
              <a:defRPr lang="en-US" sz="18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>
              <a:buClr>
                <a:schemeClr val="accent1"/>
              </a:buClr>
              <a:defRPr lang="en-US" sz="18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>
              <a:buClr>
                <a:schemeClr val="accent1"/>
              </a:buClr>
              <a:defRPr lang="en-US" sz="18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174625" lvl="1" indent="-174625" algn="l" defTabSz="457200" rtl="0" eaLnBrk="1" latinLnBrk="0" hangingPunct="1">
              <a:spcBef>
                <a:spcPts val="50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Second level</a:t>
            </a:r>
          </a:p>
          <a:p>
            <a:pPr marL="339725" lvl="2" indent="-165100" algn="l" defTabSz="457200" rtl="0" eaLnBrk="1" latinLnBrk="0" hangingPunct="1">
              <a:spcBef>
                <a:spcPts val="300"/>
              </a:spcBef>
              <a:buClr>
                <a:schemeClr val="tx1"/>
              </a:buClr>
              <a:buFont typeface="Lucida Grande"/>
              <a:buChar char="-"/>
            </a:pPr>
            <a:r>
              <a:rPr lang="en-US" dirty="0"/>
              <a:t>Third level</a:t>
            </a:r>
          </a:p>
          <a:p>
            <a:pPr marL="512763" lvl="3" indent="-173038" algn="l" defTabSz="457200" rtl="0" eaLnBrk="1" latinLnBrk="0" hangingPunct="1">
              <a:spcBef>
                <a:spcPts val="20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Fourth level</a:t>
            </a:r>
          </a:p>
          <a:p>
            <a:pPr marL="687388" lvl="4" indent="-174625" algn="l" defTabSz="457200" rtl="0" eaLnBrk="1" latinLnBrk="0" hangingPunct="1">
              <a:spcBef>
                <a:spcPts val="100"/>
              </a:spcBef>
              <a:buClr>
                <a:schemeClr val="tx1"/>
              </a:buClr>
              <a:buFont typeface="Lucida Grande"/>
              <a:buChar char="-"/>
            </a:pPr>
            <a:r>
              <a:rPr lang="en-US" dirty="0"/>
              <a:t>Fifth level</a:t>
            </a:r>
          </a:p>
        </p:txBody>
      </p:sp>
      <p:sp>
        <p:nvSpPr>
          <p:cNvPr id="33" name="Text Placeholder 14">
            <a:extLst>
              <a:ext uri="{FF2B5EF4-FFF2-40B4-BE49-F238E27FC236}">
                <a16:creationId xmlns:a16="http://schemas.microsoft.com/office/drawing/2014/main" id="{D6519DA7-2099-4BBE-BC01-9482B3B5413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663434" y="1412013"/>
            <a:ext cx="2143176" cy="24929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18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18DDB658-7F30-450F-B746-304E5B393DA7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9662841" y="1781174"/>
            <a:ext cx="2146572" cy="1803058"/>
          </a:xfrm>
        </p:spPr>
        <p:txBody>
          <a:bodyPr tIns="0">
            <a:spAutoFit/>
          </a:bodyPr>
          <a:lstStyle>
            <a:lvl1pPr>
              <a:defRPr sz="1800"/>
            </a:lvl1pPr>
            <a:lvl2pPr marL="174625" indent="-174625">
              <a:buClr>
                <a:schemeClr val="accent1"/>
              </a:buClr>
              <a:defRPr lang="en-US" sz="1800" kern="1200" baseline="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>
              <a:buClr>
                <a:schemeClr val="accent1"/>
              </a:buClr>
              <a:defRPr lang="en-US" sz="18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>
              <a:buClr>
                <a:schemeClr val="accent1"/>
              </a:buClr>
              <a:defRPr lang="en-US" sz="18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>
              <a:buClr>
                <a:schemeClr val="accent1"/>
              </a:buClr>
              <a:defRPr lang="en-US" sz="18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174625" lvl="1" indent="-174625" algn="l" defTabSz="457200" rtl="0" eaLnBrk="1" latinLnBrk="0" hangingPunct="1">
              <a:spcBef>
                <a:spcPts val="50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Second level</a:t>
            </a:r>
          </a:p>
          <a:p>
            <a:pPr marL="339725" lvl="2" indent="-165100" algn="l" defTabSz="457200" rtl="0" eaLnBrk="1" latinLnBrk="0" hangingPunct="1">
              <a:spcBef>
                <a:spcPts val="300"/>
              </a:spcBef>
              <a:buClr>
                <a:schemeClr val="tx1"/>
              </a:buClr>
              <a:buFont typeface="Lucida Grande"/>
              <a:buChar char="-"/>
            </a:pPr>
            <a:r>
              <a:rPr lang="en-US" dirty="0"/>
              <a:t>Third level</a:t>
            </a:r>
          </a:p>
          <a:p>
            <a:pPr marL="512763" lvl="3" indent="-173038" algn="l" defTabSz="457200" rtl="0" eaLnBrk="1" latinLnBrk="0" hangingPunct="1">
              <a:spcBef>
                <a:spcPts val="20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Fourth level</a:t>
            </a:r>
          </a:p>
          <a:p>
            <a:pPr marL="687388" lvl="4" indent="-174625" algn="l" defTabSz="457200" rtl="0" eaLnBrk="1" latinLnBrk="0" hangingPunct="1">
              <a:spcBef>
                <a:spcPts val="100"/>
              </a:spcBef>
              <a:buClr>
                <a:schemeClr val="tx1"/>
              </a:buClr>
              <a:buFont typeface="Lucida Grande"/>
              <a:buChar char="-"/>
            </a:pPr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8DD2036-1EA4-7F7E-5CAF-43BEC20912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6158370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8BABC588-5798-4369-86EA-9B137E4E1DB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1001" y="1384313"/>
            <a:ext cx="3614674" cy="27699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2136F9D9-C115-4CFC-8288-DA3519CE2A0C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81001" y="1781173"/>
            <a:ext cx="3620405" cy="1359346"/>
          </a:xfrm>
        </p:spPr>
        <p:txBody>
          <a:bodyPr tIns="0">
            <a:spAutoFit/>
          </a:bodyPr>
          <a:lstStyle>
            <a:lvl2pPr>
              <a:buClr>
                <a:schemeClr val="tx1"/>
              </a:buClr>
              <a:defRPr baseline="0"/>
            </a:lvl2pPr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EFCBBFC1-DBA9-47B0-8B7C-C8EF0A6DD6E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88273" y="1384313"/>
            <a:ext cx="3614674" cy="27699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45F79959-0949-4FB6-BF24-B3C0EBA34E8A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4285005" y="1781173"/>
            <a:ext cx="3620405" cy="1359346"/>
          </a:xfrm>
        </p:spPr>
        <p:txBody>
          <a:bodyPr tIns="0">
            <a:spAutoFit/>
          </a:bodyPr>
          <a:lstStyle>
            <a:lvl2pPr marL="174625" indent="-174625">
              <a:buClr>
                <a:schemeClr val="accent1"/>
              </a:buClr>
              <a:defRPr lang="en-US" sz="2000" kern="1200" baseline="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>
              <a:buClr>
                <a:schemeClr val="accent1"/>
              </a:buClr>
              <a:defRPr lang="en-US" sz="20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>
              <a:buClr>
                <a:schemeClr val="accent1"/>
              </a:buClr>
              <a:defRPr lang="en-US" sz="20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marL="174625" lvl="1" indent="-174625" algn="l" defTabSz="457200" rtl="0" eaLnBrk="1" latinLnBrk="0" hangingPunct="1">
              <a:spcBef>
                <a:spcPts val="50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Second level</a:t>
            </a:r>
          </a:p>
          <a:p>
            <a:pPr marL="339725" lvl="2" indent="-165100" algn="l" defTabSz="457200" rtl="0" eaLnBrk="1" latinLnBrk="0" hangingPunct="1">
              <a:spcBef>
                <a:spcPts val="300"/>
              </a:spcBef>
              <a:buClr>
                <a:schemeClr val="tx1"/>
              </a:buClr>
              <a:buFont typeface="Lucida Grande"/>
              <a:buChar char="-"/>
            </a:pPr>
            <a:r>
              <a:rPr lang="en-US" dirty="0"/>
              <a:t>Third level</a:t>
            </a:r>
          </a:p>
          <a:p>
            <a:pPr marL="512763" lvl="3" indent="-173038" algn="l" defTabSz="457200" rtl="0" eaLnBrk="1" latinLnBrk="0" hangingPunct="1">
              <a:spcBef>
                <a:spcPts val="20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Fourth level</a:t>
            </a:r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00983EFC-9FEF-46E8-9574-59C9D66F27C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195545" y="1384313"/>
            <a:ext cx="3614674" cy="27699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D08D5800-8154-4234-B28D-C636F2E768A3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8189009" y="1781173"/>
            <a:ext cx="3620405" cy="1359346"/>
          </a:xfrm>
        </p:spPr>
        <p:txBody>
          <a:bodyPr tIns="0">
            <a:spAutoFit/>
          </a:bodyPr>
          <a:lstStyle>
            <a:lvl2pPr marL="174625" indent="-174625">
              <a:buClr>
                <a:schemeClr val="accent1"/>
              </a:buClr>
              <a:defRPr lang="en-US" sz="2000" kern="1200" baseline="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>
              <a:buClr>
                <a:schemeClr val="accent1"/>
              </a:buClr>
              <a:defRPr lang="en-US" sz="20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>
              <a:buClr>
                <a:schemeClr val="accent1"/>
              </a:buClr>
              <a:defRPr lang="en-US" sz="20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marL="174625" lvl="1" indent="-174625" algn="l" defTabSz="457200" rtl="0" eaLnBrk="1" latinLnBrk="0" hangingPunct="1">
              <a:spcBef>
                <a:spcPts val="50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Second level</a:t>
            </a:r>
          </a:p>
          <a:p>
            <a:pPr marL="339725" lvl="2" indent="-165100" algn="l" defTabSz="457200" rtl="0" eaLnBrk="1" latinLnBrk="0" hangingPunct="1">
              <a:spcBef>
                <a:spcPts val="300"/>
              </a:spcBef>
              <a:buClr>
                <a:schemeClr val="tx1"/>
              </a:buClr>
              <a:buFont typeface="Lucida Grande"/>
              <a:buChar char="-"/>
            </a:pPr>
            <a:r>
              <a:rPr lang="en-US" dirty="0"/>
              <a:t>Third level</a:t>
            </a:r>
          </a:p>
          <a:p>
            <a:pPr marL="512763" lvl="3" indent="-173038" algn="l" defTabSz="457200" rtl="0" eaLnBrk="1" latinLnBrk="0" hangingPunct="1">
              <a:spcBef>
                <a:spcPts val="20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Fourth level</a:t>
            </a:r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3433CE7C-F359-47A8-841D-14982B8C8FE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81001" y="4044051"/>
            <a:ext cx="3614674" cy="27699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641F7901-0058-4543-B156-041351228BF3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381001" y="4440912"/>
            <a:ext cx="3620405" cy="1359346"/>
          </a:xfrm>
        </p:spPr>
        <p:txBody>
          <a:bodyPr tIns="0">
            <a:spAutoFit/>
          </a:bodyPr>
          <a:lstStyle>
            <a:lvl2pPr marL="174625" indent="-174625">
              <a:buClr>
                <a:schemeClr val="accent1"/>
              </a:buClr>
              <a:defRPr lang="en-US" sz="2000" kern="1200" baseline="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>
              <a:buClr>
                <a:schemeClr val="accent1"/>
              </a:buClr>
              <a:defRPr lang="en-US" sz="20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>
              <a:buClr>
                <a:schemeClr val="accent1"/>
              </a:buClr>
              <a:defRPr lang="en-US" sz="20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marL="174625" lvl="1" indent="-174625" algn="l" defTabSz="457200" rtl="0" eaLnBrk="1" latinLnBrk="0" hangingPunct="1">
              <a:spcBef>
                <a:spcPts val="50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Second level</a:t>
            </a:r>
          </a:p>
          <a:p>
            <a:pPr marL="339725" lvl="2" indent="-165100" algn="l" defTabSz="457200" rtl="0" eaLnBrk="1" latinLnBrk="0" hangingPunct="1">
              <a:spcBef>
                <a:spcPts val="300"/>
              </a:spcBef>
              <a:buClr>
                <a:schemeClr val="tx1"/>
              </a:buClr>
              <a:buFont typeface="Lucida Grande"/>
              <a:buChar char="-"/>
            </a:pPr>
            <a:r>
              <a:rPr lang="en-US" dirty="0"/>
              <a:t>Third level</a:t>
            </a:r>
          </a:p>
          <a:p>
            <a:pPr marL="512763" lvl="3" indent="-173038" algn="l" defTabSz="457200" rtl="0" eaLnBrk="1" latinLnBrk="0" hangingPunct="1">
              <a:spcBef>
                <a:spcPts val="20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Fourth level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3B24EDE4-1DE9-4DA3-A5DE-8AA56EA30F8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288273" y="4044051"/>
            <a:ext cx="3614674" cy="27699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C9E62CC6-7DD7-4F2C-92A7-592426B1F84C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4285005" y="4440912"/>
            <a:ext cx="3620405" cy="1359346"/>
          </a:xfrm>
        </p:spPr>
        <p:txBody>
          <a:bodyPr tIns="0">
            <a:spAutoFit/>
          </a:bodyPr>
          <a:lstStyle>
            <a:lvl2pPr marL="174625" indent="-174625">
              <a:buClr>
                <a:schemeClr val="accent1"/>
              </a:buClr>
              <a:defRPr lang="en-US" sz="2000" kern="1200" baseline="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>
              <a:buClr>
                <a:schemeClr val="accent1"/>
              </a:buClr>
              <a:defRPr lang="en-US" sz="20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>
              <a:buClr>
                <a:schemeClr val="accent1"/>
              </a:buClr>
              <a:defRPr lang="en-US" sz="20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marL="174625" lvl="1" indent="-174625" algn="l" defTabSz="457200" rtl="0" eaLnBrk="1" latinLnBrk="0" hangingPunct="1">
              <a:spcBef>
                <a:spcPts val="50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Second level</a:t>
            </a:r>
          </a:p>
          <a:p>
            <a:pPr marL="339725" lvl="2" indent="-165100" algn="l" defTabSz="457200" rtl="0" eaLnBrk="1" latinLnBrk="0" hangingPunct="1">
              <a:spcBef>
                <a:spcPts val="300"/>
              </a:spcBef>
              <a:buClr>
                <a:schemeClr val="tx1"/>
              </a:buClr>
              <a:buFont typeface="Lucida Grande"/>
              <a:buChar char="-"/>
            </a:pPr>
            <a:r>
              <a:rPr lang="en-US" dirty="0"/>
              <a:t>Third level</a:t>
            </a:r>
          </a:p>
          <a:p>
            <a:pPr marL="512763" lvl="3" indent="-173038" algn="l" defTabSz="457200" rtl="0" eaLnBrk="1" latinLnBrk="0" hangingPunct="1">
              <a:spcBef>
                <a:spcPts val="20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Fourth level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753DB1F1-4AE8-4CB2-9862-800506C55B5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195545" y="4044051"/>
            <a:ext cx="3614674" cy="27699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62DFB085-0C55-4FCF-A2C8-2D229DB955D0}"/>
              </a:ext>
            </a:extLst>
          </p:cNvPr>
          <p:cNvSpPr>
            <a:spLocks noGrp="1"/>
          </p:cNvSpPr>
          <p:nvPr>
            <p:ph idx="30" hasCustomPrompt="1"/>
          </p:nvPr>
        </p:nvSpPr>
        <p:spPr>
          <a:xfrm>
            <a:off x="8189009" y="4440912"/>
            <a:ext cx="3620405" cy="1359346"/>
          </a:xfrm>
        </p:spPr>
        <p:txBody>
          <a:bodyPr tIns="0">
            <a:spAutoFit/>
          </a:bodyPr>
          <a:lstStyle>
            <a:lvl2pPr marL="174625" indent="-174625">
              <a:buClr>
                <a:schemeClr val="accent1"/>
              </a:buClr>
              <a:defRPr lang="en-US" sz="2000" kern="1200" baseline="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>
              <a:buClr>
                <a:schemeClr val="accent1"/>
              </a:buClr>
              <a:defRPr lang="en-US" sz="20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>
              <a:buClr>
                <a:schemeClr val="accent1"/>
              </a:buClr>
              <a:defRPr lang="en-US" sz="20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marL="174625" lvl="1" indent="-174625" algn="l" defTabSz="457200" rtl="0" eaLnBrk="1" latinLnBrk="0" hangingPunct="1">
              <a:spcBef>
                <a:spcPts val="50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Second level</a:t>
            </a:r>
          </a:p>
          <a:p>
            <a:pPr marL="339725" lvl="2" indent="-165100" algn="l" defTabSz="457200" rtl="0" eaLnBrk="1" latinLnBrk="0" hangingPunct="1">
              <a:spcBef>
                <a:spcPts val="300"/>
              </a:spcBef>
              <a:buClr>
                <a:schemeClr val="tx1"/>
              </a:buClr>
              <a:buFont typeface="Lucida Grande"/>
              <a:buChar char="-"/>
            </a:pPr>
            <a:r>
              <a:rPr lang="en-US" dirty="0"/>
              <a:t>Third level</a:t>
            </a:r>
          </a:p>
          <a:p>
            <a:pPr marL="512763" lvl="3" indent="-173038" algn="l" defTabSz="457200" rtl="0" eaLnBrk="1" latinLnBrk="0" hangingPunct="1">
              <a:spcBef>
                <a:spcPts val="20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Four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B6CE18-79C1-78DD-2499-EFCD1EDE1A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0857789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3">
            <a:extLst>
              <a:ext uri="{FF2B5EF4-FFF2-40B4-BE49-F238E27FC236}">
                <a16:creationId xmlns:a16="http://schemas.microsoft.com/office/drawing/2014/main" id="{F6851EF3-E456-437C-A6B0-4799E41CBB8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4413" y="0"/>
            <a:ext cx="6094412" cy="6858000"/>
          </a:xfrm>
          <a:noFill/>
        </p:spPr>
        <p:txBody>
          <a:bodyPr anchor="ctr"/>
          <a:lstStyle>
            <a:lvl1pPr algn="ctr">
              <a:defRPr baseline="0"/>
            </a:lvl1pPr>
          </a:lstStyle>
          <a:p>
            <a:r>
              <a:rPr lang="en-US"/>
              <a:t>Click icon or drag to insert imag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B6AC370-B467-0D84-6964-7D166E93FD4F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81002" y="1781173"/>
            <a:ext cx="5341141" cy="1679947"/>
          </a:xfrm>
        </p:spPr>
        <p:txBody>
          <a:bodyPr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381083" y="1384313"/>
            <a:ext cx="5340398" cy="27699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C814D4E-3169-FA46-BC04-2C127E65BE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438166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– Grid Ligh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3">
            <a:extLst>
              <a:ext uri="{FF2B5EF4-FFF2-40B4-BE49-F238E27FC236}">
                <a16:creationId xmlns:a16="http://schemas.microsoft.com/office/drawing/2014/main" id="{82565F88-E481-C6A7-E9D5-51E8342A7C1A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0" y="-1"/>
            <a:ext cx="8423904" cy="4211955"/>
          </a:xfrm>
          <a:custGeom>
            <a:avLst/>
            <a:gdLst>
              <a:gd name="connsiteX0" fmla="*/ 0 w 2125980"/>
              <a:gd name="connsiteY0" fmla="*/ 0 h 1062991"/>
              <a:gd name="connsiteX1" fmla="*/ 530729 w 2125980"/>
              <a:gd name="connsiteY1" fmla="*/ 0 h 1062991"/>
              <a:gd name="connsiteX2" fmla="*/ 1062990 w 2125980"/>
              <a:gd name="connsiteY2" fmla="*/ 532261 h 1062991"/>
              <a:gd name="connsiteX3" fmla="*/ 1595250 w 2125980"/>
              <a:gd name="connsiteY3" fmla="*/ 0 h 1062991"/>
              <a:gd name="connsiteX4" fmla="*/ 2125980 w 2125980"/>
              <a:gd name="connsiteY4" fmla="*/ 0 h 1062991"/>
              <a:gd name="connsiteX5" fmla="*/ 1062990 w 2125980"/>
              <a:gd name="connsiteY5" fmla="*/ 1062991 h 1062991"/>
              <a:gd name="connsiteX6" fmla="*/ 0 w 2125980"/>
              <a:gd name="connsiteY6" fmla="*/ 0 h 10629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125980" h="1062991">
                <a:moveTo>
                  <a:pt x="0" y="0"/>
                </a:moveTo>
                <a:lnTo>
                  <a:pt x="530729" y="0"/>
                </a:lnTo>
                <a:cubicBezTo>
                  <a:pt x="530729" y="293959"/>
                  <a:pt x="769031" y="532261"/>
                  <a:pt x="1062990" y="532261"/>
                </a:cubicBezTo>
                <a:cubicBezTo>
                  <a:pt x="1356949" y="532261"/>
                  <a:pt x="1595250" y="293959"/>
                  <a:pt x="1595250" y="0"/>
                </a:cubicBezTo>
                <a:lnTo>
                  <a:pt x="2125980" y="0"/>
                </a:lnTo>
                <a:cubicBezTo>
                  <a:pt x="2125980" y="587074"/>
                  <a:pt x="1650063" y="1062991"/>
                  <a:pt x="1062990" y="1062991"/>
                </a:cubicBezTo>
                <a:cubicBezTo>
                  <a:pt x="475916" y="1062991"/>
                  <a:pt x="0" y="587074"/>
                  <a:pt x="0" y="0"/>
                </a:cubicBezTo>
                <a:close/>
              </a:path>
            </a:pathLst>
          </a:custGeom>
          <a:solidFill>
            <a:schemeClr val="bg1">
              <a:alpha val="75000"/>
            </a:schemeClr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20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4219C089-E8CF-E559-B5B5-0F3B3352A7A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2972" y="2298411"/>
            <a:ext cx="5292030" cy="1231106"/>
          </a:xfrm>
        </p:spPr>
        <p:txBody>
          <a:bodyPr lIns="0" tIns="0" rIns="0" bIns="0" anchor="b" anchorCtr="0">
            <a:spAutoFit/>
          </a:bodyPr>
          <a:lstStyle>
            <a:lvl1pPr algn="l">
              <a:lnSpc>
                <a:spcPct val="80000"/>
              </a:lnSpc>
              <a:defRPr sz="5000" b="1" i="0" spc="-100">
                <a:solidFill>
                  <a:schemeClr val="tx2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56796E69-31DF-E029-0DD9-948593BDC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2972" y="3583491"/>
            <a:ext cx="5292030" cy="366254"/>
          </a:xfrm>
        </p:spPr>
        <p:txBody>
          <a:bodyPr lIns="0" tIns="0" rIns="0" bIns="0" anchor="t" anchorCtr="0">
            <a:spAutoFit/>
          </a:bodyPr>
          <a:lstStyle>
            <a:lvl1pPr marL="0" indent="0" algn="l">
              <a:lnSpc>
                <a:spcPct val="85000"/>
              </a:lnSpc>
              <a:spcBef>
                <a:spcPts val="800"/>
              </a:spcBef>
              <a:buNone/>
              <a:defRPr sz="2800" b="1" i="0" spc="-50">
                <a:solidFill>
                  <a:schemeClr val="tx2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subtitle style</a:t>
            </a:r>
          </a:p>
        </p:txBody>
      </p:sp>
      <p:sp>
        <p:nvSpPr>
          <p:cNvPr id="11" name="Text Placeholder 49">
            <a:extLst>
              <a:ext uri="{FF2B5EF4-FFF2-40B4-BE49-F238E27FC236}">
                <a16:creationId xmlns:a16="http://schemas.microsoft.com/office/drawing/2014/main" id="{A32A8C6D-9FB3-A8D0-E088-22B53C568D12}"/>
              </a:ext>
            </a:extLst>
          </p:cNvPr>
          <p:cNvSpPr txBox="1">
            <a:spLocks/>
          </p:cNvSpPr>
          <p:nvPr userDrawn="1"/>
        </p:nvSpPr>
        <p:spPr>
          <a:xfrm>
            <a:off x="9159242" y="2105977"/>
            <a:ext cx="2120055" cy="2120038"/>
          </a:xfrm>
          <a:custGeom>
            <a:avLst/>
            <a:gdLst>
              <a:gd name="connsiteX0" fmla="*/ 265718 w 531436"/>
              <a:gd name="connsiteY0" fmla="*/ 0 h 531432"/>
              <a:gd name="connsiteX1" fmla="*/ 531436 w 531436"/>
              <a:gd name="connsiteY1" fmla="*/ 265716 h 531432"/>
              <a:gd name="connsiteX2" fmla="*/ 265718 w 531436"/>
              <a:gd name="connsiteY2" fmla="*/ 531432 h 531432"/>
              <a:gd name="connsiteX3" fmla="*/ 0 w 531436"/>
              <a:gd name="connsiteY3" fmla="*/ 265716 h 531432"/>
              <a:gd name="connsiteX4" fmla="*/ 265718 w 531436"/>
              <a:gd name="connsiteY4" fmla="*/ 0 h 531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1436" h="531432">
                <a:moveTo>
                  <a:pt x="265718" y="0"/>
                </a:moveTo>
                <a:cubicBezTo>
                  <a:pt x="412470" y="0"/>
                  <a:pt x="531436" y="118965"/>
                  <a:pt x="531436" y="265716"/>
                </a:cubicBezTo>
                <a:cubicBezTo>
                  <a:pt x="531436" y="412467"/>
                  <a:pt x="412470" y="531432"/>
                  <a:pt x="265718" y="531432"/>
                </a:cubicBezTo>
                <a:cubicBezTo>
                  <a:pt x="118966" y="531432"/>
                  <a:pt x="0" y="412467"/>
                  <a:pt x="0" y="265716"/>
                </a:cubicBezTo>
                <a:cubicBezTo>
                  <a:pt x="0" y="118965"/>
                  <a:pt x="118966" y="0"/>
                  <a:pt x="265718" y="0"/>
                </a:cubicBezTo>
                <a:close/>
              </a:path>
            </a:pathLst>
          </a:custGeom>
          <a:solidFill>
            <a:schemeClr val="bg1">
              <a:alpha val="75000"/>
            </a:schemeClr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20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05075AC1-7080-D3A7-8161-3864205433E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59978" y="6221029"/>
            <a:ext cx="6549436" cy="357052"/>
          </a:xfrm>
        </p:spPr>
        <p:txBody>
          <a:bodyPr anchor="b" anchorCtr="0"/>
          <a:lstStyle>
            <a:lvl1pPr algn="r">
              <a:defRPr sz="800">
                <a:solidFill>
                  <a:schemeClr val="tx2"/>
                </a:solidFill>
              </a:defRPr>
            </a:lvl1pPr>
            <a:lvl2pPr marL="0" indent="0">
              <a:buNone/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E32658F1-D2C9-F557-2C25-7F2DB5063C9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877" y="6084140"/>
            <a:ext cx="3034341" cy="557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361486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4024731"/>
            <a:ext cx="2710314" cy="276999"/>
          </a:xfrm>
        </p:spPr>
        <p:txBody>
          <a:bodyPr tIns="0" anchor="b" anchorCtr="1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B5A77170-A9FD-45D4-8584-19D45A2A8F9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81001" y="4421592"/>
            <a:ext cx="2710691" cy="556563"/>
          </a:xfrm>
        </p:spPr>
        <p:txBody>
          <a:bodyPr anchor="t" anchorCtr="1">
            <a:spAutoFit/>
          </a:bodyPr>
          <a:lstStyle>
            <a:lvl1pPr>
              <a:defRPr sz="1600"/>
            </a:lvl1pPr>
            <a:lvl2pPr>
              <a:defRPr sz="16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D45E12E6-5FC6-4DAD-AFC7-D1C06F78D641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833665" y="1737114"/>
            <a:ext cx="1804987" cy="1804988"/>
          </a:xfrm>
          <a:prstGeom prst="ellipse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5B70EEE1-61F9-44E3-AE83-70A2FCDE472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86454" y="4024731"/>
            <a:ext cx="2710314" cy="276999"/>
          </a:xfrm>
        </p:spPr>
        <p:txBody>
          <a:bodyPr tIns="0" anchor="b" anchorCtr="1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CBF3F0D4-7BA6-430E-8092-94251D5111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286379" y="4421592"/>
            <a:ext cx="2710691" cy="556563"/>
          </a:xfrm>
        </p:spPr>
        <p:txBody>
          <a:bodyPr anchor="t" anchorCtr="1">
            <a:spAutoFit/>
          </a:bodyPr>
          <a:lstStyle>
            <a:lvl1pPr>
              <a:defRPr sz="1600"/>
            </a:lvl1pPr>
            <a:lvl2pPr>
              <a:defRPr sz="16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Picture Placeholder 6">
            <a:extLst>
              <a:ext uri="{FF2B5EF4-FFF2-40B4-BE49-F238E27FC236}">
                <a16:creationId xmlns:a16="http://schemas.microsoft.com/office/drawing/2014/main" id="{1D2FC425-D823-47D8-9213-2BED7731FFA9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3739118" y="1737114"/>
            <a:ext cx="1804987" cy="1804988"/>
          </a:xfrm>
          <a:prstGeom prst="ellipse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178182FC-A485-4780-8095-1090C2B8ED1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91907" y="4024731"/>
            <a:ext cx="2710314" cy="276999"/>
          </a:xfrm>
        </p:spPr>
        <p:txBody>
          <a:bodyPr tIns="0" anchor="b" anchorCtr="1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B467F341-791E-49E5-84A8-2C48795FE71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191757" y="4421592"/>
            <a:ext cx="2710691" cy="556563"/>
          </a:xfrm>
        </p:spPr>
        <p:txBody>
          <a:bodyPr anchor="t" anchorCtr="1">
            <a:spAutoFit/>
          </a:bodyPr>
          <a:lstStyle>
            <a:lvl1pPr>
              <a:defRPr sz="1600"/>
            </a:lvl1pPr>
            <a:lvl2pPr>
              <a:defRPr sz="16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Picture Placeholder 6">
            <a:extLst>
              <a:ext uri="{FF2B5EF4-FFF2-40B4-BE49-F238E27FC236}">
                <a16:creationId xmlns:a16="http://schemas.microsoft.com/office/drawing/2014/main" id="{665B243A-457D-4431-A51D-DE024E17A13D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644571" y="1737114"/>
            <a:ext cx="1804987" cy="1804988"/>
          </a:xfrm>
          <a:prstGeom prst="ellipse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6666DD00-9E5D-4272-9205-D57612EE559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97361" y="4024731"/>
            <a:ext cx="2710314" cy="276999"/>
          </a:xfrm>
        </p:spPr>
        <p:txBody>
          <a:bodyPr tIns="0" anchor="b" anchorCtr="1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3A0CC58B-4150-475B-A65A-9286B8F46A8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097134" y="4421592"/>
            <a:ext cx="2710691" cy="556563"/>
          </a:xfrm>
        </p:spPr>
        <p:txBody>
          <a:bodyPr anchor="t" anchorCtr="1">
            <a:spAutoFit/>
          </a:bodyPr>
          <a:lstStyle>
            <a:lvl1pPr>
              <a:defRPr sz="1600"/>
            </a:lvl1pPr>
            <a:lvl2pPr>
              <a:defRPr sz="16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535117A4-648E-4187-ABAF-F046B1725C1E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9550025" y="1737114"/>
            <a:ext cx="1804987" cy="1804988"/>
          </a:xfrm>
          <a:prstGeom prst="ellipse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22913E8-506A-FBC9-340B-F35A74F054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190733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able Placeholder 5">
            <a:extLst>
              <a:ext uri="{FF2B5EF4-FFF2-40B4-BE49-F238E27FC236}">
                <a16:creationId xmlns:a16="http://schemas.microsoft.com/office/drawing/2014/main" id="{05CE8878-73D0-49A2-BE7D-7B98477652C3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381001" y="1322388"/>
            <a:ext cx="11426823" cy="4887912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E0484D1-98A9-907A-A3DE-83E76BFDD1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8742421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+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2766129"/>
            <a:ext cx="2068454" cy="18004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13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Nam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21" hasCustomPrompt="1"/>
          </p:nvPr>
        </p:nvSpPr>
        <p:spPr>
          <a:xfrm>
            <a:off x="381001" y="3024574"/>
            <a:ext cx="2068211" cy="593689"/>
          </a:xfrm>
        </p:spPr>
        <p:txBody>
          <a:bodyPr>
            <a:sp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200" baseline="0"/>
            </a:lvl1pPr>
            <a:lvl2pPr marL="112713" indent="-112713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defRPr sz="1200"/>
            </a:lvl2pPr>
            <a:lvl3pPr marL="225425" indent="-112713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defRPr sz="1200"/>
            </a:lvl3pPr>
            <a:lvl4pPr marL="339725" indent="-114300">
              <a:lnSpc>
                <a:spcPct val="110000"/>
              </a:lnSpc>
              <a:spcBef>
                <a:spcPts val="0"/>
              </a:spcBef>
              <a:defRPr sz="1200"/>
            </a:lvl4pPr>
            <a:lvl5pPr marL="460375" indent="-120650">
              <a:lnSpc>
                <a:spcPct val="110000"/>
              </a:lnSpc>
              <a:spcBef>
                <a:spcPts val="0"/>
              </a:spcBef>
              <a:defRPr sz="1200"/>
            </a:lvl5pPr>
          </a:lstStyle>
          <a:p>
            <a:pPr lvl="0"/>
            <a:r>
              <a:rPr lang="en-US"/>
              <a:t>Insert title &amp; email addres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28" hasCustomPrompt="1"/>
          </p:nvPr>
        </p:nvSpPr>
        <p:spPr>
          <a:xfrm>
            <a:off x="381002" y="4077353"/>
            <a:ext cx="8788398" cy="743793"/>
          </a:xfrm>
        </p:spPr>
        <p:txBody>
          <a:bodyPr>
            <a:spAutoFit/>
          </a:bodyPr>
          <a:lstStyle>
            <a:lvl1pPr>
              <a:defRPr sz="900"/>
            </a:lvl1pPr>
            <a:lvl2pPr marL="114300" indent="-114300">
              <a:spcBef>
                <a:spcPts val="100"/>
              </a:spcBef>
              <a:buClr>
                <a:schemeClr val="accent1"/>
              </a:buClr>
              <a:tabLst/>
              <a:defRPr sz="900"/>
            </a:lvl2pPr>
            <a:lvl3pPr marL="230188" indent="-115888">
              <a:spcBef>
                <a:spcPts val="100"/>
              </a:spcBef>
              <a:buClr>
                <a:schemeClr val="accent1"/>
              </a:buClr>
              <a:tabLst/>
              <a:defRPr sz="900"/>
            </a:lvl3pPr>
            <a:lvl4pPr marL="346075" indent="-115888">
              <a:spcBef>
                <a:spcPts val="100"/>
              </a:spcBef>
              <a:buClr>
                <a:schemeClr val="accent1"/>
              </a:buClr>
              <a:tabLst/>
              <a:defRPr sz="900"/>
            </a:lvl4pPr>
            <a:lvl5pPr marL="460375" indent="-114300">
              <a:spcBef>
                <a:spcPts val="100"/>
              </a:spcBef>
              <a:buClr>
                <a:schemeClr val="accent1"/>
              </a:buClr>
              <a:tabLst/>
              <a:defRPr sz="900"/>
            </a:lvl5pPr>
          </a:lstStyle>
          <a:p>
            <a:pPr lvl="0"/>
            <a:r>
              <a:rPr lang="en-US"/>
              <a:t>Insert Legal Copy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AC53361B-5856-4302-8CF7-6BF7C17066C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620983" y="2766129"/>
            <a:ext cx="2068454" cy="18004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13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Name</a:t>
            </a:r>
          </a:p>
        </p:txBody>
      </p:sp>
      <p:sp>
        <p:nvSpPr>
          <p:cNvPr id="31" name="Text Placeholder 20">
            <a:extLst>
              <a:ext uri="{FF2B5EF4-FFF2-40B4-BE49-F238E27FC236}">
                <a16:creationId xmlns:a16="http://schemas.microsoft.com/office/drawing/2014/main" id="{95A3F7CB-6CED-43C7-A382-F2A8F2EBD76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621064" y="3024574"/>
            <a:ext cx="2068211" cy="593689"/>
          </a:xfrm>
        </p:spPr>
        <p:txBody>
          <a:bodyPr>
            <a:sp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200" baseline="0"/>
            </a:lvl1pPr>
            <a:lvl2pPr marL="112713" indent="-112713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defRPr sz="1200"/>
            </a:lvl2pPr>
            <a:lvl3pPr marL="225425" indent="-112713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defRPr sz="1200"/>
            </a:lvl3pPr>
            <a:lvl4pPr marL="339725" indent="-114300">
              <a:lnSpc>
                <a:spcPct val="110000"/>
              </a:lnSpc>
              <a:spcBef>
                <a:spcPts val="0"/>
              </a:spcBef>
              <a:defRPr sz="1200"/>
            </a:lvl4pPr>
            <a:lvl5pPr marL="460375" indent="-120650">
              <a:lnSpc>
                <a:spcPct val="110000"/>
              </a:lnSpc>
              <a:spcBef>
                <a:spcPts val="0"/>
              </a:spcBef>
              <a:defRPr sz="1200"/>
            </a:lvl5pPr>
          </a:lstStyle>
          <a:p>
            <a:pPr lvl="0"/>
            <a:r>
              <a:rPr lang="en-US"/>
              <a:t>Insert title &amp; email addres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2" name="Text Placeholder 14">
            <a:extLst>
              <a:ext uri="{FF2B5EF4-FFF2-40B4-BE49-F238E27FC236}">
                <a16:creationId xmlns:a16="http://schemas.microsoft.com/office/drawing/2014/main" id="{A59C17CE-8E20-47E7-9745-BD8DF5D69E9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860965" y="2766129"/>
            <a:ext cx="2068454" cy="18004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13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Name</a:t>
            </a:r>
          </a:p>
        </p:txBody>
      </p:sp>
      <p:sp>
        <p:nvSpPr>
          <p:cNvPr id="33" name="Text Placeholder 20">
            <a:extLst>
              <a:ext uri="{FF2B5EF4-FFF2-40B4-BE49-F238E27FC236}">
                <a16:creationId xmlns:a16="http://schemas.microsoft.com/office/drawing/2014/main" id="{0231F24C-AA35-4993-B9E0-BBEE487530C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861127" y="3024574"/>
            <a:ext cx="2068211" cy="593689"/>
          </a:xfrm>
        </p:spPr>
        <p:txBody>
          <a:bodyPr>
            <a:sp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200" baseline="0"/>
            </a:lvl1pPr>
            <a:lvl2pPr marL="112713" indent="-112713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defRPr sz="1200"/>
            </a:lvl2pPr>
            <a:lvl3pPr marL="225425" indent="-112713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defRPr sz="1200"/>
            </a:lvl3pPr>
            <a:lvl4pPr marL="339725" indent="-114300">
              <a:lnSpc>
                <a:spcPct val="110000"/>
              </a:lnSpc>
              <a:spcBef>
                <a:spcPts val="0"/>
              </a:spcBef>
              <a:defRPr sz="1200"/>
            </a:lvl4pPr>
            <a:lvl5pPr marL="460375" indent="-120650">
              <a:lnSpc>
                <a:spcPct val="110000"/>
              </a:lnSpc>
              <a:spcBef>
                <a:spcPts val="0"/>
              </a:spcBef>
              <a:defRPr sz="1200"/>
            </a:lvl5pPr>
          </a:lstStyle>
          <a:p>
            <a:pPr lvl="0"/>
            <a:r>
              <a:rPr lang="en-US"/>
              <a:t>Insert title &amp; email addres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4" name="Text Placeholder 14">
            <a:extLst>
              <a:ext uri="{FF2B5EF4-FFF2-40B4-BE49-F238E27FC236}">
                <a16:creationId xmlns:a16="http://schemas.microsoft.com/office/drawing/2014/main" id="{4A5AC34E-3B4C-469E-B9C4-C085D8EC027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100946" y="2766129"/>
            <a:ext cx="2068454" cy="18004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13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Name</a:t>
            </a:r>
          </a:p>
        </p:txBody>
      </p:sp>
      <p:sp>
        <p:nvSpPr>
          <p:cNvPr id="35" name="Text Placeholder 20">
            <a:extLst>
              <a:ext uri="{FF2B5EF4-FFF2-40B4-BE49-F238E27FC236}">
                <a16:creationId xmlns:a16="http://schemas.microsoft.com/office/drawing/2014/main" id="{A0A6254F-A341-4409-90BD-661FAACB8D4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101189" y="3024574"/>
            <a:ext cx="2068211" cy="593689"/>
          </a:xfrm>
        </p:spPr>
        <p:txBody>
          <a:bodyPr>
            <a:sp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200" baseline="0"/>
            </a:lvl1pPr>
            <a:lvl2pPr marL="112713" indent="-112713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defRPr sz="1200"/>
            </a:lvl2pPr>
            <a:lvl3pPr marL="225425" indent="-112713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defRPr sz="1200"/>
            </a:lvl3pPr>
            <a:lvl4pPr marL="339725" indent="-114300">
              <a:lnSpc>
                <a:spcPct val="110000"/>
              </a:lnSpc>
              <a:spcBef>
                <a:spcPts val="0"/>
              </a:spcBef>
              <a:defRPr sz="1200"/>
            </a:lvl4pPr>
            <a:lvl5pPr marL="460375" indent="-120650">
              <a:lnSpc>
                <a:spcPct val="110000"/>
              </a:lnSpc>
              <a:spcBef>
                <a:spcPts val="0"/>
              </a:spcBef>
              <a:defRPr sz="1200"/>
            </a:lvl5pPr>
          </a:lstStyle>
          <a:p>
            <a:pPr lvl="0"/>
            <a:r>
              <a:rPr lang="en-US"/>
              <a:t>Insert title &amp; email addres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CA7A9E-0A15-1C0A-489F-4EB9436169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3080139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stimon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6BFDB5A-EF29-4DE8-B046-D2ED5D80D7D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66850" y="1574800"/>
            <a:ext cx="10342563" cy="3932238"/>
          </a:xfrm>
          <a:prstGeom prst="rect">
            <a:avLst/>
          </a:prstGeom>
        </p:spPr>
        <p:txBody>
          <a:bodyPr anchor="ctr" anchorCtr="0"/>
          <a:lstStyle>
            <a:lvl1pPr>
              <a:defRPr sz="3200"/>
            </a:lvl1pPr>
            <a:lvl2pPr marL="0" indent="0" algn="r">
              <a:spcBef>
                <a:spcPts val="1200"/>
              </a:spcBef>
              <a:buNone/>
              <a:defRPr sz="1800"/>
            </a:lvl2pPr>
            <a:lvl3pPr marL="174625" indent="0" algn="r">
              <a:buNone/>
              <a:defRPr sz="1600"/>
            </a:lvl3pPr>
          </a:lstStyle>
          <a:p>
            <a:pPr lvl="0"/>
            <a:r>
              <a:rPr lang="en-US"/>
              <a:t>“Quote text goes here”</a:t>
            </a:r>
          </a:p>
          <a:p>
            <a:pPr lvl="1"/>
            <a:r>
              <a:rPr lang="en-US"/>
              <a:t>Author Name goes here</a:t>
            </a:r>
          </a:p>
          <a:p>
            <a:pPr lvl="2"/>
            <a:r>
              <a:rPr lang="en-US"/>
              <a:t>Author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42216358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Quote Testimoni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6BFDB5A-EF29-4DE8-B046-D2ED5D80D7D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62050" y="1574800"/>
            <a:ext cx="4879746" cy="3932238"/>
          </a:xfrm>
          <a:prstGeom prst="rect">
            <a:avLst/>
          </a:prstGeom>
        </p:spPr>
        <p:txBody>
          <a:bodyPr anchor="ctr" anchorCtr="0"/>
          <a:lstStyle>
            <a:lvl1pPr>
              <a:defRPr sz="3200"/>
            </a:lvl1pPr>
            <a:lvl2pPr marL="0" indent="0" algn="r">
              <a:spcBef>
                <a:spcPts val="1200"/>
              </a:spcBef>
              <a:buNone/>
              <a:defRPr sz="1800"/>
            </a:lvl2pPr>
            <a:lvl3pPr marL="174625" indent="0" algn="r">
              <a:buNone/>
              <a:defRPr sz="1600"/>
            </a:lvl3pPr>
          </a:lstStyle>
          <a:p>
            <a:pPr lvl="0"/>
            <a:r>
              <a:rPr lang="en-US"/>
              <a:t>“Quote text goes here”</a:t>
            </a:r>
          </a:p>
          <a:p>
            <a:pPr lvl="1"/>
            <a:r>
              <a:rPr lang="en-US"/>
              <a:t>Author Name goes here</a:t>
            </a:r>
          </a:p>
          <a:p>
            <a:pPr lvl="2"/>
            <a:r>
              <a:rPr lang="en-US"/>
              <a:t>Author Title goes here</a:t>
            </a:r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B02B4AF2-3D2F-4674-99A2-58ABCF020A7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29668" y="1574800"/>
            <a:ext cx="4879746" cy="3932238"/>
          </a:xfrm>
          <a:prstGeom prst="rect">
            <a:avLst/>
          </a:prstGeom>
        </p:spPr>
        <p:txBody>
          <a:bodyPr anchor="ctr" anchorCtr="0"/>
          <a:lstStyle>
            <a:lvl1pPr>
              <a:defRPr sz="3200"/>
            </a:lvl1pPr>
            <a:lvl2pPr marL="0" indent="0" algn="r">
              <a:spcBef>
                <a:spcPts val="1200"/>
              </a:spcBef>
              <a:buNone/>
              <a:defRPr sz="1800"/>
            </a:lvl2pPr>
            <a:lvl3pPr marL="174625" indent="0" algn="r">
              <a:buNone/>
              <a:defRPr sz="1600"/>
            </a:lvl3pPr>
          </a:lstStyle>
          <a:p>
            <a:pPr lvl="0"/>
            <a:r>
              <a:rPr lang="en-US"/>
              <a:t>“Quote text goes here”</a:t>
            </a:r>
          </a:p>
          <a:p>
            <a:pPr lvl="1"/>
            <a:r>
              <a:rPr lang="en-US"/>
              <a:t>Author Name goes here</a:t>
            </a:r>
          </a:p>
          <a:p>
            <a:pPr lvl="2"/>
            <a:r>
              <a:rPr lang="en-US"/>
              <a:t>Author Title goes her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D6D1AC86-28F2-46B3-8E9D-1D3BF1F6A8AC}"/>
              </a:ext>
            </a:extLst>
          </p:cNvPr>
          <p:cNvCxnSpPr/>
          <p:nvPr/>
        </p:nvCxnSpPr>
        <p:spPr>
          <a:xfrm>
            <a:off x="6485732" y="1574800"/>
            <a:ext cx="0" cy="3932238"/>
          </a:xfrm>
          <a:prstGeom prst="line">
            <a:avLst/>
          </a:prstGeom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D93D9394-323B-540A-1150-D70A77299CE7}"/>
              </a:ext>
            </a:extLst>
          </p:cNvPr>
          <p:cNvCxnSpPr/>
          <p:nvPr userDrawn="1"/>
        </p:nvCxnSpPr>
        <p:spPr>
          <a:xfrm>
            <a:off x="6485732" y="1574800"/>
            <a:ext cx="0" cy="3932238"/>
          </a:xfrm>
          <a:prstGeom prst="line">
            <a:avLst/>
          </a:prstGeom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74990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47DB4F7A-04F5-492B-9F9C-9DCDBC31468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162050" y="2441753"/>
            <a:ext cx="3433467" cy="220105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lIns="182880" tIns="365760" rIns="182880" bIns="18288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0904ADFB-3D8E-464B-AEAF-259637858CA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69936" y="2441753"/>
            <a:ext cx="3431590" cy="2201057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lIns="182880" tIns="365760" rIns="182880" bIns="18288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3E25379D-0A79-4138-A194-901F857CFE3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75945" y="2441753"/>
            <a:ext cx="3433469" cy="2201057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lIns="182880" tIns="365760" rIns="182880" bIns="18288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322BD71-44FC-40C6-8A39-0EAD343C50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6672489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47DB4F7A-04F5-492B-9F9C-9DCDBC31468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162049" y="2425127"/>
            <a:ext cx="2561042" cy="2322912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lIns="182880" tIns="182880" rIns="182880" bIns="18288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0904ADFB-3D8E-464B-AEAF-259637858CA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57956" y="2425126"/>
            <a:ext cx="2559642" cy="2322913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lIns="182880" tIns="182880" rIns="182880" bIns="18288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3E25379D-0A79-4138-A194-901F857CFE3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552463" y="2425127"/>
            <a:ext cx="2561043" cy="2322912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lIns="182880" tIns="182880" rIns="182880" bIns="18288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289AA023-A46F-450A-80A8-C6F3EBE56BA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248371" y="2425127"/>
            <a:ext cx="2561043" cy="2322912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lIns="182880" tIns="182880" rIns="182880" bIns="18288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34A5E15F-5AE7-45D2-BF02-08BACD370E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6983421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5">
            <a:extLst>
              <a:ext uri="{FF2B5EF4-FFF2-40B4-BE49-F238E27FC236}">
                <a16:creationId xmlns:a16="http://schemas.microsoft.com/office/drawing/2014/main" id="{E1B3FAEE-4E78-46C7-9DB6-5C22BB3E16F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1162049" y="1168400"/>
            <a:ext cx="3362938" cy="2365224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9" name="Picture Placeholder 5">
            <a:extLst>
              <a:ext uri="{FF2B5EF4-FFF2-40B4-BE49-F238E27FC236}">
                <a16:creationId xmlns:a16="http://schemas.microsoft.com/office/drawing/2014/main" id="{539C5952-9101-40EA-8EFD-F1D60A1A9A08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4802675" y="1168400"/>
            <a:ext cx="3362938" cy="2365224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0" name="Picture Placeholder 5">
            <a:extLst>
              <a:ext uri="{FF2B5EF4-FFF2-40B4-BE49-F238E27FC236}">
                <a16:creationId xmlns:a16="http://schemas.microsoft.com/office/drawing/2014/main" id="{6493EF8F-CCE9-4B2B-A7E6-77DBCC02838A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8443300" y="1168400"/>
            <a:ext cx="3362938" cy="2365224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7" name="Picture Placeholder 5">
            <a:extLst>
              <a:ext uri="{FF2B5EF4-FFF2-40B4-BE49-F238E27FC236}">
                <a16:creationId xmlns:a16="http://schemas.microsoft.com/office/drawing/2014/main" id="{4D42B27E-18C9-491F-981A-22AFA3A63254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1162049" y="3806977"/>
            <a:ext cx="3362938" cy="2365224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8" name="Picture Placeholder 5">
            <a:extLst>
              <a:ext uri="{FF2B5EF4-FFF2-40B4-BE49-F238E27FC236}">
                <a16:creationId xmlns:a16="http://schemas.microsoft.com/office/drawing/2014/main" id="{1BCAF74B-6018-4C57-A90E-AB54A58B1470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4802675" y="3806977"/>
            <a:ext cx="3330200" cy="2365224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9" name="Picture Placeholder 5">
            <a:extLst>
              <a:ext uri="{FF2B5EF4-FFF2-40B4-BE49-F238E27FC236}">
                <a16:creationId xmlns:a16="http://schemas.microsoft.com/office/drawing/2014/main" id="{61217ED4-3DF8-4495-9467-ABDA716D4CF1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8443300" y="3806977"/>
            <a:ext cx="3362938" cy="2365224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D9FDE82-A664-4EEA-A577-C155A9E838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6064578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able Placeholder 5">
            <a:extLst>
              <a:ext uri="{FF2B5EF4-FFF2-40B4-BE49-F238E27FC236}">
                <a16:creationId xmlns:a16="http://schemas.microsoft.com/office/drawing/2014/main" id="{05CE8878-73D0-49A2-BE7D-7B98477652C3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1162050" y="1319213"/>
            <a:ext cx="10645774" cy="4852988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D06F8458-66E1-4B4A-BC40-DD2CDA42EB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7091608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US Ma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56">
            <a:extLst>
              <a:ext uri="{FF2B5EF4-FFF2-40B4-BE49-F238E27FC236}">
                <a16:creationId xmlns:a16="http://schemas.microsoft.com/office/drawing/2014/main" id="{1EC614DD-715F-4FED-8870-8126A5E30C3E}"/>
              </a:ext>
            </a:extLst>
          </p:cNvPr>
          <p:cNvGrpSpPr>
            <a:grpSpLocks/>
          </p:cNvGrpSpPr>
          <p:nvPr/>
        </p:nvGrpSpPr>
        <p:grpSpPr bwMode="auto">
          <a:xfrm>
            <a:off x="2379715" y="1231900"/>
            <a:ext cx="7785153" cy="5092700"/>
            <a:chOff x="1757363" y="1860550"/>
            <a:chExt cx="6414459" cy="3873500"/>
          </a:xfrm>
          <a:solidFill>
            <a:schemeClr val="bg2"/>
          </a:solidFill>
        </p:grpSpPr>
        <p:sp>
          <p:nvSpPr>
            <p:cNvPr id="6" name="Freeform 4">
              <a:extLst>
                <a:ext uri="{FF2B5EF4-FFF2-40B4-BE49-F238E27FC236}">
                  <a16:creationId xmlns:a16="http://schemas.microsoft.com/office/drawing/2014/main" id="{4D3AFE62-E176-4623-A52A-BE82F84C5C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697186" y="1860550"/>
              <a:ext cx="474636" cy="717550"/>
            </a:xfrm>
            <a:custGeom>
              <a:avLst/>
              <a:gdLst>
                <a:gd name="T0" fmla="*/ 74 w 230"/>
                <a:gd name="T1" fmla="*/ 12 h 377"/>
                <a:gd name="T2" fmla="*/ 28 w 230"/>
                <a:gd name="T3" fmla="*/ 81 h 377"/>
                <a:gd name="T4" fmla="*/ 49 w 230"/>
                <a:gd name="T5" fmla="*/ 107 h 377"/>
                <a:gd name="T6" fmla="*/ 28 w 230"/>
                <a:gd name="T7" fmla="*/ 139 h 377"/>
                <a:gd name="T8" fmla="*/ 41 w 230"/>
                <a:gd name="T9" fmla="*/ 149 h 377"/>
                <a:gd name="T10" fmla="*/ 31 w 230"/>
                <a:gd name="T11" fmla="*/ 171 h 377"/>
                <a:gd name="T12" fmla="*/ 31 w 230"/>
                <a:gd name="T13" fmla="*/ 206 h 377"/>
                <a:gd name="T14" fmla="*/ 0 w 230"/>
                <a:gd name="T15" fmla="*/ 219 h 377"/>
                <a:gd name="T16" fmla="*/ 13 w 230"/>
                <a:gd name="T17" fmla="*/ 229 h 377"/>
                <a:gd name="T18" fmla="*/ 79 w 230"/>
                <a:gd name="T19" fmla="*/ 361 h 377"/>
                <a:gd name="T20" fmla="*/ 131 w 230"/>
                <a:gd name="T21" fmla="*/ 377 h 377"/>
                <a:gd name="T22" fmla="*/ 128 w 230"/>
                <a:gd name="T23" fmla="*/ 350 h 377"/>
                <a:gd name="T24" fmla="*/ 154 w 230"/>
                <a:gd name="T25" fmla="*/ 329 h 377"/>
                <a:gd name="T26" fmla="*/ 144 w 230"/>
                <a:gd name="T27" fmla="*/ 307 h 377"/>
                <a:gd name="T28" fmla="*/ 210 w 230"/>
                <a:gd name="T29" fmla="*/ 280 h 377"/>
                <a:gd name="T30" fmla="*/ 212 w 230"/>
                <a:gd name="T31" fmla="*/ 243 h 377"/>
                <a:gd name="T32" fmla="*/ 250 w 230"/>
                <a:gd name="T33" fmla="*/ 241 h 377"/>
                <a:gd name="T34" fmla="*/ 280 w 230"/>
                <a:gd name="T35" fmla="*/ 213 h 377"/>
                <a:gd name="T36" fmla="*/ 316 w 230"/>
                <a:gd name="T37" fmla="*/ 194 h 377"/>
                <a:gd name="T38" fmla="*/ 316 w 230"/>
                <a:gd name="T39" fmla="*/ 171 h 377"/>
                <a:gd name="T40" fmla="*/ 266 w 230"/>
                <a:gd name="T41" fmla="*/ 163 h 377"/>
                <a:gd name="T42" fmla="*/ 257 w 230"/>
                <a:gd name="T43" fmla="*/ 138 h 377"/>
                <a:gd name="T44" fmla="*/ 207 w 230"/>
                <a:gd name="T45" fmla="*/ 134 h 377"/>
                <a:gd name="T46" fmla="*/ 168 w 230"/>
                <a:gd name="T47" fmla="*/ 22 h 377"/>
                <a:gd name="T48" fmla="*/ 148 w 230"/>
                <a:gd name="T49" fmla="*/ 0 h 377"/>
                <a:gd name="T50" fmla="*/ 99 w 230"/>
                <a:gd name="T51" fmla="*/ 9 h 377"/>
                <a:gd name="T52" fmla="*/ 90 w 230"/>
                <a:gd name="T53" fmla="*/ 20 h 377"/>
                <a:gd name="T54" fmla="*/ 74 w 230"/>
                <a:gd name="T55" fmla="*/ 12 h 377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230"/>
                <a:gd name="T85" fmla="*/ 0 h 377"/>
                <a:gd name="T86" fmla="*/ 230 w 230"/>
                <a:gd name="T87" fmla="*/ 377 h 377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230" h="377">
                  <a:moveTo>
                    <a:pt x="54" y="12"/>
                  </a:moveTo>
                  <a:lnTo>
                    <a:pt x="20" y="81"/>
                  </a:lnTo>
                  <a:lnTo>
                    <a:pt x="36" y="107"/>
                  </a:lnTo>
                  <a:lnTo>
                    <a:pt x="20" y="139"/>
                  </a:lnTo>
                  <a:lnTo>
                    <a:pt x="30" y="149"/>
                  </a:lnTo>
                  <a:lnTo>
                    <a:pt x="23" y="171"/>
                  </a:lnTo>
                  <a:lnTo>
                    <a:pt x="23" y="206"/>
                  </a:lnTo>
                  <a:lnTo>
                    <a:pt x="0" y="219"/>
                  </a:lnTo>
                  <a:lnTo>
                    <a:pt x="9" y="229"/>
                  </a:lnTo>
                  <a:lnTo>
                    <a:pt x="57" y="361"/>
                  </a:lnTo>
                  <a:lnTo>
                    <a:pt x="95" y="377"/>
                  </a:lnTo>
                  <a:lnTo>
                    <a:pt x="93" y="350"/>
                  </a:lnTo>
                  <a:lnTo>
                    <a:pt x="112" y="329"/>
                  </a:lnTo>
                  <a:lnTo>
                    <a:pt x="105" y="307"/>
                  </a:lnTo>
                  <a:lnTo>
                    <a:pt x="152" y="280"/>
                  </a:lnTo>
                  <a:lnTo>
                    <a:pt x="154" y="243"/>
                  </a:lnTo>
                  <a:lnTo>
                    <a:pt x="182" y="241"/>
                  </a:lnTo>
                  <a:lnTo>
                    <a:pt x="204" y="213"/>
                  </a:lnTo>
                  <a:lnTo>
                    <a:pt x="230" y="194"/>
                  </a:lnTo>
                  <a:lnTo>
                    <a:pt x="230" y="171"/>
                  </a:lnTo>
                  <a:lnTo>
                    <a:pt x="194" y="163"/>
                  </a:lnTo>
                  <a:lnTo>
                    <a:pt x="187" y="138"/>
                  </a:lnTo>
                  <a:lnTo>
                    <a:pt x="151" y="134"/>
                  </a:lnTo>
                  <a:lnTo>
                    <a:pt x="122" y="22"/>
                  </a:lnTo>
                  <a:lnTo>
                    <a:pt x="108" y="0"/>
                  </a:lnTo>
                  <a:lnTo>
                    <a:pt x="72" y="9"/>
                  </a:lnTo>
                  <a:lnTo>
                    <a:pt x="66" y="20"/>
                  </a:lnTo>
                  <a:lnTo>
                    <a:pt x="54" y="12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56D09F3E-B20F-432D-B2BA-3EB96BD63BEF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8691" y="4062413"/>
              <a:ext cx="607053" cy="561975"/>
            </a:xfrm>
            <a:custGeom>
              <a:avLst/>
              <a:gdLst>
                <a:gd name="T0" fmla="*/ 0 w 294"/>
                <a:gd name="T1" fmla="*/ 27 h 295"/>
                <a:gd name="T2" fmla="*/ 162 w 294"/>
                <a:gd name="T3" fmla="*/ 12 h 295"/>
                <a:gd name="T4" fmla="*/ 359 w 294"/>
                <a:gd name="T5" fmla="*/ 0 h 295"/>
                <a:gd name="T6" fmla="*/ 348 w 294"/>
                <a:gd name="T7" fmla="*/ 39 h 295"/>
                <a:gd name="T8" fmla="*/ 392 w 294"/>
                <a:gd name="T9" fmla="*/ 30 h 295"/>
                <a:gd name="T10" fmla="*/ 407 w 294"/>
                <a:gd name="T11" fmla="*/ 56 h 295"/>
                <a:gd name="T12" fmla="*/ 362 w 294"/>
                <a:gd name="T13" fmla="*/ 80 h 295"/>
                <a:gd name="T14" fmla="*/ 373 w 294"/>
                <a:gd name="T15" fmla="*/ 121 h 295"/>
                <a:gd name="T16" fmla="*/ 327 w 294"/>
                <a:gd name="T17" fmla="*/ 189 h 295"/>
                <a:gd name="T18" fmla="*/ 291 w 294"/>
                <a:gd name="T19" fmla="*/ 231 h 295"/>
                <a:gd name="T20" fmla="*/ 310 w 294"/>
                <a:gd name="T21" fmla="*/ 285 h 295"/>
                <a:gd name="T22" fmla="*/ 60 w 294"/>
                <a:gd name="T23" fmla="*/ 295 h 295"/>
                <a:gd name="T24" fmla="*/ 59 w 294"/>
                <a:gd name="T25" fmla="*/ 262 h 295"/>
                <a:gd name="T26" fmla="*/ 10 w 294"/>
                <a:gd name="T27" fmla="*/ 255 h 295"/>
                <a:gd name="T28" fmla="*/ 10 w 294"/>
                <a:gd name="T29" fmla="*/ 80 h 295"/>
                <a:gd name="T30" fmla="*/ 0 w 294"/>
                <a:gd name="T31" fmla="*/ 27 h 29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94"/>
                <a:gd name="T49" fmla="*/ 0 h 295"/>
                <a:gd name="T50" fmla="*/ 294 w 294"/>
                <a:gd name="T51" fmla="*/ 295 h 295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94" h="295">
                  <a:moveTo>
                    <a:pt x="0" y="27"/>
                  </a:moveTo>
                  <a:lnTo>
                    <a:pt x="116" y="12"/>
                  </a:lnTo>
                  <a:lnTo>
                    <a:pt x="259" y="0"/>
                  </a:lnTo>
                  <a:lnTo>
                    <a:pt x="252" y="39"/>
                  </a:lnTo>
                  <a:lnTo>
                    <a:pt x="283" y="30"/>
                  </a:lnTo>
                  <a:lnTo>
                    <a:pt x="294" y="56"/>
                  </a:lnTo>
                  <a:lnTo>
                    <a:pt x="262" y="80"/>
                  </a:lnTo>
                  <a:lnTo>
                    <a:pt x="269" y="121"/>
                  </a:lnTo>
                  <a:lnTo>
                    <a:pt x="235" y="189"/>
                  </a:lnTo>
                  <a:lnTo>
                    <a:pt x="210" y="231"/>
                  </a:lnTo>
                  <a:lnTo>
                    <a:pt x="224" y="285"/>
                  </a:lnTo>
                  <a:lnTo>
                    <a:pt x="43" y="295"/>
                  </a:lnTo>
                  <a:lnTo>
                    <a:pt x="42" y="262"/>
                  </a:lnTo>
                  <a:lnTo>
                    <a:pt x="6" y="255"/>
                  </a:lnTo>
                  <a:lnTo>
                    <a:pt x="6" y="80"/>
                  </a:lnTo>
                  <a:lnTo>
                    <a:pt x="0" y="27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F7B9766-CACB-4A5A-88EB-7FDF048205A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54963" y="4603750"/>
              <a:ext cx="741189" cy="588963"/>
            </a:xfrm>
            <a:custGeom>
              <a:avLst/>
              <a:gdLst>
                <a:gd name="T0" fmla="*/ 0 w 359"/>
                <a:gd name="T1" fmla="*/ 7 h 309"/>
                <a:gd name="T2" fmla="*/ 247 w 359"/>
                <a:gd name="T3" fmla="*/ 0 h 309"/>
                <a:gd name="T4" fmla="*/ 291 w 359"/>
                <a:gd name="T5" fmla="*/ 64 h 309"/>
                <a:gd name="T6" fmla="*/ 254 w 359"/>
                <a:gd name="T7" fmla="*/ 139 h 309"/>
                <a:gd name="T8" fmla="*/ 242 w 359"/>
                <a:gd name="T9" fmla="*/ 173 h 309"/>
                <a:gd name="T10" fmla="*/ 407 w 359"/>
                <a:gd name="T11" fmla="*/ 159 h 309"/>
                <a:gd name="T12" fmla="*/ 417 w 359"/>
                <a:gd name="T13" fmla="*/ 208 h 309"/>
                <a:gd name="T14" fmla="*/ 367 w 359"/>
                <a:gd name="T15" fmla="*/ 204 h 309"/>
                <a:gd name="T16" fmla="*/ 346 w 359"/>
                <a:gd name="T17" fmla="*/ 225 h 309"/>
                <a:gd name="T18" fmla="*/ 369 w 359"/>
                <a:gd name="T19" fmla="*/ 239 h 309"/>
                <a:gd name="T20" fmla="*/ 416 w 359"/>
                <a:gd name="T21" fmla="*/ 222 h 309"/>
                <a:gd name="T22" fmla="*/ 417 w 359"/>
                <a:gd name="T23" fmla="*/ 246 h 309"/>
                <a:gd name="T24" fmla="*/ 444 w 359"/>
                <a:gd name="T25" fmla="*/ 226 h 309"/>
                <a:gd name="T26" fmla="*/ 463 w 359"/>
                <a:gd name="T27" fmla="*/ 226 h 309"/>
                <a:gd name="T28" fmla="*/ 441 w 359"/>
                <a:gd name="T29" fmla="*/ 267 h 309"/>
                <a:gd name="T30" fmla="*/ 482 w 359"/>
                <a:gd name="T31" fmla="*/ 274 h 309"/>
                <a:gd name="T32" fmla="*/ 495 w 359"/>
                <a:gd name="T33" fmla="*/ 297 h 309"/>
                <a:gd name="T34" fmla="*/ 476 w 359"/>
                <a:gd name="T35" fmla="*/ 304 h 309"/>
                <a:gd name="T36" fmla="*/ 451 w 359"/>
                <a:gd name="T37" fmla="*/ 289 h 309"/>
                <a:gd name="T38" fmla="*/ 402 w 359"/>
                <a:gd name="T39" fmla="*/ 279 h 309"/>
                <a:gd name="T40" fmla="*/ 412 w 359"/>
                <a:gd name="T41" fmla="*/ 306 h 309"/>
                <a:gd name="T42" fmla="*/ 390 w 359"/>
                <a:gd name="T43" fmla="*/ 309 h 309"/>
                <a:gd name="T44" fmla="*/ 368 w 359"/>
                <a:gd name="T45" fmla="*/ 285 h 309"/>
                <a:gd name="T46" fmla="*/ 356 w 359"/>
                <a:gd name="T47" fmla="*/ 300 h 309"/>
                <a:gd name="T48" fmla="*/ 284 w 359"/>
                <a:gd name="T49" fmla="*/ 300 h 309"/>
                <a:gd name="T50" fmla="*/ 284 w 359"/>
                <a:gd name="T51" fmla="*/ 285 h 309"/>
                <a:gd name="T52" fmla="*/ 258 w 359"/>
                <a:gd name="T53" fmla="*/ 267 h 309"/>
                <a:gd name="T54" fmla="*/ 202 w 359"/>
                <a:gd name="T55" fmla="*/ 265 h 309"/>
                <a:gd name="T56" fmla="*/ 248 w 359"/>
                <a:gd name="T57" fmla="*/ 285 h 309"/>
                <a:gd name="T58" fmla="*/ 184 w 359"/>
                <a:gd name="T59" fmla="*/ 295 h 309"/>
                <a:gd name="T60" fmla="*/ 86 w 359"/>
                <a:gd name="T61" fmla="*/ 281 h 309"/>
                <a:gd name="T62" fmla="*/ 48 w 359"/>
                <a:gd name="T63" fmla="*/ 285 h 309"/>
                <a:gd name="T64" fmla="*/ 62 w 359"/>
                <a:gd name="T65" fmla="*/ 181 h 309"/>
                <a:gd name="T66" fmla="*/ 1 w 359"/>
                <a:gd name="T67" fmla="*/ 99 h 309"/>
                <a:gd name="T68" fmla="*/ 0 w 359"/>
                <a:gd name="T69" fmla="*/ 7 h 309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59"/>
                <a:gd name="T106" fmla="*/ 0 h 309"/>
                <a:gd name="T107" fmla="*/ 359 w 359"/>
                <a:gd name="T108" fmla="*/ 309 h 309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59" h="309">
                  <a:moveTo>
                    <a:pt x="0" y="7"/>
                  </a:moveTo>
                  <a:lnTo>
                    <a:pt x="179" y="0"/>
                  </a:lnTo>
                  <a:lnTo>
                    <a:pt x="211" y="64"/>
                  </a:lnTo>
                  <a:lnTo>
                    <a:pt x="184" y="139"/>
                  </a:lnTo>
                  <a:lnTo>
                    <a:pt x="175" y="173"/>
                  </a:lnTo>
                  <a:lnTo>
                    <a:pt x="295" y="159"/>
                  </a:lnTo>
                  <a:lnTo>
                    <a:pt x="303" y="208"/>
                  </a:lnTo>
                  <a:lnTo>
                    <a:pt x="267" y="204"/>
                  </a:lnTo>
                  <a:lnTo>
                    <a:pt x="250" y="225"/>
                  </a:lnTo>
                  <a:lnTo>
                    <a:pt x="269" y="239"/>
                  </a:lnTo>
                  <a:lnTo>
                    <a:pt x="302" y="222"/>
                  </a:lnTo>
                  <a:lnTo>
                    <a:pt x="303" y="246"/>
                  </a:lnTo>
                  <a:lnTo>
                    <a:pt x="322" y="226"/>
                  </a:lnTo>
                  <a:lnTo>
                    <a:pt x="336" y="226"/>
                  </a:lnTo>
                  <a:lnTo>
                    <a:pt x="320" y="267"/>
                  </a:lnTo>
                  <a:lnTo>
                    <a:pt x="350" y="274"/>
                  </a:lnTo>
                  <a:lnTo>
                    <a:pt x="359" y="297"/>
                  </a:lnTo>
                  <a:lnTo>
                    <a:pt x="345" y="304"/>
                  </a:lnTo>
                  <a:lnTo>
                    <a:pt x="327" y="289"/>
                  </a:lnTo>
                  <a:lnTo>
                    <a:pt x="292" y="279"/>
                  </a:lnTo>
                  <a:lnTo>
                    <a:pt x="299" y="306"/>
                  </a:lnTo>
                  <a:lnTo>
                    <a:pt x="282" y="309"/>
                  </a:lnTo>
                  <a:lnTo>
                    <a:pt x="268" y="285"/>
                  </a:lnTo>
                  <a:lnTo>
                    <a:pt x="259" y="300"/>
                  </a:lnTo>
                  <a:lnTo>
                    <a:pt x="206" y="300"/>
                  </a:lnTo>
                  <a:lnTo>
                    <a:pt x="206" y="285"/>
                  </a:lnTo>
                  <a:lnTo>
                    <a:pt x="187" y="267"/>
                  </a:lnTo>
                  <a:lnTo>
                    <a:pt x="147" y="265"/>
                  </a:lnTo>
                  <a:lnTo>
                    <a:pt x="180" y="285"/>
                  </a:lnTo>
                  <a:lnTo>
                    <a:pt x="134" y="295"/>
                  </a:lnTo>
                  <a:lnTo>
                    <a:pt x="62" y="281"/>
                  </a:lnTo>
                  <a:lnTo>
                    <a:pt x="35" y="285"/>
                  </a:lnTo>
                  <a:lnTo>
                    <a:pt x="45" y="181"/>
                  </a:lnTo>
                  <a:lnTo>
                    <a:pt x="1" y="99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AC3BEAE1-90DA-4F18-921F-21C047EBCCF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0151" y="2117725"/>
              <a:ext cx="825453" cy="923925"/>
            </a:xfrm>
            <a:custGeom>
              <a:avLst/>
              <a:gdLst>
                <a:gd name="T0" fmla="*/ 0 w 400"/>
                <a:gd name="T1" fmla="*/ 38 h 485"/>
                <a:gd name="T2" fmla="*/ 144 w 400"/>
                <a:gd name="T3" fmla="*/ 38 h 485"/>
                <a:gd name="T4" fmla="*/ 143 w 400"/>
                <a:gd name="T5" fmla="*/ 0 h 485"/>
                <a:gd name="T6" fmla="*/ 172 w 400"/>
                <a:gd name="T7" fmla="*/ 11 h 485"/>
                <a:gd name="T8" fmla="*/ 181 w 400"/>
                <a:gd name="T9" fmla="*/ 40 h 485"/>
                <a:gd name="T10" fmla="*/ 248 w 400"/>
                <a:gd name="T11" fmla="*/ 72 h 485"/>
                <a:gd name="T12" fmla="*/ 268 w 400"/>
                <a:gd name="T13" fmla="*/ 58 h 485"/>
                <a:gd name="T14" fmla="*/ 311 w 400"/>
                <a:gd name="T15" fmla="*/ 58 h 485"/>
                <a:gd name="T16" fmla="*/ 342 w 400"/>
                <a:gd name="T17" fmla="*/ 86 h 485"/>
                <a:gd name="T18" fmla="*/ 364 w 400"/>
                <a:gd name="T19" fmla="*/ 76 h 485"/>
                <a:gd name="T20" fmla="*/ 422 w 400"/>
                <a:gd name="T21" fmla="*/ 87 h 485"/>
                <a:gd name="T22" fmla="*/ 444 w 400"/>
                <a:gd name="T23" fmla="*/ 66 h 485"/>
                <a:gd name="T24" fmla="*/ 482 w 400"/>
                <a:gd name="T25" fmla="*/ 83 h 485"/>
                <a:gd name="T26" fmla="*/ 550 w 400"/>
                <a:gd name="T27" fmla="*/ 80 h 485"/>
                <a:gd name="T28" fmla="*/ 439 w 400"/>
                <a:gd name="T29" fmla="*/ 140 h 485"/>
                <a:gd name="T30" fmla="*/ 385 w 400"/>
                <a:gd name="T31" fmla="*/ 193 h 485"/>
                <a:gd name="T32" fmla="*/ 396 w 400"/>
                <a:gd name="T33" fmla="*/ 269 h 485"/>
                <a:gd name="T34" fmla="*/ 358 w 400"/>
                <a:gd name="T35" fmla="*/ 301 h 485"/>
                <a:gd name="T36" fmla="*/ 372 w 400"/>
                <a:gd name="T37" fmla="*/ 324 h 485"/>
                <a:gd name="T38" fmla="*/ 372 w 400"/>
                <a:gd name="T39" fmla="*/ 380 h 485"/>
                <a:gd name="T40" fmla="*/ 411 w 400"/>
                <a:gd name="T41" fmla="*/ 380 h 485"/>
                <a:gd name="T42" fmla="*/ 467 w 400"/>
                <a:gd name="T43" fmla="*/ 421 h 485"/>
                <a:gd name="T44" fmla="*/ 488 w 400"/>
                <a:gd name="T45" fmla="*/ 471 h 485"/>
                <a:gd name="T46" fmla="*/ 101 w 400"/>
                <a:gd name="T47" fmla="*/ 485 h 485"/>
                <a:gd name="T48" fmla="*/ 102 w 400"/>
                <a:gd name="T49" fmla="*/ 351 h 485"/>
                <a:gd name="T50" fmla="*/ 67 w 400"/>
                <a:gd name="T51" fmla="*/ 321 h 485"/>
                <a:gd name="T52" fmla="*/ 80 w 400"/>
                <a:gd name="T53" fmla="*/ 286 h 485"/>
                <a:gd name="T54" fmla="*/ 90 w 400"/>
                <a:gd name="T55" fmla="*/ 266 h 485"/>
                <a:gd name="T56" fmla="*/ 67 w 400"/>
                <a:gd name="T57" fmla="*/ 173 h 485"/>
                <a:gd name="T58" fmla="*/ 34 w 400"/>
                <a:gd name="T59" fmla="*/ 112 h 485"/>
                <a:gd name="T60" fmla="*/ 0 w 400"/>
                <a:gd name="T61" fmla="*/ 38 h 485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400"/>
                <a:gd name="T94" fmla="*/ 0 h 485"/>
                <a:gd name="T95" fmla="*/ 400 w 400"/>
                <a:gd name="T96" fmla="*/ 485 h 485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400" h="485">
                  <a:moveTo>
                    <a:pt x="0" y="38"/>
                  </a:moveTo>
                  <a:lnTo>
                    <a:pt x="105" y="38"/>
                  </a:lnTo>
                  <a:lnTo>
                    <a:pt x="104" y="0"/>
                  </a:lnTo>
                  <a:lnTo>
                    <a:pt x="126" y="11"/>
                  </a:lnTo>
                  <a:lnTo>
                    <a:pt x="131" y="40"/>
                  </a:lnTo>
                  <a:lnTo>
                    <a:pt x="181" y="72"/>
                  </a:lnTo>
                  <a:lnTo>
                    <a:pt x="196" y="58"/>
                  </a:lnTo>
                  <a:lnTo>
                    <a:pt x="226" y="58"/>
                  </a:lnTo>
                  <a:lnTo>
                    <a:pt x="249" y="86"/>
                  </a:lnTo>
                  <a:lnTo>
                    <a:pt x="264" y="76"/>
                  </a:lnTo>
                  <a:lnTo>
                    <a:pt x="308" y="87"/>
                  </a:lnTo>
                  <a:lnTo>
                    <a:pt x="323" y="66"/>
                  </a:lnTo>
                  <a:lnTo>
                    <a:pt x="351" y="83"/>
                  </a:lnTo>
                  <a:lnTo>
                    <a:pt x="400" y="80"/>
                  </a:lnTo>
                  <a:lnTo>
                    <a:pt x="320" y="140"/>
                  </a:lnTo>
                  <a:lnTo>
                    <a:pt x="281" y="193"/>
                  </a:lnTo>
                  <a:lnTo>
                    <a:pt x="288" y="269"/>
                  </a:lnTo>
                  <a:lnTo>
                    <a:pt x="261" y="301"/>
                  </a:lnTo>
                  <a:lnTo>
                    <a:pt x="272" y="324"/>
                  </a:lnTo>
                  <a:lnTo>
                    <a:pt x="272" y="380"/>
                  </a:lnTo>
                  <a:lnTo>
                    <a:pt x="299" y="380"/>
                  </a:lnTo>
                  <a:lnTo>
                    <a:pt x="340" y="421"/>
                  </a:lnTo>
                  <a:lnTo>
                    <a:pt x="356" y="471"/>
                  </a:lnTo>
                  <a:lnTo>
                    <a:pt x="73" y="485"/>
                  </a:lnTo>
                  <a:lnTo>
                    <a:pt x="74" y="351"/>
                  </a:lnTo>
                  <a:lnTo>
                    <a:pt x="49" y="321"/>
                  </a:lnTo>
                  <a:lnTo>
                    <a:pt x="58" y="286"/>
                  </a:lnTo>
                  <a:lnTo>
                    <a:pt x="66" y="266"/>
                  </a:lnTo>
                  <a:lnTo>
                    <a:pt x="49" y="173"/>
                  </a:lnTo>
                  <a:lnTo>
                    <a:pt x="25" y="112"/>
                  </a:lnTo>
                  <a:lnTo>
                    <a:pt x="0" y="3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9EB14C47-F99E-47A3-96B4-6BCCB6C596C4}"/>
                </a:ext>
              </a:extLst>
            </p:cNvPr>
            <p:cNvSpPr>
              <a:spLocks/>
            </p:cNvSpPr>
            <p:nvPr/>
          </p:nvSpPr>
          <p:spPr bwMode="auto">
            <a:xfrm>
              <a:off x="5380937" y="2435225"/>
              <a:ext cx="627688" cy="728663"/>
            </a:xfrm>
            <a:custGeom>
              <a:avLst/>
              <a:gdLst>
                <a:gd name="T0" fmla="*/ 30 w 304"/>
                <a:gd name="T1" fmla="*/ 26 h 382"/>
                <a:gd name="T2" fmla="*/ 62 w 304"/>
                <a:gd name="T3" fmla="*/ 23 h 382"/>
                <a:gd name="T4" fmla="*/ 89 w 304"/>
                <a:gd name="T5" fmla="*/ 23 h 382"/>
                <a:gd name="T6" fmla="*/ 108 w 304"/>
                <a:gd name="T7" fmla="*/ 0 h 382"/>
                <a:gd name="T8" fmla="*/ 120 w 304"/>
                <a:gd name="T9" fmla="*/ 28 h 382"/>
                <a:gd name="T10" fmla="*/ 167 w 304"/>
                <a:gd name="T11" fmla="*/ 28 h 382"/>
                <a:gd name="T12" fmla="*/ 189 w 304"/>
                <a:gd name="T13" fmla="*/ 54 h 382"/>
                <a:gd name="T14" fmla="*/ 237 w 304"/>
                <a:gd name="T15" fmla="*/ 47 h 382"/>
                <a:gd name="T16" fmla="*/ 268 w 304"/>
                <a:gd name="T17" fmla="*/ 64 h 382"/>
                <a:gd name="T18" fmla="*/ 327 w 304"/>
                <a:gd name="T19" fmla="*/ 75 h 382"/>
                <a:gd name="T20" fmla="*/ 338 w 304"/>
                <a:gd name="T21" fmla="*/ 95 h 382"/>
                <a:gd name="T22" fmla="*/ 368 w 304"/>
                <a:gd name="T23" fmla="*/ 97 h 382"/>
                <a:gd name="T24" fmla="*/ 357 w 304"/>
                <a:gd name="T25" fmla="*/ 117 h 382"/>
                <a:gd name="T26" fmla="*/ 369 w 304"/>
                <a:gd name="T27" fmla="*/ 139 h 382"/>
                <a:gd name="T28" fmla="*/ 351 w 304"/>
                <a:gd name="T29" fmla="*/ 167 h 382"/>
                <a:gd name="T30" fmla="*/ 365 w 304"/>
                <a:gd name="T31" fmla="*/ 173 h 382"/>
                <a:gd name="T32" fmla="*/ 397 w 304"/>
                <a:gd name="T33" fmla="*/ 142 h 382"/>
                <a:gd name="T34" fmla="*/ 396 w 304"/>
                <a:gd name="T35" fmla="*/ 132 h 382"/>
                <a:gd name="T36" fmla="*/ 407 w 304"/>
                <a:gd name="T37" fmla="*/ 127 h 382"/>
                <a:gd name="T38" fmla="*/ 417 w 304"/>
                <a:gd name="T39" fmla="*/ 142 h 382"/>
                <a:gd name="T40" fmla="*/ 390 w 304"/>
                <a:gd name="T41" fmla="*/ 164 h 382"/>
                <a:gd name="T42" fmla="*/ 382 w 304"/>
                <a:gd name="T43" fmla="*/ 212 h 382"/>
                <a:gd name="T44" fmla="*/ 382 w 304"/>
                <a:gd name="T45" fmla="*/ 293 h 382"/>
                <a:gd name="T46" fmla="*/ 397 w 304"/>
                <a:gd name="T47" fmla="*/ 307 h 382"/>
                <a:gd name="T48" fmla="*/ 389 w 304"/>
                <a:gd name="T49" fmla="*/ 358 h 382"/>
                <a:gd name="T50" fmla="*/ 194 w 304"/>
                <a:gd name="T51" fmla="*/ 382 h 382"/>
                <a:gd name="T52" fmla="*/ 143 w 304"/>
                <a:gd name="T53" fmla="*/ 359 h 382"/>
                <a:gd name="T54" fmla="*/ 153 w 304"/>
                <a:gd name="T55" fmla="*/ 328 h 382"/>
                <a:gd name="T56" fmla="*/ 129 w 304"/>
                <a:gd name="T57" fmla="*/ 295 h 382"/>
                <a:gd name="T58" fmla="*/ 108 w 304"/>
                <a:gd name="T59" fmla="*/ 254 h 382"/>
                <a:gd name="T60" fmla="*/ 52 w 304"/>
                <a:gd name="T61" fmla="*/ 213 h 382"/>
                <a:gd name="T62" fmla="*/ 17 w 304"/>
                <a:gd name="T63" fmla="*/ 213 h 382"/>
                <a:gd name="T64" fmla="*/ 17 w 304"/>
                <a:gd name="T65" fmla="*/ 157 h 382"/>
                <a:gd name="T66" fmla="*/ 0 w 304"/>
                <a:gd name="T67" fmla="*/ 135 h 382"/>
                <a:gd name="T68" fmla="*/ 38 w 304"/>
                <a:gd name="T69" fmla="*/ 102 h 382"/>
                <a:gd name="T70" fmla="*/ 30 w 304"/>
                <a:gd name="T71" fmla="*/ 26 h 38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04"/>
                <a:gd name="T109" fmla="*/ 0 h 382"/>
                <a:gd name="T110" fmla="*/ 304 w 304"/>
                <a:gd name="T111" fmla="*/ 382 h 38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04" h="382">
                  <a:moveTo>
                    <a:pt x="22" y="26"/>
                  </a:moveTo>
                  <a:lnTo>
                    <a:pt x="45" y="23"/>
                  </a:lnTo>
                  <a:lnTo>
                    <a:pt x="65" y="23"/>
                  </a:lnTo>
                  <a:lnTo>
                    <a:pt x="79" y="0"/>
                  </a:lnTo>
                  <a:lnTo>
                    <a:pt x="88" y="28"/>
                  </a:lnTo>
                  <a:lnTo>
                    <a:pt x="121" y="28"/>
                  </a:lnTo>
                  <a:lnTo>
                    <a:pt x="139" y="54"/>
                  </a:lnTo>
                  <a:lnTo>
                    <a:pt x="173" y="47"/>
                  </a:lnTo>
                  <a:lnTo>
                    <a:pt x="196" y="64"/>
                  </a:lnTo>
                  <a:lnTo>
                    <a:pt x="238" y="75"/>
                  </a:lnTo>
                  <a:lnTo>
                    <a:pt x="246" y="95"/>
                  </a:lnTo>
                  <a:lnTo>
                    <a:pt x="268" y="97"/>
                  </a:lnTo>
                  <a:lnTo>
                    <a:pt x="261" y="117"/>
                  </a:lnTo>
                  <a:lnTo>
                    <a:pt x="269" y="139"/>
                  </a:lnTo>
                  <a:lnTo>
                    <a:pt x="255" y="167"/>
                  </a:lnTo>
                  <a:lnTo>
                    <a:pt x="265" y="173"/>
                  </a:lnTo>
                  <a:lnTo>
                    <a:pt x="289" y="142"/>
                  </a:lnTo>
                  <a:lnTo>
                    <a:pt x="288" y="132"/>
                  </a:lnTo>
                  <a:lnTo>
                    <a:pt x="297" y="127"/>
                  </a:lnTo>
                  <a:lnTo>
                    <a:pt x="304" y="142"/>
                  </a:lnTo>
                  <a:lnTo>
                    <a:pt x="285" y="164"/>
                  </a:lnTo>
                  <a:lnTo>
                    <a:pt x="278" y="212"/>
                  </a:lnTo>
                  <a:lnTo>
                    <a:pt x="278" y="293"/>
                  </a:lnTo>
                  <a:lnTo>
                    <a:pt x="289" y="307"/>
                  </a:lnTo>
                  <a:lnTo>
                    <a:pt x="284" y="358"/>
                  </a:lnTo>
                  <a:lnTo>
                    <a:pt x="140" y="382"/>
                  </a:lnTo>
                  <a:lnTo>
                    <a:pt x="104" y="359"/>
                  </a:lnTo>
                  <a:lnTo>
                    <a:pt x="111" y="328"/>
                  </a:lnTo>
                  <a:lnTo>
                    <a:pt x="94" y="295"/>
                  </a:lnTo>
                  <a:lnTo>
                    <a:pt x="79" y="254"/>
                  </a:lnTo>
                  <a:lnTo>
                    <a:pt x="38" y="213"/>
                  </a:lnTo>
                  <a:lnTo>
                    <a:pt x="13" y="213"/>
                  </a:lnTo>
                  <a:lnTo>
                    <a:pt x="13" y="157"/>
                  </a:lnTo>
                  <a:lnTo>
                    <a:pt x="0" y="135"/>
                  </a:lnTo>
                  <a:lnTo>
                    <a:pt x="28" y="102"/>
                  </a:lnTo>
                  <a:lnTo>
                    <a:pt x="22" y="2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FEBA65BB-55DD-4ED4-8C9F-2A0782DC976B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7771" y="2331821"/>
              <a:ext cx="677559" cy="288925"/>
            </a:xfrm>
            <a:custGeom>
              <a:avLst/>
              <a:gdLst>
                <a:gd name="T0" fmla="*/ 0 w 327"/>
                <a:gd name="T1" fmla="*/ 84 h 152"/>
                <a:gd name="T2" fmla="*/ 101 w 327"/>
                <a:gd name="T3" fmla="*/ 0 h 152"/>
                <a:gd name="T4" fmla="*/ 84 w 327"/>
                <a:gd name="T5" fmla="*/ 34 h 152"/>
                <a:gd name="T6" fmla="*/ 98 w 327"/>
                <a:gd name="T7" fmla="*/ 45 h 152"/>
                <a:gd name="T8" fmla="*/ 129 w 327"/>
                <a:gd name="T9" fmla="*/ 31 h 152"/>
                <a:gd name="T10" fmla="*/ 198 w 327"/>
                <a:gd name="T11" fmla="*/ 52 h 152"/>
                <a:gd name="T12" fmla="*/ 229 w 327"/>
                <a:gd name="T13" fmla="*/ 34 h 152"/>
                <a:gd name="T14" fmla="*/ 325 w 327"/>
                <a:gd name="T15" fmla="*/ 25 h 152"/>
                <a:gd name="T16" fmla="*/ 342 w 327"/>
                <a:gd name="T17" fmla="*/ 46 h 152"/>
                <a:gd name="T18" fmla="*/ 377 w 327"/>
                <a:gd name="T19" fmla="*/ 41 h 152"/>
                <a:gd name="T20" fmla="*/ 451 w 327"/>
                <a:gd name="T21" fmla="*/ 64 h 152"/>
                <a:gd name="T22" fmla="*/ 454 w 327"/>
                <a:gd name="T23" fmla="*/ 80 h 152"/>
                <a:gd name="T24" fmla="*/ 376 w 327"/>
                <a:gd name="T25" fmla="*/ 94 h 152"/>
                <a:gd name="T26" fmla="*/ 355 w 327"/>
                <a:gd name="T27" fmla="*/ 84 h 152"/>
                <a:gd name="T28" fmla="*/ 315 w 327"/>
                <a:gd name="T29" fmla="*/ 87 h 152"/>
                <a:gd name="T30" fmla="*/ 270 w 327"/>
                <a:gd name="T31" fmla="*/ 108 h 152"/>
                <a:gd name="T32" fmla="*/ 248 w 327"/>
                <a:gd name="T33" fmla="*/ 109 h 152"/>
                <a:gd name="T34" fmla="*/ 230 w 327"/>
                <a:gd name="T35" fmla="*/ 94 h 152"/>
                <a:gd name="T36" fmla="*/ 206 w 327"/>
                <a:gd name="T37" fmla="*/ 151 h 152"/>
                <a:gd name="T38" fmla="*/ 177 w 327"/>
                <a:gd name="T39" fmla="*/ 152 h 152"/>
                <a:gd name="T40" fmla="*/ 164 w 327"/>
                <a:gd name="T41" fmla="*/ 129 h 152"/>
                <a:gd name="T42" fmla="*/ 102 w 327"/>
                <a:gd name="T43" fmla="*/ 119 h 152"/>
                <a:gd name="T44" fmla="*/ 75 w 327"/>
                <a:gd name="T45" fmla="*/ 102 h 152"/>
                <a:gd name="T46" fmla="*/ 26 w 327"/>
                <a:gd name="T47" fmla="*/ 108 h 152"/>
                <a:gd name="T48" fmla="*/ 0 w 327"/>
                <a:gd name="T49" fmla="*/ 84 h 15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327"/>
                <a:gd name="T76" fmla="*/ 0 h 152"/>
                <a:gd name="T77" fmla="*/ 327 w 327"/>
                <a:gd name="T78" fmla="*/ 152 h 15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327" h="152">
                  <a:moveTo>
                    <a:pt x="0" y="84"/>
                  </a:moveTo>
                  <a:lnTo>
                    <a:pt x="73" y="0"/>
                  </a:lnTo>
                  <a:lnTo>
                    <a:pt x="60" y="34"/>
                  </a:lnTo>
                  <a:lnTo>
                    <a:pt x="70" y="45"/>
                  </a:lnTo>
                  <a:lnTo>
                    <a:pt x="93" y="31"/>
                  </a:lnTo>
                  <a:lnTo>
                    <a:pt x="143" y="52"/>
                  </a:lnTo>
                  <a:lnTo>
                    <a:pt x="165" y="34"/>
                  </a:lnTo>
                  <a:lnTo>
                    <a:pt x="233" y="25"/>
                  </a:lnTo>
                  <a:lnTo>
                    <a:pt x="246" y="46"/>
                  </a:lnTo>
                  <a:lnTo>
                    <a:pt x="272" y="41"/>
                  </a:lnTo>
                  <a:lnTo>
                    <a:pt x="324" y="64"/>
                  </a:lnTo>
                  <a:lnTo>
                    <a:pt x="327" y="80"/>
                  </a:lnTo>
                  <a:lnTo>
                    <a:pt x="271" y="94"/>
                  </a:lnTo>
                  <a:lnTo>
                    <a:pt x="255" y="84"/>
                  </a:lnTo>
                  <a:lnTo>
                    <a:pt x="227" y="87"/>
                  </a:lnTo>
                  <a:lnTo>
                    <a:pt x="194" y="108"/>
                  </a:lnTo>
                  <a:lnTo>
                    <a:pt x="178" y="109"/>
                  </a:lnTo>
                  <a:lnTo>
                    <a:pt x="166" y="94"/>
                  </a:lnTo>
                  <a:lnTo>
                    <a:pt x="148" y="151"/>
                  </a:lnTo>
                  <a:lnTo>
                    <a:pt x="127" y="152"/>
                  </a:lnTo>
                  <a:lnTo>
                    <a:pt x="118" y="129"/>
                  </a:lnTo>
                  <a:lnTo>
                    <a:pt x="74" y="119"/>
                  </a:lnTo>
                  <a:lnTo>
                    <a:pt x="54" y="102"/>
                  </a:lnTo>
                  <a:lnTo>
                    <a:pt x="18" y="108"/>
                  </a:lnTo>
                  <a:lnTo>
                    <a:pt x="0" y="84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EEC6AF57-10DE-45E2-93F6-96E58BEBC118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6152" y="2536825"/>
              <a:ext cx="481514" cy="649288"/>
            </a:xfrm>
            <a:custGeom>
              <a:avLst/>
              <a:gdLst>
                <a:gd name="T0" fmla="*/ 81 w 234"/>
                <a:gd name="T1" fmla="*/ 14 h 341"/>
                <a:gd name="T2" fmla="*/ 91 w 234"/>
                <a:gd name="T3" fmla="*/ 35 h 341"/>
                <a:gd name="T4" fmla="*/ 69 w 234"/>
                <a:gd name="T5" fmla="*/ 48 h 341"/>
                <a:gd name="T6" fmla="*/ 68 w 234"/>
                <a:gd name="T7" fmla="*/ 102 h 341"/>
                <a:gd name="T8" fmla="*/ 56 w 234"/>
                <a:gd name="T9" fmla="*/ 67 h 341"/>
                <a:gd name="T10" fmla="*/ 11 w 234"/>
                <a:gd name="T11" fmla="*/ 101 h 341"/>
                <a:gd name="T12" fmla="*/ 0 w 234"/>
                <a:gd name="T13" fmla="*/ 199 h 341"/>
                <a:gd name="T14" fmla="*/ 29 w 234"/>
                <a:gd name="T15" fmla="*/ 247 h 341"/>
                <a:gd name="T16" fmla="*/ 32 w 234"/>
                <a:gd name="T17" fmla="*/ 272 h 341"/>
                <a:gd name="T18" fmla="*/ 34 w 234"/>
                <a:gd name="T19" fmla="*/ 292 h 341"/>
                <a:gd name="T20" fmla="*/ 32 w 234"/>
                <a:gd name="T21" fmla="*/ 309 h 341"/>
                <a:gd name="T22" fmla="*/ 27 w 234"/>
                <a:gd name="T23" fmla="*/ 341 h 341"/>
                <a:gd name="T24" fmla="*/ 152 w 234"/>
                <a:gd name="T25" fmla="*/ 335 h 341"/>
                <a:gd name="T26" fmla="*/ 318 w 234"/>
                <a:gd name="T27" fmla="*/ 323 h 341"/>
                <a:gd name="T28" fmla="*/ 289 w 234"/>
                <a:gd name="T29" fmla="*/ 316 h 341"/>
                <a:gd name="T30" fmla="*/ 271 w 234"/>
                <a:gd name="T31" fmla="*/ 299 h 341"/>
                <a:gd name="T32" fmla="*/ 297 w 234"/>
                <a:gd name="T33" fmla="*/ 283 h 341"/>
                <a:gd name="T34" fmla="*/ 297 w 234"/>
                <a:gd name="T35" fmla="*/ 265 h 341"/>
                <a:gd name="T36" fmla="*/ 284 w 234"/>
                <a:gd name="T37" fmla="*/ 248 h 341"/>
                <a:gd name="T38" fmla="*/ 297 w 234"/>
                <a:gd name="T39" fmla="*/ 236 h 341"/>
                <a:gd name="T40" fmla="*/ 320 w 234"/>
                <a:gd name="T41" fmla="*/ 238 h 341"/>
                <a:gd name="T42" fmla="*/ 315 w 234"/>
                <a:gd name="T43" fmla="*/ 191 h 341"/>
                <a:gd name="T44" fmla="*/ 308 w 234"/>
                <a:gd name="T45" fmla="*/ 162 h 341"/>
                <a:gd name="T46" fmla="*/ 296 w 234"/>
                <a:gd name="T47" fmla="*/ 145 h 341"/>
                <a:gd name="T48" fmla="*/ 282 w 234"/>
                <a:gd name="T49" fmla="*/ 134 h 341"/>
                <a:gd name="T50" fmla="*/ 262 w 234"/>
                <a:gd name="T51" fmla="*/ 131 h 341"/>
                <a:gd name="T52" fmla="*/ 242 w 234"/>
                <a:gd name="T53" fmla="*/ 131 h 341"/>
                <a:gd name="T54" fmla="*/ 219 w 234"/>
                <a:gd name="T55" fmla="*/ 153 h 341"/>
                <a:gd name="T56" fmla="*/ 207 w 234"/>
                <a:gd name="T57" fmla="*/ 160 h 341"/>
                <a:gd name="T58" fmla="*/ 199 w 234"/>
                <a:gd name="T59" fmla="*/ 162 h 341"/>
                <a:gd name="T60" fmla="*/ 187 w 234"/>
                <a:gd name="T61" fmla="*/ 159 h 341"/>
                <a:gd name="T62" fmla="*/ 185 w 234"/>
                <a:gd name="T63" fmla="*/ 148 h 341"/>
                <a:gd name="T64" fmla="*/ 187 w 234"/>
                <a:gd name="T65" fmla="*/ 141 h 341"/>
                <a:gd name="T66" fmla="*/ 198 w 234"/>
                <a:gd name="T67" fmla="*/ 134 h 341"/>
                <a:gd name="T68" fmla="*/ 205 w 234"/>
                <a:gd name="T69" fmla="*/ 131 h 341"/>
                <a:gd name="T70" fmla="*/ 215 w 234"/>
                <a:gd name="T71" fmla="*/ 129 h 341"/>
                <a:gd name="T72" fmla="*/ 215 w 234"/>
                <a:gd name="T73" fmla="*/ 117 h 341"/>
                <a:gd name="T74" fmla="*/ 239 w 234"/>
                <a:gd name="T75" fmla="*/ 102 h 341"/>
                <a:gd name="T76" fmla="*/ 215 w 234"/>
                <a:gd name="T77" fmla="*/ 58 h 341"/>
                <a:gd name="T78" fmla="*/ 215 w 234"/>
                <a:gd name="T79" fmla="*/ 37 h 341"/>
                <a:gd name="T80" fmla="*/ 174 w 234"/>
                <a:gd name="T81" fmla="*/ 28 h 341"/>
                <a:gd name="T82" fmla="*/ 116 w 234"/>
                <a:gd name="T83" fmla="*/ 0 h 341"/>
                <a:gd name="T84" fmla="*/ 81 w 234"/>
                <a:gd name="T85" fmla="*/ 14 h 34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234"/>
                <a:gd name="T130" fmla="*/ 0 h 341"/>
                <a:gd name="T131" fmla="*/ 234 w 234"/>
                <a:gd name="T132" fmla="*/ 341 h 341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234" h="341">
                  <a:moveTo>
                    <a:pt x="59" y="14"/>
                  </a:moveTo>
                  <a:lnTo>
                    <a:pt x="67" y="35"/>
                  </a:lnTo>
                  <a:lnTo>
                    <a:pt x="51" y="48"/>
                  </a:lnTo>
                  <a:lnTo>
                    <a:pt x="50" y="102"/>
                  </a:lnTo>
                  <a:lnTo>
                    <a:pt x="41" y="67"/>
                  </a:lnTo>
                  <a:lnTo>
                    <a:pt x="7" y="101"/>
                  </a:lnTo>
                  <a:lnTo>
                    <a:pt x="0" y="199"/>
                  </a:lnTo>
                  <a:lnTo>
                    <a:pt x="21" y="247"/>
                  </a:lnTo>
                  <a:lnTo>
                    <a:pt x="24" y="272"/>
                  </a:lnTo>
                  <a:lnTo>
                    <a:pt x="25" y="292"/>
                  </a:lnTo>
                  <a:lnTo>
                    <a:pt x="24" y="309"/>
                  </a:lnTo>
                  <a:lnTo>
                    <a:pt x="19" y="341"/>
                  </a:lnTo>
                  <a:lnTo>
                    <a:pt x="111" y="335"/>
                  </a:lnTo>
                  <a:lnTo>
                    <a:pt x="233" y="323"/>
                  </a:lnTo>
                  <a:lnTo>
                    <a:pt x="211" y="316"/>
                  </a:lnTo>
                  <a:lnTo>
                    <a:pt x="199" y="299"/>
                  </a:lnTo>
                  <a:lnTo>
                    <a:pt x="217" y="283"/>
                  </a:lnTo>
                  <a:lnTo>
                    <a:pt x="217" y="265"/>
                  </a:lnTo>
                  <a:lnTo>
                    <a:pt x="208" y="248"/>
                  </a:lnTo>
                  <a:lnTo>
                    <a:pt x="217" y="236"/>
                  </a:lnTo>
                  <a:lnTo>
                    <a:pt x="234" y="238"/>
                  </a:lnTo>
                  <a:lnTo>
                    <a:pt x="230" y="191"/>
                  </a:lnTo>
                  <a:lnTo>
                    <a:pt x="226" y="162"/>
                  </a:lnTo>
                  <a:lnTo>
                    <a:pt x="216" y="145"/>
                  </a:lnTo>
                  <a:lnTo>
                    <a:pt x="206" y="134"/>
                  </a:lnTo>
                  <a:lnTo>
                    <a:pt x="191" y="131"/>
                  </a:lnTo>
                  <a:lnTo>
                    <a:pt x="177" y="131"/>
                  </a:lnTo>
                  <a:lnTo>
                    <a:pt x="161" y="153"/>
                  </a:lnTo>
                  <a:lnTo>
                    <a:pt x="152" y="160"/>
                  </a:lnTo>
                  <a:lnTo>
                    <a:pt x="145" y="162"/>
                  </a:lnTo>
                  <a:lnTo>
                    <a:pt x="137" y="159"/>
                  </a:lnTo>
                  <a:lnTo>
                    <a:pt x="135" y="148"/>
                  </a:lnTo>
                  <a:lnTo>
                    <a:pt x="137" y="141"/>
                  </a:lnTo>
                  <a:lnTo>
                    <a:pt x="144" y="134"/>
                  </a:lnTo>
                  <a:lnTo>
                    <a:pt x="151" y="131"/>
                  </a:lnTo>
                  <a:lnTo>
                    <a:pt x="157" y="129"/>
                  </a:lnTo>
                  <a:lnTo>
                    <a:pt x="157" y="117"/>
                  </a:lnTo>
                  <a:lnTo>
                    <a:pt x="175" y="102"/>
                  </a:lnTo>
                  <a:lnTo>
                    <a:pt x="157" y="58"/>
                  </a:lnTo>
                  <a:lnTo>
                    <a:pt x="157" y="37"/>
                  </a:lnTo>
                  <a:lnTo>
                    <a:pt x="128" y="28"/>
                  </a:lnTo>
                  <a:lnTo>
                    <a:pt x="85" y="0"/>
                  </a:lnTo>
                  <a:lnTo>
                    <a:pt x="59" y="14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6D1C84AE-24BC-40D8-943C-247D8B7BC727}"/>
                </a:ext>
              </a:extLst>
            </p:cNvPr>
            <p:cNvSpPr>
              <a:spLocks/>
            </p:cNvSpPr>
            <p:nvPr/>
          </p:nvSpPr>
          <p:spPr bwMode="auto">
            <a:xfrm>
              <a:off x="6710082" y="4090988"/>
              <a:ext cx="619090" cy="485775"/>
            </a:xfrm>
            <a:custGeom>
              <a:avLst/>
              <a:gdLst>
                <a:gd name="T0" fmla="*/ 15 w 300"/>
                <a:gd name="T1" fmla="*/ 46 h 255"/>
                <a:gd name="T2" fmla="*/ 48 w 300"/>
                <a:gd name="T3" fmla="*/ 21 h 255"/>
                <a:gd name="T4" fmla="*/ 171 w 300"/>
                <a:gd name="T5" fmla="*/ 0 h 255"/>
                <a:gd name="T6" fmla="*/ 210 w 300"/>
                <a:gd name="T7" fmla="*/ 14 h 255"/>
                <a:gd name="T8" fmla="*/ 288 w 300"/>
                <a:gd name="T9" fmla="*/ 4 h 255"/>
                <a:gd name="T10" fmla="*/ 353 w 300"/>
                <a:gd name="T11" fmla="*/ 40 h 255"/>
                <a:gd name="T12" fmla="*/ 413 w 300"/>
                <a:gd name="T13" fmla="*/ 68 h 255"/>
                <a:gd name="T14" fmla="*/ 380 w 300"/>
                <a:gd name="T15" fmla="*/ 145 h 255"/>
                <a:gd name="T16" fmla="*/ 331 w 300"/>
                <a:gd name="T17" fmla="*/ 183 h 255"/>
                <a:gd name="T18" fmla="*/ 276 w 300"/>
                <a:gd name="T19" fmla="*/ 195 h 255"/>
                <a:gd name="T20" fmla="*/ 286 w 300"/>
                <a:gd name="T21" fmla="*/ 226 h 255"/>
                <a:gd name="T22" fmla="*/ 253 w 300"/>
                <a:gd name="T23" fmla="*/ 255 h 255"/>
                <a:gd name="T24" fmla="*/ 192 w 300"/>
                <a:gd name="T25" fmla="*/ 183 h 255"/>
                <a:gd name="T26" fmla="*/ 28 w 300"/>
                <a:gd name="T27" fmla="*/ 68 h 255"/>
                <a:gd name="T28" fmla="*/ 0 w 300"/>
                <a:gd name="T29" fmla="*/ 68 h 255"/>
                <a:gd name="T30" fmla="*/ 15 w 300"/>
                <a:gd name="T31" fmla="*/ 46 h 25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300"/>
                <a:gd name="T49" fmla="*/ 0 h 255"/>
                <a:gd name="T50" fmla="*/ 300 w 300"/>
                <a:gd name="T51" fmla="*/ 255 h 255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300" h="255">
                  <a:moveTo>
                    <a:pt x="11" y="46"/>
                  </a:moveTo>
                  <a:lnTo>
                    <a:pt x="35" y="21"/>
                  </a:lnTo>
                  <a:lnTo>
                    <a:pt x="125" y="0"/>
                  </a:lnTo>
                  <a:lnTo>
                    <a:pt x="152" y="14"/>
                  </a:lnTo>
                  <a:lnTo>
                    <a:pt x="210" y="4"/>
                  </a:lnTo>
                  <a:lnTo>
                    <a:pt x="257" y="40"/>
                  </a:lnTo>
                  <a:lnTo>
                    <a:pt x="300" y="68"/>
                  </a:lnTo>
                  <a:lnTo>
                    <a:pt x="276" y="145"/>
                  </a:lnTo>
                  <a:lnTo>
                    <a:pt x="240" y="183"/>
                  </a:lnTo>
                  <a:lnTo>
                    <a:pt x="200" y="195"/>
                  </a:lnTo>
                  <a:lnTo>
                    <a:pt x="208" y="226"/>
                  </a:lnTo>
                  <a:lnTo>
                    <a:pt x="184" y="255"/>
                  </a:lnTo>
                  <a:lnTo>
                    <a:pt x="138" y="183"/>
                  </a:lnTo>
                  <a:lnTo>
                    <a:pt x="20" y="68"/>
                  </a:lnTo>
                  <a:lnTo>
                    <a:pt x="0" y="68"/>
                  </a:lnTo>
                  <a:lnTo>
                    <a:pt x="11" y="4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16" name="Freeform 13">
              <a:extLst>
                <a:ext uri="{FF2B5EF4-FFF2-40B4-BE49-F238E27FC236}">
                  <a16:creationId xmlns:a16="http://schemas.microsoft.com/office/drawing/2014/main" id="{96F28FED-D84E-4D4D-AB3C-7056FFD95662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0976" y="3375025"/>
              <a:ext cx="932074" cy="576263"/>
            </a:xfrm>
            <a:custGeom>
              <a:avLst/>
              <a:gdLst>
                <a:gd name="T0" fmla="*/ 102 w 452"/>
                <a:gd name="T1" fmla="*/ 211 h 302"/>
                <a:gd name="T2" fmla="*/ 83 w 452"/>
                <a:gd name="T3" fmla="*/ 242 h 302"/>
                <a:gd name="T4" fmla="*/ 57 w 452"/>
                <a:gd name="T5" fmla="*/ 250 h 302"/>
                <a:gd name="T6" fmla="*/ 56 w 452"/>
                <a:gd name="T7" fmla="*/ 270 h 302"/>
                <a:gd name="T8" fmla="*/ 2 w 452"/>
                <a:gd name="T9" fmla="*/ 286 h 302"/>
                <a:gd name="T10" fmla="*/ 0 w 452"/>
                <a:gd name="T11" fmla="*/ 302 h 302"/>
                <a:gd name="T12" fmla="*/ 146 w 452"/>
                <a:gd name="T13" fmla="*/ 282 h 302"/>
                <a:gd name="T14" fmla="*/ 414 w 452"/>
                <a:gd name="T15" fmla="*/ 238 h 302"/>
                <a:gd name="T16" fmla="*/ 619 w 452"/>
                <a:gd name="T17" fmla="*/ 200 h 302"/>
                <a:gd name="T18" fmla="*/ 619 w 452"/>
                <a:gd name="T19" fmla="*/ 169 h 302"/>
                <a:gd name="T20" fmla="*/ 597 w 452"/>
                <a:gd name="T21" fmla="*/ 160 h 302"/>
                <a:gd name="T22" fmla="*/ 578 w 452"/>
                <a:gd name="T23" fmla="*/ 175 h 302"/>
                <a:gd name="T24" fmla="*/ 568 w 452"/>
                <a:gd name="T25" fmla="*/ 134 h 302"/>
                <a:gd name="T26" fmla="*/ 578 w 452"/>
                <a:gd name="T27" fmla="*/ 97 h 302"/>
                <a:gd name="T28" fmla="*/ 501 w 452"/>
                <a:gd name="T29" fmla="*/ 70 h 302"/>
                <a:gd name="T30" fmla="*/ 449 w 452"/>
                <a:gd name="T31" fmla="*/ 77 h 302"/>
                <a:gd name="T32" fmla="*/ 448 w 452"/>
                <a:gd name="T33" fmla="*/ 21 h 302"/>
                <a:gd name="T34" fmla="*/ 396 w 452"/>
                <a:gd name="T35" fmla="*/ 0 h 302"/>
                <a:gd name="T36" fmla="*/ 354 w 452"/>
                <a:gd name="T37" fmla="*/ 13 h 302"/>
                <a:gd name="T38" fmla="*/ 326 w 452"/>
                <a:gd name="T39" fmla="*/ 66 h 302"/>
                <a:gd name="T40" fmla="*/ 278 w 452"/>
                <a:gd name="T41" fmla="*/ 87 h 302"/>
                <a:gd name="T42" fmla="*/ 259 w 452"/>
                <a:gd name="T43" fmla="*/ 170 h 302"/>
                <a:gd name="T44" fmla="*/ 182 w 452"/>
                <a:gd name="T45" fmla="*/ 211 h 302"/>
                <a:gd name="T46" fmla="*/ 118 w 452"/>
                <a:gd name="T47" fmla="*/ 228 h 302"/>
                <a:gd name="T48" fmla="*/ 102 w 452"/>
                <a:gd name="T49" fmla="*/ 211 h 30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452"/>
                <a:gd name="T76" fmla="*/ 0 h 302"/>
                <a:gd name="T77" fmla="*/ 452 w 452"/>
                <a:gd name="T78" fmla="*/ 302 h 30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452" h="302">
                  <a:moveTo>
                    <a:pt x="74" y="211"/>
                  </a:moveTo>
                  <a:lnTo>
                    <a:pt x="61" y="242"/>
                  </a:lnTo>
                  <a:lnTo>
                    <a:pt x="42" y="250"/>
                  </a:lnTo>
                  <a:lnTo>
                    <a:pt x="41" y="270"/>
                  </a:lnTo>
                  <a:lnTo>
                    <a:pt x="2" y="286"/>
                  </a:lnTo>
                  <a:lnTo>
                    <a:pt x="0" y="302"/>
                  </a:lnTo>
                  <a:lnTo>
                    <a:pt x="107" y="282"/>
                  </a:lnTo>
                  <a:lnTo>
                    <a:pt x="302" y="238"/>
                  </a:lnTo>
                  <a:lnTo>
                    <a:pt x="452" y="200"/>
                  </a:lnTo>
                  <a:lnTo>
                    <a:pt x="452" y="169"/>
                  </a:lnTo>
                  <a:lnTo>
                    <a:pt x="435" y="160"/>
                  </a:lnTo>
                  <a:lnTo>
                    <a:pt x="422" y="175"/>
                  </a:lnTo>
                  <a:lnTo>
                    <a:pt x="414" y="134"/>
                  </a:lnTo>
                  <a:lnTo>
                    <a:pt x="422" y="97"/>
                  </a:lnTo>
                  <a:lnTo>
                    <a:pt x="366" y="70"/>
                  </a:lnTo>
                  <a:lnTo>
                    <a:pt x="328" y="77"/>
                  </a:lnTo>
                  <a:lnTo>
                    <a:pt x="327" y="21"/>
                  </a:lnTo>
                  <a:lnTo>
                    <a:pt x="288" y="0"/>
                  </a:lnTo>
                  <a:lnTo>
                    <a:pt x="258" y="13"/>
                  </a:lnTo>
                  <a:lnTo>
                    <a:pt x="238" y="66"/>
                  </a:lnTo>
                  <a:lnTo>
                    <a:pt x="203" y="87"/>
                  </a:lnTo>
                  <a:lnTo>
                    <a:pt x="189" y="170"/>
                  </a:lnTo>
                  <a:lnTo>
                    <a:pt x="132" y="211"/>
                  </a:lnTo>
                  <a:lnTo>
                    <a:pt x="86" y="228"/>
                  </a:lnTo>
                  <a:lnTo>
                    <a:pt x="74" y="211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17" name="Freeform 14">
              <a:extLst>
                <a:ext uri="{FF2B5EF4-FFF2-40B4-BE49-F238E27FC236}">
                  <a16:creationId xmlns:a16="http://schemas.microsoft.com/office/drawing/2014/main" id="{B8C44A6C-1F62-4550-9028-E5B9F11F074D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3264" y="2908300"/>
              <a:ext cx="715393" cy="466725"/>
            </a:xfrm>
            <a:custGeom>
              <a:avLst/>
              <a:gdLst>
                <a:gd name="T0" fmla="*/ 44 w 347"/>
                <a:gd name="T1" fmla="*/ 36 h 245"/>
                <a:gd name="T2" fmla="*/ 0 w 347"/>
                <a:gd name="T3" fmla="*/ 68 h 245"/>
                <a:gd name="T4" fmla="*/ 26 w 347"/>
                <a:gd name="T5" fmla="*/ 187 h 245"/>
                <a:gd name="T6" fmla="*/ 44 w 347"/>
                <a:gd name="T7" fmla="*/ 245 h 245"/>
                <a:gd name="T8" fmla="*/ 126 w 347"/>
                <a:gd name="T9" fmla="*/ 240 h 245"/>
                <a:gd name="T10" fmla="*/ 427 w 347"/>
                <a:gd name="T11" fmla="*/ 195 h 245"/>
                <a:gd name="T12" fmla="*/ 448 w 347"/>
                <a:gd name="T13" fmla="*/ 188 h 245"/>
                <a:gd name="T14" fmla="*/ 478 w 347"/>
                <a:gd name="T15" fmla="*/ 133 h 245"/>
                <a:gd name="T16" fmla="*/ 432 w 347"/>
                <a:gd name="T17" fmla="*/ 103 h 245"/>
                <a:gd name="T18" fmla="*/ 458 w 347"/>
                <a:gd name="T19" fmla="*/ 32 h 245"/>
                <a:gd name="T20" fmla="*/ 424 w 347"/>
                <a:gd name="T21" fmla="*/ 25 h 245"/>
                <a:gd name="T22" fmla="*/ 424 w 347"/>
                <a:gd name="T23" fmla="*/ 7 h 245"/>
                <a:gd name="T24" fmla="*/ 409 w 347"/>
                <a:gd name="T25" fmla="*/ 0 h 245"/>
                <a:gd name="T26" fmla="*/ 59 w 347"/>
                <a:gd name="T27" fmla="*/ 51 h 245"/>
                <a:gd name="T28" fmla="*/ 44 w 347"/>
                <a:gd name="T29" fmla="*/ 36 h 24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47"/>
                <a:gd name="T46" fmla="*/ 0 h 245"/>
                <a:gd name="T47" fmla="*/ 347 w 347"/>
                <a:gd name="T48" fmla="*/ 245 h 245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47" h="245">
                  <a:moveTo>
                    <a:pt x="32" y="36"/>
                  </a:moveTo>
                  <a:lnTo>
                    <a:pt x="0" y="68"/>
                  </a:lnTo>
                  <a:lnTo>
                    <a:pt x="18" y="187"/>
                  </a:lnTo>
                  <a:lnTo>
                    <a:pt x="32" y="245"/>
                  </a:lnTo>
                  <a:lnTo>
                    <a:pt x="91" y="240"/>
                  </a:lnTo>
                  <a:lnTo>
                    <a:pt x="310" y="195"/>
                  </a:lnTo>
                  <a:lnTo>
                    <a:pt x="325" y="188"/>
                  </a:lnTo>
                  <a:lnTo>
                    <a:pt x="347" y="133"/>
                  </a:lnTo>
                  <a:lnTo>
                    <a:pt x="314" y="103"/>
                  </a:lnTo>
                  <a:lnTo>
                    <a:pt x="332" y="32"/>
                  </a:lnTo>
                  <a:lnTo>
                    <a:pt x="307" y="25"/>
                  </a:lnTo>
                  <a:lnTo>
                    <a:pt x="307" y="7"/>
                  </a:lnTo>
                  <a:lnTo>
                    <a:pt x="296" y="0"/>
                  </a:lnTo>
                  <a:lnTo>
                    <a:pt x="42" y="51"/>
                  </a:lnTo>
                  <a:lnTo>
                    <a:pt x="32" y="3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18" name="Freeform 15">
              <a:extLst>
                <a:ext uri="{FF2B5EF4-FFF2-40B4-BE49-F238E27FC236}">
                  <a16:creationId xmlns:a16="http://schemas.microsoft.com/office/drawing/2014/main" id="{E3FC2059-5256-44A0-880D-9ADE3285117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90393" y="3279775"/>
              <a:ext cx="608772" cy="249238"/>
            </a:xfrm>
            <a:custGeom>
              <a:avLst/>
              <a:gdLst>
                <a:gd name="T0" fmla="*/ 0 w 295"/>
                <a:gd name="T1" fmla="*/ 45 h 131"/>
                <a:gd name="T2" fmla="*/ 305 w 295"/>
                <a:gd name="T3" fmla="*/ 0 h 131"/>
                <a:gd name="T4" fmla="*/ 356 w 295"/>
                <a:gd name="T5" fmla="*/ 90 h 131"/>
                <a:gd name="T6" fmla="*/ 407 w 295"/>
                <a:gd name="T7" fmla="*/ 80 h 131"/>
                <a:gd name="T8" fmla="*/ 408 w 295"/>
                <a:gd name="T9" fmla="*/ 125 h 131"/>
                <a:gd name="T10" fmla="*/ 364 w 295"/>
                <a:gd name="T11" fmla="*/ 131 h 131"/>
                <a:gd name="T12" fmla="*/ 329 w 295"/>
                <a:gd name="T13" fmla="*/ 102 h 131"/>
                <a:gd name="T14" fmla="*/ 305 w 295"/>
                <a:gd name="T15" fmla="*/ 66 h 131"/>
                <a:gd name="T16" fmla="*/ 299 w 295"/>
                <a:gd name="T17" fmla="*/ 17 h 131"/>
                <a:gd name="T18" fmla="*/ 281 w 295"/>
                <a:gd name="T19" fmla="*/ 42 h 131"/>
                <a:gd name="T20" fmla="*/ 304 w 295"/>
                <a:gd name="T21" fmla="*/ 116 h 131"/>
                <a:gd name="T22" fmla="*/ 213 w 295"/>
                <a:gd name="T23" fmla="*/ 126 h 131"/>
                <a:gd name="T24" fmla="*/ 210 w 295"/>
                <a:gd name="T25" fmla="*/ 72 h 131"/>
                <a:gd name="T26" fmla="*/ 154 w 295"/>
                <a:gd name="T27" fmla="*/ 49 h 131"/>
                <a:gd name="T28" fmla="*/ 110 w 295"/>
                <a:gd name="T29" fmla="*/ 43 h 131"/>
                <a:gd name="T30" fmla="*/ 12 w 295"/>
                <a:gd name="T31" fmla="*/ 80 h 131"/>
                <a:gd name="T32" fmla="*/ 0 w 295"/>
                <a:gd name="T33" fmla="*/ 45 h 131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95"/>
                <a:gd name="T52" fmla="*/ 0 h 131"/>
                <a:gd name="T53" fmla="*/ 295 w 295"/>
                <a:gd name="T54" fmla="*/ 131 h 131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95" h="131">
                  <a:moveTo>
                    <a:pt x="0" y="45"/>
                  </a:moveTo>
                  <a:lnTo>
                    <a:pt x="220" y="0"/>
                  </a:lnTo>
                  <a:lnTo>
                    <a:pt x="256" y="90"/>
                  </a:lnTo>
                  <a:lnTo>
                    <a:pt x="294" y="80"/>
                  </a:lnTo>
                  <a:lnTo>
                    <a:pt x="295" y="125"/>
                  </a:lnTo>
                  <a:lnTo>
                    <a:pt x="264" y="131"/>
                  </a:lnTo>
                  <a:lnTo>
                    <a:pt x="237" y="102"/>
                  </a:lnTo>
                  <a:lnTo>
                    <a:pt x="220" y="66"/>
                  </a:lnTo>
                  <a:lnTo>
                    <a:pt x="216" y="17"/>
                  </a:lnTo>
                  <a:lnTo>
                    <a:pt x="203" y="42"/>
                  </a:lnTo>
                  <a:lnTo>
                    <a:pt x="219" y="116"/>
                  </a:lnTo>
                  <a:lnTo>
                    <a:pt x="154" y="126"/>
                  </a:lnTo>
                  <a:lnTo>
                    <a:pt x="152" y="72"/>
                  </a:lnTo>
                  <a:lnTo>
                    <a:pt x="112" y="49"/>
                  </a:lnTo>
                  <a:lnTo>
                    <a:pt x="79" y="43"/>
                  </a:lnTo>
                  <a:lnTo>
                    <a:pt x="8" y="80"/>
                  </a:lnTo>
                  <a:lnTo>
                    <a:pt x="0" y="45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19" name="Freeform 16">
              <a:extLst>
                <a:ext uri="{FF2B5EF4-FFF2-40B4-BE49-F238E27FC236}">
                  <a16:creationId xmlns:a16="http://schemas.microsoft.com/office/drawing/2014/main" id="{D9AC98BC-DB17-448E-824D-D0C685C50F03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2997" y="2052638"/>
              <a:ext cx="1251937" cy="776287"/>
            </a:xfrm>
            <a:custGeom>
              <a:avLst/>
              <a:gdLst>
                <a:gd name="T0" fmla="*/ 14 w 607"/>
                <a:gd name="T1" fmla="*/ 0 h 407"/>
                <a:gd name="T2" fmla="*/ 179 w 607"/>
                <a:gd name="T3" fmla="*/ 17 h 407"/>
                <a:gd name="T4" fmla="*/ 278 w 607"/>
                <a:gd name="T5" fmla="*/ 27 h 407"/>
                <a:gd name="T6" fmla="*/ 407 w 607"/>
                <a:gd name="T7" fmla="*/ 38 h 407"/>
                <a:gd name="T8" fmla="*/ 527 w 607"/>
                <a:gd name="T9" fmla="*/ 47 h 407"/>
                <a:gd name="T10" fmla="*/ 736 w 607"/>
                <a:gd name="T11" fmla="*/ 59 h 407"/>
                <a:gd name="T12" fmla="*/ 833 w 607"/>
                <a:gd name="T13" fmla="*/ 65 h 407"/>
                <a:gd name="T14" fmla="*/ 830 w 607"/>
                <a:gd name="T15" fmla="*/ 396 h 407"/>
                <a:gd name="T16" fmla="*/ 319 w 607"/>
                <a:gd name="T17" fmla="*/ 362 h 407"/>
                <a:gd name="T18" fmla="*/ 311 w 607"/>
                <a:gd name="T19" fmla="*/ 407 h 407"/>
                <a:gd name="T20" fmla="*/ 289 w 607"/>
                <a:gd name="T21" fmla="*/ 386 h 407"/>
                <a:gd name="T22" fmla="*/ 245 w 607"/>
                <a:gd name="T23" fmla="*/ 389 h 407"/>
                <a:gd name="T24" fmla="*/ 175 w 607"/>
                <a:gd name="T25" fmla="*/ 398 h 407"/>
                <a:gd name="T26" fmla="*/ 166 w 607"/>
                <a:gd name="T27" fmla="*/ 340 h 407"/>
                <a:gd name="T28" fmla="*/ 86 w 607"/>
                <a:gd name="T29" fmla="*/ 294 h 407"/>
                <a:gd name="T30" fmla="*/ 96 w 607"/>
                <a:gd name="T31" fmla="*/ 251 h 407"/>
                <a:gd name="T32" fmla="*/ 104 w 607"/>
                <a:gd name="T33" fmla="*/ 215 h 407"/>
                <a:gd name="T34" fmla="*/ 0 w 607"/>
                <a:gd name="T35" fmla="*/ 101 h 407"/>
                <a:gd name="T36" fmla="*/ 14 w 607"/>
                <a:gd name="T37" fmla="*/ 0 h 40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607"/>
                <a:gd name="T58" fmla="*/ 0 h 407"/>
                <a:gd name="T59" fmla="*/ 607 w 607"/>
                <a:gd name="T60" fmla="*/ 407 h 407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607" h="407">
                  <a:moveTo>
                    <a:pt x="10" y="0"/>
                  </a:moveTo>
                  <a:lnTo>
                    <a:pt x="129" y="17"/>
                  </a:lnTo>
                  <a:lnTo>
                    <a:pt x="202" y="27"/>
                  </a:lnTo>
                  <a:lnTo>
                    <a:pt x="297" y="38"/>
                  </a:lnTo>
                  <a:lnTo>
                    <a:pt x="384" y="47"/>
                  </a:lnTo>
                  <a:lnTo>
                    <a:pt x="536" y="59"/>
                  </a:lnTo>
                  <a:lnTo>
                    <a:pt x="607" y="65"/>
                  </a:lnTo>
                  <a:lnTo>
                    <a:pt x="605" y="396"/>
                  </a:lnTo>
                  <a:lnTo>
                    <a:pt x="233" y="362"/>
                  </a:lnTo>
                  <a:lnTo>
                    <a:pt x="226" y="407"/>
                  </a:lnTo>
                  <a:lnTo>
                    <a:pt x="211" y="386"/>
                  </a:lnTo>
                  <a:lnTo>
                    <a:pt x="178" y="389"/>
                  </a:lnTo>
                  <a:lnTo>
                    <a:pt x="128" y="398"/>
                  </a:lnTo>
                  <a:lnTo>
                    <a:pt x="120" y="340"/>
                  </a:lnTo>
                  <a:lnTo>
                    <a:pt x="62" y="294"/>
                  </a:lnTo>
                  <a:lnTo>
                    <a:pt x="70" y="251"/>
                  </a:lnTo>
                  <a:lnTo>
                    <a:pt x="76" y="215"/>
                  </a:lnTo>
                  <a:lnTo>
                    <a:pt x="0" y="101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20" name="Freeform 17">
              <a:extLst>
                <a:ext uri="{FF2B5EF4-FFF2-40B4-BE49-F238E27FC236}">
                  <a16:creationId xmlns:a16="http://schemas.microsoft.com/office/drawing/2014/main" id="{C26F7E2F-8201-485E-AF54-CA8250984850}"/>
                </a:ext>
              </a:extLst>
            </p:cNvPr>
            <p:cNvSpPr>
              <a:spLocks/>
            </p:cNvSpPr>
            <p:nvPr/>
          </p:nvSpPr>
          <p:spPr bwMode="auto">
            <a:xfrm>
              <a:off x="5102169" y="3459163"/>
              <a:ext cx="832332" cy="679450"/>
            </a:xfrm>
            <a:custGeom>
              <a:avLst/>
              <a:gdLst>
                <a:gd name="T0" fmla="*/ 0 w 403"/>
                <a:gd name="T1" fmla="*/ 12 h 357"/>
                <a:gd name="T2" fmla="*/ 241 w 403"/>
                <a:gd name="T3" fmla="*/ 0 h 357"/>
                <a:gd name="T4" fmla="*/ 294 w 403"/>
                <a:gd name="T5" fmla="*/ 0 h 357"/>
                <a:gd name="T6" fmla="*/ 331 w 403"/>
                <a:gd name="T7" fmla="*/ 11 h 357"/>
                <a:gd name="T8" fmla="*/ 312 w 403"/>
                <a:gd name="T9" fmla="*/ 42 h 357"/>
                <a:gd name="T10" fmla="*/ 382 w 403"/>
                <a:gd name="T11" fmla="*/ 92 h 357"/>
                <a:gd name="T12" fmla="*/ 404 w 403"/>
                <a:gd name="T13" fmla="*/ 135 h 357"/>
                <a:gd name="T14" fmla="*/ 446 w 403"/>
                <a:gd name="T15" fmla="*/ 124 h 357"/>
                <a:gd name="T16" fmla="*/ 445 w 403"/>
                <a:gd name="T17" fmla="*/ 184 h 357"/>
                <a:gd name="T18" fmla="*/ 486 w 403"/>
                <a:gd name="T19" fmla="*/ 202 h 357"/>
                <a:gd name="T20" fmla="*/ 505 w 403"/>
                <a:gd name="T21" fmla="*/ 254 h 357"/>
                <a:gd name="T22" fmla="*/ 537 w 403"/>
                <a:gd name="T23" fmla="*/ 259 h 357"/>
                <a:gd name="T24" fmla="*/ 553 w 403"/>
                <a:gd name="T25" fmla="*/ 281 h 357"/>
                <a:gd name="T26" fmla="*/ 515 w 403"/>
                <a:gd name="T27" fmla="*/ 312 h 357"/>
                <a:gd name="T28" fmla="*/ 503 w 403"/>
                <a:gd name="T29" fmla="*/ 347 h 357"/>
                <a:gd name="T30" fmla="*/ 449 w 403"/>
                <a:gd name="T31" fmla="*/ 357 h 357"/>
                <a:gd name="T32" fmla="*/ 463 w 403"/>
                <a:gd name="T33" fmla="*/ 318 h 357"/>
                <a:gd name="T34" fmla="*/ 256 w 403"/>
                <a:gd name="T35" fmla="*/ 332 h 357"/>
                <a:gd name="T36" fmla="*/ 108 w 403"/>
                <a:gd name="T37" fmla="*/ 346 h 357"/>
                <a:gd name="T38" fmla="*/ 98 w 403"/>
                <a:gd name="T39" fmla="*/ 309 h 357"/>
                <a:gd name="T40" fmla="*/ 89 w 403"/>
                <a:gd name="T41" fmla="*/ 194 h 357"/>
                <a:gd name="T42" fmla="*/ 88 w 403"/>
                <a:gd name="T43" fmla="*/ 132 h 357"/>
                <a:gd name="T44" fmla="*/ 38 w 403"/>
                <a:gd name="T45" fmla="*/ 104 h 357"/>
                <a:gd name="T46" fmla="*/ 56 w 403"/>
                <a:gd name="T47" fmla="*/ 78 h 357"/>
                <a:gd name="T48" fmla="*/ 31 w 403"/>
                <a:gd name="T49" fmla="*/ 64 h 357"/>
                <a:gd name="T50" fmla="*/ 0 w 403"/>
                <a:gd name="T51" fmla="*/ 12 h 357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403"/>
                <a:gd name="T79" fmla="*/ 0 h 357"/>
                <a:gd name="T80" fmla="*/ 403 w 403"/>
                <a:gd name="T81" fmla="*/ 357 h 357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403" h="357">
                  <a:moveTo>
                    <a:pt x="0" y="12"/>
                  </a:moveTo>
                  <a:lnTo>
                    <a:pt x="176" y="0"/>
                  </a:lnTo>
                  <a:lnTo>
                    <a:pt x="214" y="0"/>
                  </a:lnTo>
                  <a:lnTo>
                    <a:pt x="242" y="11"/>
                  </a:lnTo>
                  <a:lnTo>
                    <a:pt x="227" y="42"/>
                  </a:lnTo>
                  <a:lnTo>
                    <a:pt x="278" y="92"/>
                  </a:lnTo>
                  <a:lnTo>
                    <a:pt x="295" y="135"/>
                  </a:lnTo>
                  <a:lnTo>
                    <a:pt x="325" y="124"/>
                  </a:lnTo>
                  <a:lnTo>
                    <a:pt x="324" y="184"/>
                  </a:lnTo>
                  <a:lnTo>
                    <a:pt x="355" y="202"/>
                  </a:lnTo>
                  <a:lnTo>
                    <a:pt x="369" y="254"/>
                  </a:lnTo>
                  <a:lnTo>
                    <a:pt x="391" y="259"/>
                  </a:lnTo>
                  <a:lnTo>
                    <a:pt x="403" y="281"/>
                  </a:lnTo>
                  <a:lnTo>
                    <a:pt x="376" y="312"/>
                  </a:lnTo>
                  <a:lnTo>
                    <a:pt x="367" y="347"/>
                  </a:lnTo>
                  <a:lnTo>
                    <a:pt x="328" y="357"/>
                  </a:lnTo>
                  <a:lnTo>
                    <a:pt x="338" y="318"/>
                  </a:lnTo>
                  <a:lnTo>
                    <a:pt x="187" y="332"/>
                  </a:lnTo>
                  <a:lnTo>
                    <a:pt x="79" y="346"/>
                  </a:lnTo>
                  <a:lnTo>
                    <a:pt x="72" y="309"/>
                  </a:lnTo>
                  <a:lnTo>
                    <a:pt x="65" y="194"/>
                  </a:lnTo>
                  <a:lnTo>
                    <a:pt x="64" y="132"/>
                  </a:lnTo>
                  <a:lnTo>
                    <a:pt x="28" y="104"/>
                  </a:lnTo>
                  <a:lnTo>
                    <a:pt x="41" y="78"/>
                  </a:lnTo>
                  <a:lnTo>
                    <a:pt x="23" y="64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21" name="Freeform 18">
              <a:extLst>
                <a:ext uri="{FF2B5EF4-FFF2-40B4-BE49-F238E27FC236}">
                  <a16:creationId xmlns:a16="http://schemas.microsoft.com/office/drawing/2014/main" id="{2592AE8A-2EAB-47A4-831E-C5585002B6B3}"/>
                </a:ext>
              </a:extLst>
            </p:cNvPr>
            <p:cNvSpPr>
              <a:spLocks/>
            </p:cNvSpPr>
            <p:nvPr/>
          </p:nvSpPr>
          <p:spPr bwMode="auto">
            <a:xfrm>
              <a:off x="6013606" y="3173413"/>
              <a:ext cx="405848" cy="663575"/>
            </a:xfrm>
            <a:custGeom>
              <a:avLst/>
              <a:gdLst>
                <a:gd name="T0" fmla="*/ 0 w 197"/>
                <a:gd name="T1" fmla="*/ 25 h 348"/>
                <a:gd name="T2" fmla="*/ 31 w 197"/>
                <a:gd name="T3" fmla="*/ 38 h 348"/>
                <a:gd name="T4" fmla="*/ 62 w 197"/>
                <a:gd name="T5" fmla="*/ 35 h 348"/>
                <a:gd name="T6" fmla="*/ 72 w 197"/>
                <a:gd name="T7" fmla="*/ 28 h 348"/>
                <a:gd name="T8" fmla="*/ 80 w 197"/>
                <a:gd name="T9" fmla="*/ 7 h 348"/>
                <a:gd name="T10" fmla="*/ 208 w 197"/>
                <a:gd name="T11" fmla="*/ 0 h 348"/>
                <a:gd name="T12" fmla="*/ 269 w 197"/>
                <a:gd name="T13" fmla="*/ 246 h 348"/>
                <a:gd name="T14" fmla="*/ 265 w 197"/>
                <a:gd name="T15" fmla="*/ 243 h 348"/>
                <a:gd name="T16" fmla="*/ 219 w 197"/>
                <a:gd name="T17" fmla="*/ 257 h 348"/>
                <a:gd name="T18" fmla="*/ 188 w 197"/>
                <a:gd name="T19" fmla="*/ 323 h 348"/>
                <a:gd name="T20" fmla="*/ 142 w 197"/>
                <a:gd name="T21" fmla="*/ 314 h 348"/>
                <a:gd name="T22" fmla="*/ 89 w 197"/>
                <a:gd name="T23" fmla="*/ 339 h 348"/>
                <a:gd name="T24" fmla="*/ 17 w 197"/>
                <a:gd name="T25" fmla="*/ 348 h 348"/>
                <a:gd name="T26" fmla="*/ 49 w 197"/>
                <a:gd name="T27" fmla="*/ 283 h 348"/>
                <a:gd name="T28" fmla="*/ 35 w 197"/>
                <a:gd name="T29" fmla="*/ 247 h 348"/>
                <a:gd name="T30" fmla="*/ 0 w 197"/>
                <a:gd name="T31" fmla="*/ 25 h 348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97"/>
                <a:gd name="T49" fmla="*/ 0 h 348"/>
                <a:gd name="T50" fmla="*/ 197 w 197"/>
                <a:gd name="T51" fmla="*/ 348 h 348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97" h="348">
                  <a:moveTo>
                    <a:pt x="0" y="25"/>
                  </a:moveTo>
                  <a:lnTo>
                    <a:pt x="23" y="38"/>
                  </a:lnTo>
                  <a:lnTo>
                    <a:pt x="45" y="35"/>
                  </a:lnTo>
                  <a:lnTo>
                    <a:pt x="53" y="28"/>
                  </a:lnTo>
                  <a:lnTo>
                    <a:pt x="58" y="7"/>
                  </a:lnTo>
                  <a:lnTo>
                    <a:pt x="153" y="0"/>
                  </a:lnTo>
                  <a:lnTo>
                    <a:pt x="197" y="246"/>
                  </a:lnTo>
                  <a:lnTo>
                    <a:pt x="194" y="243"/>
                  </a:lnTo>
                  <a:lnTo>
                    <a:pt x="161" y="257"/>
                  </a:lnTo>
                  <a:lnTo>
                    <a:pt x="138" y="323"/>
                  </a:lnTo>
                  <a:lnTo>
                    <a:pt x="104" y="314"/>
                  </a:lnTo>
                  <a:lnTo>
                    <a:pt x="65" y="339"/>
                  </a:lnTo>
                  <a:lnTo>
                    <a:pt x="13" y="348"/>
                  </a:lnTo>
                  <a:lnTo>
                    <a:pt x="36" y="283"/>
                  </a:lnTo>
                  <a:lnTo>
                    <a:pt x="26" y="247"/>
                  </a:lnTo>
                  <a:lnTo>
                    <a:pt x="0" y="25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22" name="Freeform 19">
              <a:extLst>
                <a:ext uri="{FF2B5EF4-FFF2-40B4-BE49-F238E27FC236}">
                  <a16:creationId xmlns:a16="http://schemas.microsoft.com/office/drawing/2014/main" id="{31FE521B-E629-4AFE-A9F1-4F78699CB36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8310" y="3038475"/>
              <a:ext cx="522787" cy="598488"/>
            </a:xfrm>
            <a:custGeom>
              <a:avLst/>
              <a:gdLst>
                <a:gd name="T0" fmla="*/ 0 w 253"/>
                <a:gd name="T1" fmla="*/ 71 h 314"/>
                <a:gd name="T2" fmla="*/ 156 w 253"/>
                <a:gd name="T3" fmla="*/ 59 h 314"/>
                <a:gd name="T4" fmla="*/ 188 w 253"/>
                <a:gd name="T5" fmla="*/ 64 h 314"/>
                <a:gd name="T6" fmla="*/ 264 w 253"/>
                <a:gd name="T7" fmla="*/ 37 h 314"/>
                <a:gd name="T8" fmla="*/ 280 w 253"/>
                <a:gd name="T9" fmla="*/ 12 h 314"/>
                <a:gd name="T10" fmla="*/ 325 w 253"/>
                <a:gd name="T11" fmla="*/ 0 h 314"/>
                <a:gd name="T12" fmla="*/ 349 w 253"/>
                <a:gd name="T13" fmla="*/ 119 h 314"/>
                <a:gd name="T14" fmla="*/ 330 w 253"/>
                <a:gd name="T15" fmla="*/ 132 h 314"/>
                <a:gd name="T16" fmla="*/ 335 w 253"/>
                <a:gd name="T17" fmla="*/ 214 h 314"/>
                <a:gd name="T18" fmla="*/ 300 w 253"/>
                <a:gd name="T19" fmla="*/ 221 h 314"/>
                <a:gd name="T20" fmla="*/ 280 w 253"/>
                <a:gd name="T21" fmla="*/ 267 h 314"/>
                <a:gd name="T22" fmla="*/ 253 w 253"/>
                <a:gd name="T23" fmla="*/ 261 h 314"/>
                <a:gd name="T24" fmla="*/ 245 w 253"/>
                <a:gd name="T25" fmla="*/ 314 h 314"/>
                <a:gd name="T26" fmla="*/ 204 w 253"/>
                <a:gd name="T27" fmla="*/ 292 h 314"/>
                <a:gd name="T28" fmla="*/ 128 w 253"/>
                <a:gd name="T29" fmla="*/ 306 h 314"/>
                <a:gd name="T30" fmla="*/ 95 w 253"/>
                <a:gd name="T31" fmla="*/ 286 h 314"/>
                <a:gd name="T32" fmla="*/ 52 w 253"/>
                <a:gd name="T33" fmla="*/ 285 h 314"/>
                <a:gd name="T34" fmla="*/ 29 w 253"/>
                <a:gd name="T35" fmla="*/ 197 h 314"/>
                <a:gd name="T36" fmla="*/ 0 w 253"/>
                <a:gd name="T37" fmla="*/ 71 h 31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253"/>
                <a:gd name="T58" fmla="*/ 0 h 314"/>
                <a:gd name="T59" fmla="*/ 253 w 253"/>
                <a:gd name="T60" fmla="*/ 314 h 31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253" h="314">
                  <a:moveTo>
                    <a:pt x="0" y="71"/>
                  </a:moveTo>
                  <a:lnTo>
                    <a:pt x="114" y="59"/>
                  </a:lnTo>
                  <a:lnTo>
                    <a:pt x="138" y="64"/>
                  </a:lnTo>
                  <a:lnTo>
                    <a:pt x="192" y="37"/>
                  </a:lnTo>
                  <a:lnTo>
                    <a:pt x="204" y="12"/>
                  </a:lnTo>
                  <a:lnTo>
                    <a:pt x="236" y="0"/>
                  </a:lnTo>
                  <a:lnTo>
                    <a:pt x="253" y="119"/>
                  </a:lnTo>
                  <a:lnTo>
                    <a:pt x="240" y="132"/>
                  </a:lnTo>
                  <a:lnTo>
                    <a:pt x="243" y="214"/>
                  </a:lnTo>
                  <a:lnTo>
                    <a:pt x="218" y="221"/>
                  </a:lnTo>
                  <a:lnTo>
                    <a:pt x="204" y="267"/>
                  </a:lnTo>
                  <a:lnTo>
                    <a:pt x="184" y="261"/>
                  </a:lnTo>
                  <a:lnTo>
                    <a:pt x="178" y="314"/>
                  </a:lnTo>
                  <a:lnTo>
                    <a:pt x="149" y="292"/>
                  </a:lnTo>
                  <a:lnTo>
                    <a:pt x="93" y="306"/>
                  </a:lnTo>
                  <a:lnTo>
                    <a:pt x="69" y="286"/>
                  </a:lnTo>
                  <a:lnTo>
                    <a:pt x="38" y="285"/>
                  </a:lnTo>
                  <a:lnTo>
                    <a:pt x="21" y="197"/>
                  </a:lnTo>
                  <a:lnTo>
                    <a:pt x="0" y="71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23" name="Freeform 20">
              <a:extLst>
                <a:ext uri="{FF2B5EF4-FFF2-40B4-BE49-F238E27FC236}">
                  <a16:creationId xmlns:a16="http://schemas.microsoft.com/office/drawing/2014/main" id="{F8E20DED-C11D-4041-A3D4-11C887021566}"/>
                </a:ext>
              </a:extLst>
            </p:cNvPr>
            <p:cNvSpPr>
              <a:spLocks/>
            </p:cNvSpPr>
            <p:nvPr/>
          </p:nvSpPr>
          <p:spPr bwMode="auto">
            <a:xfrm>
              <a:off x="5865713" y="3579813"/>
              <a:ext cx="918317" cy="506412"/>
            </a:xfrm>
            <a:custGeom>
              <a:avLst/>
              <a:gdLst>
                <a:gd name="T0" fmla="*/ 0 w 445"/>
                <a:gd name="T1" fmla="*/ 266 h 266"/>
                <a:gd name="T2" fmla="*/ 149 w 445"/>
                <a:gd name="T3" fmla="*/ 249 h 266"/>
                <a:gd name="T4" fmla="*/ 149 w 445"/>
                <a:gd name="T5" fmla="*/ 237 h 266"/>
                <a:gd name="T6" fmla="*/ 509 w 445"/>
                <a:gd name="T7" fmla="*/ 199 h 266"/>
                <a:gd name="T8" fmla="*/ 516 w 445"/>
                <a:gd name="T9" fmla="*/ 179 h 266"/>
                <a:gd name="T10" fmla="*/ 566 w 445"/>
                <a:gd name="T11" fmla="*/ 163 h 266"/>
                <a:gd name="T12" fmla="*/ 575 w 445"/>
                <a:gd name="T13" fmla="*/ 142 h 266"/>
                <a:gd name="T14" fmla="*/ 596 w 445"/>
                <a:gd name="T15" fmla="*/ 135 h 266"/>
                <a:gd name="T16" fmla="*/ 612 w 445"/>
                <a:gd name="T17" fmla="*/ 103 h 266"/>
                <a:gd name="T18" fmla="*/ 563 w 445"/>
                <a:gd name="T19" fmla="*/ 72 h 266"/>
                <a:gd name="T20" fmla="*/ 555 w 445"/>
                <a:gd name="T21" fmla="*/ 29 h 266"/>
                <a:gd name="T22" fmla="*/ 516 w 445"/>
                <a:gd name="T23" fmla="*/ 8 h 266"/>
                <a:gd name="T24" fmla="*/ 434 w 445"/>
                <a:gd name="T25" fmla="*/ 20 h 266"/>
                <a:gd name="T26" fmla="*/ 398 w 445"/>
                <a:gd name="T27" fmla="*/ 1 h 266"/>
                <a:gd name="T28" fmla="*/ 363 w 445"/>
                <a:gd name="T29" fmla="*/ 0 h 266"/>
                <a:gd name="T30" fmla="*/ 368 w 445"/>
                <a:gd name="T31" fmla="*/ 29 h 266"/>
                <a:gd name="T32" fmla="*/ 320 w 445"/>
                <a:gd name="T33" fmla="*/ 44 h 266"/>
                <a:gd name="T34" fmla="*/ 286 w 445"/>
                <a:gd name="T35" fmla="*/ 110 h 266"/>
                <a:gd name="T36" fmla="*/ 242 w 445"/>
                <a:gd name="T37" fmla="*/ 100 h 266"/>
                <a:gd name="T38" fmla="*/ 186 w 445"/>
                <a:gd name="T39" fmla="*/ 124 h 266"/>
                <a:gd name="T40" fmla="*/ 117 w 445"/>
                <a:gd name="T41" fmla="*/ 134 h 266"/>
                <a:gd name="T42" fmla="*/ 117 w 445"/>
                <a:gd name="T43" fmla="*/ 171 h 266"/>
                <a:gd name="T44" fmla="*/ 82 w 445"/>
                <a:gd name="T45" fmla="*/ 170 h 266"/>
                <a:gd name="T46" fmla="*/ 83 w 445"/>
                <a:gd name="T47" fmla="*/ 203 h 266"/>
                <a:gd name="T48" fmla="*/ 48 w 445"/>
                <a:gd name="T49" fmla="*/ 190 h 266"/>
                <a:gd name="T50" fmla="*/ 28 w 445"/>
                <a:gd name="T51" fmla="*/ 196 h 266"/>
                <a:gd name="T52" fmla="*/ 45 w 445"/>
                <a:gd name="T53" fmla="*/ 218 h 266"/>
                <a:gd name="T54" fmla="*/ 5 w 445"/>
                <a:gd name="T55" fmla="*/ 248 h 266"/>
                <a:gd name="T56" fmla="*/ 0 w 445"/>
                <a:gd name="T57" fmla="*/ 266 h 26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445"/>
                <a:gd name="T88" fmla="*/ 0 h 266"/>
                <a:gd name="T89" fmla="*/ 445 w 445"/>
                <a:gd name="T90" fmla="*/ 266 h 26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445" h="266">
                  <a:moveTo>
                    <a:pt x="0" y="266"/>
                  </a:moveTo>
                  <a:lnTo>
                    <a:pt x="108" y="249"/>
                  </a:lnTo>
                  <a:lnTo>
                    <a:pt x="108" y="237"/>
                  </a:lnTo>
                  <a:lnTo>
                    <a:pt x="370" y="199"/>
                  </a:lnTo>
                  <a:lnTo>
                    <a:pt x="374" y="179"/>
                  </a:lnTo>
                  <a:lnTo>
                    <a:pt x="412" y="163"/>
                  </a:lnTo>
                  <a:lnTo>
                    <a:pt x="417" y="142"/>
                  </a:lnTo>
                  <a:lnTo>
                    <a:pt x="433" y="135"/>
                  </a:lnTo>
                  <a:lnTo>
                    <a:pt x="445" y="103"/>
                  </a:lnTo>
                  <a:lnTo>
                    <a:pt x="409" y="72"/>
                  </a:lnTo>
                  <a:lnTo>
                    <a:pt x="403" y="29"/>
                  </a:lnTo>
                  <a:lnTo>
                    <a:pt x="374" y="8"/>
                  </a:lnTo>
                  <a:lnTo>
                    <a:pt x="316" y="20"/>
                  </a:lnTo>
                  <a:lnTo>
                    <a:pt x="289" y="1"/>
                  </a:lnTo>
                  <a:lnTo>
                    <a:pt x="263" y="0"/>
                  </a:lnTo>
                  <a:lnTo>
                    <a:pt x="268" y="29"/>
                  </a:lnTo>
                  <a:lnTo>
                    <a:pt x="232" y="44"/>
                  </a:lnTo>
                  <a:lnTo>
                    <a:pt x="208" y="110"/>
                  </a:lnTo>
                  <a:lnTo>
                    <a:pt x="175" y="100"/>
                  </a:lnTo>
                  <a:lnTo>
                    <a:pt x="136" y="124"/>
                  </a:lnTo>
                  <a:lnTo>
                    <a:pt x="85" y="134"/>
                  </a:lnTo>
                  <a:lnTo>
                    <a:pt x="85" y="171"/>
                  </a:lnTo>
                  <a:lnTo>
                    <a:pt x="60" y="170"/>
                  </a:lnTo>
                  <a:lnTo>
                    <a:pt x="61" y="203"/>
                  </a:lnTo>
                  <a:lnTo>
                    <a:pt x="35" y="190"/>
                  </a:lnTo>
                  <a:lnTo>
                    <a:pt x="20" y="196"/>
                  </a:lnTo>
                  <a:lnTo>
                    <a:pt x="33" y="218"/>
                  </a:lnTo>
                  <a:lnTo>
                    <a:pt x="5" y="248"/>
                  </a:lnTo>
                  <a:lnTo>
                    <a:pt x="0" y="26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24" name="Freeform 21">
              <a:extLst>
                <a:ext uri="{FF2B5EF4-FFF2-40B4-BE49-F238E27FC236}">
                  <a16:creationId xmlns:a16="http://schemas.microsoft.com/office/drawing/2014/main" id="{B1D0E33C-E08E-430D-923C-D48AEBEC6FCC}"/>
                </a:ext>
              </a:extLst>
            </p:cNvPr>
            <p:cNvSpPr>
              <a:spLocks/>
            </p:cNvSpPr>
            <p:nvPr/>
          </p:nvSpPr>
          <p:spPr bwMode="auto">
            <a:xfrm>
              <a:off x="5802084" y="3905250"/>
              <a:ext cx="1059332" cy="384175"/>
            </a:xfrm>
            <a:custGeom>
              <a:avLst/>
              <a:gdLst>
                <a:gd name="T0" fmla="*/ 43 w 513"/>
                <a:gd name="T1" fmla="*/ 92 h 202"/>
                <a:gd name="T2" fmla="*/ 43 w 513"/>
                <a:gd name="T3" fmla="*/ 96 h 202"/>
                <a:gd name="T4" fmla="*/ 30 w 513"/>
                <a:gd name="T5" fmla="*/ 115 h 202"/>
                <a:gd name="T6" fmla="*/ 44 w 513"/>
                <a:gd name="T7" fmla="*/ 140 h 202"/>
                <a:gd name="T8" fmla="*/ 0 w 513"/>
                <a:gd name="T9" fmla="*/ 163 h 202"/>
                <a:gd name="T10" fmla="*/ 11 w 513"/>
                <a:gd name="T11" fmla="*/ 202 h 202"/>
                <a:gd name="T12" fmla="*/ 196 w 513"/>
                <a:gd name="T13" fmla="*/ 190 h 202"/>
                <a:gd name="T14" fmla="*/ 415 w 513"/>
                <a:gd name="T15" fmla="*/ 170 h 202"/>
                <a:gd name="T16" fmla="*/ 527 w 513"/>
                <a:gd name="T17" fmla="*/ 154 h 202"/>
                <a:gd name="T18" fmla="*/ 548 w 513"/>
                <a:gd name="T19" fmla="*/ 103 h 202"/>
                <a:gd name="T20" fmla="*/ 589 w 513"/>
                <a:gd name="T21" fmla="*/ 100 h 202"/>
                <a:gd name="T22" fmla="*/ 709 w 513"/>
                <a:gd name="T23" fmla="*/ 0 h 202"/>
                <a:gd name="T24" fmla="*/ 552 w 513"/>
                <a:gd name="T25" fmla="*/ 25 h 202"/>
                <a:gd name="T26" fmla="*/ 185 w 513"/>
                <a:gd name="T27" fmla="*/ 66 h 202"/>
                <a:gd name="T28" fmla="*/ 188 w 513"/>
                <a:gd name="T29" fmla="*/ 78 h 202"/>
                <a:gd name="T30" fmla="*/ 43 w 513"/>
                <a:gd name="T31" fmla="*/ 92 h 20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13"/>
                <a:gd name="T49" fmla="*/ 0 h 202"/>
                <a:gd name="T50" fmla="*/ 513 w 513"/>
                <a:gd name="T51" fmla="*/ 202 h 20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13" h="202">
                  <a:moveTo>
                    <a:pt x="31" y="92"/>
                  </a:moveTo>
                  <a:lnTo>
                    <a:pt x="31" y="96"/>
                  </a:lnTo>
                  <a:lnTo>
                    <a:pt x="22" y="115"/>
                  </a:lnTo>
                  <a:lnTo>
                    <a:pt x="32" y="140"/>
                  </a:lnTo>
                  <a:lnTo>
                    <a:pt x="0" y="163"/>
                  </a:lnTo>
                  <a:lnTo>
                    <a:pt x="7" y="202"/>
                  </a:lnTo>
                  <a:lnTo>
                    <a:pt x="142" y="190"/>
                  </a:lnTo>
                  <a:lnTo>
                    <a:pt x="301" y="170"/>
                  </a:lnTo>
                  <a:lnTo>
                    <a:pt x="381" y="154"/>
                  </a:lnTo>
                  <a:lnTo>
                    <a:pt x="398" y="103"/>
                  </a:lnTo>
                  <a:lnTo>
                    <a:pt x="426" y="100"/>
                  </a:lnTo>
                  <a:lnTo>
                    <a:pt x="513" y="0"/>
                  </a:lnTo>
                  <a:lnTo>
                    <a:pt x="400" y="25"/>
                  </a:lnTo>
                  <a:lnTo>
                    <a:pt x="135" y="66"/>
                  </a:lnTo>
                  <a:lnTo>
                    <a:pt x="137" y="78"/>
                  </a:lnTo>
                  <a:lnTo>
                    <a:pt x="31" y="92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25" name="Freeform 22">
              <a:extLst>
                <a:ext uri="{FF2B5EF4-FFF2-40B4-BE49-F238E27FC236}">
                  <a16:creationId xmlns:a16="http://schemas.microsoft.com/office/drawing/2014/main" id="{0598434B-8DC1-4049-8FAA-E6DCA9C23549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9840" y="4787900"/>
              <a:ext cx="1159074" cy="777875"/>
            </a:xfrm>
            <a:custGeom>
              <a:avLst/>
              <a:gdLst>
                <a:gd name="T0" fmla="*/ 0 w 561"/>
                <a:gd name="T1" fmla="*/ 39 h 409"/>
                <a:gd name="T2" fmla="*/ 212 w 561"/>
                <a:gd name="T3" fmla="*/ 23 h 409"/>
                <a:gd name="T4" fmla="*/ 234 w 561"/>
                <a:gd name="T5" fmla="*/ 50 h 409"/>
                <a:gd name="T6" fmla="*/ 463 w 561"/>
                <a:gd name="T7" fmla="*/ 23 h 409"/>
                <a:gd name="T8" fmla="*/ 502 w 561"/>
                <a:gd name="T9" fmla="*/ 45 h 409"/>
                <a:gd name="T10" fmla="*/ 502 w 561"/>
                <a:gd name="T11" fmla="*/ 3 h 409"/>
                <a:gd name="T12" fmla="*/ 500 w 561"/>
                <a:gd name="T13" fmla="*/ 0 h 409"/>
                <a:gd name="T14" fmla="*/ 545 w 561"/>
                <a:gd name="T15" fmla="*/ 2 h 409"/>
                <a:gd name="T16" fmla="*/ 593 w 561"/>
                <a:gd name="T17" fmla="*/ 65 h 409"/>
                <a:gd name="T18" fmla="*/ 670 w 561"/>
                <a:gd name="T19" fmla="*/ 151 h 409"/>
                <a:gd name="T20" fmla="*/ 709 w 561"/>
                <a:gd name="T21" fmla="*/ 225 h 409"/>
                <a:gd name="T22" fmla="*/ 763 w 561"/>
                <a:gd name="T23" fmla="*/ 277 h 409"/>
                <a:gd name="T24" fmla="*/ 774 w 561"/>
                <a:gd name="T25" fmla="*/ 352 h 409"/>
                <a:gd name="T26" fmla="*/ 756 w 561"/>
                <a:gd name="T27" fmla="*/ 397 h 409"/>
                <a:gd name="T28" fmla="*/ 674 w 561"/>
                <a:gd name="T29" fmla="*/ 409 h 409"/>
                <a:gd name="T30" fmla="*/ 660 w 561"/>
                <a:gd name="T31" fmla="*/ 390 h 409"/>
                <a:gd name="T32" fmla="*/ 604 w 561"/>
                <a:gd name="T33" fmla="*/ 363 h 409"/>
                <a:gd name="T34" fmla="*/ 586 w 561"/>
                <a:gd name="T35" fmla="*/ 335 h 409"/>
                <a:gd name="T36" fmla="*/ 571 w 561"/>
                <a:gd name="T37" fmla="*/ 324 h 409"/>
                <a:gd name="T38" fmla="*/ 561 w 561"/>
                <a:gd name="T39" fmla="*/ 298 h 409"/>
                <a:gd name="T40" fmla="*/ 547 w 561"/>
                <a:gd name="T41" fmla="*/ 305 h 409"/>
                <a:gd name="T42" fmla="*/ 502 w 561"/>
                <a:gd name="T43" fmla="*/ 271 h 409"/>
                <a:gd name="T44" fmla="*/ 514 w 561"/>
                <a:gd name="T45" fmla="*/ 239 h 409"/>
                <a:gd name="T46" fmla="*/ 502 w 561"/>
                <a:gd name="T47" fmla="*/ 222 h 409"/>
                <a:gd name="T48" fmla="*/ 489 w 561"/>
                <a:gd name="T49" fmla="*/ 228 h 409"/>
                <a:gd name="T50" fmla="*/ 490 w 561"/>
                <a:gd name="T51" fmla="*/ 246 h 409"/>
                <a:gd name="T52" fmla="*/ 475 w 561"/>
                <a:gd name="T53" fmla="*/ 222 h 409"/>
                <a:gd name="T54" fmla="*/ 476 w 561"/>
                <a:gd name="T55" fmla="*/ 164 h 409"/>
                <a:gd name="T56" fmla="*/ 448 w 561"/>
                <a:gd name="T57" fmla="*/ 130 h 409"/>
                <a:gd name="T58" fmla="*/ 376 w 561"/>
                <a:gd name="T59" fmla="*/ 102 h 409"/>
                <a:gd name="T60" fmla="*/ 339 w 561"/>
                <a:gd name="T61" fmla="*/ 70 h 409"/>
                <a:gd name="T62" fmla="*/ 298 w 561"/>
                <a:gd name="T63" fmla="*/ 67 h 409"/>
                <a:gd name="T64" fmla="*/ 282 w 561"/>
                <a:gd name="T65" fmla="*/ 87 h 409"/>
                <a:gd name="T66" fmla="*/ 222 w 561"/>
                <a:gd name="T67" fmla="*/ 101 h 409"/>
                <a:gd name="T68" fmla="*/ 185 w 561"/>
                <a:gd name="T69" fmla="*/ 87 h 409"/>
                <a:gd name="T70" fmla="*/ 168 w 561"/>
                <a:gd name="T71" fmla="*/ 65 h 409"/>
                <a:gd name="T72" fmla="*/ 55 w 561"/>
                <a:gd name="T73" fmla="*/ 84 h 409"/>
                <a:gd name="T74" fmla="*/ 31 w 561"/>
                <a:gd name="T75" fmla="*/ 69 h 409"/>
                <a:gd name="T76" fmla="*/ 4 w 561"/>
                <a:gd name="T77" fmla="*/ 85 h 409"/>
                <a:gd name="T78" fmla="*/ 0 w 561"/>
                <a:gd name="T79" fmla="*/ 39 h 409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561"/>
                <a:gd name="T121" fmla="*/ 0 h 409"/>
                <a:gd name="T122" fmla="*/ 561 w 561"/>
                <a:gd name="T123" fmla="*/ 409 h 409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561" h="409">
                  <a:moveTo>
                    <a:pt x="0" y="39"/>
                  </a:moveTo>
                  <a:lnTo>
                    <a:pt x="154" y="23"/>
                  </a:lnTo>
                  <a:lnTo>
                    <a:pt x="170" y="50"/>
                  </a:lnTo>
                  <a:lnTo>
                    <a:pt x="336" y="23"/>
                  </a:lnTo>
                  <a:lnTo>
                    <a:pt x="364" y="45"/>
                  </a:lnTo>
                  <a:lnTo>
                    <a:pt x="364" y="3"/>
                  </a:lnTo>
                  <a:lnTo>
                    <a:pt x="362" y="0"/>
                  </a:lnTo>
                  <a:lnTo>
                    <a:pt x="395" y="2"/>
                  </a:lnTo>
                  <a:lnTo>
                    <a:pt x="430" y="65"/>
                  </a:lnTo>
                  <a:lnTo>
                    <a:pt x="485" y="151"/>
                  </a:lnTo>
                  <a:lnTo>
                    <a:pt x="513" y="225"/>
                  </a:lnTo>
                  <a:lnTo>
                    <a:pt x="554" y="277"/>
                  </a:lnTo>
                  <a:lnTo>
                    <a:pt x="561" y="352"/>
                  </a:lnTo>
                  <a:lnTo>
                    <a:pt x="548" y="397"/>
                  </a:lnTo>
                  <a:lnTo>
                    <a:pt x="489" y="409"/>
                  </a:lnTo>
                  <a:lnTo>
                    <a:pt x="479" y="390"/>
                  </a:lnTo>
                  <a:lnTo>
                    <a:pt x="437" y="363"/>
                  </a:lnTo>
                  <a:lnTo>
                    <a:pt x="424" y="335"/>
                  </a:lnTo>
                  <a:lnTo>
                    <a:pt x="413" y="324"/>
                  </a:lnTo>
                  <a:lnTo>
                    <a:pt x="407" y="298"/>
                  </a:lnTo>
                  <a:lnTo>
                    <a:pt x="397" y="305"/>
                  </a:lnTo>
                  <a:lnTo>
                    <a:pt x="364" y="271"/>
                  </a:lnTo>
                  <a:lnTo>
                    <a:pt x="372" y="239"/>
                  </a:lnTo>
                  <a:lnTo>
                    <a:pt x="364" y="222"/>
                  </a:lnTo>
                  <a:lnTo>
                    <a:pt x="354" y="228"/>
                  </a:lnTo>
                  <a:lnTo>
                    <a:pt x="355" y="246"/>
                  </a:lnTo>
                  <a:lnTo>
                    <a:pt x="344" y="222"/>
                  </a:lnTo>
                  <a:lnTo>
                    <a:pt x="345" y="164"/>
                  </a:lnTo>
                  <a:lnTo>
                    <a:pt x="325" y="130"/>
                  </a:lnTo>
                  <a:lnTo>
                    <a:pt x="272" y="102"/>
                  </a:lnTo>
                  <a:lnTo>
                    <a:pt x="246" y="70"/>
                  </a:lnTo>
                  <a:lnTo>
                    <a:pt x="216" y="67"/>
                  </a:lnTo>
                  <a:lnTo>
                    <a:pt x="204" y="87"/>
                  </a:lnTo>
                  <a:lnTo>
                    <a:pt x="161" y="101"/>
                  </a:lnTo>
                  <a:lnTo>
                    <a:pt x="135" y="87"/>
                  </a:lnTo>
                  <a:lnTo>
                    <a:pt x="122" y="65"/>
                  </a:lnTo>
                  <a:lnTo>
                    <a:pt x="40" y="84"/>
                  </a:lnTo>
                  <a:lnTo>
                    <a:pt x="23" y="69"/>
                  </a:lnTo>
                  <a:lnTo>
                    <a:pt x="4" y="85"/>
                  </a:lnTo>
                  <a:lnTo>
                    <a:pt x="0" y="39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26" name="Freeform 23">
              <a:extLst>
                <a:ext uri="{FF2B5EF4-FFF2-40B4-BE49-F238E27FC236}">
                  <a16:creationId xmlns:a16="http://schemas.microsoft.com/office/drawing/2014/main" id="{72F953FE-3F68-4F3A-B005-4D0BBC04CB84}"/>
                </a:ext>
              </a:extLst>
            </p:cNvPr>
            <p:cNvSpPr>
              <a:spLocks/>
            </p:cNvSpPr>
            <p:nvPr/>
          </p:nvSpPr>
          <p:spPr bwMode="auto">
            <a:xfrm>
              <a:off x="6696324" y="3260725"/>
              <a:ext cx="529666" cy="549275"/>
            </a:xfrm>
            <a:custGeom>
              <a:avLst/>
              <a:gdLst>
                <a:gd name="T0" fmla="*/ 36 w 256"/>
                <a:gd name="T1" fmla="*/ 150 h 288"/>
                <a:gd name="T2" fmla="*/ 10 w 256"/>
                <a:gd name="T3" fmla="*/ 144 h 288"/>
                <a:gd name="T4" fmla="*/ 0 w 256"/>
                <a:gd name="T5" fmla="*/ 190 h 288"/>
                <a:gd name="T6" fmla="*/ 10 w 256"/>
                <a:gd name="T7" fmla="*/ 239 h 288"/>
                <a:gd name="T8" fmla="*/ 60 w 256"/>
                <a:gd name="T9" fmla="*/ 271 h 288"/>
                <a:gd name="T10" fmla="*/ 72 w 256"/>
                <a:gd name="T11" fmla="*/ 288 h 288"/>
                <a:gd name="T12" fmla="*/ 138 w 256"/>
                <a:gd name="T13" fmla="*/ 271 h 288"/>
                <a:gd name="T14" fmla="*/ 215 w 256"/>
                <a:gd name="T15" fmla="*/ 233 h 288"/>
                <a:gd name="T16" fmla="*/ 238 w 256"/>
                <a:gd name="T17" fmla="*/ 148 h 288"/>
                <a:gd name="T18" fmla="*/ 288 w 256"/>
                <a:gd name="T19" fmla="*/ 126 h 288"/>
                <a:gd name="T20" fmla="*/ 316 w 256"/>
                <a:gd name="T21" fmla="*/ 74 h 288"/>
                <a:gd name="T22" fmla="*/ 356 w 256"/>
                <a:gd name="T23" fmla="*/ 60 h 288"/>
                <a:gd name="T24" fmla="*/ 303 w 256"/>
                <a:gd name="T25" fmla="*/ 53 h 288"/>
                <a:gd name="T26" fmla="*/ 214 w 256"/>
                <a:gd name="T27" fmla="*/ 90 h 288"/>
                <a:gd name="T28" fmla="*/ 200 w 256"/>
                <a:gd name="T29" fmla="*/ 54 h 288"/>
                <a:gd name="T30" fmla="*/ 123 w 256"/>
                <a:gd name="T31" fmla="*/ 57 h 288"/>
                <a:gd name="T32" fmla="*/ 104 w 256"/>
                <a:gd name="T33" fmla="*/ 0 h 288"/>
                <a:gd name="T34" fmla="*/ 85 w 256"/>
                <a:gd name="T35" fmla="*/ 15 h 288"/>
                <a:gd name="T36" fmla="*/ 91 w 256"/>
                <a:gd name="T37" fmla="*/ 97 h 288"/>
                <a:gd name="T38" fmla="*/ 55 w 256"/>
                <a:gd name="T39" fmla="*/ 104 h 288"/>
                <a:gd name="T40" fmla="*/ 36 w 256"/>
                <a:gd name="T41" fmla="*/ 150 h 288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256"/>
                <a:gd name="T64" fmla="*/ 0 h 288"/>
                <a:gd name="T65" fmla="*/ 256 w 256"/>
                <a:gd name="T66" fmla="*/ 288 h 288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256" h="288">
                  <a:moveTo>
                    <a:pt x="26" y="150"/>
                  </a:moveTo>
                  <a:lnTo>
                    <a:pt x="6" y="144"/>
                  </a:lnTo>
                  <a:lnTo>
                    <a:pt x="0" y="190"/>
                  </a:lnTo>
                  <a:lnTo>
                    <a:pt x="6" y="239"/>
                  </a:lnTo>
                  <a:lnTo>
                    <a:pt x="43" y="271"/>
                  </a:lnTo>
                  <a:lnTo>
                    <a:pt x="52" y="288"/>
                  </a:lnTo>
                  <a:lnTo>
                    <a:pt x="99" y="271"/>
                  </a:lnTo>
                  <a:lnTo>
                    <a:pt x="155" y="233"/>
                  </a:lnTo>
                  <a:lnTo>
                    <a:pt x="171" y="148"/>
                  </a:lnTo>
                  <a:lnTo>
                    <a:pt x="207" y="126"/>
                  </a:lnTo>
                  <a:lnTo>
                    <a:pt x="227" y="74"/>
                  </a:lnTo>
                  <a:lnTo>
                    <a:pt x="256" y="60"/>
                  </a:lnTo>
                  <a:lnTo>
                    <a:pt x="218" y="53"/>
                  </a:lnTo>
                  <a:lnTo>
                    <a:pt x="154" y="90"/>
                  </a:lnTo>
                  <a:lnTo>
                    <a:pt x="144" y="54"/>
                  </a:lnTo>
                  <a:lnTo>
                    <a:pt x="88" y="57"/>
                  </a:lnTo>
                  <a:lnTo>
                    <a:pt x="75" y="0"/>
                  </a:lnTo>
                  <a:lnTo>
                    <a:pt x="61" y="15"/>
                  </a:lnTo>
                  <a:lnTo>
                    <a:pt x="65" y="97"/>
                  </a:lnTo>
                  <a:lnTo>
                    <a:pt x="40" y="104"/>
                  </a:lnTo>
                  <a:lnTo>
                    <a:pt x="26" y="15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27" name="Freeform 24">
              <a:extLst>
                <a:ext uri="{FF2B5EF4-FFF2-40B4-BE49-F238E27FC236}">
                  <a16:creationId xmlns:a16="http://schemas.microsoft.com/office/drawing/2014/main" id="{6EF5E097-F6CA-4844-BDD5-32B172EB9610}"/>
                </a:ext>
              </a:extLst>
            </p:cNvPr>
            <p:cNvSpPr>
              <a:spLocks/>
            </p:cNvSpPr>
            <p:nvPr/>
          </p:nvSpPr>
          <p:spPr bwMode="auto">
            <a:xfrm>
              <a:off x="7492543" y="2346325"/>
              <a:ext cx="208082" cy="384175"/>
            </a:xfrm>
            <a:custGeom>
              <a:avLst/>
              <a:gdLst>
                <a:gd name="T0" fmla="*/ 0 w 101"/>
                <a:gd name="T1" fmla="*/ 21 h 202"/>
                <a:gd name="T2" fmla="*/ 100 w 101"/>
                <a:gd name="T3" fmla="*/ 0 h 202"/>
                <a:gd name="T4" fmla="*/ 137 w 101"/>
                <a:gd name="T5" fmla="*/ 55 h 202"/>
                <a:gd name="T6" fmla="*/ 118 w 101"/>
                <a:gd name="T7" fmla="*/ 70 h 202"/>
                <a:gd name="T8" fmla="*/ 126 w 101"/>
                <a:gd name="T9" fmla="*/ 192 h 202"/>
                <a:gd name="T10" fmla="*/ 68 w 101"/>
                <a:gd name="T11" fmla="*/ 202 h 202"/>
                <a:gd name="T12" fmla="*/ 39 w 101"/>
                <a:gd name="T13" fmla="*/ 152 h 202"/>
                <a:gd name="T14" fmla="*/ 38 w 101"/>
                <a:gd name="T15" fmla="*/ 92 h 202"/>
                <a:gd name="T16" fmla="*/ 13 w 101"/>
                <a:gd name="T17" fmla="*/ 74 h 202"/>
                <a:gd name="T18" fmla="*/ 0 w 101"/>
                <a:gd name="T19" fmla="*/ 21 h 20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01"/>
                <a:gd name="T31" fmla="*/ 0 h 202"/>
                <a:gd name="T32" fmla="*/ 101 w 101"/>
                <a:gd name="T33" fmla="*/ 202 h 20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01" h="202">
                  <a:moveTo>
                    <a:pt x="0" y="21"/>
                  </a:moveTo>
                  <a:lnTo>
                    <a:pt x="74" y="0"/>
                  </a:lnTo>
                  <a:lnTo>
                    <a:pt x="101" y="55"/>
                  </a:lnTo>
                  <a:lnTo>
                    <a:pt x="87" y="70"/>
                  </a:lnTo>
                  <a:lnTo>
                    <a:pt x="93" y="192"/>
                  </a:lnTo>
                  <a:lnTo>
                    <a:pt x="50" y="202"/>
                  </a:lnTo>
                  <a:lnTo>
                    <a:pt x="29" y="152"/>
                  </a:lnTo>
                  <a:lnTo>
                    <a:pt x="28" y="92"/>
                  </a:lnTo>
                  <a:lnTo>
                    <a:pt x="9" y="74"/>
                  </a:lnTo>
                  <a:lnTo>
                    <a:pt x="0" y="21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28" name="Freeform 25">
              <a:extLst>
                <a:ext uri="{FF2B5EF4-FFF2-40B4-BE49-F238E27FC236}">
                  <a16:creationId xmlns:a16="http://schemas.microsoft.com/office/drawing/2014/main" id="{D2A0A74E-91D7-4D20-86F1-DD0D42739559}"/>
                </a:ext>
              </a:extLst>
            </p:cNvPr>
            <p:cNvSpPr>
              <a:spLocks/>
            </p:cNvSpPr>
            <p:nvPr/>
          </p:nvSpPr>
          <p:spPr bwMode="auto">
            <a:xfrm>
              <a:off x="7592286" y="2647950"/>
              <a:ext cx="445400" cy="201613"/>
            </a:xfrm>
            <a:custGeom>
              <a:avLst/>
              <a:gdLst>
                <a:gd name="T0" fmla="*/ 0 w 216"/>
                <a:gd name="T1" fmla="*/ 42 h 106"/>
                <a:gd name="T2" fmla="*/ 152 w 216"/>
                <a:gd name="T3" fmla="*/ 13 h 106"/>
                <a:gd name="T4" fmla="*/ 169 w 216"/>
                <a:gd name="T5" fmla="*/ 14 h 106"/>
                <a:gd name="T6" fmla="*/ 187 w 216"/>
                <a:gd name="T7" fmla="*/ 0 h 106"/>
                <a:gd name="T8" fmla="*/ 203 w 216"/>
                <a:gd name="T9" fmla="*/ 7 h 106"/>
                <a:gd name="T10" fmla="*/ 184 w 216"/>
                <a:gd name="T11" fmla="*/ 37 h 106"/>
                <a:gd name="T12" fmla="*/ 216 w 216"/>
                <a:gd name="T13" fmla="*/ 35 h 106"/>
                <a:gd name="T14" fmla="*/ 234 w 216"/>
                <a:gd name="T15" fmla="*/ 59 h 106"/>
                <a:gd name="T16" fmla="*/ 257 w 216"/>
                <a:gd name="T17" fmla="*/ 61 h 106"/>
                <a:gd name="T18" fmla="*/ 271 w 216"/>
                <a:gd name="T19" fmla="*/ 57 h 106"/>
                <a:gd name="T20" fmla="*/ 271 w 216"/>
                <a:gd name="T21" fmla="*/ 44 h 106"/>
                <a:gd name="T22" fmla="*/ 245 w 216"/>
                <a:gd name="T23" fmla="*/ 28 h 106"/>
                <a:gd name="T24" fmla="*/ 264 w 216"/>
                <a:gd name="T25" fmla="*/ 27 h 106"/>
                <a:gd name="T26" fmla="*/ 297 w 216"/>
                <a:gd name="T27" fmla="*/ 62 h 106"/>
                <a:gd name="T28" fmla="*/ 265 w 216"/>
                <a:gd name="T29" fmla="*/ 83 h 106"/>
                <a:gd name="T30" fmla="*/ 230 w 216"/>
                <a:gd name="T31" fmla="*/ 73 h 106"/>
                <a:gd name="T32" fmla="*/ 209 w 216"/>
                <a:gd name="T33" fmla="*/ 98 h 106"/>
                <a:gd name="T34" fmla="*/ 164 w 216"/>
                <a:gd name="T35" fmla="*/ 73 h 106"/>
                <a:gd name="T36" fmla="*/ 13 w 216"/>
                <a:gd name="T37" fmla="*/ 106 h 106"/>
                <a:gd name="T38" fmla="*/ 0 w 216"/>
                <a:gd name="T39" fmla="*/ 42 h 10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16"/>
                <a:gd name="T61" fmla="*/ 0 h 106"/>
                <a:gd name="T62" fmla="*/ 216 w 216"/>
                <a:gd name="T63" fmla="*/ 106 h 10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16" h="106">
                  <a:moveTo>
                    <a:pt x="0" y="42"/>
                  </a:moveTo>
                  <a:lnTo>
                    <a:pt x="110" y="13"/>
                  </a:lnTo>
                  <a:lnTo>
                    <a:pt x="123" y="14"/>
                  </a:lnTo>
                  <a:lnTo>
                    <a:pt x="137" y="0"/>
                  </a:lnTo>
                  <a:lnTo>
                    <a:pt x="148" y="7"/>
                  </a:lnTo>
                  <a:lnTo>
                    <a:pt x="134" y="37"/>
                  </a:lnTo>
                  <a:lnTo>
                    <a:pt x="157" y="35"/>
                  </a:lnTo>
                  <a:lnTo>
                    <a:pt x="170" y="59"/>
                  </a:lnTo>
                  <a:lnTo>
                    <a:pt x="186" y="61"/>
                  </a:lnTo>
                  <a:lnTo>
                    <a:pt x="197" y="57"/>
                  </a:lnTo>
                  <a:lnTo>
                    <a:pt x="197" y="44"/>
                  </a:lnTo>
                  <a:lnTo>
                    <a:pt x="178" y="28"/>
                  </a:lnTo>
                  <a:lnTo>
                    <a:pt x="192" y="27"/>
                  </a:lnTo>
                  <a:lnTo>
                    <a:pt x="216" y="62"/>
                  </a:lnTo>
                  <a:lnTo>
                    <a:pt x="193" y="83"/>
                  </a:lnTo>
                  <a:lnTo>
                    <a:pt x="167" y="73"/>
                  </a:lnTo>
                  <a:lnTo>
                    <a:pt x="151" y="98"/>
                  </a:lnTo>
                  <a:lnTo>
                    <a:pt x="118" y="73"/>
                  </a:lnTo>
                  <a:lnTo>
                    <a:pt x="9" y="106"/>
                  </a:lnTo>
                  <a:lnTo>
                    <a:pt x="0" y="42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29" name="Freeform 26">
              <a:extLst>
                <a:ext uri="{FF2B5EF4-FFF2-40B4-BE49-F238E27FC236}">
                  <a16:creationId xmlns:a16="http://schemas.microsoft.com/office/drawing/2014/main" id="{9E18E62C-FFEE-40EB-ACBE-CD85B312D72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43876" y="2271713"/>
              <a:ext cx="245916" cy="434975"/>
            </a:xfrm>
            <a:custGeom>
              <a:avLst/>
              <a:gdLst>
                <a:gd name="T0" fmla="*/ 34 w 119"/>
                <a:gd name="T1" fmla="*/ 0 h 228"/>
                <a:gd name="T2" fmla="*/ 0 w 119"/>
                <a:gd name="T3" fmla="*/ 40 h 228"/>
                <a:gd name="T4" fmla="*/ 37 w 119"/>
                <a:gd name="T5" fmla="*/ 93 h 228"/>
                <a:gd name="T6" fmla="*/ 15 w 119"/>
                <a:gd name="T7" fmla="*/ 107 h 228"/>
                <a:gd name="T8" fmla="*/ 24 w 119"/>
                <a:gd name="T9" fmla="*/ 228 h 228"/>
                <a:gd name="T10" fmla="*/ 116 w 119"/>
                <a:gd name="T11" fmla="*/ 211 h 228"/>
                <a:gd name="T12" fmla="*/ 141 w 119"/>
                <a:gd name="T13" fmla="*/ 211 h 228"/>
                <a:gd name="T14" fmla="*/ 154 w 119"/>
                <a:gd name="T15" fmla="*/ 198 h 228"/>
                <a:gd name="T16" fmla="*/ 154 w 119"/>
                <a:gd name="T17" fmla="*/ 176 h 228"/>
                <a:gd name="T18" fmla="*/ 165 w 119"/>
                <a:gd name="T19" fmla="*/ 161 h 228"/>
                <a:gd name="T20" fmla="*/ 113 w 119"/>
                <a:gd name="T21" fmla="*/ 144 h 228"/>
                <a:gd name="T22" fmla="*/ 47 w 119"/>
                <a:gd name="T23" fmla="*/ 11 h 228"/>
                <a:gd name="T24" fmla="*/ 34 w 119"/>
                <a:gd name="T25" fmla="*/ 0 h 22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19"/>
                <a:gd name="T40" fmla="*/ 0 h 228"/>
                <a:gd name="T41" fmla="*/ 119 w 119"/>
                <a:gd name="T42" fmla="*/ 228 h 228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19" h="228">
                  <a:moveTo>
                    <a:pt x="25" y="0"/>
                  </a:moveTo>
                  <a:lnTo>
                    <a:pt x="0" y="40"/>
                  </a:lnTo>
                  <a:lnTo>
                    <a:pt x="27" y="93"/>
                  </a:lnTo>
                  <a:lnTo>
                    <a:pt x="11" y="107"/>
                  </a:lnTo>
                  <a:lnTo>
                    <a:pt x="17" y="228"/>
                  </a:lnTo>
                  <a:lnTo>
                    <a:pt x="84" y="211"/>
                  </a:lnTo>
                  <a:lnTo>
                    <a:pt x="102" y="211"/>
                  </a:lnTo>
                  <a:lnTo>
                    <a:pt x="112" y="198"/>
                  </a:lnTo>
                  <a:lnTo>
                    <a:pt x="112" y="176"/>
                  </a:lnTo>
                  <a:lnTo>
                    <a:pt x="119" y="161"/>
                  </a:lnTo>
                  <a:lnTo>
                    <a:pt x="82" y="144"/>
                  </a:lnTo>
                  <a:lnTo>
                    <a:pt x="34" y="11"/>
                  </a:lnTo>
                  <a:lnTo>
                    <a:pt x="25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1366E7EF-7CDE-4DE0-9260-74B249B9B079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199628" y="2176832"/>
              <a:ext cx="5701793" cy="2675059"/>
              <a:chOff x="1657" y="1277"/>
              <a:chExt cx="2764" cy="1404"/>
            </a:xfrm>
            <a:grpFill/>
          </p:grpSpPr>
          <p:sp>
            <p:nvSpPr>
              <p:cNvPr id="44" name="Freeform 28">
                <a:extLst>
                  <a:ext uri="{FF2B5EF4-FFF2-40B4-BE49-F238E27FC236}">
                    <a16:creationId xmlns:a16="http://schemas.microsoft.com/office/drawing/2014/main" id="{9D75BDA7-5A83-4C19-93E2-4E7BD2AF10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57" y="1722"/>
                <a:ext cx="388" cy="629"/>
              </a:xfrm>
              <a:custGeom>
                <a:avLst/>
                <a:gdLst>
                  <a:gd name="T0" fmla="*/ 50 w 388"/>
                  <a:gd name="T1" fmla="*/ 0 h 629"/>
                  <a:gd name="T2" fmla="*/ 0 w 388"/>
                  <a:gd name="T3" fmla="*/ 250 h 629"/>
                  <a:gd name="T4" fmla="*/ 264 w 388"/>
                  <a:gd name="T5" fmla="*/ 629 h 629"/>
                  <a:gd name="T6" fmla="*/ 281 w 388"/>
                  <a:gd name="T7" fmla="*/ 613 h 629"/>
                  <a:gd name="T8" fmla="*/ 279 w 388"/>
                  <a:gd name="T9" fmla="*/ 538 h 629"/>
                  <a:gd name="T10" fmla="*/ 312 w 388"/>
                  <a:gd name="T11" fmla="*/ 544 h 629"/>
                  <a:gd name="T12" fmla="*/ 346 w 388"/>
                  <a:gd name="T13" fmla="*/ 313 h 629"/>
                  <a:gd name="T14" fmla="*/ 369 w 388"/>
                  <a:gd name="T15" fmla="*/ 157 h 629"/>
                  <a:gd name="T16" fmla="*/ 376 w 388"/>
                  <a:gd name="T17" fmla="*/ 110 h 629"/>
                  <a:gd name="T18" fmla="*/ 388 w 388"/>
                  <a:gd name="T19" fmla="*/ 67 h 629"/>
                  <a:gd name="T20" fmla="*/ 214 w 388"/>
                  <a:gd name="T21" fmla="*/ 38 h 629"/>
                  <a:gd name="T22" fmla="*/ 50 w 388"/>
                  <a:gd name="T23" fmla="*/ 0 h 629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388"/>
                  <a:gd name="T37" fmla="*/ 0 h 629"/>
                  <a:gd name="T38" fmla="*/ 388 w 388"/>
                  <a:gd name="T39" fmla="*/ 629 h 629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388" h="629">
                    <a:moveTo>
                      <a:pt x="50" y="0"/>
                    </a:moveTo>
                    <a:lnTo>
                      <a:pt x="0" y="250"/>
                    </a:lnTo>
                    <a:lnTo>
                      <a:pt x="264" y="629"/>
                    </a:lnTo>
                    <a:lnTo>
                      <a:pt x="281" y="613"/>
                    </a:lnTo>
                    <a:lnTo>
                      <a:pt x="279" y="538"/>
                    </a:lnTo>
                    <a:lnTo>
                      <a:pt x="312" y="544"/>
                    </a:lnTo>
                    <a:lnTo>
                      <a:pt x="346" y="313"/>
                    </a:lnTo>
                    <a:lnTo>
                      <a:pt x="369" y="157"/>
                    </a:lnTo>
                    <a:lnTo>
                      <a:pt x="376" y="110"/>
                    </a:lnTo>
                    <a:lnTo>
                      <a:pt x="388" y="67"/>
                    </a:lnTo>
                    <a:lnTo>
                      <a:pt x="214" y="38"/>
                    </a:lnTo>
                    <a:lnTo>
                      <a:pt x="50" y="0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/>
              </a:p>
            </p:txBody>
          </p:sp>
          <p:sp>
            <p:nvSpPr>
              <p:cNvPr id="45" name="Freeform 29">
                <a:extLst>
                  <a:ext uri="{FF2B5EF4-FFF2-40B4-BE49-F238E27FC236}">
                    <a16:creationId xmlns:a16="http://schemas.microsoft.com/office/drawing/2014/main" id="{053F844D-2F18-408E-8245-95FB5369AB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78" y="1791"/>
                <a:ext cx="324" cy="449"/>
              </a:xfrm>
              <a:custGeom>
                <a:avLst/>
                <a:gdLst>
                  <a:gd name="T0" fmla="*/ 60 w 324"/>
                  <a:gd name="T1" fmla="*/ 0 h 449"/>
                  <a:gd name="T2" fmla="*/ 219 w 324"/>
                  <a:gd name="T3" fmla="*/ 23 h 449"/>
                  <a:gd name="T4" fmla="*/ 208 w 324"/>
                  <a:gd name="T5" fmla="*/ 109 h 449"/>
                  <a:gd name="T6" fmla="*/ 324 w 324"/>
                  <a:gd name="T7" fmla="*/ 121 h 449"/>
                  <a:gd name="T8" fmla="*/ 292 w 324"/>
                  <a:gd name="T9" fmla="*/ 449 h 449"/>
                  <a:gd name="T10" fmla="*/ 0 w 324"/>
                  <a:gd name="T11" fmla="*/ 415 h 449"/>
                  <a:gd name="T12" fmla="*/ 30 w 324"/>
                  <a:gd name="T13" fmla="*/ 205 h 449"/>
                  <a:gd name="T14" fmla="*/ 60 w 324"/>
                  <a:gd name="T15" fmla="*/ 0 h 44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24"/>
                  <a:gd name="T25" fmla="*/ 0 h 449"/>
                  <a:gd name="T26" fmla="*/ 324 w 324"/>
                  <a:gd name="T27" fmla="*/ 449 h 449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24" h="449">
                    <a:moveTo>
                      <a:pt x="60" y="0"/>
                    </a:moveTo>
                    <a:lnTo>
                      <a:pt x="219" y="23"/>
                    </a:lnTo>
                    <a:lnTo>
                      <a:pt x="208" y="109"/>
                    </a:lnTo>
                    <a:lnTo>
                      <a:pt x="324" y="121"/>
                    </a:lnTo>
                    <a:lnTo>
                      <a:pt x="292" y="449"/>
                    </a:lnTo>
                    <a:lnTo>
                      <a:pt x="0" y="415"/>
                    </a:lnTo>
                    <a:lnTo>
                      <a:pt x="30" y="205"/>
                    </a:lnTo>
                    <a:lnTo>
                      <a:pt x="60" y="0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/>
              </a:p>
            </p:txBody>
          </p:sp>
          <p:sp>
            <p:nvSpPr>
              <p:cNvPr id="46" name="Freeform 30">
                <a:extLst>
                  <a:ext uri="{FF2B5EF4-FFF2-40B4-BE49-F238E27FC236}">
                    <a16:creationId xmlns:a16="http://schemas.microsoft.com/office/drawing/2014/main" id="{52FC6EAD-0A95-4201-B288-8BB0433192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83" y="1571"/>
                <a:ext cx="415" cy="365"/>
              </a:xfrm>
              <a:custGeom>
                <a:avLst/>
                <a:gdLst>
                  <a:gd name="T0" fmla="*/ 40 w 415"/>
                  <a:gd name="T1" fmla="*/ 0 h 365"/>
                  <a:gd name="T2" fmla="*/ 25 w 415"/>
                  <a:gd name="T3" fmla="*/ 136 h 365"/>
                  <a:gd name="T4" fmla="*/ 0 w 415"/>
                  <a:gd name="T5" fmla="*/ 331 h 365"/>
                  <a:gd name="T6" fmla="*/ 120 w 415"/>
                  <a:gd name="T7" fmla="*/ 342 h 365"/>
                  <a:gd name="T8" fmla="*/ 401 w 415"/>
                  <a:gd name="T9" fmla="*/ 365 h 365"/>
                  <a:gd name="T10" fmla="*/ 415 w 415"/>
                  <a:gd name="T11" fmla="*/ 37 h 365"/>
                  <a:gd name="T12" fmla="*/ 40 w 415"/>
                  <a:gd name="T13" fmla="*/ 0 h 36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415"/>
                  <a:gd name="T22" fmla="*/ 0 h 365"/>
                  <a:gd name="T23" fmla="*/ 415 w 415"/>
                  <a:gd name="T24" fmla="*/ 365 h 365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415" h="365">
                    <a:moveTo>
                      <a:pt x="40" y="0"/>
                    </a:moveTo>
                    <a:lnTo>
                      <a:pt x="25" y="136"/>
                    </a:lnTo>
                    <a:lnTo>
                      <a:pt x="0" y="331"/>
                    </a:lnTo>
                    <a:lnTo>
                      <a:pt x="120" y="342"/>
                    </a:lnTo>
                    <a:lnTo>
                      <a:pt x="401" y="365"/>
                    </a:lnTo>
                    <a:lnTo>
                      <a:pt x="415" y="37"/>
                    </a:lnTo>
                    <a:lnTo>
                      <a:pt x="40" y="0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/>
              </a:p>
            </p:txBody>
          </p:sp>
          <p:sp>
            <p:nvSpPr>
              <p:cNvPr id="47" name="Freeform 31">
                <a:extLst>
                  <a:ext uri="{FF2B5EF4-FFF2-40B4-BE49-F238E27FC236}">
                    <a16:creationId xmlns:a16="http://schemas.microsoft.com/office/drawing/2014/main" id="{2C11F221-F283-4865-9170-ACEA1505BC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67" y="1912"/>
                <a:ext cx="433" cy="347"/>
              </a:xfrm>
              <a:custGeom>
                <a:avLst/>
                <a:gdLst>
                  <a:gd name="T0" fmla="*/ 36 w 433"/>
                  <a:gd name="T1" fmla="*/ 0 h 347"/>
                  <a:gd name="T2" fmla="*/ 14 w 433"/>
                  <a:gd name="T3" fmla="*/ 208 h 347"/>
                  <a:gd name="T4" fmla="*/ 0 w 433"/>
                  <a:gd name="T5" fmla="*/ 328 h 347"/>
                  <a:gd name="T6" fmla="*/ 216 w 433"/>
                  <a:gd name="T7" fmla="*/ 339 h 347"/>
                  <a:gd name="T8" fmla="*/ 423 w 433"/>
                  <a:gd name="T9" fmla="*/ 347 h 347"/>
                  <a:gd name="T10" fmla="*/ 430 w 433"/>
                  <a:gd name="T11" fmla="*/ 184 h 347"/>
                  <a:gd name="T12" fmla="*/ 433 w 433"/>
                  <a:gd name="T13" fmla="*/ 26 h 347"/>
                  <a:gd name="T14" fmla="*/ 315 w 433"/>
                  <a:gd name="T15" fmla="*/ 23 h 347"/>
                  <a:gd name="T16" fmla="*/ 36 w 433"/>
                  <a:gd name="T17" fmla="*/ 0 h 34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433"/>
                  <a:gd name="T28" fmla="*/ 0 h 347"/>
                  <a:gd name="T29" fmla="*/ 433 w 433"/>
                  <a:gd name="T30" fmla="*/ 347 h 347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433" h="347">
                    <a:moveTo>
                      <a:pt x="36" y="0"/>
                    </a:moveTo>
                    <a:lnTo>
                      <a:pt x="14" y="208"/>
                    </a:lnTo>
                    <a:lnTo>
                      <a:pt x="0" y="328"/>
                    </a:lnTo>
                    <a:lnTo>
                      <a:pt x="216" y="339"/>
                    </a:lnTo>
                    <a:lnTo>
                      <a:pt x="423" y="347"/>
                    </a:lnTo>
                    <a:lnTo>
                      <a:pt x="430" y="184"/>
                    </a:lnTo>
                    <a:lnTo>
                      <a:pt x="433" y="26"/>
                    </a:lnTo>
                    <a:lnTo>
                      <a:pt x="315" y="23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/>
              </a:p>
            </p:txBody>
          </p:sp>
          <p:sp>
            <p:nvSpPr>
              <p:cNvPr id="48" name="Freeform 32">
                <a:extLst>
                  <a:ext uri="{FF2B5EF4-FFF2-40B4-BE49-F238E27FC236}">
                    <a16:creationId xmlns:a16="http://schemas.microsoft.com/office/drawing/2014/main" id="{42B27A1A-562B-46BC-8772-A95246863C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77" y="2203"/>
                <a:ext cx="393" cy="469"/>
              </a:xfrm>
              <a:custGeom>
                <a:avLst/>
                <a:gdLst>
                  <a:gd name="T0" fmla="*/ 100 w 393"/>
                  <a:gd name="T1" fmla="*/ 0 h 469"/>
                  <a:gd name="T2" fmla="*/ 92 w 393"/>
                  <a:gd name="T3" fmla="*/ 61 h 469"/>
                  <a:gd name="T4" fmla="*/ 58 w 393"/>
                  <a:gd name="T5" fmla="*/ 54 h 469"/>
                  <a:gd name="T6" fmla="*/ 61 w 393"/>
                  <a:gd name="T7" fmla="*/ 133 h 469"/>
                  <a:gd name="T8" fmla="*/ 44 w 393"/>
                  <a:gd name="T9" fmla="*/ 148 h 469"/>
                  <a:gd name="T10" fmla="*/ 68 w 393"/>
                  <a:gd name="T11" fmla="*/ 197 h 469"/>
                  <a:gd name="T12" fmla="*/ 44 w 393"/>
                  <a:gd name="T13" fmla="*/ 218 h 469"/>
                  <a:gd name="T14" fmla="*/ 31 w 393"/>
                  <a:gd name="T15" fmla="*/ 253 h 469"/>
                  <a:gd name="T16" fmla="*/ 12 w 393"/>
                  <a:gd name="T17" fmla="*/ 287 h 469"/>
                  <a:gd name="T18" fmla="*/ 26 w 393"/>
                  <a:gd name="T19" fmla="*/ 307 h 469"/>
                  <a:gd name="T20" fmla="*/ 3 w 393"/>
                  <a:gd name="T21" fmla="*/ 315 h 469"/>
                  <a:gd name="T22" fmla="*/ 0 w 393"/>
                  <a:gd name="T23" fmla="*/ 347 h 469"/>
                  <a:gd name="T24" fmla="*/ 221 w 393"/>
                  <a:gd name="T25" fmla="*/ 467 h 469"/>
                  <a:gd name="T26" fmla="*/ 346 w 393"/>
                  <a:gd name="T27" fmla="*/ 469 h 469"/>
                  <a:gd name="T28" fmla="*/ 393 w 393"/>
                  <a:gd name="T29" fmla="*/ 37 h 469"/>
                  <a:gd name="T30" fmla="*/ 100 w 393"/>
                  <a:gd name="T31" fmla="*/ 0 h 469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393"/>
                  <a:gd name="T49" fmla="*/ 0 h 469"/>
                  <a:gd name="T50" fmla="*/ 393 w 393"/>
                  <a:gd name="T51" fmla="*/ 469 h 469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393" h="469">
                    <a:moveTo>
                      <a:pt x="100" y="0"/>
                    </a:moveTo>
                    <a:lnTo>
                      <a:pt x="92" y="61"/>
                    </a:lnTo>
                    <a:lnTo>
                      <a:pt x="58" y="54"/>
                    </a:lnTo>
                    <a:lnTo>
                      <a:pt x="61" y="133"/>
                    </a:lnTo>
                    <a:lnTo>
                      <a:pt x="44" y="148"/>
                    </a:lnTo>
                    <a:lnTo>
                      <a:pt x="68" y="197"/>
                    </a:lnTo>
                    <a:lnTo>
                      <a:pt x="44" y="218"/>
                    </a:lnTo>
                    <a:lnTo>
                      <a:pt x="31" y="253"/>
                    </a:lnTo>
                    <a:lnTo>
                      <a:pt x="12" y="287"/>
                    </a:lnTo>
                    <a:lnTo>
                      <a:pt x="26" y="307"/>
                    </a:lnTo>
                    <a:lnTo>
                      <a:pt x="3" y="315"/>
                    </a:lnTo>
                    <a:lnTo>
                      <a:pt x="0" y="347"/>
                    </a:lnTo>
                    <a:lnTo>
                      <a:pt x="221" y="467"/>
                    </a:lnTo>
                    <a:lnTo>
                      <a:pt x="346" y="469"/>
                    </a:lnTo>
                    <a:lnTo>
                      <a:pt x="393" y="37"/>
                    </a:lnTo>
                    <a:lnTo>
                      <a:pt x="100" y="0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/>
              </a:p>
            </p:txBody>
          </p:sp>
          <p:sp>
            <p:nvSpPr>
              <p:cNvPr id="49" name="Freeform 33">
                <a:extLst>
                  <a:ext uri="{FF2B5EF4-FFF2-40B4-BE49-F238E27FC236}">
                    <a16:creationId xmlns:a16="http://schemas.microsoft.com/office/drawing/2014/main" id="{EDDA9195-68DF-4649-8B41-661F3C03A6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20" y="2236"/>
                <a:ext cx="417" cy="445"/>
              </a:xfrm>
              <a:custGeom>
                <a:avLst/>
                <a:gdLst>
                  <a:gd name="T0" fmla="*/ 50 w 417"/>
                  <a:gd name="T1" fmla="*/ 0 h 445"/>
                  <a:gd name="T2" fmla="*/ 417 w 417"/>
                  <a:gd name="T3" fmla="*/ 18 h 445"/>
                  <a:gd name="T4" fmla="*/ 399 w 417"/>
                  <a:gd name="T5" fmla="*/ 411 h 445"/>
                  <a:gd name="T6" fmla="*/ 280 w 417"/>
                  <a:gd name="T7" fmla="*/ 403 h 445"/>
                  <a:gd name="T8" fmla="*/ 168 w 417"/>
                  <a:gd name="T9" fmla="*/ 400 h 445"/>
                  <a:gd name="T10" fmla="*/ 168 w 417"/>
                  <a:gd name="T11" fmla="*/ 415 h 445"/>
                  <a:gd name="T12" fmla="*/ 75 w 417"/>
                  <a:gd name="T13" fmla="*/ 415 h 445"/>
                  <a:gd name="T14" fmla="*/ 70 w 417"/>
                  <a:gd name="T15" fmla="*/ 445 h 445"/>
                  <a:gd name="T16" fmla="*/ 0 w 417"/>
                  <a:gd name="T17" fmla="*/ 435 h 445"/>
                  <a:gd name="T18" fmla="*/ 39 w 417"/>
                  <a:gd name="T19" fmla="*/ 102 h 445"/>
                  <a:gd name="T20" fmla="*/ 50 w 417"/>
                  <a:gd name="T21" fmla="*/ 0 h 445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417"/>
                  <a:gd name="T34" fmla="*/ 0 h 445"/>
                  <a:gd name="T35" fmla="*/ 417 w 417"/>
                  <a:gd name="T36" fmla="*/ 445 h 445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417" h="445">
                    <a:moveTo>
                      <a:pt x="50" y="0"/>
                    </a:moveTo>
                    <a:lnTo>
                      <a:pt x="417" y="18"/>
                    </a:lnTo>
                    <a:lnTo>
                      <a:pt x="399" y="411"/>
                    </a:lnTo>
                    <a:lnTo>
                      <a:pt x="280" y="403"/>
                    </a:lnTo>
                    <a:lnTo>
                      <a:pt x="168" y="400"/>
                    </a:lnTo>
                    <a:lnTo>
                      <a:pt x="168" y="415"/>
                    </a:lnTo>
                    <a:lnTo>
                      <a:pt x="75" y="415"/>
                    </a:lnTo>
                    <a:lnTo>
                      <a:pt x="70" y="445"/>
                    </a:lnTo>
                    <a:lnTo>
                      <a:pt x="0" y="435"/>
                    </a:lnTo>
                    <a:lnTo>
                      <a:pt x="39" y="102"/>
                    </a:lnTo>
                    <a:lnTo>
                      <a:pt x="50" y="0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/>
              </a:p>
            </p:txBody>
          </p:sp>
          <p:sp>
            <p:nvSpPr>
              <p:cNvPr id="50" name="Freeform 34">
                <a:extLst>
                  <a:ext uri="{FF2B5EF4-FFF2-40B4-BE49-F238E27FC236}">
                    <a16:creationId xmlns:a16="http://schemas.microsoft.com/office/drawing/2014/main" id="{EE701A10-269A-4EE5-B5FB-51BCE44CF5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99" y="1277"/>
                <a:ext cx="407" cy="256"/>
              </a:xfrm>
              <a:custGeom>
                <a:avLst/>
                <a:gdLst>
                  <a:gd name="T0" fmla="*/ 1 w 407"/>
                  <a:gd name="T1" fmla="*/ 0 h 256"/>
                  <a:gd name="T2" fmla="*/ 342 w 407"/>
                  <a:gd name="T3" fmla="*/ 8 h 256"/>
                  <a:gd name="T4" fmla="*/ 367 w 407"/>
                  <a:gd name="T5" fmla="*/ 83 h 256"/>
                  <a:gd name="T6" fmla="*/ 391 w 407"/>
                  <a:gd name="T7" fmla="*/ 141 h 256"/>
                  <a:gd name="T8" fmla="*/ 407 w 407"/>
                  <a:gd name="T9" fmla="*/ 235 h 256"/>
                  <a:gd name="T10" fmla="*/ 397 w 407"/>
                  <a:gd name="T11" fmla="*/ 256 h 256"/>
                  <a:gd name="T12" fmla="*/ 272 w 407"/>
                  <a:gd name="T13" fmla="*/ 253 h 256"/>
                  <a:gd name="T14" fmla="*/ 0 w 407"/>
                  <a:gd name="T15" fmla="*/ 248 h 256"/>
                  <a:gd name="T16" fmla="*/ 1 w 407"/>
                  <a:gd name="T17" fmla="*/ 0 h 25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407"/>
                  <a:gd name="T28" fmla="*/ 0 h 256"/>
                  <a:gd name="T29" fmla="*/ 407 w 407"/>
                  <a:gd name="T30" fmla="*/ 256 h 25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407" h="256">
                    <a:moveTo>
                      <a:pt x="1" y="0"/>
                    </a:moveTo>
                    <a:lnTo>
                      <a:pt x="342" y="8"/>
                    </a:lnTo>
                    <a:lnTo>
                      <a:pt x="367" y="83"/>
                    </a:lnTo>
                    <a:lnTo>
                      <a:pt x="391" y="141"/>
                    </a:lnTo>
                    <a:lnTo>
                      <a:pt x="407" y="235"/>
                    </a:lnTo>
                    <a:lnTo>
                      <a:pt x="397" y="256"/>
                    </a:lnTo>
                    <a:lnTo>
                      <a:pt x="272" y="253"/>
                    </a:lnTo>
                    <a:lnTo>
                      <a:pt x="0" y="248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/>
              </a:p>
            </p:txBody>
          </p:sp>
          <p:sp>
            <p:nvSpPr>
              <p:cNvPr id="51" name="Freeform 35">
                <a:extLst>
                  <a:ext uri="{FF2B5EF4-FFF2-40B4-BE49-F238E27FC236}">
                    <a16:creationId xmlns:a16="http://schemas.microsoft.com/office/drawing/2014/main" id="{9D4FDF83-505A-49E9-A3FD-5A71ED8571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88" y="1524"/>
                <a:ext cx="428" cy="300"/>
              </a:xfrm>
              <a:custGeom>
                <a:avLst/>
                <a:gdLst>
                  <a:gd name="T0" fmla="*/ 8 w 428"/>
                  <a:gd name="T1" fmla="*/ 0 h 300"/>
                  <a:gd name="T2" fmla="*/ 7 w 428"/>
                  <a:gd name="T3" fmla="*/ 116 h 300"/>
                  <a:gd name="T4" fmla="*/ 0 w 428"/>
                  <a:gd name="T5" fmla="*/ 252 h 300"/>
                  <a:gd name="T6" fmla="*/ 311 w 428"/>
                  <a:gd name="T7" fmla="*/ 257 h 300"/>
                  <a:gd name="T8" fmla="*/ 344 w 428"/>
                  <a:gd name="T9" fmla="*/ 276 h 300"/>
                  <a:gd name="T10" fmla="*/ 367 w 428"/>
                  <a:gd name="T11" fmla="*/ 250 h 300"/>
                  <a:gd name="T12" fmla="*/ 428 w 428"/>
                  <a:gd name="T13" fmla="*/ 300 h 300"/>
                  <a:gd name="T14" fmla="*/ 419 w 428"/>
                  <a:gd name="T15" fmla="*/ 248 h 300"/>
                  <a:gd name="T16" fmla="*/ 425 w 428"/>
                  <a:gd name="T17" fmla="*/ 208 h 300"/>
                  <a:gd name="T18" fmla="*/ 428 w 428"/>
                  <a:gd name="T19" fmla="*/ 71 h 300"/>
                  <a:gd name="T20" fmla="*/ 401 w 428"/>
                  <a:gd name="T21" fmla="*/ 42 h 300"/>
                  <a:gd name="T22" fmla="*/ 412 w 428"/>
                  <a:gd name="T23" fmla="*/ 4 h 300"/>
                  <a:gd name="T24" fmla="*/ 208 w 428"/>
                  <a:gd name="T25" fmla="*/ 3 h 300"/>
                  <a:gd name="T26" fmla="*/ 8 w 428"/>
                  <a:gd name="T27" fmla="*/ 0 h 300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428"/>
                  <a:gd name="T43" fmla="*/ 0 h 300"/>
                  <a:gd name="T44" fmla="*/ 428 w 428"/>
                  <a:gd name="T45" fmla="*/ 300 h 300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428" h="300">
                    <a:moveTo>
                      <a:pt x="8" y="0"/>
                    </a:moveTo>
                    <a:lnTo>
                      <a:pt x="7" y="116"/>
                    </a:lnTo>
                    <a:lnTo>
                      <a:pt x="0" y="252"/>
                    </a:lnTo>
                    <a:lnTo>
                      <a:pt x="311" y="257"/>
                    </a:lnTo>
                    <a:lnTo>
                      <a:pt x="344" y="276"/>
                    </a:lnTo>
                    <a:lnTo>
                      <a:pt x="367" y="250"/>
                    </a:lnTo>
                    <a:lnTo>
                      <a:pt x="428" y="300"/>
                    </a:lnTo>
                    <a:lnTo>
                      <a:pt x="419" y="248"/>
                    </a:lnTo>
                    <a:lnTo>
                      <a:pt x="425" y="208"/>
                    </a:lnTo>
                    <a:lnTo>
                      <a:pt x="428" y="71"/>
                    </a:lnTo>
                    <a:lnTo>
                      <a:pt x="401" y="42"/>
                    </a:lnTo>
                    <a:lnTo>
                      <a:pt x="412" y="4"/>
                    </a:lnTo>
                    <a:lnTo>
                      <a:pt x="208" y="3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/>
              </a:p>
            </p:txBody>
          </p:sp>
          <p:sp>
            <p:nvSpPr>
              <p:cNvPr id="52" name="Freeform 36">
                <a:extLst>
                  <a:ext uri="{FF2B5EF4-FFF2-40B4-BE49-F238E27FC236}">
                    <a16:creationId xmlns:a16="http://schemas.microsoft.com/office/drawing/2014/main" id="{2070092D-D5C0-4F31-8F0E-F3FE8B45E1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82" y="1773"/>
                <a:ext cx="510" cy="247"/>
              </a:xfrm>
              <a:custGeom>
                <a:avLst/>
                <a:gdLst>
                  <a:gd name="T0" fmla="*/ 5 w 510"/>
                  <a:gd name="T1" fmla="*/ 0 h 247"/>
                  <a:gd name="T2" fmla="*/ 0 w 510"/>
                  <a:gd name="T3" fmla="*/ 163 h 247"/>
                  <a:gd name="T4" fmla="*/ 115 w 510"/>
                  <a:gd name="T5" fmla="*/ 167 h 247"/>
                  <a:gd name="T6" fmla="*/ 114 w 510"/>
                  <a:gd name="T7" fmla="*/ 247 h 247"/>
                  <a:gd name="T8" fmla="*/ 269 w 510"/>
                  <a:gd name="T9" fmla="*/ 245 h 247"/>
                  <a:gd name="T10" fmla="*/ 408 w 510"/>
                  <a:gd name="T11" fmla="*/ 242 h 247"/>
                  <a:gd name="T12" fmla="*/ 510 w 510"/>
                  <a:gd name="T13" fmla="*/ 245 h 247"/>
                  <a:gd name="T14" fmla="*/ 478 w 510"/>
                  <a:gd name="T15" fmla="*/ 175 h 247"/>
                  <a:gd name="T16" fmla="*/ 456 w 510"/>
                  <a:gd name="T17" fmla="*/ 110 h 247"/>
                  <a:gd name="T18" fmla="*/ 432 w 510"/>
                  <a:gd name="T19" fmla="*/ 43 h 247"/>
                  <a:gd name="T20" fmla="*/ 374 w 510"/>
                  <a:gd name="T21" fmla="*/ 1 h 247"/>
                  <a:gd name="T22" fmla="*/ 348 w 510"/>
                  <a:gd name="T23" fmla="*/ 26 h 247"/>
                  <a:gd name="T24" fmla="*/ 316 w 510"/>
                  <a:gd name="T25" fmla="*/ 8 h 247"/>
                  <a:gd name="T26" fmla="*/ 177 w 510"/>
                  <a:gd name="T27" fmla="*/ 3 h 247"/>
                  <a:gd name="T28" fmla="*/ 5 w 510"/>
                  <a:gd name="T29" fmla="*/ 0 h 247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510"/>
                  <a:gd name="T46" fmla="*/ 0 h 247"/>
                  <a:gd name="T47" fmla="*/ 510 w 510"/>
                  <a:gd name="T48" fmla="*/ 247 h 247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510" h="247">
                    <a:moveTo>
                      <a:pt x="5" y="0"/>
                    </a:moveTo>
                    <a:lnTo>
                      <a:pt x="0" y="163"/>
                    </a:lnTo>
                    <a:lnTo>
                      <a:pt x="115" y="167"/>
                    </a:lnTo>
                    <a:lnTo>
                      <a:pt x="114" y="247"/>
                    </a:lnTo>
                    <a:lnTo>
                      <a:pt x="269" y="245"/>
                    </a:lnTo>
                    <a:lnTo>
                      <a:pt x="408" y="242"/>
                    </a:lnTo>
                    <a:lnTo>
                      <a:pt x="510" y="245"/>
                    </a:lnTo>
                    <a:lnTo>
                      <a:pt x="478" y="175"/>
                    </a:lnTo>
                    <a:lnTo>
                      <a:pt x="456" y="110"/>
                    </a:lnTo>
                    <a:lnTo>
                      <a:pt x="432" y="43"/>
                    </a:lnTo>
                    <a:lnTo>
                      <a:pt x="374" y="1"/>
                    </a:lnTo>
                    <a:lnTo>
                      <a:pt x="348" y="26"/>
                    </a:lnTo>
                    <a:lnTo>
                      <a:pt x="316" y="8"/>
                    </a:lnTo>
                    <a:lnTo>
                      <a:pt x="177" y="3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/>
              </a:p>
            </p:txBody>
          </p:sp>
          <p:sp>
            <p:nvSpPr>
              <p:cNvPr id="53" name="Freeform 37">
                <a:extLst>
                  <a:ext uri="{FF2B5EF4-FFF2-40B4-BE49-F238E27FC236}">
                    <a16:creationId xmlns:a16="http://schemas.microsoft.com/office/drawing/2014/main" id="{E1EB0082-2BF0-4D9B-A0F0-8DB65D08CA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90" y="2014"/>
                <a:ext cx="449" cy="246"/>
              </a:xfrm>
              <a:custGeom>
                <a:avLst/>
                <a:gdLst>
                  <a:gd name="T0" fmla="*/ 5 w 449"/>
                  <a:gd name="T1" fmla="*/ 2 h 246"/>
                  <a:gd name="T2" fmla="*/ 3 w 449"/>
                  <a:gd name="T3" fmla="*/ 143 h 246"/>
                  <a:gd name="T4" fmla="*/ 0 w 449"/>
                  <a:gd name="T5" fmla="*/ 243 h 246"/>
                  <a:gd name="T6" fmla="*/ 449 w 449"/>
                  <a:gd name="T7" fmla="*/ 246 h 246"/>
                  <a:gd name="T8" fmla="*/ 440 w 449"/>
                  <a:gd name="T9" fmla="*/ 118 h 246"/>
                  <a:gd name="T10" fmla="*/ 440 w 449"/>
                  <a:gd name="T11" fmla="*/ 69 h 246"/>
                  <a:gd name="T12" fmla="*/ 404 w 449"/>
                  <a:gd name="T13" fmla="*/ 40 h 246"/>
                  <a:gd name="T14" fmla="*/ 415 w 449"/>
                  <a:gd name="T15" fmla="*/ 14 h 246"/>
                  <a:gd name="T16" fmla="*/ 399 w 449"/>
                  <a:gd name="T17" fmla="*/ 0 h 246"/>
                  <a:gd name="T18" fmla="*/ 196 w 449"/>
                  <a:gd name="T19" fmla="*/ 2 h 246"/>
                  <a:gd name="T20" fmla="*/ 5 w 449"/>
                  <a:gd name="T21" fmla="*/ 2 h 24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449"/>
                  <a:gd name="T34" fmla="*/ 0 h 246"/>
                  <a:gd name="T35" fmla="*/ 449 w 449"/>
                  <a:gd name="T36" fmla="*/ 246 h 24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449" h="246">
                    <a:moveTo>
                      <a:pt x="5" y="2"/>
                    </a:moveTo>
                    <a:lnTo>
                      <a:pt x="3" y="143"/>
                    </a:lnTo>
                    <a:lnTo>
                      <a:pt x="0" y="243"/>
                    </a:lnTo>
                    <a:lnTo>
                      <a:pt x="449" y="246"/>
                    </a:lnTo>
                    <a:lnTo>
                      <a:pt x="440" y="118"/>
                    </a:lnTo>
                    <a:lnTo>
                      <a:pt x="440" y="69"/>
                    </a:lnTo>
                    <a:lnTo>
                      <a:pt x="404" y="40"/>
                    </a:lnTo>
                    <a:lnTo>
                      <a:pt x="415" y="14"/>
                    </a:lnTo>
                    <a:lnTo>
                      <a:pt x="399" y="0"/>
                    </a:lnTo>
                    <a:lnTo>
                      <a:pt x="196" y="2"/>
                    </a:lnTo>
                    <a:lnTo>
                      <a:pt x="5" y="2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/>
              </a:p>
            </p:txBody>
          </p:sp>
          <p:sp>
            <p:nvSpPr>
              <p:cNvPr id="54" name="Freeform 38">
                <a:extLst>
                  <a:ext uri="{FF2B5EF4-FFF2-40B4-BE49-F238E27FC236}">
                    <a16:creationId xmlns:a16="http://schemas.microsoft.com/office/drawing/2014/main" id="{26934ECF-B65A-4F99-98F9-9362158C2E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30" y="2254"/>
                <a:ext cx="523" cy="270"/>
              </a:xfrm>
              <a:custGeom>
                <a:avLst/>
                <a:gdLst>
                  <a:gd name="T0" fmla="*/ 3 w 523"/>
                  <a:gd name="T1" fmla="*/ 0 h 270"/>
                  <a:gd name="T2" fmla="*/ 0 w 523"/>
                  <a:gd name="T3" fmla="*/ 48 h 270"/>
                  <a:gd name="T4" fmla="*/ 186 w 523"/>
                  <a:gd name="T5" fmla="*/ 55 h 270"/>
                  <a:gd name="T6" fmla="*/ 187 w 523"/>
                  <a:gd name="T7" fmla="*/ 209 h 270"/>
                  <a:gd name="T8" fmla="*/ 282 w 523"/>
                  <a:gd name="T9" fmla="*/ 251 h 270"/>
                  <a:gd name="T10" fmla="*/ 308 w 523"/>
                  <a:gd name="T11" fmla="*/ 236 h 270"/>
                  <a:gd name="T12" fmla="*/ 369 w 523"/>
                  <a:gd name="T13" fmla="*/ 270 h 270"/>
                  <a:gd name="T14" fmla="*/ 408 w 523"/>
                  <a:gd name="T15" fmla="*/ 269 h 270"/>
                  <a:gd name="T16" fmla="*/ 480 w 523"/>
                  <a:gd name="T17" fmla="*/ 236 h 270"/>
                  <a:gd name="T18" fmla="*/ 523 w 523"/>
                  <a:gd name="T19" fmla="*/ 268 h 270"/>
                  <a:gd name="T20" fmla="*/ 523 w 523"/>
                  <a:gd name="T21" fmla="*/ 101 h 270"/>
                  <a:gd name="T22" fmla="*/ 510 w 523"/>
                  <a:gd name="T23" fmla="*/ 3 h 270"/>
                  <a:gd name="T24" fmla="*/ 3 w 523"/>
                  <a:gd name="T25" fmla="*/ 0 h 270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523"/>
                  <a:gd name="T40" fmla="*/ 0 h 270"/>
                  <a:gd name="T41" fmla="*/ 523 w 523"/>
                  <a:gd name="T42" fmla="*/ 270 h 270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523" h="270">
                    <a:moveTo>
                      <a:pt x="3" y="0"/>
                    </a:moveTo>
                    <a:lnTo>
                      <a:pt x="0" y="48"/>
                    </a:lnTo>
                    <a:lnTo>
                      <a:pt x="186" y="55"/>
                    </a:lnTo>
                    <a:lnTo>
                      <a:pt x="187" y="209"/>
                    </a:lnTo>
                    <a:lnTo>
                      <a:pt x="282" y="251"/>
                    </a:lnTo>
                    <a:lnTo>
                      <a:pt x="308" y="236"/>
                    </a:lnTo>
                    <a:lnTo>
                      <a:pt x="369" y="270"/>
                    </a:lnTo>
                    <a:lnTo>
                      <a:pt x="408" y="269"/>
                    </a:lnTo>
                    <a:lnTo>
                      <a:pt x="480" y="236"/>
                    </a:lnTo>
                    <a:lnTo>
                      <a:pt x="523" y="268"/>
                    </a:lnTo>
                    <a:lnTo>
                      <a:pt x="523" y="101"/>
                    </a:lnTo>
                    <a:lnTo>
                      <a:pt x="510" y="3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/>
              </a:p>
            </p:txBody>
          </p:sp>
          <p:sp>
            <p:nvSpPr>
              <p:cNvPr id="55" name="Freeform 39">
                <a:extLst>
                  <a:ext uri="{FF2B5EF4-FFF2-40B4-BE49-F238E27FC236}">
                    <a16:creationId xmlns:a16="http://schemas.microsoft.com/office/drawing/2014/main" id="{D737A285-5E46-4B78-B77A-B5A782B901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06" y="1715"/>
                <a:ext cx="354" cy="247"/>
              </a:xfrm>
              <a:custGeom>
                <a:avLst/>
                <a:gdLst>
                  <a:gd name="T0" fmla="*/ 6 w 354"/>
                  <a:gd name="T1" fmla="*/ 13 h 247"/>
                  <a:gd name="T2" fmla="*/ 0 w 354"/>
                  <a:gd name="T3" fmla="*/ 57 h 247"/>
                  <a:gd name="T4" fmla="*/ 8 w 354"/>
                  <a:gd name="T5" fmla="*/ 103 h 247"/>
                  <a:gd name="T6" fmla="*/ 41 w 354"/>
                  <a:gd name="T7" fmla="*/ 197 h 247"/>
                  <a:gd name="T8" fmla="*/ 59 w 354"/>
                  <a:gd name="T9" fmla="*/ 247 h 247"/>
                  <a:gd name="T10" fmla="*/ 267 w 354"/>
                  <a:gd name="T11" fmla="*/ 235 h 247"/>
                  <a:gd name="T12" fmla="*/ 301 w 354"/>
                  <a:gd name="T13" fmla="*/ 247 h 247"/>
                  <a:gd name="T14" fmla="*/ 322 w 354"/>
                  <a:gd name="T15" fmla="*/ 199 h 247"/>
                  <a:gd name="T16" fmla="*/ 314 w 354"/>
                  <a:gd name="T17" fmla="*/ 165 h 247"/>
                  <a:gd name="T18" fmla="*/ 349 w 354"/>
                  <a:gd name="T19" fmla="*/ 158 h 247"/>
                  <a:gd name="T20" fmla="*/ 354 w 354"/>
                  <a:gd name="T21" fmla="*/ 104 h 247"/>
                  <a:gd name="T22" fmla="*/ 333 w 354"/>
                  <a:gd name="T23" fmla="*/ 80 h 247"/>
                  <a:gd name="T24" fmla="*/ 297 w 354"/>
                  <a:gd name="T25" fmla="*/ 57 h 247"/>
                  <a:gd name="T26" fmla="*/ 304 w 354"/>
                  <a:gd name="T27" fmla="*/ 24 h 247"/>
                  <a:gd name="T28" fmla="*/ 289 w 354"/>
                  <a:gd name="T29" fmla="*/ 0 h 247"/>
                  <a:gd name="T30" fmla="*/ 211 w 354"/>
                  <a:gd name="T31" fmla="*/ 4 h 247"/>
                  <a:gd name="T32" fmla="*/ 133 w 354"/>
                  <a:gd name="T33" fmla="*/ 7 h 247"/>
                  <a:gd name="T34" fmla="*/ 6 w 354"/>
                  <a:gd name="T35" fmla="*/ 13 h 247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354"/>
                  <a:gd name="T55" fmla="*/ 0 h 247"/>
                  <a:gd name="T56" fmla="*/ 354 w 354"/>
                  <a:gd name="T57" fmla="*/ 247 h 247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354" h="247">
                    <a:moveTo>
                      <a:pt x="6" y="13"/>
                    </a:moveTo>
                    <a:lnTo>
                      <a:pt x="0" y="57"/>
                    </a:lnTo>
                    <a:lnTo>
                      <a:pt x="8" y="103"/>
                    </a:lnTo>
                    <a:lnTo>
                      <a:pt x="41" y="197"/>
                    </a:lnTo>
                    <a:lnTo>
                      <a:pt x="59" y="247"/>
                    </a:lnTo>
                    <a:lnTo>
                      <a:pt x="267" y="235"/>
                    </a:lnTo>
                    <a:lnTo>
                      <a:pt x="301" y="247"/>
                    </a:lnTo>
                    <a:lnTo>
                      <a:pt x="322" y="199"/>
                    </a:lnTo>
                    <a:lnTo>
                      <a:pt x="314" y="165"/>
                    </a:lnTo>
                    <a:lnTo>
                      <a:pt x="349" y="158"/>
                    </a:lnTo>
                    <a:lnTo>
                      <a:pt x="354" y="104"/>
                    </a:lnTo>
                    <a:lnTo>
                      <a:pt x="333" y="80"/>
                    </a:lnTo>
                    <a:lnTo>
                      <a:pt x="297" y="57"/>
                    </a:lnTo>
                    <a:lnTo>
                      <a:pt x="304" y="24"/>
                    </a:lnTo>
                    <a:lnTo>
                      <a:pt x="289" y="0"/>
                    </a:lnTo>
                    <a:lnTo>
                      <a:pt x="211" y="4"/>
                    </a:lnTo>
                    <a:lnTo>
                      <a:pt x="133" y="7"/>
                    </a:lnTo>
                    <a:lnTo>
                      <a:pt x="6" y="13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/>
              </a:p>
            </p:txBody>
          </p:sp>
          <p:sp>
            <p:nvSpPr>
              <p:cNvPr id="56" name="Freeform 40">
                <a:extLst>
                  <a:ext uri="{FF2B5EF4-FFF2-40B4-BE49-F238E27FC236}">
                    <a16:creationId xmlns:a16="http://schemas.microsoft.com/office/drawing/2014/main" id="{E1A3CFA2-E893-438C-8CE1-A3037AE6A0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90" y="1768"/>
                <a:ext cx="253" cy="451"/>
              </a:xfrm>
              <a:custGeom>
                <a:avLst/>
                <a:gdLst>
                  <a:gd name="T0" fmla="*/ 47 w 253"/>
                  <a:gd name="T1" fmla="*/ 26 h 451"/>
                  <a:gd name="T2" fmla="*/ 192 w 253"/>
                  <a:gd name="T3" fmla="*/ 0 h 451"/>
                  <a:gd name="T4" fmla="*/ 215 w 253"/>
                  <a:gd name="T5" fmla="*/ 56 h 451"/>
                  <a:gd name="T6" fmla="*/ 245 w 253"/>
                  <a:gd name="T7" fmla="*/ 286 h 451"/>
                  <a:gd name="T8" fmla="*/ 253 w 253"/>
                  <a:gd name="T9" fmla="*/ 317 h 451"/>
                  <a:gd name="T10" fmla="*/ 230 w 253"/>
                  <a:gd name="T11" fmla="*/ 378 h 451"/>
                  <a:gd name="T12" fmla="*/ 230 w 253"/>
                  <a:gd name="T13" fmla="*/ 420 h 451"/>
                  <a:gd name="T14" fmla="*/ 204 w 253"/>
                  <a:gd name="T15" fmla="*/ 415 h 451"/>
                  <a:gd name="T16" fmla="*/ 205 w 253"/>
                  <a:gd name="T17" fmla="*/ 451 h 451"/>
                  <a:gd name="T18" fmla="*/ 178 w 253"/>
                  <a:gd name="T19" fmla="*/ 436 h 451"/>
                  <a:gd name="T20" fmla="*/ 164 w 253"/>
                  <a:gd name="T21" fmla="*/ 441 h 451"/>
                  <a:gd name="T22" fmla="*/ 143 w 253"/>
                  <a:gd name="T23" fmla="*/ 438 h 451"/>
                  <a:gd name="T24" fmla="*/ 128 w 253"/>
                  <a:gd name="T25" fmla="*/ 384 h 451"/>
                  <a:gd name="T26" fmla="*/ 98 w 253"/>
                  <a:gd name="T27" fmla="*/ 367 h 451"/>
                  <a:gd name="T28" fmla="*/ 98 w 253"/>
                  <a:gd name="T29" fmla="*/ 309 h 451"/>
                  <a:gd name="T30" fmla="*/ 69 w 253"/>
                  <a:gd name="T31" fmla="*/ 317 h 451"/>
                  <a:gd name="T32" fmla="*/ 52 w 253"/>
                  <a:gd name="T33" fmla="*/ 274 h 451"/>
                  <a:gd name="T34" fmla="*/ 0 w 253"/>
                  <a:gd name="T35" fmla="*/ 225 h 451"/>
                  <a:gd name="T36" fmla="*/ 38 w 253"/>
                  <a:gd name="T37" fmla="*/ 147 h 451"/>
                  <a:gd name="T38" fmla="*/ 27 w 253"/>
                  <a:gd name="T39" fmla="*/ 111 h 451"/>
                  <a:gd name="T40" fmla="*/ 65 w 253"/>
                  <a:gd name="T41" fmla="*/ 104 h 451"/>
                  <a:gd name="T42" fmla="*/ 69 w 253"/>
                  <a:gd name="T43" fmla="*/ 53 h 451"/>
                  <a:gd name="T44" fmla="*/ 47 w 253"/>
                  <a:gd name="T45" fmla="*/ 26 h 451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253"/>
                  <a:gd name="T70" fmla="*/ 0 h 451"/>
                  <a:gd name="T71" fmla="*/ 253 w 253"/>
                  <a:gd name="T72" fmla="*/ 451 h 451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253" h="451">
                    <a:moveTo>
                      <a:pt x="47" y="26"/>
                    </a:moveTo>
                    <a:lnTo>
                      <a:pt x="192" y="0"/>
                    </a:lnTo>
                    <a:lnTo>
                      <a:pt x="215" y="56"/>
                    </a:lnTo>
                    <a:lnTo>
                      <a:pt x="245" y="286"/>
                    </a:lnTo>
                    <a:lnTo>
                      <a:pt x="253" y="317"/>
                    </a:lnTo>
                    <a:lnTo>
                      <a:pt x="230" y="378"/>
                    </a:lnTo>
                    <a:lnTo>
                      <a:pt x="230" y="420"/>
                    </a:lnTo>
                    <a:lnTo>
                      <a:pt x="204" y="415"/>
                    </a:lnTo>
                    <a:lnTo>
                      <a:pt x="205" y="451"/>
                    </a:lnTo>
                    <a:lnTo>
                      <a:pt x="178" y="436"/>
                    </a:lnTo>
                    <a:lnTo>
                      <a:pt x="164" y="441"/>
                    </a:lnTo>
                    <a:lnTo>
                      <a:pt x="143" y="438"/>
                    </a:lnTo>
                    <a:lnTo>
                      <a:pt x="128" y="384"/>
                    </a:lnTo>
                    <a:lnTo>
                      <a:pt x="98" y="367"/>
                    </a:lnTo>
                    <a:lnTo>
                      <a:pt x="98" y="309"/>
                    </a:lnTo>
                    <a:lnTo>
                      <a:pt x="69" y="317"/>
                    </a:lnTo>
                    <a:lnTo>
                      <a:pt x="52" y="274"/>
                    </a:lnTo>
                    <a:lnTo>
                      <a:pt x="0" y="225"/>
                    </a:lnTo>
                    <a:lnTo>
                      <a:pt x="38" y="147"/>
                    </a:lnTo>
                    <a:lnTo>
                      <a:pt x="27" y="111"/>
                    </a:lnTo>
                    <a:lnTo>
                      <a:pt x="65" y="104"/>
                    </a:lnTo>
                    <a:lnTo>
                      <a:pt x="69" y="53"/>
                    </a:lnTo>
                    <a:lnTo>
                      <a:pt x="47" y="26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/>
              </a:p>
            </p:txBody>
          </p:sp>
          <p:sp>
            <p:nvSpPr>
              <p:cNvPr id="57" name="Freeform 41">
                <a:extLst>
                  <a:ext uri="{FF2B5EF4-FFF2-40B4-BE49-F238E27FC236}">
                    <a16:creationId xmlns:a16="http://schemas.microsoft.com/office/drawing/2014/main" id="{E31AE2D7-C441-465F-A6E6-2B61AE6477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06" y="1689"/>
                <a:ext cx="92" cy="196"/>
              </a:xfrm>
              <a:custGeom>
                <a:avLst/>
                <a:gdLst>
                  <a:gd name="T0" fmla="*/ 17 w 92"/>
                  <a:gd name="T1" fmla="*/ 2 h 196"/>
                  <a:gd name="T2" fmla="*/ 39 w 92"/>
                  <a:gd name="T3" fmla="*/ 0 h 196"/>
                  <a:gd name="T4" fmla="*/ 82 w 92"/>
                  <a:gd name="T5" fmla="*/ 30 h 196"/>
                  <a:gd name="T6" fmla="*/ 76 w 92"/>
                  <a:gd name="T7" fmla="*/ 53 h 196"/>
                  <a:gd name="T8" fmla="*/ 91 w 92"/>
                  <a:gd name="T9" fmla="*/ 69 h 196"/>
                  <a:gd name="T10" fmla="*/ 92 w 92"/>
                  <a:gd name="T11" fmla="*/ 160 h 196"/>
                  <a:gd name="T12" fmla="*/ 77 w 92"/>
                  <a:gd name="T13" fmla="*/ 196 h 196"/>
                  <a:gd name="T14" fmla="*/ 59 w 92"/>
                  <a:gd name="T15" fmla="*/ 183 h 196"/>
                  <a:gd name="T16" fmla="*/ 41 w 92"/>
                  <a:gd name="T17" fmla="*/ 182 h 196"/>
                  <a:gd name="T18" fmla="*/ 9 w 92"/>
                  <a:gd name="T19" fmla="*/ 163 h 196"/>
                  <a:gd name="T20" fmla="*/ 33 w 92"/>
                  <a:gd name="T21" fmla="*/ 105 h 196"/>
                  <a:gd name="T22" fmla="*/ 0 w 92"/>
                  <a:gd name="T23" fmla="*/ 75 h 196"/>
                  <a:gd name="T24" fmla="*/ 17 w 92"/>
                  <a:gd name="T25" fmla="*/ 2 h 19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92"/>
                  <a:gd name="T40" fmla="*/ 0 h 196"/>
                  <a:gd name="T41" fmla="*/ 92 w 92"/>
                  <a:gd name="T42" fmla="*/ 196 h 19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92" h="196">
                    <a:moveTo>
                      <a:pt x="17" y="2"/>
                    </a:moveTo>
                    <a:lnTo>
                      <a:pt x="39" y="0"/>
                    </a:lnTo>
                    <a:lnTo>
                      <a:pt x="82" y="30"/>
                    </a:lnTo>
                    <a:lnTo>
                      <a:pt x="76" y="53"/>
                    </a:lnTo>
                    <a:lnTo>
                      <a:pt x="91" y="69"/>
                    </a:lnTo>
                    <a:lnTo>
                      <a:pt x="92" y="160"/>
                    </a:lnTo>
                    <a:lnTo>
                      <a:pt x="77" y="196"/>
                    </a:lnTo>
                    <a:lnTo>
                      <a:pt x="59" y="183"/>
                    </a:lnTo>
                    <a:lnTo>
                      <a:pt x="41" y="182"/>
                    </a:lnTo>
                    <a:lnTo>
                      <a:pt x="9" y="163"/>
                    </a:lnTo>
                    <a:lnTo>
                      <a:pt x="33" y="105"/>
                    </a:lnTo>
                    <a:lnTo>
                      <a:pt x="0" y="75"/>
                    </a:lnTo>
                    <a:lnTo>
                      <a:pt x="17" y="2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/>
              </a:p>
            </p:txBody>
          </p:sp>
          <p:sp>
            <p:nvSpPr>
              <p:cNvPr id="58" name="Freeform 42">
                <a:extLst>
                  <a:ext uri="{FF2B5EF4-FFF2-40B4-BE49-F238E27FC236}">
                    <a16:creationId xmlns:a16="http://schemas.microsoft.com/office/drawing/2014/main" id="{00000453-7A9F-4A08-8FC2-45EE87F867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7" y="1604"/>
                <a:ext cx="113" cy="93"/>
              </a:xfrm>
              <a:custGeom>
                <a:avLst/>
                <a:gdLst>
                  <a:gd name="T0" fmla="*/ 0 w 113"/>
                  <a:gd name="T1" fmla="*/ 23 h 93"/>
                  <a:gd name="T2" fmla="*/ 87 w 113"/>
                  <a:gd name="T3" fmla="*/ 0 h 93"/>
                  <a:gd name="T4" fmla="*/ 113 w 113"/>
                  <a:gd name="T5" fmla="*/ 42 h 93"/>
                  <a:gd name="T6" fmla="*/ 98 w 113"/>
                  <a:gd name="T7" fmla="*/ 61 h 93"/>
                  <a:gd name="T8" fmla="*/ 70 w 113"/>
                  <a:gd name="T9" fmla="*/ 54 h 93"/>
                  <a:gd name="T10" fmla="*/ 28 w 113"/>
                  <a:gd name="T11" fmla="*/ 93 h 93"/>
                  <a:gd name="T12" fmla="*/ 5 w 113"/>
                  <a:gd name="T13" fmla="*/ 73 h 93"/>
                  <a:gd name="T14" fmla="*/ 0 w 113"/>
                  <a:gd name="T15" fmla="*/ 23 h 9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13"/>
                  <a:gd name="T25" fmla="*/ 0 h 93"/>
                  <a:gd name="T26" fmla="*/ 113 w 113"/>
                  <a:gd name="T27" fmla="*/ 93 h 9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13" h="93">
                    <a:moveTo>
                      <a:pt x="0" y="23"/>
                    </a:moveTo>
                    <a:lnTo>
                      <a:pt x="87" y="0"/>
                    </a:lnTo>
                    <a:lnTo>
                      <a:pt x="113" y="42"/>
                    </a:lnTo>
                    <a:lnTo>
                      <a:pt x="98" y="61"/>
                    </a:lnTo>
                    <a:lnTo>
                      <a:pt x="70" y="54"/>
                    </a:lnTo>
                    <a:lnTo>
                      <a:pt x="28" y="93"/>
                    </a:lnTo>
                    <a:lnTo>
                      <a:pt x="5" y="73"/>
                    </a:lnTo>
                    <a:lnTo>
                      <a:pt x="0" y="23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/>
              </a:p>
            </p:txBody>
          </p:sp>
          <p:sp>
            <p:nvSpPr>
              <p:cNvPr id="59" name="Freeform 43">
                <a:extLst>
                  <a:ext uri="{FF2B5EF4-FFF2-40B4-BE49-F238E27FC236}">
                    <a16:creationId xmlns:a16="http://schemas.microsoft.com/office/drawing/2014/main" id="{7FF2E43F-92ED-4A99-BECB-35FA8F5659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64" y="1595"/>
                <a:ext cx="57" cy="51"/>
              </a:xfrm>
              <a:custGeom>
                <a:avLst/>
                <a:gdLst>
                  <a:gd name="T0" fmla="*/ 0 w 57"/>
                  <a:gd name="T1" fmla="*/ 9 h 51"/>
                  <a:gd name="T2" fmla="*/ 24 w 57"/>
                  <a:gd name="T3" fmla="*/ 0 h 51"/>
                  <a:gd name="T4" fmla="*/ 57 w 57"/>
                  <a:gd name="T5" fmla="*/ 26 h 51"/>
                  <a:gd name="T6" fmla="*/ 50 w 57"/>
                  <a:gd name="T7" fmla="*/ 33 h 51"/>
                  <a:gd name="T8" fmla="*/ 34 w 57"/>
                  <a:gd name="T9" fmla="*/ 33 h 51"/>
                  <a:gd name="T10" fmla="*/ 26 w 57"/>
                  <a:gd name="T11" fmla="*/ 51 h 51"/>
                  <a:gd name="T12" fmla="*/ 0 w 57"/>
                  <a:gd name="T13" fmla="*/ 9 h 51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57"/>
                  <a:gd name="T22" fmla="*/ 0 h 51"/>
                  <a:gd name="T23" fmla="*/ 57 w 57"/>
                  <a:gd name="T24" fmla="*/ 51 h 51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57" h="51">
                    <a:moveTo>
                      <a:pt x="0" y="9"/>
                    </a:moveTo>
                    <a:lnTo>
                      <a:pt x="24" y="0"/>
                    </a:lnTo>
                    <a:lnTo>
                      <a:pt x="57" y="26"/>
                    </a:lnTo>
                    <a:lnTo>
                      <a:pt x="50" y="33"/>
                    </a:lnTo>
                    <a:lnTo>
                      <a:pt x="34" y="33"/>
                    </a:lnTo>
                    <a:lnTo>
                      <a:pt x="26" y="51"/>
                    </a:lnTo>
                    <a:lnTo>
                      <a:pt x="0" y="9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/>
              </a:p>
            </p:txBody>
          </p:sp>
        </p:grpSp>
        <p:sp>
          <p:nvSpPr>
            <p:cNvPr id="31" name="Freeform 44">
              <a:extLst>
                <a:ext uri="{FF2B5EF4-FFF2-40B4-BE49-F238E27FC236}">
                  <a16:creationId xmlns:a16="http://schemas.microsoft.com/office/drawing/2014/main" id="{442B8ABC-B6E9-495F-94BC-225F7C2E55BE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795" y="1914525"/>
              <a:ext cx="801377" cy="584200"/>
            </a:xfrm>
            <a:custGeom>
              <a:avLst/>
              <a:gdLst>
                <a:gd name="T0" fmla="*/ 134 w 389"/>
                <a:gd name="T1" fmla="*/ 0 h 307"/>
                <a:gd name="T2" fmla="*/ 245 w 389"/>
                <a:gd name="T3" fmla="*/ 24 h 307"/>
                <a:gd name="T4" fmla="*/ 328 w 389"/>
                <a:gd name="T5" fmla="*/ 39 h 307"/>
                <a:gd name="T6" fmla="*/ 369 w 389"/>
                <a:gd name="T7" fmla="*/ 46 h 307"/>
                <a:gd name="T8" fmla="*/ 411 w 389"/>
                <a:gd name="T9" fmla="*/ 51 h 307"/>
                <a:gd name="T10" fmla="*/ 466 w 389"/>
                <a:gd name="T11" fmla="*/ 59 h 307"/>
                <a:gd name="T12" fmla="*/ 535 w 389"/>
                <a:gd name="T13" fmla="*/ 68 h 307"/>
                <a:gd name="T14" fmla="*/ 489 w 389"/>
                <a:gd name="T15" fmla="*/ 307 h 307"/>
                <a:gd name="T16" fmla="*/ 282 w 389"/>
                <a:gd name="T17" fmla="*/ 273 h 307"/>
                <a:gd name="T18" fmla="*/ 255 w 389"/>
                <a:gd name="T19" fmla="*/ 288 h 307"/>
                <a:gd name="T20" fmla="*/ 216 w 389"/>
                <a:gd name="T21" fmla="*/ 265 h 307"/>
                <a:gd name="T22" fmla="*/ 184 w 389"/>
                <a:gd name="T23" fmla="*/ 288 h 307"/>
                <a:gd name="T24" fmla="*/ 154 w 389"/>
                <a:gd name="T25" fmla="*/ 268 h 307"/>
                <a:gd name="T26" fmla="*/ 68 w 389"/>
                <a:gd name="T27" fmla="*/ 265 h 307"/>
                <a:gd name="T28" fmla="*/ 81 w 389"/>
                <a:gd name="T29" fmla="*/ 226 h 307"/>
                <a:gd name="T30" fmla="*/ 18 w 389"/>
                <a:gd name="T31" fmla="*/ 222 h 307"/>
                <a:gd name="T32" fmla="*/ 13 w 389"/>
                <a:gd name="T33" fmla="*/ 200 h 307"/>
                <a:gd name="T34" fmla="*/ 25 w 389"/>
                <a:gd name="T35" fmla="*/ 177 h 307"/>
                <a:gd name="T36" fmla="*/ 11 w 389"/>
                <a:gd name="T37" fmla="*/ 155 h 307"/>
                <a:gd name="T38" fmla="*/ 12 w 389"/>
                <a:gd name="T39" fmla="*/ 96 h 307"/>
                <a:gd name="T40" fmla="*/ 0 w 389"/>
                <a:gd name="T41" fmla="*/ 50 h 307"/>
                <a:gd name="T42" fmla="*/ 5 w 389"/>
                <a:gd name="T43" fmla="*/ 32 h 307"/>
                <a:gd name="T44" fmla="*/ 34 w 389"/>
                <a:gd name="T45" fmla="*/ 39 h 307"/>
                <a:gd name="T46" fmla="*/ 63 w 389"/>
                <a:gd name="T47" fmla="*/ 66 h 307"/>
                <a:gd name="T48" fmla="*/ 115 w 389"/>
                <a:gd name="T49" fmla="*/ 72 h 307"/>
                <a:gd name="T50" fmla="*/ 129 w 389"/>
                <a:gd name="T51" fmla="*/ 94 h 307"/>
                <a:gd name="T52" fmla="*/ 103 w 389"/>
                <a:gd name="T53" fmla="*/ 94 h 307"/>
                <a:gd name="T54" fmla="*/ 100 w 389"/>
                <a:gd name="T55" fmla="*/ 113 h 307"/>
                <a:gd name="T56" fmla="*/ 115 w 389"/>
                <a:gd name="T57" fmla="*/ 115 h 307"/>
                <a:gd name="T58" fmla="*/ 120 w 389"/>
                <a:gd name="T59" fmla="*/ 134 h 307"/>
                <a:gd name="T60" fmla="*/ 89 w 389"/>
                <a:gd name="T61" fmla="*/ 148 h 307"/>
                <a:gd name="T62" fmla="*/ 89 w 389"/>
                <a:gd name="T63" fmla="*/ 161 h 307"/>
                <a:gd name="T64" fmla="*/ 124 w 389"/>
                <a:gd name="T65" fmla="*/ 161 h 307"/>
                <a:gd name="T66" fmla="*/ 134 w 389"/>
                <a:gd name="T67" fmla="*/ 128 h 307"/>
                <a:gd name="T68" fmla="*/ 162 w 389"/>
                <a:gd name="T69" fmla="*/ 108 h 307"/>
                <a:gd name="T70" fmla="*/ 129 w 389"/>
                <a:gd name="T71" fmla="*/ 57 h 307"/>
                <a:gd name="T72" fmla="*/ 150 w 389"/>
                <a:gd name="T73" fmla="*/ 40 h 307"/>
                <a:gd name="T74" fmla="*/ 134 w 389"/>
                <a:gd name="T75" fmla="*/ 0 h 30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389"/>
                <a:gd name="T115" fmla="*/ 0 h 307"/>
                <a:gd name="T116" fmla="*/ 389 w 389"/>
                <a:gd name="T117" fmla="*/ 307 h 307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389" h="307">
                  <a:moveTo>
                    <a:pt x="98" y="0"/>
                  </a:moveTo>
                  <a:lnTo>
                    <a:pt x="178" y="24"/>
                  </a:lnTo>
                  <a:lnTo>
                    <a:pt x="239" y="39"/>
                  </a:lnTo>
                  <a:lnTo>
                    <a:pt x="269" y="46"/>
                  </a:lnTo>
                  <a:lnTo>
                    <a:pt x="299" y="51"/>
                  </a:lnTo>
                  <a:lnTo>
                    <a:pt x="340" y="59"/>
                  </a:lnTo>
                  <a:lnTo>
                    <a:pt x="389" y="68"/>
                  </a:lnTo>
                  <a:lnTo>
                    <a:pt x="357" y="307"/>
                  </a:lnTo>
                  <a:lnTo>
                    <a:pt x="206" y="273"/>
                  </a:lnTo>
                  <a:lnTo>
                    <a:pt x="186" y="288"/>
                  </a:lnTo>
                  <a:lnTo>
                    <a:pt x="158" y="265"/>
                  </a:lnTo>
                  <a:lnTo>
                    <a:pt x="134" y="288"/>
                  </a:lnTo>
                  <a:lnTo>
                    <a:pt x="112" y="268"/>
                  </a:lnTo>
                  <a:lnTo>
                    <a:pt x="50" y="265"/>
                  </a:lnTo>
                  <a:lnTo>
                    <a:pt x="59" y="226"/>
                  </a:lnTo>
                  <a:lnTo>
                    <a:pt x="14" y="222"/>
                  </a:lnTo>
                  <a:lnTo>
                    <a:pt x="9" y="200"/>
                  </a:lnTo>
                  <a:lnTo>
                    <a:pt x="18" y="177"/>
                  </a:lnTo>
                  <a:lnTo>
                    <a:pt x="7" y="155"/>
                  </a:lnTo>
                  <a:lnTo>
                    <a:pt x="8" y="96"/>
                  </a:lnTo>
                  <a:lnTo>
                    <a:pt x="0" y="50"/>
                  </a:lnTo>
                  <a:lnTo>
                    <a:pt x="5" y="32"/>
                  </a:lnTo>
                  <a:lnTo>
                    <a:pt x="25" y="39"/>
                  </a:lnTo>
                  <a:lnTo>
                    <a:pt x="46" y="66"/>
                  </a:lnTo>
                  <a:lnTo>
                    <a:pt x="84" y="72"/>
                  </a:lnTo>
                  <a:lnTo>
                    <a:pt x="94" y="94"/>
                  </a:lnTo>
                  <a:lnTo>
                    <a:pt x="75" y="94"/>
                  </a:lnTo>
                  <a:lnTo>
                    <a:pt x="73" y="113"/>
                  </a:lnTo>
                  <a:lnTo>
                    <a:pt x="84" y="115"/>
                  </a:lnTo>
                  <a:lnTo>
                    <a:pt x="88" y="134"/>
                  </a:lnTo>
                  <a:lnTo>
                    <a:pt x="65" y="148"/>
                  </a:lnTo>
                  <a:lnTo>
                    <a:pt x="65" y="161"/>
                  </a:lnTo>
                  <a:lnTo>
                    <a:pt x="91" y="161"/>
                  </a:lnTo>
                  <a:lnTo>
                    <a:pt x="98" y="128"/>
                  </a:lnTo>
                  <a:lnTo>
                    <a:pt x="118" y="108"/>
                  </a:lnTo>
                  <a:lnTo>
                    <a:pt x="94" y="57"/>
                  </a:lnTo>
                  <a:lnTo>
                    <a:pt x="109" y="40"/>
                  </a:lnTo>
                  <a:lnTo>
                    <a:pt x="98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32" name="Freeform 45">
              <a:extLst>
                <a:ext uri="{FF2B5EF4-FFF2-40B4-BE49-F238E27FC236}">
                  <a16:creationId xmlns:a16="http://schemas.microsoft.com/office/drawing/2014/main" id="{120EE865-432D-43B1-B243-8A95B59207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9908" y="2336800"/>
              <a:ext cx="1002582" cy="760413"/>
            </a:xfrm>
            <a:custGeom>
              <a:avLst/>
              <a:gdLst>
                <a:gd name="T0" fmla="*/ 147 w 485"/>
                <a:gd name="T1" fmla="*/ 0 h 399"/>
                <a:gd name="T2" fmla="*/ 127 w 485"/>
                <a:gd name="T3" fmla="*/ 9 h 399"/>
                <a:gd name="T4" fmla="*/ 115 w 485"/>
                <a:gd name="T5" fmla="*/ 44 h 399"/>
                <a:gd name="T6" fmla="*/ 102 w 485"/>
                <a:gd name="T7" fmla="*/ 73 h 399"/>
                <a:gd name="T8" fmla="*/ 94 w 485"/>
                <a:gd name="T9" fmla="*/ 97 h 399"/>
                <a:gd name="T10" fmla="*/ 81 w 485"/>
                <a:gd name="T11" fmla="*/ 123 h 399"/>
                <a:gd name="T12" fmla="*/ 67 w 485"/>
                <a:gd name="T13" fmla="*/ 149 h 399"/>
                <a:gd name="T14" fmla="*/ 50 w 485"/>
                <a:gd name="T15" fmla="*/ 177 h 399"/>
                <a:gd name="T16" fmla="*/ 26 w 485"/>
                <a:gd name="T17" fmla="*/ 210 h 399"/>
                <a:gd name="T18" fmla="*/ 0 w 485"/>
                <a:gd name="T19" fmla="*/ 241 h 399"/>
                <a:gd name="T20" fmla="*/ 0 w 485"/>
                <a:gd name="T21" fmla="*/ 311 h 399"/>
                <a:gd name="T22" fmla="*/ 376 w 485"/>
                <a:gd name="T23" fmla="*/ 371 h 399"/>
                <a:gd name="T24" fmla="*/ 552 w 485"/>
                <a:gd name="T25" fmla="*/ 399 h 399"/>
                <a:gd name="T26" fmla="*/ 587 w 485"/>
                <a:gd name="T27" fmla="*/ 260 h 399"/>
                <a:gd name="T28" fmla="*/ 610 w 485"/>
                <a:gd name="T29" fmla="*/ 249 h 399"/>
                <a:gd name="T30" fmla="*/ 588 w 485"/>
                <a:gd name="T31" fmla="*/ 218 h 399"/>
                <a:gd name="T32" fmla="*/ 600 w 485"/>
                <a:gd name="T33" fmla="*/ 186 h 399"/>
                <a:gd name="T34" fmla="*/ 670 w 485"/>
                <a:gd name="T35" fmla="*/ 133 h 399"/>
                <a:gd name="T36" fmla="*/ 621 w 485"/>
                <a:gd name="T37" fmla="*/ 85 h 399"/>
                <a:gd name="T38" fmla="*/ 412 w 485"/>
                <a:gd name="T39" fmla="*/ 51 h 399"/>
                <a:gd name="T40" fmla="*/ 386 w 485"/>
                <a:gd name="T41" fmla="*/ 65 h 399"/>
                <a:gd name="T42" fmla="*/ 346 w 485"/>
                <a:gd name="T43" fmla="*/ 42 h 399"/>
                <a:gd name="T44" fmla="*/ 312 w 485"/>
                <a:gd name="T45" fmla="*/ 66 h 399"/>
                <a:gd name="T46" fmla="*/ 281 w 485"/>
                <a:gd name="T47" fmla="*/ 42 h 399"/>
                <a:gd name="T48" fmla="*/ 197 w 485"/>
                <a:gd name="T49" fmla="*/ 43 h 399"/>
                <a:gd name="T50" fmla="*/ 209 w 485"/>
                <a:gd name="T51" fmla="*/ 4 h 399"/>
                <a:gd name="T52" fmla="*/ 147 w 485"/>
                <a:gd name="T53" fmla="*/ 0 h 399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485"/>
                <a:gd name="T82" fmla="*/ 0 h 399"/>
                <a:gd name="T83" fmla="*/ 485 w 485"/>
                <a:gd name="T84" fmla="*/ 399 h 399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485" h="399">
                  <a:moveTo>
                    <a:pt x="106" y="0"/>
                  </a:moveTo>
                  <a:lnTo>
                    <a:pt x="92" y="9"/>
                  </a:lnTo>
                  <a:lnTo>
                    <a:pt x="83" y="44"/>
                  </a:lnTo>
                  <a:lnTo>
                    <a:pt x="74" y="73"/>
                  </a:lnTo>
                  <a:lnTo>
                    <a:pt x="68" y="97"/>
                  </a:lnTo>
                  <a:lnTo>
                    <a:pt x="59" y="123"/>
                  </a:lnTo>
                  <a:lnTo>
                    <a:pt x="49" y="149"/>
                  </a:lnTo>
                  <a:lnTo>
                    <a:pt x="36" y="177"/>
                  </a:lnTo>
                  <a:lnTo>
                    <a:pt x="18" y="210"/>
                  </a:lnTo>
                  <a:lnTo>
                    <a:pt x="0" y="241"/>
                  </a:lnTo>
                  <a:lnTo>
                    <a:pt x="0" y="311"/>
                  </a:lnTo>
                  <a:lnTo>
                    <a:pt x="272" y="371"/>
                  </a:lnTo>
                  <a:lnTo>
                    <a:pt x="398" y="399"/>
                  </a:lnTo>
                  <a:lnTo>
                    <a:pt x="424" y="260"/>
                  </a:lnTo>
                  <a:lnTo>
                    <a:pt x="441" y="249"/>
                  </a:lnTo>
                  <a:lnTo>
                    <a:pt x="425" y="218"/>
                  </a:lnTo>
                  <a:lnTo>
                    <a:pt x="433" y="186"/>
                  </a:lnTo>
                  <a:lnTo>
                    <a:pt x="485" y="133"/>
                  </a:lnTo>
                  <a:lnTo>
                    <a:pt x="449" y="85"/>
                  </a:lnTo>
                  <a:lnTo>
                    <a:pt x="298" y="51"/>
                  </a:lnTo>
                  <a:lnTo>
                    <a:pt x="278" y="65"/>
                  </a:lnTo>
                  <a:lnTo>
                    <a:pt x="250" y="42"/>
                  </a:lnTo>
                  <a:lnTo>
                    <a:pt x="226" y="66"/>
                  </a:lnTo>
                  <a:lnTo>
                    <a:pt x="203" y="42"/>
                  </a:lnTo>
                  <a:lnTo>
                    <a:pt x="143" y="43"/>
                  </a:lnTo>
                  <a:lnTo>
                    <a:pt x="151" y="4"/>
                  </a:lnTo>
                  <a:lnTo>
                    <a:pt x="106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33" name="Freeform 46">
              <a:extLst>
                <a:ext uri="{FF2B5EF4-FFF2-40B4-BE49-F238E27FC236}">
                  <a16:creationId xmlns:a16="http://schemas.microsoft.com/office/drawing/2014/main" id="{D8772527-92BC-4CEC-BE0D-CE17009D2CF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7363" y="2925763"/>
              <a:ext cx="1057612" cy="1619250"/>
            </a:xfrm>
            <a:custGeom>
              <a:avLst/>
              <a:gdLst>
                <a:gd name="T0" fmla="*/ 55 w 512"/>
                <a:gd name="T1" fmla="*/ 0 h 850"/>
                <a:gd name="T2" fmla="*/ 379 w 512"/>
                <a:gd name="T3" fmla="*/ 50 h 850"/>
                <a:gd name="T4" fmla="*/ 308 w 512"/>
                <a:gd name="T5" fmla="*/ 300 h 850"/>
                <a:gd name="T6" fmla="*/ 673 w 512"/>
                <a:gd name="T7" fmla="*/ 681 h 850"/>
                <a:gd name="T8" fmla="*/ 708 w 512"/>
                <a:gd name="T9" fmla="*/ 730 h 850"/>
                <a:gd name="T10" fmla="*/ 672 w 512"/>
                <a:gd name="T11" fmla="*/ 753 h 850"/>
                <a:gd name="T12" fmla="*/ 651 w 512"/>
                <a:gd name="T13" fmla="*/ 795 h 850"/>
                <a:gd name="T14" fmla="*/ 628 w 512"/>
                <a:gd name="T15" fmla="*/ 820 h 850"/>
                <a:gd name="T16" fmla="*/ 653 w 512"/>
                <a:gd name="T17" fmla="*/ 842 h 850"/>
                <a:gd name="T18" fmla="*/ 612 w 512"/>
                <a:gd name="T19" fmla="*/ 850 h 850"/>
                <a:gd name="T20" fmla="*/ 398 w 512"/>
                <a:gd name="T21" fmla="*/ 844 h 850"/>
                <a:gd name="T22" fmla="*/ 384 w 512"/>
                <a:gd name="T23" fmla="*/ 794 h 850"/>
                <a:gd name="T24" fmla="*/ 348 w 512"/>
                <a:gd name="T25" fmla="*/ 758 h 850"/>
                <a:gd name="T26" fmla="*/ 320 w 512"/>
                <a:gd name="T27" fmla="*/ 745 h 850"/>
                <a:gd name="T28" fmla="*/ 313 w 512"/>
                <a:gd name="T29" fmla="*/ 719 h 850"/>
                <a:gd name="T30" fmla="*/ 291 w 512"/>
                <a:gd name="T31" fmla="*/ 705 h 850"/>
                <a:gd name="T32" fmla="*/ 268 w 512"/>
                <a:gd name="T33" fmla="*/ 687 h 850"/>
                <a:gd name="T34" fmla="*/ 260 w 512"/>
                <a:gd name="T35" fmla="*/ 667 h 850"/>
                <a:gd name="T36" fmla="*/ 240 w 512"/>
                <a:gd name="T37" fmla="*/ 654 h 850"/>
                <a:gd name="T38" fmla="*/ 207 w 512"/>
                <a:gd name="T39" fmla="*/ 661 h 850"/>
                <a:gd name="T40" fmla="*/ 168 w 512"/>
                <a:gd name="T41" fmla="*/ 651 h 850"/>
                <a:gd name="T42" fmla="*/ 168 w 512"/>
                <a:gd name="T43" fmla="*/ 640 h 850"/>
                <a:gd name="T44" fmla="*/ 167 w 512"/>
                <a:gd name="T45" fmla="*/ 617 h 850"/>
                <a:gd name="T46" fmla="*/ 152 w 512"/>
                <a:gd name="T47" fmla="*/ 591 h 850"/>
                <a:gd name="T48" fmla="*/ 151 w 512"/>
                <a:gd name="T49" fmla="*/ 570 h 850"/>
                <a:gd name="T50" fmla="*/ 134 w 512"/>
                <a:gd name="T51" fmla="*/ 551 h 850"/>
                <a:gd name="T52" fmla="*/ 138 w 512"/>
                <a:gd name="T53" fmla="*/ 533 h 850"/>
                <a:gd name="T54" fmla="*/ 92 w 512"/>
                <a:gd name="T55" fmla="*/ 490 h 850"/>
                <a:gd name="T56" fmla="*/ 92 w 512"/>
                <a:gd name="T57" fmla="*/ 465 h 850"/>
                <a:gd name="T58" fmla="*/ 115 w 512"/>
                <a:gd name="T59" fmla="*/ 456 h 850"/>
                <a:gd name="T60" fmla="*/ 115 w 512"/>
                <a:gd name="T61" fmla="*/ 440 h 850"/>
                <a:gd name="T62" fmla="*/ 92 w 512"/>
                <a:gd name="T63" fmla="*/ 436 h 850"/>
                <a:gd name="T64" fmla="*/ 80 w 512"/>
                <a:gd name="T65" fmla="*/ 412 h 850"/>
                <a:gd name="T66" fmla="*/ 69 w 512"/>
                <a:gd name="T67" fmla="*/ 371 h 850"/>
                <a:gd name="T68" fmla="*/ 103 w 512"/>
                <a:gd name="T69" fmla="*/ 393 h 850"/>
                <a:gd name="T70" fmla="*/ 89 w 512"/>
                <a:gd name="T71" fmla="*/ 364 h 850"/>
                <a:gd name="T72" fmla="*/ 115 w 512"/>
                <a:gd name="T73" fmla="*/ 364 h 850"/>
                <a:gd name="T74" fmla="*/ 115 w 512"/>
                <a:gd name="T75" fmla="*/ 343 h 850"/>
                <a:gd name="T76" fmla="*/ 89 w 512"/>
                <a:gd name="T77" fmla="*/ 329 h 850"/>
                <a:gd name="T78" fmla="*/ 78 w 512"/>
                <a:gd name="T79" fmla="*/ 349 h 850"/>
                <a:gd name="T80" fmla="*/ 55 w 512"/>
                <a:gd name="T81" fmla="*/ 342 h 850"/>
                <a:gd name="T82" fmla="*/ 11 w 512"/>
                <a:gd name="T83" fmla="*/ 246 h 850"/>
                <a:gd name="T84" fmla="*/ 22 w 512"/>
                <a:gd name="T85" fmla="*/ 178 h 850"/>
                <a:gd name="T86" fmla="*/ 0 w 512"/>
                <a:gd name="T87" fmla="*/ 139 h 850"/>
                <a:gd name="T88" fmla="*/ 12 w 512"/>
                <a:gd name="T89" fmla="*/ 110 h 850"/>
                <a:gd name="T90" fmla="*/ 33 w 512"/>
                <a:gd name="T91" fmla="*/ 104 h 850"/>
                <a:gd name="T92" fmla="*/ 55 w 512"/>
                <a:gd name="T93" fmla="*/ 57 h 850"/>
                <a:gd name="T94" fmla="*/ 55 w 512"/>
                <a:gd name="T95" fmla="*/ 0 h 85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512"/>
                <a:gd name="T145" fmla="*/ 0 h 850"/>
                <a:gd name="T146" fmla="*/ 512 w 512"/>
                <a:gd name="T147" fmla="*/ 850 h 85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512" h="850">
                  <a:moveTo>
                    <a:pt x="40" y="0"/>
                  </a:moveTo>
                  <a:lnTo>
                    <a:pt x="275" y="50"/>
                  </a:lnTo>
                  <a:lnTo>
                    <a:pt x="223" y="300"/>
                  </a:lnTo>
                  <a:lnTo>
                    <a:pt x="488" y="681"/>
                  </a:lnTo>
                  <a:lnTo>
                    <a:pt x="512" y="730"/>
                  </a:lnTo>
                  <a:lnTo>
                    <a:pt x="487" y="753"/>
                  </a:lnTo>
                  <a:lnTo>
                    <a:pt x="471" y="795"/>
                  </a:lnTo>
                  <a:lnTo>
                    <a:pt x="455" y="820"/>
                  </a:lnTo>
                  <a:lnTo>
                    <a:pt x="472" y="842"/>
                  </a:lnTo>
                  <a:lnTo>
                    <a:pt x="444" y="850"/>
                  </a:lnTo>
                  <a:lnTo>
                    <a:pt x="289" y="844"/>
                  </a:lnTo>
                  <a:lnTo>
                    <a:pt x="279" y="794"/>
                  </a:lnTo>
                  <a:lnTo>
                    <a:pt x="252" y="758"/>
                  </a:lnTo>
                  <a:lnTo>
                    <a:pt x="232" y="745"/>
                  </a:lnTo>
                  <a:lnTo>
                    <a:pt x="227" y="719"/>
                  </a:lnTo>
                  <a:lnTo>
                    <a:pt x="210" y="705"/>
                  </a:lnTo>
                  <a:lnTo>
                    <a:pt x="194" y="687"/>
                  </a:lnTo>
                  <a:lnTo>
                    <a:pt x="188" y="667"/>
                  </a:lnTo>
                  <a:lnTo>
                    <a:pt x="173" y="654"/>
                  </a:lnTo>
                  <a:lnTo>
                    <a:pt x="149" y="661"/>
                  </a:lnTo>
                  <a:lnTo>
                    <a:pt x="122" y="651"/>
                  </a:lnTo>
                  <a:lnTo>
                    <a:pt x="122" y="640"/>
                  </a:lnTo>
                  <a:lnTo>
                    <a:pt x="121" y="617"/>
                  </a:lnTo>
                  <a:lnTo>
                    <a:pt x="110" y="591"/>
                  </a:lnTo>
                  <a:lnTo>
                    <a:pt x="109" y="570"/>
                  </a:lnTo>
                  <a:lnTo>
                    <a:pt x="97" y="551"/>
                  </a:lnTo>
                  <a:lnTo>
                    <a:pt x="100" y="533"/>
                  </a:lnTo>
                  <a:lnTo>
                    <a:pt x="66" y="490"/>
                  </a:lnTo>
                  <a:lnTo>
                    <a:pt x="66" y="465"/>
                  </a:lnTo>
                  <a:lnTo>
                    <a:pt x="83" y="456"/>
                  </a:lnTo>
                  <a:lnTo>
                    <a:pt x="83" y="440"/>
                  </a:lnTo>
                  <a:lnTo>
                    <a:pt x="66" y="436"/>
                  </a:lnTo>
                  <a:lnTo>
                    <a:pt x="58" y="412"/>
                  </a:lnTo>
                  <a:lnTo>
                    <a:pt x="50" y="371"/>
                  </a:lnTo>
                  <a:lnTo>
                    <a:pt x="75" y="393"/>
                  </a:lnTo>
                  <a:lnTo>
                    <a:pt x="65" y="364"/>
                  </a:lnTo>
                  <a:lnTo>
                    <a:pt x="83" y="364"/>
                  </a:lnTo>
                  <a:lnTo>
                    <a:pt x="83" y="343"/>
                  </a:lnTo>
                  <a:lnTo>
                    <a:pt x="65" y="329"/>
                  </a:lnTo>
                  <a:lnTo>
                    <a:pt x="56" y="349"/>
                  </a:lnTo>
                  <a:lnTo>
                    <a:pt x="40" y="342"/>
                  </a:lnTo>
                  <a:lnTo>
                    <a:pt x="7" y="246"/>
                  </a:lnTo>
                  <a:lnTo>
                    <a:pt x="16" y="178"/>
                  </a:lnTo>
                  <a:lnTo>
                    <a:pt x="0" y="139"/>
                  </a:lnTo>
                  <a:lnTo>
                    <a:pt x="8" y="110"/>
                  </a:lnTo>
                  <a:lnTo>
                    <a:pt x="24" y="104"/>
                  </a:lnTo>
                  <a:lnTo>
                    <a:pt x="40" y="57"/>
                  </a:lnTo>
                  <a:lnTo>
                    <a:pt x="40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34" name="Freeform 47">
              <a:extLst>
                <a:ext uri="{FF2B5EF4-FFF2-40B4-BE49-F238E27FC236}">
                  <a16:creationId xmlns:a16="http://schemas.microsoft.com/office/drawing/2014/main" id="{C2BE81C8-9672-45DA-87F4-C088CACB5C85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8483" y="2041525"/>
              <a:ext cx="722272" cy="1158875"/>
            </a:xfrm>
            <a:custGeom>
              <a:avLst/>
              <a:gdLst>
                <a:gd name="T0" fmla="*/ 117 w 349"/>
                <a:gd name="T1" fmla="*/ 0 h 608"/>
                <a:gd name="T2" fmla="*/ 72 w 349"/>
                <a:gd name="T3" fmla="*/ 238 h 608"/>
                <a:gd name="T4" fmla="*/ 118 w 349"/>
                <a:gd name="T5" fmla="*/ 288 h 608"/>
                <a:gd name="T6" fmla="*/ 47 w 349"/>
                <a:gd name="T7" fmla="*/ 341 h 608"/>
                <a:gd name="T8" fmla="*/ 37 w 349"/>
                <a:gd name="T9" fmla="*/ 378 h 608"/>
                <a:gd name="T10" fmla="*/ 58 w 349"/>
                <a:gd name="T11" fmla="*/ 404 h 608"/>
                <a:gd name="T12" fmla="*/ 37 w 349"/>
                <a:gd name="T13" fmla="*/ 416 h 608"/>
                <a:gd name="T14" fmla="*/ 0 w 349"/>
                <a:gd name="T15" fmla="*/ 554 h 608"/>
                <a:gd name="T16" fmla="*/ 230 w 349"/>
                <a:gd name="T17" fmla="*/ 586 h 608"/>
                <a:gd name="T18" fmla="*/ 451 w 349"/>
                <a:gd name="T19" fmla="*/ 608 h 608"/>
                <a:gd name="T20" fmla="*/ 472 w 349"/>
                <a:gd name="T21" fmla="*/ 482 h 608"/>
                <a:gd name="T22" fmla="*/ 485 w 349"/>
                <a:gd name="T23" fmla="*/ 413 h 608"/>
                <a:gd name="T24" fmla="*/ 464 w 349"/>
                <a:gd name="T25" fmla="*/ 388 h 608"/>
                <a:gd name="T26" fmla="*/ 414 w 349"/>
                <a:gd name="T27" fmla="*/ 395 h 608"/>
                <a:gd name="T28" fmla="*/ 346 w 349"/>
                <a:gd name="T29" fmla="*/ 401 h 608"/>
                <a:gd name="T30" fmla="*/ 338 w 349"/>
                <a:gd name="T31" fmla="*/ 345 h 608"/>
                <a:gd name="T32" fmla="*/ 257 w 349"/>
                <a:gd name="T33" fmla="*/ 299 h 608"/>
                <a:gd name="T34" fmla="*/ 268 w 349"/>
                <a:gd name="T35" fmla="*/ 270 h 608"/>
                <a:gd name="T36" fmla="*/ 275 w 349"/>
                <a:gd name="T37" fmla="*/ 218 h 608"/>
                <a:gd name="T38" fmla="*/ 175 w 349"/>
                <a:gd name="T39" fmla="*/ 106 h 608"/>
                <a:gd name="T40" fmla="*/ 188 w 349"/>
                <a:gd name="T41" fmla="*/ 7 h 608"/>
                <a:gd name="T42" fmla="*/ 117 w 349"/>
                <a:gd name="T43" fmla="*/ 0 h 608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349"/>
                <a:gd name="T67" fmla="*/ 0 h 608"/>
                <a:gd name="T68" fmla="*/ 349 w 349"/>
                <a:gd name="T69" fmla="*/ 608 h 608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349" h="608">
                  <a:moveTo>
                    <a:pt x="84" y="0"/>
                  </a:moveTo>
                  <a:lnTo>
                    <a:pt x="52" y="238"/>
                  </a:lnTo>
                  <a:lnTo>
                    <a:pt x="85" y="288"/>
                  </a:lnTo>
                  <a:lnTo>
                    <a:pt x="34" y="341"/>
                  </a:lnTo>
                  <a:lnTo>
                    <a:pt x="27" y="378"/>
                  </a:lnTo>
                  <a:lnTo>
                    <a:pt x="41" y="404"/>
                  </a:lnTo>
                  <a:lnTo>
                    <a:pt x="27" y="416"/>
                  </a:lnTo>
                  <a:lnTo>
                    <a:pt x="0" y="554"/>
                  </a:lnTo>
                  <a:lnTo>
                    <a:pt x="166" y="586"/>
                  </a:lnTo>
                  <a:lnTo>
                    <a:pt x="324" y="608"/>
                  </a:lnTo>
                  <a:lnTo>
                    <a:pt x="340" y="482"/>
                  </a:lnTo>
                  <a:lnTo>
                    <a:pt x="349" y="413"/>
                  </a:lnTo>
                  <a:lnTo>
                    <a:pt x="333" y="388"/>
                  </a:lnTo>
                  <a:lnTo>
                    <a:pt x="297" y="395"/>
                  </a:lnTo>
                  <a:lnTo>
                    <a:pt x="250" y="401"/>
                  </a:lnTo>
                  <a:lnTo>
                    <a:pt x="242" y="345"/>
                  </a:lnTo>
                  <a:lnTo>
                    <a:pt x="185" y="299"/>
                  </a:lnTo>
                  <a:lnTo>
                    <a:pt x="192" y="270"/>
                  </a:lnTo>
                  <a:lnTo>
                    <a:pt x="198" y="218"/>
                  </a:lnTo>
                  <a:lnTo>
                    <a:pt x="125" y="106"/>
                  </a:lnTo>
                  <a:lnTo>
                    <a:pt x="134" y="7"/>
                  </a:lnTo>
                  <a:lnTo>
                    <a:pt x="84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35" name="Freeform 48">
              <a:extLst>
                <a:ext uri="{FF2B5EF4-FFF2-40B4-BE49-F238E27FC236}">
                  <a16:creationId xmlns:a16="http://schemas.microsoft.com/office/drawing/2014/main" id="{5DE191FF-194F-4363-BFE9-A1559DFA5420}"/>
                </a:ext>
              </a:extLst>
            </p:cNvPr>
            <p:cNvSpPr>
              <a:spLocks/>
            </p:cNvSpPr>
            <p:nvPr/>
          </p:nvSpPr>
          <p:spPr bwMode="auto">
            <a:xfrm>
              <a:off x="5698902" y="4259263"/>
              <a:ext cx="433363" cy="750887"/>
            </a:xfrm>
            <a:custGeom>
              <a:avLst/>
              <a:gdLst>
                <a:gd name="T0" fmla="*/ 81 w 210"/>
                <a:gd name="T1" fmla="*/ 13 h 394"/>
                <a:gd name="T2" fmla="*/ 37 w 210"/>
                <a:gd name="T3" fmla="*/ 80 h 394"/>
                <a:gd name="T4" fmla="*/ 0 w 210"/>
                <a:gd name="T5" fmla="*/ 124 h 394"/>
                <a:gd name="T6" fmla="*/ 13 w 210"/>
                <a:gd name="T7" fmla="*/ 175 h 394"/>
                <a:gd name="T8" fmla="*/ 57 w 210"/>
                <a:gd name="T9" fmla="*/ 246 h 394"/>
                <a:gd name="T10" fmla="*/ 23 w 210"/>
                <a:gd name="T11" fmla="*/ 318 h 394"/>
                <a:gd name="T12" fmla="*/ 6 w 210"/>
                <a:gd name="T13" fmla="*/ 355 h 394"/>
                <a:gd name="T14" fmla="*/ 174 w 210"/>
                <a:gd name="T15" fmla="*/ 340 h 394"/>
                <a:gd name="T16" fmla="*/ 184 w 210"/>
                <a:gd name="T17" fmla="*/ 388 h 394"/>
                <a:gd name="T18" fmla="*/ 217 w 210"/>
                <a:gd name="T19" fmla="*/ 394 h 394"/>
                <a:gd name="T20" fmla="*/ 225 w 210"/>
                <a:gd name="T21" fmla="*/ 369 h 394"/>
                <a:gd name="T22" fmla="*/ 286 w 210"/>
                <a:gd name="T23" fmla="*/ 362 h 394"/>
                <a:gd name="T24" fmla="*/ 272 w 210"/>
                <a:gd name="T25" fmla="*/ 282 h 394"/>
                <a:gd name="T26" fmla="*/ 270 w 210"/>
                <a:gd name="T27" fmla="*/ 0 h 394"/>
                <a:gd name="T28" fmla="*/ 81 w 210"/>
                <a:gd name="T29" fmla="*/ 13 h 39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10"/>
                <a:gd name="T46" fmla="*/ 0 h 394"/>
                <a:gd name="T47" fmla="*/ 210 w 210"/>
                <a:gd name="T48" fmla="*/ 394 h 39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10" h="394">
                  <a:moveTo>
                    <a:pt x="59" y="13"/>
                  </a:moveTo>
                  <a:lnTo>
                    <a:pt x="27" y="80"/>
                  </a:lnTo>
                  <a:lnTo>
                    <a:pt x="0" y="124"/>
                  </a:lnTo>
                  <a:lnTo>
                    <a:pt x="9" y="175"/>
                  </a:lnTo>
                  <a:lnTo>
                    <a:pt x="42" y="246"/>
                  </a:lnTo>
                  <a:lnTo>
                    <a:pt x="17" y="318"/>
                  </a:lnTo>
                  <a:lnTo>
                    <a:pt x="6" y="355"/>
                  </a:lnTo>
                  <a:lnTo>
                    <a:pt x="128" y="340"/>
                  </a:lnTo>
                  <a:lnTo>
                    <a:pt x="134" y="388"/>
                  </a:lnTo>
                  <a:lnTo>
                    <a:pt x="159" y="394"/>
                  </a:lnTo>
                  <a:lnTo>
                    <a:pt x="165" y="369"/>
                  </a:lnTo>
                  <a:lnTo>
                    <a:pt x="210" y="362"/>
                  </a:lnTo>
                  <a:lnTo>
                    <a:pt x="200" y="282"/>
                  </a:lnTo>
                  <a:lnTo>
                    <a:pt x="198" y="0"/>
                  </a:lnTo>
                  <a:lnTo>
                    <a:pt x="59" y="13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36" name="Freeform 49">
              <a:extLst>
                <a:ext uri="{FF2B5EF4-FFF2-40B4-BE49-F238E27FC236}">
                  <a16:creationId xmlns:a16="http://schemas.microsoft.com/office/drawing/2014/main" id="{80B6F277-45F4-4D57-847D-8756FE015EFD}"/>
                </a:ext>
              </a:extLst>
            </p:cNvPr>
            <p:cNvSpPr>
              <a:spLocks/>
            </p:cNvSpPr>
            <p:nvPr/>
          </p:nvSpPr>
          <p:spPr bwMode="auto">
            <a:xfrm>
              <a:off x="6104750" y="4222750"/>
              <a:ext cx="490113" cy="758825"/>
            </a:xfrm>
            <a:custGeom>
              <a:avLst/>
              <a:gdLst>
                <a:gd name="T0" fmla="*/ 0 w 237"/>
                <a:gd name="T1" fmla="*/ 20 h 398"/>
                <a:gd name="T2" fmla="*/ 213 w 237"/>
                <a:gd name="T3" fmla="*/ 0 h 398"/>
                <a:gd name="T4" fmla="*/ 281 w 237"/>
                <a:gd name="T5" fmla="*/ 184 h 398"/>
                <a:gd name="T6" fmla="*/ 329 w 237"/>
                <a:gd name="T7" fmla="*/ 213 h 398"/>
                <a:gd name="T8" fmla="*/ 291 w 237"/>
                <a:gd name="T9" fmla="*/ 267 h 398"/>
                <a:gd name="T10" fmla="*/ 326 w 237"/>
                <a:gd name="T11" fmla="*/ 319 h 398"/>
                <a:gd name="T12" fmla="*/ 110 w 237"/>
                <a:gd name="T13" fmla="*/ 338 h 398"/>
                <a:gd name="T14" fmla="*/ 117 w 237"/>
                <a:gd name="T15" fmla="*/ 383 h 398"/>
                <a:gd name="T16" fmla="*/ 86 w 237"/>
                <a:gd name="T17" fmla="*/ 398 h 398"/>
                <a:gd name="T18" fmla="*/ 61 w 237"/>
                <a:gd name="T19" fmla="*/ 341 h 398"/>
                <a:gd name="T20" fmla="*/ 46 w 237"/>
                <a:gd name="T21" fmla="*/ 387 h 398"/>
                <a:gd name="T22" fmla="*/ 17 w 237"/>
                <a:gd name="T23" fmla="*/ 383 h 398"/>
                <a:gd name="T24" fmla="*/ 11 w 237"/>
                <a:gd name="T25" fmla="*/ 337 h 398"/>
                <a:gd name="T26" fmla="*/ 1 w 237"/>
                <a:gd name="T27" fmla="*/ 297 h 398"/>
                <a:gd name="T28" fmla="*/ 0 w 237"/>
                <a:gd name="T29" fmla="*/ 20 h 39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37"/>
                <a:gd name="T46" fmla="*/ 0 h 398"/>
                <a:gd name="T47" fmla="*/ 237 w 237"/>
                <a:gd name="T48" fmla="*/ 398 h 398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37" h="398">
                  <a:moveTo>
                    <a:pt x="0" y="20"/>
                  </a:moveTo>
                  <a:lnTo>
                    <a:pt x="154" y="0"/>
                  </a:lnTo>
                  <a:lnTo>
                    <a:pt x="203" y="184"/>
                  </a:lnTo>
                  <a:lnTo>
                    <a:pt x="237" y="213"/>
                  </a:lnTo>
                  <a:lnTo>
                    <a:pt x="210" y="267"/>
                  </a:lnTo>
                  <a:lnTo>
                    <a:pt x="236" y="319"/>
                  </a:lnTo>
                  <a:lnTo>
                    <a:pt x="79" y="338"/>
                  </a:lnTo>
                  <a:lnTo>
                    <a:pt x="85" y="383"/>
                  </a:lnTo>
                  <a:lnTo>
                    <a:pt x="62" y="398"/>
                  </a:lnTo>
                  <a:lnTo>
                    <a:pt x="44" y="341"/>
                  </a:lnTo>
                  <a:lnTo>
                    <a:pt x="33" y="387"/>
                  </a:lnTo>
                  <a:lnTo>
                    <a:pt x="13" y="383"/>
                  </a:lnTo>
                  <a:lnTo>
                    <a:pt x="7" y="337"/>
                  </a:lnTo>
                  <a:lnTo>
                    <a:pt x="1" y="297"/>
                  </a:lnTo>
                  <a:lnTo>
                    <a:pt x="0" y="2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37" name="Freeform 50">
              <a:extLst>
                <a:ext uri="{FF2B5EF4-FFF2-40B4-BE49-F238E27FC236}">
                  <a16:creationId xmlns:a16="http://schemas.microsoft.com/office/drawing/2014/main" id="{73220F68-016F-49B5-B97D-4EB04D899674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2894" y="4184650"/>
              <a:ext cx="679279" cy="698500"/>
            </a:xfrm>
            <a:custGeom>
              <a:avLst/>
              <a:gdLst>
                <a:gd name="T0" fmla="*/ 0 w 328"/>
                <a:gd name="T1" fmla="*/ 23 h 366"/>
                <a:gd name="T2" fmla="*/ 4 w 328"/>
                <a:gd name="T3" fmla="*/ 23 h 366"/>
                <a:gd name="T4" fmla="*/ 111 w 328"/>
                <a:gd name="T5" fmla="*/ 7 h 366"/>
                <a:gd name="T6" fmla="*/ 206 w 328"/>
                <a:gd name="T7" fmla="*/ 0 h 366"/>
                <a:gd name="T8" fmla="*/ 192 w 328"/>
                <a:gd name="T9" fmla="*/ 19 h 366"/>
                <a:gd name="T10" fmla="*/ 221 w 328"/>
                <a:gd name="T11" fmla="*/ 19 h 366"/>
                <a:gd name="T12" fmla="*/ 384 w 328"/>
                <a:gd name="T13" fmla="*/ 132 h 366"/>
                <a:gd name="T14" fmla="*/ 446 w 328"/>
                <a:gd name="T15" fmla="*/ 205 h 366"/>
                <a:gd name="T16" fmla="*/ 455 w 328"/>
                <a:gd name="T17" fmla="*/ 254 h 366"/>
                <a:gd name="T18" fmla="*/ 434 w 328"/>
                <a:gd name="T19" fmla="*/ 266 h 366"/>
                <a:gd name="T20" fmla="*/ 446 w 328"/>
                <a:gd name="T21" fmla="*/ 316 h 366"/>
                <a:gd name="T22" fmla="*/ 402 w 328"/>
                <a:gd name="T23" fmla="*/ 318 h 366"/>
                <a:gd name="T24" fmla="*/ 402 w 328"/>
                <a:gd name="T25" fmla="*/ 360 h 366"/>
                <a:gd name="T26" fmla="*/ 364 w 328"/>
                <a:gd name="T27" fmla="*/ 339 h 366"/>
                <a:gd name="T28" fmla="*/ 130 w 328"/>
                <a:gd name="T29" fmla="*/ 366 h 366"/>
                <a:gd name="T30" fmla="*/ 78 w 328"/>
                <a:gd name="T31" fmla="*/ 287 h 366"/>
                <a:gd name="T32" fmla="*/ 115 w 328"/>
                <a:gd name="T33" fmla="*/ 233 h 366"/>
                <a:gd name="T34" fmla="*/ 65 w 328"/>
                <a:gd name="T35" fmla="*/ 206 h 366"/>
                <a:gd name="T36" fmla="*/ 0 w 328"/>
                <a:gd name="T37" fmla="*/ 23 h 36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328"/>
                <a:gd name="T58" fmla="*/ 0 h 366"/>
                <a:gd name="T59" fmla="*/ 328 w 328"/>
                <a:gd name="T60" fmla="*/ 366 h 36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328" h="366">
                  <a:moveTo>
                    <a:pt x="0" y="23"/>
                  </a:moveTo>
                  <a:lnTo>
                    <a:pt x="4" y="23"/>
                  </a:lnTo>
                  <a:lnTo>
                    <a:pt x="80" y="7"/>
                  </a:lnTo>
                  <a:lnTo>
                    <a:pt x="148" y="0"/>
                  </a:lnTo>
                  <a:lnTo>
                    <a:pt x="138" y="19"/>
                  </a:lnTo>
                  <a:lnTo>
                    <a:pt x="159" y="19"/>
                  </a:lnTo>
                  <a:lnTo>
                    <a:pt x="276" y="132"/>
                  </a:lnTo>
                  <a:lnTo>
                    <a:pt x="322" y="205"/>
                  </a:lnTo>
                  <a:lnTo>
                    <a:pt x="328" y="254"/>
                  </a:lnTo>
                  <a:lnTo>
                    <a:pt x="313" y="266"/>
                  </a:lnTo>
                  <a:lnTo>
                    <a:pt x="322" y="316"/>
                  </a:lnTo>
                  <a:lnTo>
                    <a:pt x="289" y="318"/>
                  </a:lnTo>
                  <a:lnTo>
                    <a:pt x="289" y="360"/>
                  </a:lnTo>
                  <a:lnTo>
                    <a:pt x="263" y="339"/>
                  </a:lnTo>
                  <a:lnTo>
                    <a:pt x="94" y="366"/>
                  </a:lnTo>
                  <a:lnTo>
                    <a:pt x="56" y="287"/>
                  </a:lnTo>
                  <a:lnTo>
                    <a:pt x="83" y="233"/>
                  </a:lnTo>
                  <a:lnTo>
                    <a:pt x="47" y="206"/>
                  </a:lnTo>
                  <a:lnTo>
                    <a:pt x="0" y="23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38" name="Freeform 51">
              <a:extLst>
                <a:ext uri="{FF2B5EF4-FFF2-40B4-BE49-F238E27FC236}">
                  <a16:creationId xmlns:a16="http://schemas.microsoft.com/office/drawing/2014/main" id="{2F6C4EA2-2E1D-4EB3-BC03-0B86EC5BCFA3}"/>
                </a:ext>
              </a:extLst>
            </p:cNvPr>
            <p:cNvSpPr>
              <a:spLocks/>
            </p:cNvSpPr>
            <p:nvPr/>
          </p:nvSpPr>
          <p:spPr bwMode="auto">
            <a:xfrm>
              <a:off x="6587984" y="3757613"/>
              <a:ext cx="1064490" cy="463550"/>
            </a:xfrm>
            <a:custGeom>
              <a:avLst/>
              <a:gdLst>
                <a:gd name="T0" fmla="*/ 25 w 516"/>
                <a:gd name="T1" fmla="*/ 180 h 243"/>
                <a:gd name="T2" fmla="*/ 0 w 516"/>
                <a:gd name="T3" fmla="*/ 231 h 243"/>
                <a:gd name="T4" fmla="*/ 93 w 516"/>
                <a:gd name="T5" fmla="*/ 224 h 243"/>
                <a:gd name="T6" fmla="*/ 128 w 516"/>
                <a:gd name="T7" fmla="*/ 201 h 243"/>
                <a:gd name="T8" fmla="*/ 253 w 516"/>
                <a:gd name="T9" fmla="*/ 175 h 243"/>
                <a:gd name="T10" fmla="*/ 287 w 516"/>
                <a:gd name="T11" fmla="*/ 189 h 243"/>
                <a:gd name="T12" fmla="*/ 369 w 516"/>
                <a:gd name="T13" fmla="*/ 180 h 243"/>
                <a:gd name="T14" fmla="*/ 369 w 516"/>
                <a:gd name="T15" fmla="*/ 183 h 243"/>
                <a:gd name="T16" fmla="*/ 494 w 516"/>
                <a:gd name="T17" fmla="*/ 243 h 243"/>
                <a:gd name="T18" fmla="*/ 565 w 516"/>
                <a:gd name="T19" fmla="*/ 226 h 243"/>
                <a:gd name="T20" fmla="*/ 608 w 516"/>
                <a:gd name="T21" fmla="*/ 159 h 243"/>
                <a:gd name="T22" fmla="*/ 677 w 516"/>
                <a:gd name="T23" fmla="*/ 140 h 243"/>
                <a:gd name="T24" fmla="*/ 711 w 516"/>
                <a:gd name="T25" fmla="*/ 90 h 243"/>
                <a:gd name="T26" fmla="*/ 708 w 516"/>
                <a:gd name="T27" fmla="*/ 30 h 243"/>
                <a:gd name="T28" fmla="*/ 701 w 516"/>
                <a:gd name="T29" fmla="*/ 80 h 243"/>
                <a:gd name="T30" fmla="*/ 661 w 516"/>
                <a:gd name="T31" fmla="*/ 122 h 243"/>
                <a:gd name="T32" fmla="*/ 646 w 516"/>
                <a:gd name="T33" fmla="*/ 119 h 243"/>
                <a:gd name="T34" fmla="*/ 594 w 516"/>
                <a:gd name="T35" fmla="*/ 130 h 243"/>
                <a:gd name="T36" fmla="*/ 594 w 516"/>
                <a:gd name="T37" fmla="*/ 116 h 243"/>
                <a:gd name="T38" fmla="*/ 646 w 516"/>
                <a:gd name="T39" fmla="*/ 102 h 243"/>
                <a:gd name="T40" fmla="*/ 597 w 516"/>
                <a:gd name="T41" fmla="*/ 97 h 243"/>
                <a:gd name="T42" fmla="*/ 652 w 516"/>
                <a:gd name="T43" fmla="*/ 85 h 243"/>
                <a:gd name="T44" fmla="*/ 674 w 516"/>
                <a:gd name="T45" fmla="*/ 92 h 243"/>
                <a:gd name="T46" fmla="*/ 685 w 516"/>
                <a:gd name="T47" fmla="*/ 45 h 243"/>
                <a:gd name="T48" fmla="*/ 672 w 516"/>
                <a:gd name="T49" fmla="*/ 34 h 243"/>
                <a:gd name="T50" fmla="*/ 607 w 516"/>
                <a:gd name="T51" fmla="*/ 53 h 243"/>
                <a:gd name="T52" fmla="*/ 608 w 516"/>
                <a:gd name="T53" fmla="*/ 25 h 243"/>
                <a:gd name="T54" fmla="*/ 635 w 516"/>
                <a:gd name="T55" fmla="*/ 32 h 243"/>
                <a:gd name="T56" fmla="*/ 672 w 516"/>
                <a:gd name="T57" fmla="*/ 10 h 243"/>
                <a:gd name="T58" fmla="*/ 651 w 516"/>
                <a:gd name="T59" fmla="*/ 0 h 243"/>
                <a:gd name="T60" fmla="*/ 438 w 516"/>
                <a:gd name="T61" fmla="*/ 37 h 243"/>
                <a:gd name="T62" fmla="*/ 179 w 516"/>
                <a:gd name="T63" fmla="*/ 79 h 243"/>
                <a:gd name="T64" fmla="*/ 60 w 516"/>
                <a:gd name="T65" fmla="*/ 179 h 243"/>
                <a:gd name="T66" fmla="*/ 25 w 516"/>
                <a:gd name="T67" fmla="*/ 180 h 243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516"/>
                <a:gd name="T103" fmla="*/ 0 h 243"/>
                <a:gd name="T104" fmla="*/ 516 w 516"/>
                <a:gd name="T105" fmla="*/ 243 h 243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516" h="243">
                  <a:moveTo>
                    <a:pt x="18" y="180"/>
                  </a:moveTo>
                  <a:lnTo>
                    <a:pt x="0" y="231"/>
                  </a:lnTo>
                  <a:lnTo>
                    <a:pt x="67" y="224"/>
                  </a:lnTo>
                  <a:lnTo>
                    <a:pt x="93" y="201"/>
                  </a:lnTo>
                  <a:lnTo>
                    <a:pt x="184" y="175"/>
                  </a:lnTo>
                  <a:lnTo>
                    <a:pt x="209" y="189"/>
                  </a:lnTo>
                  <a:lnTo>
                    <a:pt x="269" y="180"/>
                  </a:lnTo>
                  <a:lnTo>
                    <a:pt x="269" y="183"/>
                  </a:lnTo>
                  <a:lnTo>
                    <a:pt x="359" y="243"/>
                  </a:lnTo>
                  <a:lnTo>
                    <a:pt x="411" y="226"/>
                  </a:lnTo>
                  <a:lnTo>
                    <a:pt x="441" y="159"/>
                  </a:lnTo>
                  <a:lnTo>
                    <a:pt x="492" y="140"/>
                  </a:lnTo>
                  <a:lnTo>
                    <a:pt x="516" y="90"/>
                  </a:lnTo>
                  <a:lnTo>
                    <a:pt x="515" y="30"/>
                  </a:lnTo>
                  <a:lnTo>
                    <a:pt x="509" y="80"/>
                  </a:lnTo>
                  <a:lnTo>
                    <a:pt x="480" y="122"/>
                  </a:lnTo>
                  <a:lnTo>
                    <a:pt x="469" y="119"/>
                  </a:lnTo>
                  <a:lnTo>
                    <a:pt x="431" y="130"/>
                  </a:lnTo>
                  <a:lnTo>
                    <a:pt x="431" y="116"/>
                  </a:lnTo>
                  <a:lnTo>
                    <a:pt x="469" y="102"/>
                  </a:lnTo>
                  <a:lnTo>
                    <a:pt x="434" y="97"/>
                  </a:lnTo>
                  <a:lnTo>
                    <a:pt x="474" y="85"/>
                  </a:lnTo>
                  <a:lnTo>
                    <a:pt x="489" y="92"/>
                  </a:lnTo>
                  <a:lnTo>
                    <a:pt x="497" y="45"/>
                  </a:lnTo>
                  <a:lnTo>
                    <a:pt x="487" y="34"/>
                  </a:lnTo>
                  <a:lnTo>
                    <a:pt x="440" y="53"/>
                  </a:lnTo>
                  <a:lnTo>
                    <a:pt x="441" y="25"/>
                  </a:lnTo>
                  <a:lnTo>
                    <a:pt x="461" y="32"/>
                  </a:lnTo>
                  <a:lnTo>
                    <a:pt x="487" y="10"/>
                  </a:lnTo>
                  <a:lnTo>
                    <a:pt x="473" y="0"/>
                  </a:lnTo>
                  <a:lnTo>
                    <a:pt x="318" y="37"/>
                  </a:lnTo>
                  <a:lnTo>
                    <a:pt x="129" y="79"/>
                  </a:lnTo>
                  <a:lnTo>
                    <a:pt x="43" y="179"/>
                  </a:lnTo>
                  <a:lnTo>
                    <a:pt x="18" y="18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39" name="Freeform 52">
              <a:extLst>
                <a:ext uri="{FF2B5EF4-FFF2-40B4-BE49-F238E27FC236}">
                  <a16:creationId xmlns:a16="http://schemas.microsoft.com/office/drawing/2014/main" id="{2AFF1AE2-F51D-416E-8146-D5FB1E0206BD}"/>
                </a:ext>
              </a:extLst>
            </p:cNvPr>
            <p:cNvSpPr>
              <a:spLocks/>
            </p:cNvSpPr>
            <p:nvPr/>
          </p:nvSpPr>
          <p:spPr bwMode="auto">
            <a:xfrm>
              <a:off x="7449550" y="3270250"/>
              <a:ext cx="147894" cy="182563"/>
            </a:xfrm>
            <a:custGeom>
              <a:avLst/>
              <a:gdLst>
                <a:gd name="T0" fmla="*/ 0 w 72"/>
                <a:gd name="T1" fmla="*/ 5 h 96"/>
                <a:gd name="T2" fmla="*/ 20 w 72"/>
                <a:gd name="T3" fmla="*/ 0 h 96"/>
                <a:gd name="T4" fmla="*/ 66 w 72"/>
                <a:gd name="T5" fmla="*/ 21 h 96"/>
                <a:gd name="T6" fmla="*/ 66 w 72"/>
                <a:gd name="T7" fmla="*/ 42 h 96"/>
                <a:gd name="T8" fmla="*/ 97 w 72"/>
                <a:gd name="T9" fmla="*/ 57 h 96"/>
                <a:gd name="T10" fmla="*/ 99 w 72"/>
                <a:gd name="T11" fmla="*/ 85 h 96"/>
                <a:gd name="T12" fmla="*/ 48 w 72"/>
                <a:gd name="T13" fmla="*/ 96 h 96"/>
                <a:gd name="T14" fmla="*/ 0 w 72"/>
                <a:gd name="T15" fmla="*/ 5 h 9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72"/>
                <a:gd name="T25" fmla="*/ 0 h 96"/>
                <a:gd name="T26" fmla="*/ 72 w 72"/>
                <a:gd name="T27" fmla="*/ 96 h 9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72" h="96">
                  <a:moveTo>
                    <a:pt x="0" y="5"/>
                  </a:moveTo>
                  <a:lnTo>
                    <a:pt x="15" y="0"/>
                  </a:lnTo>
                  <a:lnTo>
                    <a:pt x="48" y="21"/>
                  </a:lnTo>
                  <a:lnTo>
                    <a:pt x="48" y="42"/>
                  </a:lnTo>
                  <a:lnTo>
                    <a:pt x="71" y="57"/>
                  </a:lnTo>
                  <a:lnTo>
                    <a:pt x="72" y="85"/>
                  </a:lnTo>
                  <a:lnTo>
                    <a:pt x="35" y="96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40" name="Freeform 53">
              <a:extLst>
                <a:ext uri="{FF2B5EF4-FFF2-40B4-BE49-F238E27FC236}">
                  <a16:creationId xmlns:a16="http://schemas.microsoft.com/office/drawing/2014/main" id="{F49C6F81-C55F-48BE-BDF3-DB293B7006F6}"/>
                </a:ext>
              </a:extLst>
            </p:cNvPr>
            <p:cNvSpPr>
              <a:spLocks/>
            </p:cNvSpPr>
            <p:nvPr/>
          </p:nvSpPr>
          <p:spPr bwMode="auto">
            <a:xfrm>
              <a:off x="6873453" y="2382838"/>
              <a:ext cx="792778" cy="639762"/>
            </a:xfrm>
            <a:custGeom>
              <a:avLst/>
              <a:gdLst>
                <a:gd name="T0" fmla="*/ 40 w 384"/>
                <a:gd name="T1" fmla="*/ 226 h 336"/>
                <a:gd name="T2" fmla="*/ 92 w 384"/>
                <a:gd name="T3" fmla="*/ 206 h 336"/>
                <a:gd name="T4" fmla="*/ 158 w 384"/>
                <a:gd name="T5" fmla="*/ 201 h 336"/>
                <a:gd name="T6" fmla="*/ 177 w 384"/>
                <a:gd name="T7" fmla="*/ 183 h 336"/>
                <a:gd name="T8" fmla="*/ 198 w 384"/>
                <a:gd name="T9" fmla="*/ 181 h 336"/>
                <a:gd name="T10" fmla="*/ 212 w 384"/>
                <a:gd name="T11" fmla="*/ 162 h 336"/>
                <a:gd name="T12" fmla="*/ 235 w 384"/>
                <a:gd name="T13" fmla="*/ 155 h 336"/>
                <a:gd name="T14" fmla="*/ 225 w 384"/>
                <a:gd name="T15" fmla="*/ 120 h 336"/>
                <a:gd name="T16" fmla="*/ 211 w 384"/>
                <a:gd name="T17" fmla="*/ 111 h 336"/>
                <a:gd name="T18" fmla="*/ 240 w 384"/>
                <a:gd name="T19" fmla="*/ 82 h 336"/>
                <a:gd name="T20" fmla="*/ 258 w 384"/>
                <a:gd name="T21" fmla="*/ 82 h 336"/>
                <a:gd name="T22" fmla="*/ 320 w 384"/>
                <a:gd name="T23" fmla="*/ 22 h 336"/>
                <a:gd name="T24" fmla="*/ 414 w 384"/>
                <a:gd name="T25" fmla="*/ 0 h 336"/>
                <a:gd name="T26" fmla="*/ 425 w 384"/>
                <a:gd name="T27" fmla="*/ 56 h 336"/>
                <a:gd name="T28" fmla="*/ 430 w 384"/>
                <a:gd name="T29" fmla="*/ 54 h 336"/>
                <a:gd name="T30" fmla="*/ 452 w 384"/>
                <a:gd name="T31" fmla="*/ 74 h 336"/>
                <a:gd name="T32" fmla="*/ 453 w 384"/>
                <a:gd name="T33" fmla="*/ 132 h 336"/>
                <a:gd name="T34" fmla="*/ 482 w 384"/>
                <a:gd name="T35" fmla="*/ 179 h 336"/>
                <a:gd name="T36" fmla="*/ 493 w 384"/>
                <a:gd name="T37" fmla="*/ 240 h 336"/>
                <a:gd name="T38" fmla="*/ 495 w 384"/>
                <a:gd name="T39" fmla="*/ 293 h 336"/>
                <a:gd name="T40" fmla="*/ 530 w 384"/>
                <a:gd name="T41" fmla="*/ 310 h 336"/>
                <a:gd name="T42" fmla="*/ 505 w 384"/>
                <a:gd name="T43" fmla="*/ 336 h 336"/>
                <a:gd name="T44" fmla="*/ 444 w 384"/>
                <a:gd name="T45" fmla="*/ 306 h 336"/>
                <a:gd name="T46" fmla="*/ 412 w 384"/>
                <a:gd name="T47" fmla="*/ 308 h 336"/>
                <a:gd name="T48" fmla="*/ 380 w 384"/>
                <a:gd name="T49" fmla="*/ 301 h 336"/>
                <a:gd name="T50" fmla="*/ 381 w 384"/>
                <a:gd name="T51" fmla="*/ 283 h 336"/>
                <a:gd name="T52" fmla="*/ 362 w 384"/>
                <a:gd name="T53" fmla="*/ 277 h 336"/>
                <a:gd name="T54" fmla="*/ 15 w 384"/>
                <a:gd name="T55" fmla="*/ 329 h 336"/>
                <a:gd name="T56" fmla="*/ 0 w 384"/>
                <a:gd name="T57" fmla="*/ 314 h 336"/>
                <a:gd name="T58" fmla="*/ 52 w 384"/>
                <a:gd name="T59" fmla="*/ 254 h 336"/>
                <a:gd name="T60" fmla="*/ 40 w 384"/>
                <a:gd name="T61" fmla="*/ 226 h 3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384"/>
                <a:gd name="T94" fmla="*/ 0 h 336"/>
                <a:gd name="T95" fmla="*/ 384 w 384"/>
                <a:gd name="T96" fmla="*/ 336 h 3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384" h="336">
                  <a:moveTo>
                    <a:pt x="29" y="226"/>
                  </a:moveTo>
                  <a:lnTo>
                    <a:pt x="66" y="206"/>
                  </a:lnTo>
                  <a:lnTo>
                    <a:pt x="115" y="201"/>
                  </a:lnTo>
                  <a:lnTo>
                    <a:pt x="127" y="183"/>
                  </a:lnTo>
                  <a:lnTo>
                    <a:pt x="144" y="181"/>
                  </a:lnTo>
                  <a:lnTo>
                    <a:pt x="154" y="162"/>
                  </a:lnTo>
                  <a:lnTo>
                    <a:pt x="171" y="155"/>
                  </a:lnTo>
                  <a:lnTo>
                    <a:pt x="163" y="120"/>
                  </a:lnTo>
                  <a:lnTo>
                    <a:pt x="153" y="111"/>
                  </a:lnTo>
                  <a:lnTo>
                    <a:pt x="174" y="82"/>
                  </a:lnTo>
                  <a:lnTo>
                    <a:pt x="187" y="82"/>
                  </a:lnTo>
                  <a:lnTo>
                    <a:pt x="232" y="22"/>
                  </a:lnTo>
                  <a:lnTo>
                    <a:pt x="301" y="0"/>
                  </a:lnTo>
                  <a:lnTo>
                    <a:pt x="308" y="56"/>
                  </a:lnTo>
                  <a:lnTo>
                    <a:pt x="312" y="54"/>
                  </a:lnTo>
                  <a:lnTo>
                    <a:pt x="328" y="74"/>
                  </a:lnTo>
                  <a:lnTo>
                    <a:pt x="329" y="132"/>
                  </a:lnTo>
                  <a:lnTo>
                    <a:pt x="350" y="179"/>
                  </a:lnTo>
                  <a:lnTo>
                    <a:pt x="358" y="240"/>
                  </a:lnTo>
                  <a:lnTo>
                    <a:pt x="360" y="293"/>
                  </a:lnTo>
                  <a:lnTo>
                    <a:pt x="384" y="310"/>
                  </a:lnTo>
                  <a:lnTo>
                    <a:pt x="366" y="336"/>
                  </a:lnTo>
                  <a:lnTo>
                    <a:pt x="322" y="306"/>
                  </a:lnTo>
                  <a:lnTo>
                    <a:pt x="299" y="308"/>
                  </a:lnTo>
                  <a:lnTo>
                    <a:pt x="276" y="301"/>
                  </a:lnTo>
                  <a:lnTo>
                    <a:pt x="277" y="283"/>
                  </a:lnTo>
                  <a:lnTo>
                    <a:pt x="262" y="277"/>
                  </a:lnTo>
                  <a:lnTo>
                    <a:pt x="11" y="329"/>
                  </a:lnTo>
                  <a:lnTo>
                    <a:pt x="0" y="314"/>
                  </a:lnTo>
                  <a:lnTo>
                    <a:pt x="38" y="254"/>
                  </a:lnTo>
                  <a:lnTo>
                    <a:pt x="29" y="22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41" name="Freeform 54">
              <a:extLst>
                <a:ext uri="{FF2B5EF4-FFF2-40B4-BE49-F238E27FC236}">
                  <a16:creationId xmlns:a16="http://schemas.microsoft.com/office/drawing/2014/main" id="{36BBFDC9-F535-4D1B-BBDB-5236FC3A8C38}"/>
                </a:ext>
              </a:extLst>
            </p:cNvPr>
            <p:cNvSpPr>
              <a:spLocks/>
            </p:cNvSpPr>
            <p:nvPr/>
          </p:nvSpPr>
          <p:spPr bwMode="auto">
            <a:xfrm>
              <a:off x="7647316" y="2919413"/>
              <a:ext cx="230439" cy="138112"/>
            </a:xfrm>
            <a:custGeom>
              <a:avLst/>
              <a:gdLst>
                <a:gd name="T0" fmla="*/ 0 w 112"/>
                <a:gd name="T1" fmla="*/ 53 h 72"/>
                <a:gd name="T2" fmla="*/ 63 w 112"/>
                <a:gd name="T3" fmla="*/ 30 h 72"/>
                <a:gd name="T4" fmla="*/ 124 w 112"/>
                <a:gd name="T5" fmla="*/ 0 h 72"/>
                <a:gd name="T6" fmla="*/ 135 w 112"/>
                <a:gd name="T7" fmla="*/ 1 h 72"/>
                <a:gd name="T8" fmla="*/ 153 w 112"/>
                <a:gd name="T9" fmla="*/ 3 h 72"/>
                <a:gd name="T10" fmla="*/ 92 w 112"/>
                <a:gd name="T11" fmla="*/ 40 h 72"/>
                <a:gd name="T12" fmla="*/ 17 w 112"/>
                <a:gd name="T13" fmla="*/ 72 h 72"/>
                <a:gd name="T14" fmla="*/ 0 w 112"/>
                <a:gd name="T15" fmla="*/ 53 h 7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12"/>
                <a:gd name="T25" fmla="*/ 0 h 72"/>
                <a:gd name="T26" fmla="*/ 112 w 112"/>
                <a:gd name="T27" fmla="*/ 72 h 7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12" h="72">
                  <a:moveTo>
                    <a:pt x="0" y="53"/>
                  </a:moveTo>
                  <a:lnTo>
                    <a:pt x="46" y="30"/>
                  </a:lnTo>
                  <a:lnTo>
                    <a:pt x="91" y="0"/>
                  </a:lnTo>
                  <a:lnTo>
                    <a:pt x="99" y="1"/>
                  </a:lnTo>
                  <a:lnTo>
                    <a:pt x="112" y="3"/>
                  </a:lnTo>
                  <a:lnTo>
                    <a:pt x="68" y="40"/>
                  </a:lnTo>
                  <a:lnTo>
                    <a:pt x="13" y="72"/>
                  </a:lnTo>
                  <a:lnTo>
                    <a:pt x="0" y="53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42" name="Freeform 55">
              <a:extLst>
                <a:ext uri="{FF2B5EF4-FFF2-40B4-BE49-F238E27FC236}">
                  <a16:creationId xmlns:a16="http://schemas.microsoft.com/office/drawing/2014/main" id="{BD841423-1244-4055-9F44-D74FC02AE1E9}"/>
                </a:ext>
              </a:extLst>
            </p:cNvPr>
            <p:cNvSpPr>
              <a:spLocks/>
            </p:cNvSpPr>
            <p:nvPr/>
          </p:nvSpPr>
          <p:spPr bwMode="auto">
            <a:xfrm>
              <a:off x="7535535" y="3517900"/>
              <a:ext cx="63629" cy="109538"/>
            </a:xfrm>
            <a:custGeom>
              <a:avLst/>
              <a:gdLst>
                <a:gd name="T0" fmla="*/ 0 w 31"/>
                <a:gd name="T1" fmla="*/ 5 h 57"/>
                <a:gd name="T2" fmla="*/ 45 w 31"/>
                <a:gd name="T3" fmla="*/ 0 h 57"/>
                <a:gd name="T4" fmla="*/ 20 w 31"/>
                <a:gd name="T5" fmla="*/ 57 h 57"/>
                <a:gd name="T6" fmla="*/ 2 w 31"/>
                <a:gd name="T7" fmla="*/ 55 h 57"/>
                <a:gd name="T8" fmla="*/ 0 w 31"/>
                <a:gd name="T9" fmla="*/ 5 h 5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1"/>
                <a:gd name="T16" fmla="*/ 0 h 57"/>
                <a:gd name="T17" fmla="*/ 31 w 31"/>
                <a:gd name="T18" fmla="*/ 57 h 5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1" h="57">
                  <a:moveTo>
                    <a:pt x="0" y="5"/>
                  </a:moveTo>
                  <a:lnTo>
                    <a:pt x="31" y="0"/>
                  </a:lnTo>
                  <a:lnTo>
                    <a:pt x="14" y="57"/>
                  </a:lnTo>
                  <a:lnTo>
                    <a:pt x="2" y="55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43" name="Freeform 5">
              <a:extLst>
                <a:ext uri="{FF2B5EF4-FFF2-40B4-BE49-F238E27FC236}">
                  <a16:creationId xmlns:a16="http://schemas.microsoft.com/office/drawing/2014/main" id="{51E08425-1167-4E8F-BD25-59F4B19A911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9626" y="4129088"/>
              <a:ext cx="1745489" cy="1604962"/>
            </a:xfrm>
            <a:custGeom>
              <a:avLst/>
              <a:gdLst>
                <a:gd name="T0" fmla="*/ 337 w 846"/>
                <a:gd name="T1" fmla="*/ 0 h 842"/>
                <a:gd name="T2" fmla="*/ 594 w 846"/>
                <a:gd name="T3" fmla="*/ 7 h 842"/>
                <a:gd name="T4" fmla="*/ 594 w 846"/>
                <a:gd name="T5" fmla="*/ 160 h 842"/>
                <a:gd name="T6" fmla="*/ 724 w 846"/>
                <a:gd name="T7" fmla="*/ 202 h 842"/>
                <a:gd name="T8" fmla="*/ 761 w 846"/>
                <a:gd name="T9" fmla="*/ 188 h 842"/>
                <a:gd name="T10" fmla="*/ 847 w 846"/>
                <a:gd name="T11" fmla="*/ 221 h 842"/>
                <a:gd name="T12" fmla="*/ 897 w 846"/>
                <a:gd name="T13" fmla="*/ 219 h 842"/>
                <a:gd name="T14" fmla="*/ 996 w 846"/>
                <a:gd name="T15" fmla="*/ 186 h 842"/>
                <a:gd name="T16" fmla="*/ 1054 w 846"/>
                <a:gd name="T17" fmla="*/ 218 h 842"/>
                <a:gd name="T18" fmla="*/ 1103 w 846"/>
                <a:gd name="T19" fmla="*/ 226 h 842"/>
                <a:gd name="T20" fmla="*/ 1103 w 846"/>
                <a:gd name="T21" fmla="*/ 350 h 842"/>
                <a:gd name="T22" fmla="*/ 1163 w 846"/>
                <a:gd name="T23" fmla="*/ 428 h 842"/>
                <a:gd name="T24" fmla="*/ 1149 w 846"/>
                <a:gd name="T25" fmla="*/ 534 h 842"/>
                <a:gd name="T26" fmla="*/ 1086 w 846"/>
                <a:gd name="T27" fmla="*/ 576 h 842"/>
                <a:gd name="T28" fmla="*/ 1073 w 846"/>
                <a:gd name="T29" fmla="*/ 537 h 842"/>
                <a:gd name="T30" fmla="*/ 1054 w 846"/>
                <a:gd name="T31" fmla="*/ 555 h 842"/>
                <a:gd name="T32" fmla="*/ 1068 w 846"/>
                <a:gd name="T33" fmla="*/ 580 h 842"/>
                <a:gd name="T34" fmla="*/ 955 w 846"/>
                <a:gd name="T35" fmla="*/ 643 h 842"/>
                <a:gd name="T36" fmla="*/ 927 w 846"/>
                <a:gd name="T37" fmla="*/ 647 h 842"/>
                <a:gd name="T38" fmla="*/ 868 w 846"/>
                <a:gd name="T39" fmla="*/ 678 h 842"/>
                <a:gd name="T40" fmla="*/ 868 w 846"/>
                <a:gd name="T41" fmla="*/ 696 h 842"/>
                <a:gd name="T42" fmla="*/ 850 w 846"/>
                <a:gd name="T43" fmla="*/ 700 h 842"/>
                <a:gd name="T44" fmla="*/ 864 w 846"/>
                <a:gd name="T45" fmla="*/ 721 h 842"/>
                <a:gd name="T46" fmla="*/ 833 w 846"/>
                <a:gd name="T47" fmla="*/ 752 h 842"/>
                <a:gd name="T48" fmla="*/ 850 w 846"/>
                <a:gd name="T49" fmla="*/ 798 h 842"/>
                <a:gd name="T50" fmla="*/ 868 w 846"/>
                <a:gd name="T51" fmla="*/ 814 h 842"/>
                <a:gd name="T52" fmla="*/ 864 w 846"/>
                <a:gd name="T53" fmla="*/ 842 h 842"/>
                <a:gd name="T54" fmla="*/ 819 w 846"/>
                <a:gd name="T55" fmla="*/ 842 h 842"/>
                <a:gd name="T56" fmla="*/ 780 w 846"/>
                <a:gd name="T57" fmla="*/ 828 h 842"/>
                <a:gd name="T58" fmla="*/ 751 w 846"/>
                <a:gd name="T59" fmla="*/ 831 h 842"/>
                <a:gd name="T60" fmla="*/ 662 w 846"/>
                <a:gd name="T61" fmla="*/ 807 h 842"/>
                <a:gd name="T62" fmla="*/ 620 w 846"/>
                <a:gd name="T63" fmla="*/ 710 h 842"/>
                <a:gd name="T64" fmla="*/ 558 w 846"/>
                <a:gd name="T65" fmla="*/ 664 h 842"/>
                <a:gd name="T66" fmla="*/ 501 w 846"/>
                <a:gd name="T67" fmla="*/ 580 h 842"/>
                <a:gd name="T68" fmla="*/ 477 w 846"/>
                <a:gd name="T69" fmla="*/ 571 h 842"/>
                <a:gd name="T70" fmla="*/ 447 w 846"/>
                <a:gd name="T71" fmla="*/ 550 h 842"/>
                <a:gd name="T72" fmla="*/ 417 w 846"/>
                <a:gd name="T73" fmla="*/ 550 h 842"/>
                <a:gd name="T74" fmla="*/ 374 w 846"/>
                <a:gd name="T75" fmla="*/ 543 h 842"/>
                <a:gd name="T76" fmla="*/ 341 w 846"/>
                <a:gd name="T77" fmla="*/ 550 h 842"/>
                <a:gd name="T78" fmla="*/ 319 w 846"/>
                <a:gd name="T79" fmla="*/ 593 h 842"/>
                <a:gd name="T80" fmla="*/ 285 w 846"/>
                <a:gd name="T81" fmla="*/ 600 h 842"/>
                <a:gd name="T82" fmla="*/ 211 w 846"/>
                <a:gd name="T83" fmla="*/ 567 h 842"/>
                <a:gd name="T84" fmla="*/ 167 w 846"/>
                <a:gd name="T85" fmla="*/ 527 h 842"/>
                <a:gd name="T86" fmla="*/ 159 w 846"/>
                <a:gd name="T87" fmla="*/ 479 h 842"/>
                <a:gd name="T88" fmla="*/ 128 w 846"/>
                <a:gd name="T89" fmla="*/ 446 h 842"/>
                <a:gd name="T90" fmla="*/ 53 w 846"/>
                <a:gd name="T91" fmla="*/ 400 h 842"/>
                <a:gd name="T92" fmla="*/ 0 w 846"/>
                <a:gd name="T93" fmla="*/ 352 h 842"/>
                <a:gd name="T94" fmla="*/ 0 w 846"/>
                <a:gd name="T95" fmla="*/ 332 h 842"/>
                <a:gd name="T96" fmla="*/ 176 w 846"/>
                <a:gd name="T97" fmla="*/ 333 h 842"/>
                <a:gd name="T98" fmla="*/ 319 w 846"/>
                <a:gd name="T99" fmla="*/ 342 h 842"/>
                <a:gd name="T100" fmla="*/ 337 w 846"/>
                <a:gd name="T101" fmla="*/ 0 h 84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46"/>
                <a:gd name="T154" fmla="*/ 0 h 842"/>
                <a:gd name="T155" fmla="*/ 846 w 846"/>
                <a:gd name="T156" fmla="*/ 842 h 84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46" h="842">
                  <a:moveTo>
                    <a:pt x="245" y="0"/>
                  </a:moveTo>
                  <a:lnTo>
                    <a:pt x="432" y="7"/>
                  </a:lnTo>
                  <a:lnTo>
                    <a:pt x="432" y="160"/>
                  </a:lnTo>
                  <a:lnTo>
                    <a:pt x="527" y="202"/>
                  </a:lnTo>
                  <a:lnTo>
                    <a:pt x="553" y="188"/>
                  </a:lnTo>
                  <a:lnTo>
                    <a:pt x="616" y="221"/>
                  </a:lnTo>
                  <a:lnTo>
                    <a:pt x="653" y="219"/>
                  </a:lnTo>
                  <a:lnTo>
                    <a:pt x="725" y="186"/>
                  </a:lnTo>
                  <a:lnTo>
                    <a:pt x="767" y="218"/>
                  </a:lnTo>
                  <a:lnTo>
                    <a:pt x="803" y="226"/>
                  </a:lnTo>
                  <a:lnTo>
                    <a:pt x="803" y="350"/>
                  </a:lnTo>
                  <a:lnTo>
                    <a:pt x="846" y="428"/>
                  </a:lnTo>
                  <a:lnTo>
                    <a:pt x="836" y="534"/>
                  </a:lnTo>
                  <a:lnTo>
                    <a:pt x="790" y="576"/>
                  </a:lnTo>
                  <a:lnTo>
                    <a:pt x="780" y="537"/>
                  </a:lnTo>
                  <a:lnTo>
                    <a:pt x="767" y="555"/>
                  </a:lnTo>
                  <a:lnTo>
                    <a:pt x="777" y="580"/>
                  </a:lnTo>
                  <a:lnTo>
                    <a:pt x="695" y="643"/>
                  </a:lnTo>
                  <a:lnTo>
                    <a:pt x="675" y="647"/>
                  </a:lnTo>
                  <a:lnTo>
                    <a:pt x="632" y="678"/>
                  </a:lnTo>
                  <a:lnTo>
                    <a:pt x="632" y="696"/>
                  </a:lnTo>
                  <a:lnTo>
                    <a:pt x="619" y="700"/>
                  </a:lnTo>
                  <a:lnTo>
                    <a:pt x="629" y="721"/>
                  </a:lnTo>
                  <a:lnTo>
                    <a:pt x="606" y="752"/>
                  </a:lnTo>
                  <a:lnTo>
                    <a:pt x="619" y="798"/>
                  </a:lnTo>
                  <a:lnTo>
                    <a:pt x="632" y="814"/>
                  </a:lnTo>
                  <a:lnTo>
                    <a:pt x="629" y="842"/>
                  </a:lnTo>
                  <a:lnTo>
                    <a:pt x="596" y="842"/>
                  </a:lnTo>
                  <a:lnTo>
                    <a:pt x="567" y="828"/>
                  </a:lnTo>
                  <a:lnTo>
                    <a:pt x="547" y="831"/>
                  </a:lnTo>
                  <a:lnTo>
                    <a:pt x="481" y="807"/>
                  </a:lnTo>
                  <a:lnTo>
                    <a:pt x="452" y="710"/>
                  </a:lnTo>
                  <a:lnTo>
                    <a:pt x="406" y="664"/>
                  </a:lnTo>
                  <a:lnTo>
                    <a:pt x="365" y="580"/>
                  </a:lnTo>
                  <a:lnTo>
                    <a:pt x="347" y="571"/>
                  </a:lnTo>
                  <a:lnTo>
                    <a:pt x="325" y="550"/>
                  </a:lnTo>
                  <a:lnTo>
                    <a:pt x="304" y="550"/>
                  </a:lnTo>
                  <a:lnTo>
                    <a:pt x="272" y="543"/>
                  </a:lnTo>
                  <a:lnTo>
                    <a:pt x="248" y="550"/>
                  </a:lnTo>
                  <a:lnTo>
                    <a:pt x="232" y="593"/>
                  </a:lnTo>
                  <a:lnTo>
                    <a:pt x="207" y="600"/>
                  </a:lnTo>
                  <a:lnTo>
                    <a:pt x="153" y="567"/>
                  </a:lnTo>
                  <a:lnTo>
                    <a:pt x="121" y="527"/>
                  </a:lnTo>
                  <a:lnTo>
                    <a:pt x="116" y="479"/>
                  </a:lnTo>
                  <a:lnTo>
                    <a:pt x="93" y="446"/>
                  </a:lnTo>
                  <a:lnTo>
                    <a:pt x="39" y="400"/>
                  </a:lnTo>
                  <a:lnTo>
                    <a:pt x="0" y="352"/>
                  </a:lnTo>
                  <a:lnTo>
                    <a:pt x="0" y="332"/>
                  </a:lnTo>
                  <a:lnTo>
                    <a:pt x="128" y="333"/>
                  </a:lnTo>
                  <a:lnTo>
                    <a:pt x="232" y="342"/>
                  </a:lnTo>
                  <a:lnTo>
                    <a:pt x="245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</p:grpSp>
      <p:sp>
        <p:nvSpPr>
          <p:cNvPr id="64" name="Text Placeholder 63">
            <a:extLst>
              <a:ext uri="{FF2B5EF4-FFF2-40B4-BE49-F238E27FC236}">
                <a16:creationId xmlns:a16="http://schemas.microsoft.com/office/drawing/2014/main" id="{6A78AED2-D80F-486D-9A5F-7BE35FD8D64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288544" y="2207964"/>
            <a:ext cx="407089" cy="491402"/>
          </a:xfrm>
          <a:custGeom>
            <a:avLst/>
            <a:gdLst>
              <a:gd name="connsiteX0" fmla="*/ 197521 w 395043"/>
              <a:gd name="connsiteY0" fmla="*/ 127878 h 476860"/>
              <a:gd name="connsiteX1" fmla="*/ 134426 w 395043"/>
              <a:gd name="connsiteY1" fmla="*/ 190974 h 476860"/>
              <a:gd name="connsiteX2" fmla="*/ 197521 w 395043"/>
              <a:gd name="connsiteY2" fmla="*/ 254069 h 476860"/>
              <a:gd name="connsiteX3" fmla="*/ 260616 w 395043"/>
              <a:gd name="connsiteY3" fmla="*/ 190974 h 476860"/>
              <a:gd name="connsiteX4" fmla="*/ 197521 w 395043"/>
              <a:gd name="connsiteY4" fmla="*/ 127878 h 476860"/>
              <a:gd name="connsiteX5" fmla="*/ 197522 w 395043"/>
              <a:gd name="connsiteY5" fmla="*/ 0 h 476860"/>
              <a:gd name="connsiteX6" fmla="*/ 337191 w 395043"/>
              <a:gd name="connsiteY6" fmla="*/ 57853 h 476860"/>
              <a:gd name="connsiteX7" fmla="*/ 337191 w 395043"/>
              <a:gd name="connsiteY7" fmla="*/ 57854 h 476860"/>
              <a:gd name="connsiteX8" fmla="*/ 337191 w 395043"/>
              <a:gd name="connsiteY8" fmla="*/ 337192 h 476860"/>
              <a:gd name="connsiteX9" fmla="*/ 197522 w 395043"/>
              <a:gd name="connsiteY9" fmla="*/ 476860 h 476860"/>
              <a:gd name="connsiteX10" fmla="*/ 57853 w 395043"/>
              <a:gd name="connsiteY10" fmla="*/ 337191 h 476860"/>
              <a:gd name="connsiteX11" fmla="*/ 57853 w 395043"/>
              <a:gd name="connsiteY11" fmla="*/ 57853 h 476860"/>
              <a:gd name="connsiteX12" fmla="*/ 197522 w 395043"/>
              <a:gd name="connsiteY12" fmla="*/ 0 h 4768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95043" h="476860">
                <a:moveTo>
                  <a:pt x="197521" y="127878"/>
                </a:moveTo>
                <a:cubicBezTo>
                  <a:pt x="162675" y="127878"/>
                  <a:pt x="134426" y="156127"/>
                  <a:pt x="134426" y="190974"/>
                </a:cubicBezTo>
                <a:cubicBezTo>
                  <a:pt x="134427" y="225819"/>
                  <a:pt x="162676" y="254068"/>
                  <a:pt x="197521" y="254069"/>
                </a:cubicBezTo>
                <a:cubicBezTo>
                  <a:pt x="232368" y="254069"/>
                  <a:pt x="260616" y="225820"/>
                  <a:pt x="260616" y="190974"/>
                </a:cubicBezTo>
                <a:cubicBezTo>
                  <a:pt x="260616" y="156127"/>
                  <a:pt x="232368" y="127878"/>
                  <a:pt x="197521" y="127878"/>
                </a:cubicBezTo>
                <a:close/>
                <a:moveTo>
                  <a:pt x="197522" y="0"/>
                </a:moveTo>
                <a:cubicBezTo>
                  <a:pt x="248073" y="0"/>
                  <a:pt x="298623" y="19285"/>
                  <a:pt x="337191" y="57853"/>
                </a:cubicBezTo>
                <a:lnTo>
                  <a:pt x="337191" y="57854"/>
                </a:lnTo>
                <a:cubicBezTo>
                  <a:pt x="414327" y="134991"/>
                  <a:pt x="414327" y="260055"/>
                  <a:pt x="337191" y="337192"/>
                </a:cubicBezTo>
                <a:lnTo>
                  <a:pt x="197522" y="476860"/>
                </a:lnTo>
                <a:lnTo>
                  <a:pt x="57853" y="337191"/>
                </a:lnTo>
                <a:cubicBezTo>
                  <a:pt x="-19284" y="260054"/>
                  <a:pt x="-19284" y="134990"/>
                  <a:pt x="57853" y="57853"/>
                </a:cubicBezTo>
                <a:cubicBezTo>
                  <a:pt x="96421" y="19285"/>
                  <a:pt x="146971" y="0"/>
                  <a:pt x="197522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none" lIns="0" rIns="731520" anchor="ctr" anchorCtr="0">
            <a:noAutofit/>
          </a:bodyPr>
          <a:lstStyle>
            <a:lvl1pPr algn="r">
              <a:defRPr sz="2400" b="1"/>
            </a:lvl1pPr>
          </a:lstStyle>
          <a:p>
            <a:pPr lvl="0"/>
            <a:r>
              <a:rPr lang="en-US"/>
              <a:t>New York HQ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120C356-CC85-4EB7-916E-AEFBD416DC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687742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le – Grid Ligh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49">
            <a:extLst>
              <a:ext uri="{FF2B5EF4-FFF2-40B4-BE49-F238E27FC236}">
                <a16:creationId xmlns:a16="http://schemas.microsoft.com/office/drawing/2014/main" id="{2990D4BA-9442-A398-45BB-20CDB49664E8}"/>
              </a:ext>
            </a:extLst>
          </p:cNvPr>
          <p:cNvSpPr txBox="1">
            <a:spLocks/>
          </p:cNvSpPr>
          <p:nvPr userDrawn="1"/>
        </p:nvSpPr>
        <p:spPr>
          <a:xfrm>
            <a:off x="3554947" y="3895115"/>
            <a:ext cx="2120055" cy="2120038"/>
          </a:xfrm>
          <a:custGeom>
            <a:avLst/>
            <a:gdLst>
              <a:gd name="connsiteX0" fmla="*/ 265718 w 531436"/>
              <a:gd name="connsiteY0" fmla="*/ 0 h 531432"/>
              <a:gd name="connsiteX1" fmla="*/ 531436 w 531436"/>
              <a:gd name="connsiteY1" fmla="*/ 265716 h 531432"/>
              <a:gd name="connsiteX2" fmla="*/ 265718 w 531436"/>
              <a:gd name="connsiteY2" fmla="*/ 531432 h 531432"/>
              <a:gd name="connsiteX3" fmla="*/ 0 w 531436"/>
              <a:gd name="connsiteY3" fmla="*/ 265716 h 531432"/>
              <a:gd name="connsiteX4" fmla="*/ 265718 w 531436"/>
              <a:gd name="connsiteY4" fmla="*/ 0 h 531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1436" h="531432">
                <a:moveTo>
                  <a:pt x="265718" y="0"/>
                </a:moveTo>
                <a:cubicBezTo>
                  <a:pt x="412470" y="0"/>
                  <a:pt x="531436" y="118965"/>
                  <a:pt x="531436" y="265716"/>
                </a:cubicBezTo>
                <a:cubicBezTo>
                  <a:pt x="531436" y="412467"/>
                  <a:pt x="412470" y="531432"/>
                  <a:pt x="265718" y="531432"/>
                </a:cubicBezTo>
                <a:cubicBezTo>
                  <a:pt x="118966" y="531432"/>
                  <a:pt x="0" y="412467"/>
                  <a:pt x="0" y="265716"/>
                </a:cubicBezTo>
                <a:cubicBezTo>
                  <a:pt x="0" y="118965"/>
                  <a:pt x="118966" y="0"/>
                  <a:pt x="265718" y="0"/>
                </a:cubicBezTo>
                <a:close/>
              </a:path>
            </a:pathLst>
          </a:custGeom>
          <a:solidFill>
            <a:srgbClr val="F7F8F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 algn="ctr">
              <a:defRPr sz="1400" b="0" i="0">
                <a:solidFill>
                  <a:schemeClr val="lt1"/>
                </a:solidFill>
                <a:latin typeface="Arial"/>
                <a:cs typeface="Arial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96C71DE0-9FDE-8F74-464E-889C5C6B3101}"/>
              </a:ext>
            </a:extLst>
          </p:cNvPr>
          <p:cNvSpPr/>
          <p:nvPr userDrawn="1"/>
        </p:nvSpPr>
        <p:spPr>
          <a:xfrm>
            <a:off x="8125180" y="2180403"/>
            <a:ext cx="4063645" cy="4677597"/>
          </a:xfrm>
          <a:custGeom>
            <a:avLst/>
            <a:gdLst>
              <a:gd name="connsiteX0" fmla="*/ 4063645 w 4063645"/>
              <a:gd name="connsiteY0" fmla="*/ 0 h 4677597"/>
              <a:gd name="connsiteX1" fmla="*/ 4063645 w 4063645"/>
              <a:gd name="connsiteY1" fmla="*/ 2137265 h 4677597"/>
              <a:gd name="connsiteX2" fmla="*/ 3862190 w 4063645"/>
              <a:gd name="connsiteY2" fmla="*/ 2166337 h 4677597"/>
              <a:gd name="connsiteX3" fmla="*/ 2758545 w 4063645"/>
              <a:gd name="connsiteY3" fmla="*/ 2753506 h 4677597"/>
              <a:gd name="connsiteX4" fmla="*/ 2171374 w 4063645"/>
              <a:gd name="connsiteY4" fmla="*/ 4673988 h 4677597"/>
              <a:gd name="connsiteX5" fmla="*/ 2172255 w 4063645"/>
              <a:gd name="connsiteY5" fmla="*/ 4677597 h 4677597"/>
              <a:gd name="connsiteX6" fmla="*/ 19867 w 4063645"/>
              <a:gd name="connsiteY6" fmla="*/ 4677596 h 4677597"/>
              <a:gd name="connsiteX7" fmla="*/ 19545 w 4063645"/>
              <a:gd name="connsiteY7" fmla="*/ 4674915 h 4677597"/>
              <a:gd name="connsiteX8" fmla="*/ 1250832 w 4063645"/>
              <a:gd name="connsiteY8" fmla="*/ 1245793 h 4677597"/>
              <a:gd name="connsiteX9" fmla="*/ 3861258 w 4063645"/>
              <a:gd name="connsiteY9" fmla="*/ 14507 h 4677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063645" h="4677597">
                <a:moveTo>
                  <a:pt x="4063645" y="0"/>
                </a:moveTo>
                <a:lnTo>
                  <a:pt x="4063645" y="2137265"/>
                </a:lnTo>
                <a:lnTo>
                  <a:pt x="3862190" y="2166337"/>
                </a:lnTo>
                <a:cubicBezTo>
                  <a:pt x="3457826" y="2244626"/>
                  <a:pt x="3071703" y="2440348"/>
                  <a:pt x="2758545" y="2753506"/>
                </a:cubicBezTo>
                <a:cubicBezTo>
                  <a:pt x="2236616" y="3275436"/>
                  <a:pt x="2040891" y="4000046"/>
                  <a:pt x="2171374" y="4673988"/>
                </a:cubicBezTo>
                <a:lnTo>
                  <a:pt x="2172255" y="4677597"/>
                </a:lnTo>
                <a:lnTo>
                  <a:pt x="19867" y="4677596"/>
                </a:lnTo>
                <a:lnTo>
                  <a:pt x="19545" y="4674915"/>
                </a:lnTo>
                <a:cubicBezTo>
                  <a:pt x="-97720" y="3449909"/>
                  <a:pt x="312708" y="2183917"/>
                  <a:pt x="1250832" y="1245793"/>
                </a:cubicBezTo>
                <a:cubicBezTo>
                  <a:pt x="1980483" y="516142"/>
                  <a:pt x="2908474" y="105714"/>
                  <a:pt x="3861258" y="14507"/>
                </a:cubicBezTo>
                <a:close/>
              </a:path>
            </a:pathLst>
          </a:custGeom>
          <a:solidFill>
            <a:srgbClr val="F7F8F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/>
            <a:endParaRPr lang="en-US" sz="1400" b="0" i="0" err="1">
              <a:latin typeface="Arial"/>
              <a:cs typeface="Arial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7322A56F-B8B4-2517-B075-56C5134AB14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2972" y="2298411"/>
            <a:ext cx="5292030" cy="1231106"/>
          </a:xfrm>
        </p:spPr>
        <p:txBody>
          <a:bodyPr lIns="0" tIns="0" rIns="0" bIns="0" anchor="b" anchorCtr="0">
            <a:spAutoFit/>
          </a:bodyPr>
          <a:lstStyle>
            <a:lvl1pPr algn="l">
              <a:lnSpc>
                <a:spcPct val="80000"/>
              </a:lnSpc>
              <a:defRPr sz="5000" b="1" i="0" spc="-100">
                <a:solidFill>
                  <a:schemeClr val="tx2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52AEF28E-58AF-7CF1-5DB2-38E1869E50B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2972" y="3583491"/>
            <a:ext cx="5292030" cy="366254"/>
          </a:xfrm>
        </p:spPr>
        <p:txBody>
          <a:bodyPr lIns="0" tIns="0" rIns="0" bIns="0" anchor="t" anchorCtr="0">
            <a:spAutoFit/>
          </a:bodyPr>
          <a:lstStyle>
            <a:lvl1pPr marL="0" indent="0" algn="l">
              <a:lnSpc>
                <a:spcPct val="85000"/>
              </a:lnSpc>
              <a:spcBef>
                <a:spcPts val="800"/>
              </a:spcBef>
              <a:buNone/>
              <a:defRPr sz="2800" b="1" i="0" spc="-50">
                <a:solidFill>
                  <a:schemeClr val="tx2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subtitle style</a:t>
            </a: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EB0659AC-36A3-5115-BB20-1540B01D1EB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59978" y="6221029"/>
            <a:ext cx="6549436" cy="357052"/>
          </a:xfrm>
        </p:spPr>
        <p:txBody>
          <a:bodyPr anchor="b" anchorCtr="0"/>
          <a:lstStyle>
            <a:lvl1pPr algn="r">
              <a:defRPr sz="800">
                <a:solidFill>
                  <a:schemeClr val="tx2"/>
                </a:solidFill>
              </a:defRPr>
            </a:lvl1pPr>
            <a:lvl2pPr marL="0" indent="0">
              <a:buNone/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ABC5F1D4-A419-008A-D85B-F878E57DCF8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877" y="6084140"/>
            <a:ext cx="3034341" cy="557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665834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orld Ma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2" name="Group 201">
            <a:extLst>
              <a:ext uri="{FF2B5EF4-FFF2-40B4-BE49-F238E27FC236}">
                <a16:creationId xmlns:a16="http://schemas.microsoft.com/office/drawing/2014/main" id="{2DDE1C8B-2964-4902-841B-E8E86E5D5DFB}"/>
              </a:ext>
            </a:extLst>
          </p:cNvPr>
          <p:cNvGrpSpPr>
            <a:grpSpLocks noChangeAspect="1"/>
          </p:cNvGrpSpPr>
          <p:nvPr/>
        </p:nvGrpSpPr>
        <p:grpSpPr>
          <a:xfrm>
            <a:off x="1349226" y="1385300"/>
            <a:ext cx="10363229" cy="5111535"/>
            <a:chOff x="2235200" y="1676289"/>
            <a:chExt cx="8248805" cy="4068623"/>
          </a:xfrm>
          <a:solidFill>
            <a:schemeClr val="bg2"/>
          </a:solidFill>
        </p:grpSpPr>
        <p:sp>
          <p:nvSpPr>
            <p:cNvPr id="203" name="Freeform 107">
              <a:extLst>
                <a:ext uri="{FF2B5EF4-FFF2-40B4-BE49-F238E27FC236}">
                  <a16:creationId xmlns:a16="http://schemas.microsoft.com/office/drawing/2014/main" id="{8BE6A7DE-2B2A-4DE3-859A-59525608091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98108" y="4184703"/>
              <a:ext cx="914123" cy="931166"/>
            </a:xfrm>
            <a:custGeom>
              <a:avLst/>
              <a:gdLst>
                <a:gd name="T0" fmla="*/ 181 w 321"/>
                <a:gd name="T1" fmla="*/ 304 h 327"/>
                <a:gd name="T2" fmla="*/ 186 w 321"/>
                <a:gd name="T3" fmla="*/ 305 h 327"/>
                <a:gd name="T4" fmla="*/ 206 w 321"/>
                <a:gd name="T5" fmla="*/ 269 h 327"/>
                <a:gd name="T6" fmla="*/ 219 w 321"/>
                <a:gd name="T7" fmla="*/ 244 h 327"/>
                <a:gd name="T8" fmla="*/ 240 w 321"/>
                <a:gd name="T9" fmla="*/ 232 h 327"/>
                <a:gd name="T10" fmla="*/ 265 w 321"/>
                <a:gd name="T11" fmla="*/ 225 h 327"/>
                <a:gd name="T12" fmla="*/ 275 w 321"/>
                <a:gd name="T13" fmla="*/ 206 h 327"/>
                <a:gd name="T14" fmla="*/ 284 w 321"/>
                <a:gd name="T15" fmla="*/ 187 h 327"/>
                <a:gd name="T16" fmla="*/ 286 w 321"/>
                <a:gd name="T17" fmla="*/ 150 h 327"/>
                <a:gd name="T18" fmla="*/ 292 w 321"/>
                <a:gd name="T19" fmla="*/ 146 h 327"/>
                <a:gd name="T20" fmla="*/ 318 w 321"/>
                <a:gd name="T21" fmla="*/ 112 h 327"/>
                <a:gd name="T22" fmla="*/ 290 w 321"/>
                <a:gd name="T23" fmla="*/ 73 h 327"/>
                <a:gd name="T24" fmla="*/ 240 w 321"/>
                <a:gd name="T25" fmla="*/ 68 h 327"/>
                <a:gd name="T26" fmla="*/ 211 w 321"/>
                <a:gd name="T27" fmla="*/ 52 h 327"/>
                <a:gd name="T28" fmla="*/ 208 w 321"/>
                <a:gd name="T29" fmla="*/ 47 h 327"/>
                <a:gd name="T30" fmla="*/ 189 w 321"/>
                <a:gd name="T31" fmla="*/ 42 h 327"/>
                <a:gd name="T32" fmla="*/ 184 w 321"/>
                <a:gd name="T33" fmla="*/ 8 h 327"/>
                <a:gd name="T34" fmla="*/ 158 w 321"/>
                <a:gd name="T35" fmla="*/ 22 h 327"/>
                <a:gd name="T36" fmla="*/ 136 w 321"/>
                <a:gd name="T37" fmla="*/ 27 h 327"/>
                <a:gd name="T38" fmla="*/ 118 w 321"/>
                <a:gd name="T39" fmla="*/ 28 h 327"/>
                <a:gd name="T40" fmla="*/ 112 w 321"/>
                <a:gd name="T41" fmla="*/ 0 h 327"/>
                <a:gd name="T42" fmla="*/ 92 w 321"/>
                <a:gd name="T43" fmla="*/ 12 h 327"/>
                <a:gd name="T44" fmla="*/ 76 w 321"/>
                <a:gd name="T45" fmla="*/ 10 h 327"/>
                <a:gd name="T46" fmla="*/ 86 w 321"/>
                <a:gd name="T47" fmla="*/ 22 h 327"/>
                <a:gd name="T48" fmla="*/ 75 w 321"/>
                <a:gd name="T49" fmla="*/ 32 h 327"/>
                <a:gd name="T50" fmla="*/ 60 w 321"/>
                <a:gd name="T51" fmla="*/ 34 h 327"/>
                <a:gd name="T52" fmla="*/ 34 w 321"/>
                <a:gd name="T53" fmla="*/ 29 h 327"/>
                <a:gd name="T54" fmla="*/ 32 w 321"/>
                <a:gd name="T55" fmla="*/ 41 h 327"/>
                <a:gd name="T56" fmla="*/ 33 w 321"/>
                <a:gd name="T57" fmla="*/ 76 h 327"/>
                <a:gd name="T58" fmla="*/ 9 w 321"/>
                <a:gd name="T59" fmla="*/ 85 h 327"/>
                <a:gd name="T60" fmla="*/ 2 w 321"/>
                <a:gd name="T61" fmla="*/ 102 h 327"/>
                <a:gd name="T62" fmla="*/ 11 w 321"/>
                <a:gd name="T63" fmla="*/ 119 h 327"/>
                <a:gd name="T64" fmla="*/ 28 w 321"/>
                <a:gd name="T65" fmla="*/ 122 h 327"/>
                <a:gd name="T66" fmla="*/ 47 w 321"/>
                <a:gd name="T67" fmla="*/ 131 h 327"/>
                <a:gd name="T68" fmla="*/ 71 w 321"/>
                <a:gd name="T69" fmla="*/ 123 h 327"/>
                <a:gd name="T70" fmla="*/ 89 w 321"/>
                <a:gd name="T71" fmla="*/ 146 h 327"/>
                <a:gd name="T72" fmla="*/ 107 w 321"/>
                <a:gd name="T73" fmla="*/ 154 h 327"/>
                <a:gd name="T74" fmla="*/ 113 w 321"/>
                <a:gd name="T75" fmla="*/ 172 h 327"/>
                <a:gd name="T76" fmla="*/ 133 w 321"/>
                <a:gd name="T77" fmla="*/ 188 h 327"/>
                <a:gd name="T78" fmla="*/ 130 w 321"/>
                <a:gd name="T79" fmla="*/ 208 h 327"/>
                <a:gd name="T80" fmla="*/ 142 w 321"/>
                <a:gd name="T81" fmla="*/ 225 h 327"/>
                <a:gd name="T82" fmla="*/ 159 w 321"/>
                <a:gd name="T83" fmla="*/ 240 h 327"/>
                <a:gd name="T84" fmla="*/ 165 w 321"/>
                <a:gd name="T85" fmla="*/ 267 h 327"/>
                <a:gd name="T86" fmla="*/ 134 w 321"/>
                <a:gd name="T87" fmla="*/ 295 h 327"/>
                <a:gd name="T88" fmla="*/ 147 w 321"/>
                <a:gd name="T89" fmla="*/ 303 h 327"/>
                <a:gd name="T90" fmla="*/ 166 w 321"/>
                <a:gd name="T91" fmla="*/ 315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1" h="327">
                  <a:moveTo>
                    <a:pt x="170" y="324"/>
                  </a:moveTo>
                  <a:cubicBezTo>
                    <a:pt x="175" y="320"/>
                    <a:pt x="174" y="318"/>
                    <a:pt x="176" y="314"/>
                  </a:cubicBezTo>
                  <a:cubicBezTo>
                    <a:pt x="179" y="309"/>
                    <a:pt x="177" y="307"/>
                    <a:pt x="181" y="304"/>
                  </a:cubicBezTo>
                  <a:cubicBezTo>
                    <a:pt x="185" y="300"/>
                    <a:pt x="180" y="297"/>
                    <a:pt x="185" y="295"/>
                  </a:cubicBezTo>
                  <a:cubicBezTo>
                    <a:pt x="190" y="293"/>
                    <a:pt x="189" y="297"/>
                    <a:pt x="185" y="302"/>
                  </a:cubicBezTo>
                  <a:cubicBezTo>
                    <a:pt x="181" y="308"/>
                    <a:pt x="180" y="309"/>
                    <a:pt x="186" y="305"/>
                  </a:cubicBezTo>
                  <a:cubicBezTo>
                    <a:pt x="191" y="301"/>
                    <a:pt x="193" y="296"/>
                    <a:pt x="196" y="289"/>
                  </a:cubicBezTo>
                  <a:cubicBezTo>
                    <a:pt x="199" y="283"/>
                    <a:pt x="201" y="281"/>
                    <a:pt x="204" y="281"/>
                  </a:cubicBezTo>
                  <a:cubicBezTo>
                    <a:pt x="207" y="281"/>
                    <a:pt x="207" y="274"/>
                    <a:pt x="206" y="269"/>
                  </a:cubicBezTo>
                  <a:cubicBezTo>
                    <a:pt x="206" y="265"/>
                    <a:pt x="204" y="260"/>
                    <a:pt x="206" y="257"/>
                  </a:cubicBezTo>
                  <a:cubicBezTo>
                    <a:pt x="208" y="254"/>
                    <a:pt x="206" y="251"/>
                    <a:pt x="209" y="251"/>
                  </a:cubicBezTo>
                  <a:cubicBezTo>
                    <a:pt x="211" y="251"/>
                    <a:pt x="215" y="248"/>
                    <a:pt x="219" y="244"/>
                  </a:cubicBezTo>
                  <a:cubicBezTo>
                    <a:pt x="223" y="240"/>
                    <a:pt x="226" y="240"/>
                    <a:pt x="230" y="239"/>
                  </a:cubicBezTo>
                  <a:cubicBezTo>
                    <a:pt x="234" y="239"/>
                    <a:pt x="231" y="237"/>
                    <a:pt x="234" y="237"/>
                  </a:cubicBezTo>
                  <a:cubicBezTo>
                    <a:pt x="237" y="236"/>
                    <a:pt x="239" y="233"/>
                    <a:pt x="240" y="232"/>
                  </a:cubicBezTo>
                  <a:cubicBezTo>
                    <a:pt x="242" y="230"/>
                    <a:pt x="249" y="232"/>
                    <a:pt x="254" y="232"/>
                  </a:cubicBezTo>
                  <a:cubicBezTo>
                    <a:pt x="258" y="232"/>
                    <a:pt x="261" y="232"/>
                    <a:pt x="261" y="230"/>
                  </a:cubicBezTo>
                  <a:cubicBezTo>
                    <a:pt x="261" y="227"/>
                    <a:pt x="263" y="225"/>
                    <a:pt x="265" y="225"/>
                  </a:cubicBezTo>
                  <a:cubicBezTo>
                    <a:pt x="268" y="225"/>
                    <a:pt x="269" y="224"/>
                    <a:pt x="269" y="221"/>
                  </a:cubicBezTo>
                  <a:cubicBezTo>
                    <a:pt x="269" y="217"/>
                    <a:pt x="270" y="215"/>
                    <a:pt x="272" y="213"/>
                  </a:cubicBezTo>
                  <a:cubicBezTo>
                    <a:pt x="274" y="212"/>
                    <a:pt x="275" y="208"/>
                    <a:pt x="275" y="206"/>
                  </a:cubicBezTo>
                  <a:cubicBezTo>
                    <a:pt x="276" y="203"/>
                    <a:pt x="278" y="205"/>
                    <a:pt x="278" y="202"/>
                  </a:cubicBezTo>
                  <a:cubicBezTo>
                    <a:pt x="278" y="198"/>
                    <a:pt x="280" y="194"/>
                    <a:pt x="280" y="192"/>
                  </a:cubicBezTo>
                  <a:cubicBezTo>
                    <a:pt x="280" y="189"/>
                    <a:pt x="282" y="189"/>
                    <a:pt x="284" y="187"/>
                  </a:cubicBezTo>
                  <a:cubicBezTo>
                    <a:pt x="285" y="185"/>
                    <a:pt x="283" y="183"/>
                    <a:pt x="285" y="177"/>
                  </a:cubicBezTo>
                  <a:cubicBezTo>
                    <a:pt x="287" y="172"/>
                    <a:pt x="285" y="167"/>
                    <a:pt x="285" y="162"/>
                  </a:cubicBezTo>
                  <a:cubicBezTo>
                    <a:pt x="285" y="157"/>
                    <a:pt x="285" y="152"/>
                    <a:pt x="286" y="150"/>
                  </a:cubicBezTo>
                  <a:cubicBezTo>
                    <a:pt x="288" y="148"/>
                    <a:pt x="287" y="147"/>
                    <a:pt x="286" y="147"/>
                  </a:cubicBezTo>
                  <a:cubicBezTo>
                    <a:pt x="284" y="146"/>
                    <a:pt x="286" y="144"/>
                    <a:pt x="287" y="144"/>
                  </a:cubicBezTo>
                  <a:cubicBezTo>
                    <a:pt x="288" y="145"/>
                    <a:pt x="290" y="147"/>
                    <a:pt x="292" y="146"/>
                  </a:cubicBezTo>
                  <a:cubicBezTo>
                    <a:pt x="295" y="145"/>
                    <a:pt x="297" y="139"/>
                    <a:pt x="299" y="134"/>
                  </a:cubicBezTo>
                  <a:cubicBezTo>
                    <a:pt x="301" y="129"/>
                    <a:pt x="304" y="129"/>
                    <a:pt x="306" y="128"/>
                  </a:cubicBezTo>
                  <a:cubicBezTo>
                    <a:pt x="309" y="127"/>
                    <a:pt x="314" y="121"/>
                    <a:pt x="318" y="112"/>
                  </a:cubicBezTo>
                  <a:cubicBezTo>
                    <a:pt x="321" y="103"/>
                    <a:pt x="317" y="95"/>
                    <a:pt x="316" y="88"/>
                  </a:cubicBezTo>
                  <a:cubicBezTo>
                    <a:pt x="315" y="82"/>
                    <a:pt x="313" y="84"/>
                    <a:pt x="309" y="84"/>
                  </a:cubicBezTo>
                  <a:cubicBezTo>
                    <a:pt x="305" y="84"/>
                    <a:pt x="299" y="83"/>
                    <a:pt x="290" y="73"/>
                  </a:cubicBezTo>
                  <a:cubicBezTo>
                    <a:pt x="281" y="64"/>
                    <a:pt x="272" y="65"/>
                    <a:pt x="266" y="66"/>
                  </a:cubicBezTo>
                  <a:cubicBezTo>
                    <a:pt x="260" y="68"/>
                    <a:pt x="254" y="63"/>
                    <a:pt x="250" y="62"/>
                  </a:cubicBezTo>
                  <a:cubicBezTo>
                    <a:pt x="246" y="62"/>
                    <a:pt x="243" y="67"/>
                    <a:pt x="240" y="68"/>
                  </a:cubicBezTo>
                  <a:cubicBezTo>
                    <a:pt x="237" y="69"/>
                    <a:pt x="241" y="63"/>
                    <a:pt x="241" y="60"/>
                  </a:cubicBezTo>
                  <a:cubicBezTo>
                    <a:pt x="242" y="57"/>
                    <a:pt x="231" y="52"/>
                    <a:pt x="222" y="48"/>
                  </a:cubicBezTo>
                  <a:cubicBezTo>
                    <a:pt x="214" y="45"/>
                    <a:pt x="211" y="47"/>
                    <a:pt x="211" y="52"/>
                  </a:cubicBezTo>
                  <a:cubicBezTo>
                    <a:pt x="211" y="57"/>
                    <a:pt x="208" y="50"/>
                    <a:pt x="205" y="56"/>
                  </a:cubicBezTo>
                  <a:cubicBezTo>
                    <a:pt x="203" y="62"/>
                    <a:pt x="198" y="58"/>
                    <a:pt x="201" y="56"/>
                  </a:cubicBezTo>
                  <a:cubicBezTo>
                    <a:pt x="204" y="54"/>
                    <a:pt x="207" y="50"/>
                    <a:pt x="208" y="47"/>
                  </a:cubicBezTo>
                  <a:cubicBezTo>
                    <a:pt x="209" y="43"/>
                    <a:pt x="196" y="41"/>
                    <a:pt x="192" y="43"/>
                  </a:cubicBezTo>
                  <a:cubicBezTo>
                    <a:pt x="187" y="44"/>
                    <a:pt x="190" y="51"/>
                    <a:pt x="186" y="49"/>
                  </a:cubicBezTo>
                  <a:cubicBezTo>
                    <a:pt x="183" y="47"/>
                    <a:pt x="186" y="42"/>
                    <a:pt x="189" y="42"/>
                  </a:cubicBezTo>
                  <a:cubicBezTo>
                    <a:pt x="191" y="42"/>
                    <a:pt x="195" y="37"/>
                    <a:pt x="197" y="32"/>
                  </a:cubicBezTo>
                  <a:cubicBezTo>
                    <a:pt x="199" y="28"/>
                    <a:pt x="193" y="27"/>
                    <a:pt x="190" y="24"/>
                  </a:cubicBezTo>
                  <a:cubicBezTo>
                    <a:pt x="187" y="20"/>
                    <a:pt x="188" y="10"/>
                    <a:pt x="184" y="8"/>
                  </a:cubicBezTo>
                  <a:cubicBezTo>
                    <a:pt x="181" y="12"/>
                    <a:pt x="176" y="17"/>
                    <a:pt x="175" y="21"/>
                  </a:cubicBezTo>
                  <a:cubicBezTo>
                    <a:pt x="173" y="26"/>
                    <a:pt x="171" y="23"/>
                    <a:pt x="166" y="25"/>
                  </a:cubicBezTo>
                  <a:cubicBezTo>
                    <a:pt x="162" y="26"/>
                    <a:pt x="160" y="24"/>
                    <a:pt x="158" y="22"/>
                  </a:cubicBezTo>
                  <a:cubicBezTo>
                    <a:pt x="157" y="20"/>
                    <a:pt x="153" y="22"/>
                    <a:pt x="149" y="22"/>
                  </a:cubicBezTo>
                  <a:cubicBezTo>
                    <a:pt x="146" y="22"/>
                    <a:pt x="148" y="26"/>
                    <a:pt x="146" y="27"/>
                  </a:cubicBezTo>
                  <a:cubicBezTo>
                    <a:pt x="144" y="28"/>
                    <a:pt x="138" y="25"/>
                    <a:pt x="136" y="27"/>
                  </a:cubicBezTo>
                  <a:cubicBezTo>
                    <a:pt x="134" y="29"/>
                    <a:pt x="133" y="27"/>
                    <a:pt x="132" y="29"/>
                  </a:cubicBezTo>
                  <a:cubicBezTo>
                    <a:pt x="131" y="31"/>
                    <a:pt x="128" y="30"/>
                    <a:pt x="127" y="31"/>
                  </a:cubicBezTo>
                  <a:cubicBezTo>
                    <a:pt x="126" y="32"/>
                    <a:pt x="123" y="33"/>
                    <a:pt x="118" y="28"/>
                  </a:cubicBezTo>
                  <a:cubicBezTo>
                    <a:pt x="114" y="23"/>
                    <a:pt x="115" y="15"/>
                    <a:pt x="117" y="14"/>
                  </a:cubicBezTo>
                  <a:cubicBezTo>
                    <a:pt x="119" y="12"/>
                    <a:pt x="119" y="8"/>
                    <a:pt x="116" y="7"/>
                  </a:cubicBezTo>
                  <a:cubicBezTo>
                    <a:pt x="113" y="6"/>
                    <a:pt x="116" y="1"/>
                    <a:pt x="112" y="0"/>
                  </a:cubicBezTo>
                  <a:cubicBezTo>
                    <a:pt x="109" y="0"/>
                    <a:pt x="110" y="4"/>
                    <a:pt x="107" y="5"/>
                  </a:cubicBezTo>
                  <a:cubicBezTo>
                    <a:pt x="105" y="5"/>
                    <a:pt x="100" y="9"/>
                    <a:pt x="97" y="9"/>
                  </a:cubicBezTo>
                  <a:cubicBezTo>
                    <a:pt x="95" y="8"/>
                    <a:pt x="92" y="9"/>
                    <a:pt x="92" y="12"/>
                  </a:cubicBezTo>
                  <a:cubicBezTo>
                    <a:pt x="92" y="14"/>
                    <a:pt x="89" y="14"/>
                    <a:pt x="89" y="11"/>
                  </a:cubicBezTo>
                  <a:cubicBezTo>
                    <a:pt x="88" y="9"/>
                    <a:pt x="83" y="10"/>
                    <a:pt x="82" y="9"/>
                  </a:cubicBezTo>
                  <a:cubicBezTo>
                    <a:pt x="80" y="8"/>
                    <a:pt x="74" y="8"/>
                    <a:pt x="76" y="10"/>
                  </a:cubicBezTo>
                  <a:cubicBezTo>
                    <a:pt x="79" y="12"/>
                    <a:pt x="80" y="13"/>
                    <a:pt x="80" y="16"/>
                  </a:cubicBezTo>
                  <a:cubicBezTo>
                    <a:pt x="80" y="19"/>
                    <a:pt x="82" y="18"/>
                    <a:pt x="82" y="21"/>
                  </a:cubicBezTo>
                  <a:cubicBezTo>
                    <a:pt x="82" y="24"/>
                    <a:pt x="84" y="22"/>
                    <a:pt x="86" y="22"/>
                  </a:cubicBezTo>
                  <a:cubicBezTo>
                    <a:pt x="88" y="22"/>
                    <a:pt x="88" y="25"/>
                    <a:pt x="85" y="25"/>
                  </a:cubicBezTo>
                  <a:cubicBezTo>
                    <a:pt x="82" y="26"/>
                    <a:pt x="81" y="27"/>
                    <a:pt x="80" y="30"/>
                  </a:cubicBezTo>
                  <a:cubicBezTo>
                    <a:pt x="80" y="32"/>
                    <a:pt x="77" y="30"/>
                    <a:pt x="75" y="32"/>
                  </a:cubicBezTo>
                  <a:cubicBezTo>
                    <a:pt x="73" y="34"/>
                    <a:pt x="71" y="36"/>
                    <a:pt x="69" y="35"/>
                  </a:cubicBezTo>
                  <a:cubicBezTo>
                    <a:pt x="68" y="34"/>
                    <a:pt x="67" y="35"/>
                    <a:pt x="65" y="36"/>
                  </a:cubicBezTo>
                  <a:cubicBezTo>
                    <a:pt x="63" y="37"/>
                    <a:pt x="63" y="36"/>
                    <a:pt x="60" y="34"/>
                  </a:cubicBezTo>
                  <a:cubicBezTo>
                    <a:pt x="59" y="33"/>
                    <a:pt x="57" y="29"/>
                    <a:pt x="54" y="26"/>
                  </a:cubicBezTo>
                  <a:cubicBezTo>
                    <a:pt x="52" y="27"/>
                    <a:pt x="48" y="28"/>
                    <a:pt x="46" y="28"/>
                  </a:cubicBezTo>
                  <a:cubicBezTo>
                    <a:pt x="43" y="28"/>
                    <a:pt x="35" y="28"/>
                    <a:pt x="34" y="29"/>
                  </a:cubicBezTo>
                  <a:cubicBezTo>
                    <a:pt x="34" y="31"/>
                    <a:pt x="35" y="33"/>
                    <a:pt x="36" y="34"/>
                  </a:cubicBezTo>
                  <a:cubicBezTo>
                    <a:pt x="38" y="34"/>
                    <a:pt x="41" y="35"/>
                    <a:pt x="38" y="37"/>
                  </a:cubicBezTo>
                  <a:cubicBezTo>
                    <a:pt x="35" y="39"/>
                    <a:pt x="32" y="36"/>
                    <a:pt x="32" y="41"/>
                  </a:cubicBezTo>
                  <a:cubicBezTo>
                    <a:pt x="32" y="46"/>
                    <a:pt x="39" y="50"/>
                    <a:pt x="38" y="54"/>
                  </a:cubicBezTo>
                  <a:cubicBezTo>
                    <a:pt x="37" y="57"/>
                    <a:pt x="36" y="63"/>
                    <a:pt x="36" y="65"/>
                  </a:cubicBezTo>
                  <a:cubicBezTo>
                    <a:pt x="36" y="68"/>
                    <a:pt x="35" y="76"/>
                    <a:pt x="33" y="76"/>
                  </a:cubicBezTo>
                  <a:cubicBezTo>
                    <a:pt x="31" y="77"/>
                    <a:pt x="29" y="74"/>
                    <a:pt x="26" y="77"/>
                  </a:cubicBezTo>
                  <a:cubicBezTo>
                    <a:pt x="23" y="79"/>
                    <a:pt x="19" y="78"/>
                    <a:pt x="16" y="80"/>
                  </a:cubicBezTo>
                  <a:cubicBezTo>
                    <a:pt x="13" y="83"/>
                    <a:pt x="9" y="82"/>
                    <a:pt x="9" y="85"/>
                  </a:cubicBezTo>
                  <a:cubicBezTo>
                    <a:pt x="9" y="88"/>
                    <a:pt x="6" y="90"/>
                    <a:pt x="6" y="93"/>
                  </a:cubicBezTo>
                  <a:cubicBezTo>
                    <a:pt x="7" y="95"/>
                    <a:pt x="5" y="95"/>
                    <a:pt x="3" y="97"/>
                  </a:cubicBezTo>
                  <a:cubicBezTo>
                    <a:pt x="1" y="99"/>
                    <a:pt x="3" y="100"/>
                    <a:pt x="2" y="102"/>
                  </a:cubicBezTo>
                  <a:cubicBezTo>
                    <a:pt x="0" y="104"/>
                    <a:pt x="2" y="106"/>
                    <a:pt x="4" y="109"/>
                  </a:cubicBezTo>
                  <a:cubicBezTo>
                    <a:pt x="5" y="112"/>
                    <a:pt x="7" y="114"/>
                    <a:pt x="7" y="116"/>
                  </a:cubicBezTo>
                  <a:cubicBezTo>
                    <a:pt x="7" y="118"/>
                    <a:pt x="9" y="119"/>
                    <a:pt x="11" y="119"/>
                  </a:cubicBezTo>
                  <a:cubicBezTo>
                    <a:pt x="14" y="119"/>
                    <a:pt x="12" y="124"/>
                    <a:pt x="15" y="124"/>
                  </a:cubicBezTo>
                  <a:cubicBezTo>
                    <a:pt x="19" y="124"/>
                    <a:pt x="23" y="124"/>
                    <a:pt x="24" y="122"/>
                  </a:cubicBezTo>
                  <a:cubicBezTo>
                    <a:pt x="25" y="120"/>
                    <a:pt x="28" y="119"/>
                    <a:pt x="28" y="122"/>
                  </a:cubicBezTo>
                  <a:cubicBezTo>
                    <a:pt x="28" y="125"/>
                    <a:pt x="27" y="133"/>
                    <a:pt x="29" y="132"/>
                  </a:cubicBezTo>
                  <a:cubicBezTo>
                    <a:pt x="32" y="131"/>
                    <a:pt x="37" y="131"/>
                    <a:pt x="40" y="132"/>
                  </a:cubicBezTo>
                  <a:cubicBezTo>
                    <a:pt x="43" y="133"/>
                    <a:pt x="45" y="132"/>
                    <a:pt x="47" y="131"/>
                  </a:cubicBezTo>
                  <a:cubicBezTo>
                    <a:pt x="48" y="129"/>
                    <a:pt x="50" y="129"/>
                    <a:pt x="54" y="127"/>
                  </a:cubicBezTo>
                  <a:cubicBezTo>
                    <a:pt x="57" y="125"/>
                    <a:pt x="60" y="123"/>
                    <a:pt x="63" y="123"/>
                  </a:cubicBezTo>
                  <a:cubicBezTo>
                    <a:pt x="66" y="123"/>
                    <a:pt x="72" y="121"/>
                    <a:pt x="71" y="123"/>
                  </a:cubicBezTo>
                  <a:cubicBezTo>
                    <a:pt x="70" y="126"/>
                    <a:pt x="70" y="134"/>
                    <a:pt x="73" y="139"/>
                  </a:cubicBezTo>
                  <a:cubicBezTo>
                    <a:pt x="77" y="143"/>
                    <a:pt x="79" y="145"/>
                    <a:pt x="83" y="145"/>
                  </a:cubicBezTo>
                  <a:cubicBezTo>
                    <a:pt x="87" y="144"/>
                    <a:pt x="86" y="146"/>
                    <a:pt x="89" y="146"/>
                  </a:cubicBezTo>
                  <a:cubicBezTo>
                    <a:pt x="91" y="146"/>
                    <a:pt x="90" y="149"/>
                    <a:pt x="92" y="149"/>
                  </a:cubicBezTo>
                  <a:cubicBezTo>
                    <a:pt x="94" y="149"/>
                    <a:pt x="99" y="149"/>
                    <a:pt x="99" y="152"/>
                  </a:cubicBezTo>
                  <a:cubicBezTo>
                    <a:pt x="99" y="154"/>
                    <a:pt x="106" y="152"/>
                    <a:pt x="107" y="154"/>
                  </a:cubicBezTo>
                  <a:cubicBezTo>
                    <a:pt x="109" y="155"/>
                    <a:pt x="111" y="156"/>
                    <a:pt x="111" y="159"/>
                  </a:cubicBezTo>
                  <a:cubicBezTo>
                    <a:pt x="110" y="162"/>
                    <a:pt x="114" y="164"/>
                    <a:pt x="112" y="165"/>
                  </a:cubicBezTo>
                  <a:cubicBezTo>
                    <a:pt x="109" y="167"/>
                    <a:pt x="112" y="169"/>
                    <a:pt x="113" y="172"/>
                  </a:cubicBezTo>
                  <a:cubicBezTo>
                    <a:pt x="113" y="175"/>
                    <a:pt x="116" y="176"/>
                    <a:pt x="121" y="176"/>
                  </a:cubicBezTo>
                  <a:cubicBezTo>
                    <a:pt x="127" y="176"/>
                    <a:pt x="128" y="176"/>
                    <a:pt x="128" y="180"/>
                  </a:cubicBezTo>
                  <a:cubicBezTo>
                    <a:pt x="128" y="184"/>
                    <a:pt x="132" y="184"/>
                    <a:pt x="133" y="188"/>
                  </a:cubicBezTo>
                  <a:cubicBezTo>
                    <a:pt x="134" y="192"/>
                    <a:pt x="131" y="196"/>
                    <a:pt x="132" y="198"/>
                  </a:cubicBezTo>
                  <a:cubicBezTo>
                    <a:pt x="132" y="201"/>
                    <a:pt x="131" y="203"/>
                    <a:pt x="130" y="204"/>
                  </a:cubicBezTo>
                  <a:cubicBezTo>
                    <a:pt x="131" y="206"/>
                    <a:pt x="131" y="207"/>
                    <a:pt x="130" y="208"/>
                  </a:cubicBezTo>
                  <a:cubicBezTo>
                    <a:pt x="128" y="209"/>
                    <a:pt x="133" y="213"/>
                    <a:pt x="131" y="218"/>
                  </a:cubicBezTo>
                  <a:cubicBezTo>
                    <a:pt x="130" y="223"/>
                    <a:pt x="130" y="224"/>
                    <a:pt x="135" y="225"/>
                  </a:cubicBezTo>
                  <a:cubicBezTo>
                    <a:pt x="141" y="225"/>
                    <a:pt x="140" y="227"/>
                    <a:pt x="142" y="225"/>
                  </a:cubicBezTo>
                  <a:cubicBezTo>
                    <a:pt x="144" y="224"/>
                    <a:pt x="147" y="229"/>
                    <a:pt x="148" y="232"/>
                  </a:cubicBezTo>
                  <a:cubicBezTo>
                    <a:pt x="149" y="235"/>
                    <a:pt x="151" y="241"/>
                    <a:pt x="152" y="241"/>
                  </a:cubicBezTo>
                  <a:cubicBezTo>
                    <a:pt x="153" y="241"/>
                    <a:pt x="156" y="238"/>
                    <a:pt x="159" y="240"/>
                  </a:cubicBezTo>
                  <a:cubicBezTo>
                    <a:pt x="161" y="241"/>
                    <a:pt x="158" y="250"/>
                    <a:pt x="158" y="254"/>
                  </a:cubicBezTo>
                  <a:cubicBezTo>
                    <a:pt x="160" y="254"/>
                    <a:pt x="162" y="254"/>
                    <a:pt x="163" y="254"/>
                  </a:cubicBezTo>
                  <a:cubicBezTo>
                    <a:pt x="165" y="255"/>
                    <a:pt x="165" y="265"/>
                    <a:pt x="165" y="267"/>
                  </a:cubicBezTo>
                  <a:cubicBezTo>
                    <a:pt x="164" y="268"/>
                    <a:pt x="158" y="270"/>
                    <a:pt x="155" y="272"/>
                  </a:cubicBezTo>
                  <a:cubicBezTo>
                    <a:pt x="152" y="274"/>
                    <a:pt x="144" y="281"/>
                    <a:pt x="141" y="287"/>
                  </a:cubicBezTo>
                  <a:cubicBezTo>
                    <a:pt x="139" y="290"/>
                    <a:pt x="136" y="293"/>
                    <a:pt x="134" y="295"/>
                  </a:cubicBezTo>
                  <a:cubicBezTo>
                    <a:pt x="135" y="295"/>
                    <a:pt x="136" y="295"/>
                    <a:pt x="136" y="295"/>
                  </a:cubicBezTo>
                  <a:cubicBezTo>
                    <a:pt x="138" y="294"/>
                    <a:pt x="140" y="294"/>
                    <a:pt x="143" y="297"/>
                  </a:cubicBezTo>
                  <a:cubicBezTo>
                    <a:pt x="146" y="301"/>
                    <a:pt x="146" y="303"/>
                    <a:pt x="147" y="303"/>
                  </a:cubicBezTo>
                  <a:cubicBezTo>
                    <a:pt x="148" y="303"/>
                    <a:pt x="149" y="299"/>
                    <a:pt x="151" y="302"/>
                  </a:cubicBezTo>
                  <a:cubicBezTo>
                    <a:pt x="153" y="305"/>
                    <a:pt x="159" y="307"/>
                    <a:pt x="160" y="309"/>
                  </a:cubicBezTo>
                  <a:cubicBezTo>
                    <a:pt x="161" y="310"/>
                    <a:pt x="166" y="311"/>
                    <a:pt x="166" y="315"/>
                  </a:cubicBezTo>
                  <a:cubicBezTo>
                    <a:pt x="166" y="318"/>
                    <a:pt x="164" y="323"/>
                    <a:pt x="166" y="327"/>
                  </a:cubicBezTo>
                  <a:cubicBezTo>
                    <a:pt x="168" y="326"/>
                    <a:pt x="169" y="325"/>
                    <a:pt x="170" y="324"/>
                  </a:cubicBezTo>
                  <a:close/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126">
              <a:extLst>
                <a:ext uri="{FF2B5EF4-FFF2-40B4-BE49-F238E27FC236}">
                  <a16:creationId xmlns:a16="http://schemas.microsoft.com/office/drawing/2014/main" id="{848972A3-EB5C-4BEF-B7CA-8E392D2607A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6495" y="1693331"/>
              <a:ext cx="2040510" cy="1572602"/>
            </a:xfrm>
            <a:custGeom>
              <a:avLst/>
              <a:gdLst>
                <a:gd name="T0" fmla="*/ 147 w 717"/>
                <a:gd name="T1" fmla="*/ 487 h 552"/>
                <a:gd name="T2" fmla="*/ 135 w 717"/>
                <a:gd name="T3" fmla="*/ 162 h 552"/>
                <a:gd name="T4" fmla="*/ 276 w 717"/>
                <a:gd name="T5" fmla="*/ 179 h 552"/>
                <a:gd name="T6" fmla="*/ 183 w 717"/>
                <a:gd name="T7" fmla="*/ 192 h 552"/>
                <a:gd name="T8" fmla="*/ 276 w 717"/>
                <a:gd name="T9" fmla="*/ 239 h 552"/>
                <a:gd name="T10" fmla="*/ 169 w 717"/>
                <a:gd name="T11" fmla="*/ 138 h 552"/>
                <a:gd name="T12" fmla="*/ 149 w 717"/>
                <a:gd name="T13" fmla="*/ 132 h 552"/>
                <a:gd name="T14" fmla="*/ 264 w 717"/>
                <a:gd name="T15" fmla="*/ 152 h 552"/>
                <a:gd name="T16" fmla="*/ 212 w 717"/>
                <a:gd name="T17" fmla="*/ 103 h 552"/>
                <a:gd name="T18" fmla="*/ 295 w 717"/>
                <a:gd name="T19" fmla="*/ 85 h 552"/>
                <a:gd name="T20" fmla="*/ 297 w 717"/>
                <a:gd name="T21" fmla="*/ 115 h 552"/>
                <a:gd name="T22" fmla="*/ 300 w 717"/>
                <a:gd name="T23" fmla="*/ 132 h 552"/>
                <a:gd name="T24" fmla="*/ 387 w 717"/>
                <a:gd name="T25" fmla="*/ 105 h 552"/>
                <a:gd name="T26" fmla="*/ 351 w 717"/>
                <a:gd name="T27" fmla="*/ 166 h 552"/>
                <a:gd name="T28" fmla="*/ 490 w 717"/>
                <a:gd name="T29" fmla="*/ 157 h 552"/>
                <a:gd name="T30" fmla="*/ 414 w 717"/>
                <a:gd name="T31" fmla="*/ 108 h 552"/>
                <a:gd name="T32" fmla="*/ 427 w 717"/>
                <a:gd name="T33" fmla="*/ 60 h 552"/>
                <a:gd name="T34" fmla="*/ 419 w 717"/>
                <a:gd name="T35" fmla="*/ 47 h 552"/>
                <a:gd name="T36" fmla="*/ 453 w 717"/>
                <a:gd name="T37" fmla="*/ 86 h 552"/>
                <a:gd name="T38" fmla="*/ 498 w 717"/>
                <a:gd name="T39" fmla="*/ 129 h 552"/>
                <a:gd name="T40" fmla="*/ 567 w 717"/>
                <a:gd name="T41" fmla="*/ 62 h 552"/>
                <a:gd name="T42" fmla="*/ 542 w 717"/>
                <a:gd name="T43" fmla="*/ 7 h 552"/>
                <a:gd name="T44" fmla="*/ 406 w 717"/>
                <a:gd name="T45" fmla="*/ 33 h 552"/>
                <a:gd name="T46" fmla="*/ 445 w 717"/>
                <a:gd name="T47" fmla="*/ 314 h 552"/>
                <a:gd name="T48" fmla="*/ 590 w 717"/>
                <a:gd name="T49" fmla="*/ 243 h 552"/>
                <a:gd name="T50" fmla="*/ 532 w 717"/>
                <a:gd name="T51" fmla="*/ 194 h 552"/>
                <a:gd name="T52" fmla="*/ 445 w 717"/>
                <a:gd name="T53" fmla="*/ 179 h 552"/>
                <a:gd name="T54" fmla="*/ 503 w 717"/>
                <a:gd name="T55" fmla="*/ 220 h 552"/>
                <a:gd name="T56" fmla="*/ 525 w 717"/>
                <a:gd name="T57" fmla="*/ 292 h 552"/>
                <a:gd name="T58" fmla="*/ 606 w 717"/>
                <a:gd name="T59" fmla="*/ 299 h 552"/>
                <a:gd name="T60" fmla="*/ 487 w 717"/>
                <a:gd name="T61" fmla="*/ 172 h 552"/>
                <a:gd name="T62" fmla="*/ 687 w 717"/>
                <a:gd name="T63" fmla="*/ 458 h 552"/>
                <a:gd name="T64" fmla="*/ 79 w 717"/>
                <a:gd name="T65" fmla="*/ 449 h 552"/>
                <a:gd name="T66" fmla="*/ 586 w 717"/>
                <a:gd name="T67" fmla="*/ 490 h 552"/>
                <a:gd name="T68" fmla="*/ 687 w 717"/>
                <a:gd name="T69" fmla="*/ 434 h 552"/>
                <a:gd name="T70" fmla="*/ 639 w 717"/>
                <a:gd name="T71" fmla="*/ 400 h 552"/>
                <a:gd name="T72" fmla="*/ 602 w 717"/>
                <a:gd name="T73" fmla="*/ 377 h 552"/>
                <a:gd name="T74" fmla="*/ 544 w 717"/>
                <a:gd name="T75" fmla="*/ 330 h 552"/>
                <a:gd name="T76" fmla="*/ 519 w 717"/>
                <a:gd name="T77" fmla="*/ 387 h 552"/>
                <a:gd name="T78" fmla="*/ 475 w 717"/>
                <a:gd name="T79" fmla="*/ 441 h 552"/>
                <a:gd name="T80" fmla="*/ 384 w 717"/>
                <a:gd name="T81" fmla="*/ 375 h 552"/>
                <a:gd name="T82" fmla="*/ 413 w 717"/>
                <a:gd name="T83" fmla="*/ 307 h 552"/>
                <a:gd name="T84" fmla="*/ 463 w 717"/>
                <a:gd name="T85" fmla="*/ 276 h 552"/>
                <a:gd name="T86" fmla="*/ 454 w 717"/>
                <a:gd name="T87" fmla="*/ 242 h 552"/>
                <a:gd name="T88" fmla="*/ 414 w 717"/>
                <a:gd name="T89" fmla="*/ 245 h 552"/>
                <a:gd name="T90" fmla="*/ 383 w 717"/>
                <a:gd name="T91" fmla="*/ 194 h 552"/>
                <a:gd name="T92" fmla="*/ 369 w 717"/>
                <a:gd name="T93" fmla="*/ 208 h 552"/>
                <a:gd name="T94" fmla="*/ 362 w 717"/>
                <a:gd name="T95" fmla="*/ 260 h 552"/>
                <a:gd name="T96" fmla="*/ 351 w 717"/>
                <a:gd name="T97" fmla="*/ 249 h 552"/>
                <a:gd name="T98" fmla="*/ 285 w 717"/>
                <a:gd name="T99" fmla="*/ 249 h 552"/>
                <a:gd name="T100" fmla="*/ 191 w 717"/>
                <a:gd name="T101" fmla="*/ 242 h 552"/>
                <a:gd name="T102" fmla="*/ 69 w 717"/>
                <a:gd name="T103" fmla="*/ 243 h 552"/>
                <a:gd name="T104" fmla="*/ 34 w 717"/>
                <a:gd name="T105" fmla="*/ 243 h 552"/>
                <a:gd name="T106" fmla="*/ 91 w 717"/>
                <a:gd name="T107" fmla="*/ 420 h 552"/>
                <a:gd name="T108" fmla="*/ 130 w 717"/>
                <a:gd name="T109" fmla="*/ 470 h 552"/>
                <a:gd name="T110" fmla="*/ 444 w 717"/>
                <a:gd name="T111" fmla="*/ 492 h 552"/>
                <a:gd name="T112" fmla="*/ 500 w 717"/>
                <a:gd name="T113" fmla="*/ 546 h 552"/>
                <a:gd name="T114" fmla="*/ 618 w 717"/>
                <a:gd name="T115" fmla="*/ 515 h 552"/>
                <a:gd name="T116" fmla="*/ 173 w 717"/>
                <a:gd name="T117" fmla="*/ 290 h 552"/>
                <a:gd name="T118" fmla="*/ 172 w 717"/>
                <a:gd name="T119" fmla="*/ 280 h 552"/>
                <a:gd name="T120" fmla="*/ 359 w 717"/>
                <a:gd name="T121" fmla="*/ 468 h 5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17" h="552">
                  <a:moveTo>
                    <a:pt x="142" y="484"/>
                  </a:moveTo>
                  <a:cubicBezTo>
                    <a:pt x="139" y="482"/>
                    <a:pt x="133" y="482"/>
                    <a:pt x="132" y="480"/>
                  </a:cubicBezTo>
                  <a:cubicBezTo>
                    <a:pt x="131" y="478"/>
                    <a:pt x="126" y="469"/>
                    <a:pt x="123" y="469"/>
                  </a:cubicBezTo>
                  <a:cubicBezTo>
                    <a:pt x="120" y="470"/>
                    <a:pt x="116" y="470"/>
                    <a:pt x="112" y="467"/>
                  </a:cubicBezTo>
                  <a:cubicBezTo>
                    <a:pt x="109" y="464"/>
                    <a:pt x="106" y="464"/>
                    <a:pt x="104" y="466"/>
                  </a:cubicBezTo>
                  <a:cubicBezTo>
                    <a:pt x="101" y="467"/>
                    <a:pt x="107" y="468"/>
                    <a:pt x="106" y="470"/>
                  </a:cubicBezTo>
                  <a:cubicBezTo>
                    <a:pt x="106" y="471"/>
                    <a:pt x="108" y="472"/>
                    <a:pt x="110" y="472"/>
                  </a:cubicBezTo>
                  <a:cubicBezTo>
                    <a:pt x="112" y="472"/>
                    <a:pt x="114" y="476"/>
                    <a:pt x="116" y="476"/>
                  </a:cubicBezTo>
                  <a:cubicBezTo>
                    <a:pt x="118" y="477"/>
                    <a:pt x="119" y="480"/>
                    <a:pt x="121" y="480"/>
                  </a:cubicBezTo>
                  <a:cubicBezTo>
                    <a:pt x="124" y="480"/>
                    <a:pt x="124" y="483"/>
                    <a:pt x="125" y="484"/>
                  </a:cubicBezTo>
                  <a:cubicBezTo>
                    <a:pt x="127" y="486"/>
                    <a:pt x="129" y="485"/>
                    <a:pt x="129" y="486"/>
                  </a:cubicBezTo>
                  <a:cubicBezTo>
                    <a:pt x="129" y="488"/>
                    <a:pt x="132" y="489"/>
                    <a:pt x="133" y="491"/>
                  </a:cubicBezTo>
                  <a:cubicBezTo>
                    <a:pt x="138" y="491"/>
                    <a:pt x="142" y="492"/>
                    <a:pt x="146" y="491"/>
                  </a:cubicBezTo>
                  <a:cubicBezTo>
                    <a:pt x="146" y="490"/>
                    <a:pt x="146" y="488"/>
                    <a:pt x="147" y="487"/>
                  </a:cubicBezTo>
                  <a:cubicBezTo>
                    <a:pt x="148" y="485"/>
                    <a:pt x="144" y="487"/>
                    <a:pt x="142" y="484"/>
                  </a:cubicBezTo>
                  <a:close/>
                  <a:moveTo>
                    <a:pt x="135" y="201"/>
                  </a:moveTo>
                  <a:cubicBezTo>
                    <a:pt x="142" y="202"/>
                    <a:pt x="143" y="214"/>
                    <a:pt x="147" y="214"/>
                  </a:cubicBezTo>
                  <a:cubicBezTo>
                    <a:pt x="150" y="214"/>
                    <a:pt x="148" y="210"/>
                    <a:pt x="152" y="210"/>
                  </a:cubicBezTo>
                  <a:cubicBezTo>
                    <a:pt x="157" y="210"/>
                    <a:pt x="156" y="208"/>
                    <a:pt x="160" y="208"/>
                  </a:cubicBezTo>
                  <a:cubicBezTo>
                    <a:pt x="164" y="208"/>
                    <a:pt x="168" y="207"/>
                    <a:pt x="168" y="202"/>
                  </a:cubicBezTo>
                  <a:cubicBezTo>
                    <a:pt x="168" y="197"/>
                    <a:pt x="171" y="195"/>
                    <a:pt x="175" y="194"/>
                  </a:cubicBezTo>
                  <a:cubicBezTo>
                    <a:pt x="180" y="193"/>
                    <a:pt x="176" y="188"/>
                    <a:pt x="182" y="186"/>
                  </a:cubicBezTo>
                  <a:cubicBezTo>
                    <a:pt x="188" y="185"/>
                    <a:pt x="205" y="178"/>
                    <a:pt x="208" y="176"/>
                  </a:cubicBezTo>
                  <a:cubicBezTo>
                    <a:pt x="210" y="173"/>
                    <a:pt x="204" y="171"/>
                    <a:pt x="198" y="167"/>
                  </a:cubicBezTo>
                  <a:cubicBezTo>
                    <a:pt x="191" y="163"/>
                    <a:pt x="186" y="162"/>
                    <a:pt x="181" y="165"/>
                  </a:cubicBezTo>
                  <a:cubicBezTo>
                    <a:pt x="176" y="168"/>
                    <a:pt x="180" y="161"/>
                    <a:pt x="176" y="163"/>
                  </a:cubicBezTo>
                  <a:cubicBezTo>
                    <a:pt x="172" y="165"/>
                    <a:pt x="162" y="160"/>
                    <a:pt x="160" y="158"/>
                  </a:cubicBezTo>
                  <a:cubicBezTo>
                    <a:pt x="159" y="157"/>
                    <a:pt x="139" y="162"/>
                    <a:pt x="135" y="162"/>
                  </a:cubicBezTo>
                  <a:cubicBezTo>
                    <a:pt x="130" y="162"/>
                    <a:pt x="135" y="167"/>
                    <a:pt x="138" y="170"/>
                  </a:cubicBezTo>
                  <a:cubicBezTo>
                    <a:pt x="142" y="172"/>
                    <a:pt x="130" y="180"/>
                    <a:pt x="133" y="182"/>
                  </a:cubicBezTo>
                  <a:cubicBezTo>
                    <a:pt x="135" y="184"/>
                    <a:pt x="130" y="188"/>
                    <a:pt x="125" y="194"/>
                  </a:cubicBezTo>
                  <a:cubicBezTo>
                    <a:pt x="120" y="200"/>
                    <a:pt x="129" y="199"/>
                    <a:pt x="135" y="201"/>
                  </a:cubicBezTo>
                  <a:close/>
                  <a:moveTo>
                    <a:pt x="314" y="230"/>
                  </a:moveTo>
                  <a:cubicBezTo>
                    <a:pt x="316" y="228"/>
                    <a:pt x="325" y="235"/>
                    <a:pt x="325" y="230"/>
                  </a:cubicBezTo>
                  <a:cubicBezTo>
                    <a:pt x="326" y="224"/>
                    <a:pt x="315" y="222"/>
                    <a:pt x="311" y="219"/>
                  </a:cubicBezTo>
                  <a:cubicBezTo>
                    <a:pt x="307" y="216"/>
                    <a:pt x="305" y="218"/>
                    <a:pt x="298" y="213"/>
                  </a:cubicBezTo>
                  <a:cubicBezTo>
                    <a:pt x="291" y="208"/>
                    <a:pt x="300" y="205"/>
                    <a:pt x="295" y="201"/>
                  </a:cubicBezTo>
                  <a:cubicBezTo>
                    <a:pt x="290" y="197"/>
                    <a:pt x="288" y="187"/>
                    <a:pt x="292" y="183"/>
                  </a:cubicBezTo>
                  <a:cubicBezTo>
                    <a:pt x="295" y="179"/>
                    <a:pt x="299" y="174"/>
                    <a:pt x="293" y="172"/>
                  </a:cubicBezTo>
                  <a:cubicBezTo>
                    <a:pt x="286" y="169"/>
                    <a:pt x="276" y="174"/>
                    <a:pt x="277" y="175"/>
                  </a:cubicBezTo>
                  <a:cubicBezTo>
                    <a:pt x="278" y="177"/>
                    <a:pt x="287" y="182"/>
                    <a:pt x="287" y="184"/>
                  </a:cubicBezTo>
                  <a:cubicBezTo>
                    <a:pt x="287" y="186"/>
                    <a:pt x="279" y="178"/>
                    <a:pt x="276" y="179"/>
                  </a:cubicBezTo>
                  <a:cubicBezTo>
                    <a:pt x="273" y="181"/>
                    <a:pt x="270" y="176"/>
                    <a:pt x="267" y="179"/>
                  </a:cubicBezTo>
                  <a:cubicBezTo>
                    <a:pt x="265" y="183"/>
                    <a:pt x="271" y="195"/>
                    <a:pt x="273" y="199"/>
                  </a:cubicBezTo>
                  <a:cubicBezTo>
                    <a:pt x="275" y="203"/>
                    <a:pt x="271" y="203"/>
                    <a:pt x="268" y="203"/>
                  </a:cubicBezTo>
                  <a:cubicBezTo>
                    <a:pt x="265" y="204"/>
                    <a:pt x="265" y="193"/>
                    <a:pt x="262" y="189"/>
                  </a:cubicBezTo>
                  <a:cubicBezTo>
                    <a:pt x="259" y="185"/>
                    <a:pt x="247" y="181"/>
                    <a:pt x="247" y="184"/>
                  </a:cubicBezTo>
                  <a:cubicBezTo>
                    <a:pt x="246" y="187"/>
                    <a:pt x="254" y="187"/>
                    <a:pt x="253" y="190"/>
                  </a:cubicBezTo>
                  <a:cubicBezTo>
                    <a:pt x="252" y="194"/>
                    <a:pt x="247" y="188"/>
                    <a:pt x="244" y="191"/>
                  </a:cubicBezTo>
                  <a:cubicBezTo>
                    <a:pt x="240" y="194"/>
                    <a:pt x="240" y="192"/>
                    <a:pt x="241" y="189"/>
                  </a:cubicBezTo>
                  <a:cubicBezTo>
                    <a:pt x="242" y="186"/>
                    <a:pt x="235" y="182"/>
                    <a:pt x="228" y="183"/>
                  </a:cubicBezTo>
                  <a:cubicBezTo>
                    <a:pt x="221" y="184"/>
                    <a:pt x="225" y="189"/>
                    <a:pt x="223" y="190"/>
                  </a:cubicBezTo>
                  <a:cubicBezTo>
                    <a:pt x="221" y="192"/>
                    <a:pt x="210" y="189"/>
                    <a:pt x="217" y="188"/>
                  </a:cubicBezTo>
                  <a:cubicBezTo>
                    <a:pt x="224" y="187"/>
                    <a:pt x="221" y="183"/>
                    <a:pt x="218" y="179"/>
                  </a:cubicBezTo>
                  <a:cubicBezTo>
                    <a:pt x="216" y="175"/>
                    <a:pt x="209" y="179"/>
                    <a:pt x="198" y="183"/>
                  </a:cubicBezTo>
                  <a:cubicBezTo>
                    <a:pt x="187" y="187"/>
                    <a:pt x="182" y="192"/>
                    <a:pt x="183" y="192"/>
                  </a:cubicBezTo>
                  <a:cubicBezTo>
                    <a:pt x="185" y="192"/>
                    <a:pt x="185" y="194"/>
                    <a:pt x="181" y="198"/>
                  </a:cubicBezTo>
                  <a:cubicBezTo>
                    <a:pt x="176" y="201"/>
                    <a:pt x="181" y="204"/>
                    <a:pt x="185" y="204"/>
                  </a:cubicBezTo>
                  <a:cubicBezTo>
                    <a:pt x="189" y="204"/>
                    <a:pt x="185" y="208"/>
                    <a:pt x="188" y="208"/>
                  </a:cubicBezTo>
                  <a:cubicBezTo>
                    <a:pt x="190" y="209"/>
                    <a:pt x="203" y="203"/>
                    <a:pt x="207" y="206"/>
                  </a:cubicBezTo>
                  <a:cubicBezTo>
                    <a:pt x="210" y="208"/>
                    <a:pt x="186" y="210"/>
                    <a:pt x="186" y="214"/>
                  </a:cubicBezTo>
                  <a:cubicBezTo>
                    <a:pt x="186" y="218"/>
                    <a:pt x="199" y="221"/>
                    <a:pt x="209" y="219"/>
                  </a:cubicBezTo>
                  <a:cubicBezTo>
                    <a:pt x="219" y="217"/>
                    <a:pt x="237" y="220"/>
                    <a:pt x="237" y="223"/>
                  </a:cubicBezTo>
                  <a:cubicBezTo>
                    <a:pt x="237" y="225"/>
                    <a:pt x="225" y="225"/>
                    <a:pt x="216" y="224"/>
                  </a:cubicBezTo>
                  <a:cubicBezTo>
                    <a:pt x="207" y="224"/>
                    <a:pt x="192" y="227"/>
                    <a:pt x="193" y="230"/>
                  </a:cubicBezTo>
                  <a:cubicBezTo>
                    <a:pt x="193" y="233"/>
                    <a:pt x="194" y="233"/>
                    <a:pt x="204" y="237"/>
                  </a:cubicBezTo>
                  <a:cubicBezTo>
                    <a:pt x="213" y="241"/>
                    <a:pt x="222" y="235"/>
                    <a:pt x="222" y="241"/>
                  </a:cubicBezTo>
                  <a:cubicBezTo>
                    <a:pt x="222" y="247"/>
                    <a:pt x="227" y="249"/>
                    <a:pt x="240" y="249"/>
                  </a:cubicBezTo>
                  <a:cubicBezTo>
                    <a:pt x="252" y="249"/>
                    <a:pt x="258" y="243"/>
                    <a:pt x="264" y="244"/>
                  </a:cubicBezTo>
                  <a:cubicBezTo>
                    <a:pt x="270" y="244"/>
                    <a:pt x="273" y="243"/>
                    <a:pt x="276" y="239"/>
                  </a:cubicBezTo>
                  <a:cubicBezTo>
                    <a:pt x="278" y="234"/>
                    <a:pt x="281" y="237"/>
                    <a:pt x="282" y="239"/>
                  </a:cubicBezTo>
                  <a:cubicBezTo>
                    <a:pt x="282" y="241"/>
                    <a:pt x="290" y="241"/>
                    <a:pt x="292" y="243"/>
                  </a:cubicBezTo>
                  <a:cubicBezTo>
                    <a:pt x="297" y="247"/>
                    <a:pt x="312" y="246"/>
                    <a:pt x="317" y="243"/>
                  </a:cubicBezTo>
                  <a:cubicBezTo>
                    <a:pt x="323" y="240"/>
                    <a:pt x="315" y="232"/>
                    <a:pt x="312" y="236"/>
                  </a:cubicBezTo>
                  <a:cubicBezTo>
                    <a:pt x="309" y="239"/>
                    <a:pt x="307" y="237"/>
                    <a:pt x="306" y="235"/>
                  </a:cubicBezTo>
                  <a:cubicBezTo>
                    <a:pt x="305" y="234"/>
                    <a:pt x="312" y="233"/>
                    <a:pt x="314" y="230"/>
                  </a:cubicBezTo>
                  <a:close/>
                  <a:moveTo>
                    <a:pt x="178" y="142"/>
                  </a:moveTo>
                  <a:cubicBezTo>
                    <a:pt x="185" y="143"/>
                    <a:pt x="191" y="137"/>
                    <a:pt x="191" y="134"/>
                  </a:cubicBezTo>
                  <a:cubicBezTo>
                    <a:pt x="190" y="131"/>
                    <a:pt x="175" y="142"/>
                    <a:pt x="178" y="142"/>
                  </a:cubicBezTo>
                  <a:close/>
                  <a:moveTo>
                    <a:pt x="149" y="132"/>
                  </a:moveTo>
                  <a:cubicBezTo>
                    <a:pt x="151" y="133"/>
                    <a:pt x="149" y="138"/>
                    <a:pt x="152" y="137"/>
                  </a:cubicBezTo>
                  <a:cubicBezTo>
                    <a:pt x="154" y="136"/>
                    <a:pt x="155" y="135"/>
                    <a:pt x="157" y="136"/>
                  </a:cubicBezTo>
                  <a:cubicBezTo>
                    <a:pt x="161" y="137"/>
                    <a:pt x="162" y="134"/>
                    <a:pt x="164" y="132"/>
                  </a:cubicBezTo>
                  <a:cubicBezTo>
                    <a:pt x="165" y="130"/>
                    <a:pt x="165" y="138"/>
                    <a:pt x="169" y="138"/>
                  </a:cubicBezTo>
                  <a:cubicBezTo>
                    <a:pt x="173" y="138"/>
                    <a:pt x="173" y="130"/>
                    <a:pt x="176" y="132"/>
                  </a:cubicBezTo>
                  <a:cubicBezTo>
                    <a:pt x="180" y="135"/>
                    <a:pt x="181" y="131"/>
                    <a:pt x="181" y="129"/>
                  </a:cubicBezTo>
                  <a:cubicBezTo>
                    <a:pt x="182" y="126"/>
                    <a:pt x="182" y="122"/>
                    <a:pt x="186" y="121"/>
                  </a:cubicBezTo>
                  <a:cubicBezTo>
                    <a:pt x="190" y="121"/>
                    <a:pt x="187" y="125"/>
                    <a:pt x="189" y="128"/>
                  </a:cubicBezTo>
                  <a:cubicBezTo>
                    <a:pt x="191" y="133"/>
                    <a:pt x="196" y="129"/>
                    <a:pt x="196" y="127"/>
                  </a:cubicBezTo>
                  <a:cubicBezTo>
                    <a:pt x="196" y="124"/>
                    <a:pt x="203" y="126"/>
                    <a:pt x="203" y="123"/>
                  </a:cubicBezTo>
                  <a:cubicBezTo>
                    <a:pt x="202" y="121"/>
                    <a:pt x="204" y="120"/>
                    <a:pt x="203" y="117"/>
                  </a:cubicBezTo>
                  <a:cubicBezTo>
                    <a:pt x="201" y="115"/>
                    <a:pt x="205" y="115"/>
                    <a:pt x="208" y="113"/>
                  </a:cubicBezTo>
                  <a:cubicBezTo>
                    <a:pt x="210" y="111"/>
                    <a:pt x="205" y="113"/>
                    <a:pt x="201" y="110"/>
                  </a:cubicBezTo>
                  <a:cubicBezTo>
                    <a:pt x="198" y="106"/>
                    <a:pt x="196" y="111"/>
                    <a:pt x="196" y="113"/>
                  </a:cubicBezTo>
                  <a:cubicBezTo>
                    <a:pt x="196" y="115"/>
                    <a:pt x="189" y="113"/>
                    <a:pt x="185" y="112"/>
                  </a:cubicBezTo>
                  <a:cubicBezTo>
                    <a:pt x="181" y="110"/>
                    <a:pt x="176" y="116"/>
                    <a:pt x="171" y="119"/>
                  </a:cubicBezTo>
                  <a:cubicBezTo>
                    <a:pt x="165" y="122"/>
                    <a:pt x="165" y="127"/>
                    <a:pt x="159" y="127"/>
                  </a:cubicBezTo>
                  <a:cubicBezTo>
                    <a:pt x="154" y="126"/>
                    <a:pt x="146" y="131"/>
                    <a:pt x="149" y="132"/>
                  </a:cubicBezTo>
                  <a:close/>
                  <a:moveTo>
                    <a:pt x="204" y="131"/>
                  </a:moveTo>
                  <a:cubicBezTo>
                    <a:pt x="199" y="131"/>
                    <a:pt x="200" y="136"/>
                    <a:pt x="205" y="136"/>
                  </a:cubicBezTo>
                  <a:cubicBezTo>
                    <a:pt x="211" y="136"/>
                    <a:pt x="213" y="138"/>
                    <a:pt x="205" y="137"/>
                  </a:cubicBezTo>
                  <a:cubicBezTo>
                    <a:pt x="196" y="137"/>
                    <a:pt x="193" y="144"/>
                    <a:pt x="199" y="143"/>
                  </a:cubicBezTo>
                  <a:cubicBezTo>
                    <a:pt x="204" y="141"/>
                    <a:pt x="211" y="141"/>
                    <a:pt x="207" y="143"/>
                  </a:cubicBezTo>
                  <a:cubicBezTo>
                    <a:pt x="203" y="144"/>
                    <a:pt x="191" y="145"/>
                    <a:pt x="193" y="147"/>
                  </a:cubicBezTo>
                  <a:cubicBezTo>
                    <a:pt x="194" y="149"/>
                    <a:pt x="198" y="148"/>
                    <a:pt x="203" y="150"/>
                  </a:cubicBezTo>
                  <a:cubicBezTo>
                    <a:pt x="208" y="152"/>
                    <a:pt x="210" y="153"/>
                    <a:pt x="214" y="149"/>
                  </a:cubicBezTo>
                  <a:cubicBezTo>
                    <a:pt x="218" y="145"/>
                    <a:pt x="222" y="141"/>
                    <a:pt x="220" y="147"/>
                  </a:cubicBezTo>
                  <a:cubicBezTo>
                    <a:pt x="219" y="152"/>
                    <a:pt x="226" y="148"/>
                    <a:pt x="236" y="148"/>
                  </a:cubicBezTo>
                  <a:cubicBezTo>
                    <a:pt x="245" y="147"/>
                    <a:pt x="234" y="153"/>
                    <a:pt x="224" y="154"/>
                  </a:cubicBezTo>
                  <a:cubicBezTo>
                    <a:pt x="214" y="155"/>
                    <a:pt x="216" y="160"/>
                    <a:pt x="224" y="162"/>
                  </a:cubicBezTo>
                  <a:cubicBezTo>
                    <a:pt x="231" y="163"/>
                    <a:pt x="248" y="157"/>
                    <a:pt x="252" y="153"/>
                  </a:cubicBezTo>
                  <a:cubicBezTo>
                    <a:pt x="256" y="149"/>
                    <a:pt x="260" y="155"/>
                    <a:pt x="264" y="152"/>
                  </a:cubicBezTo>
                  <a:cubicBezTo>
                    <a:pt x="267" y="149"/>
                    <a:pt x="275" y="152"/>
                    <a:pt x="282" y="151"/>
                  </a:cubicBezTo>
                  <a:cubicBezTo>
                    <a:pt x="288" y="149"/>
                    <a:pt x="290" y="137"/>
                    <a:pt x="285" y="134"/>
                  </a:cubicBezTo>
                  <a:cubicBezTo>
                    <a:pt x="280" y="132"/>
                    <a:pt x="280" y="137"/>
                    <a:pt x="276" y="138"/>
                  </a:cubicBezTo>
                  <a:cubicBezTo>
                    <a:pt x="272" y="138"/>
                    <a:pt x="270" y="133"/>
                    <a:pt x="266" y="130"/>
                  </a:cubicBezTo>
                  <a:cubicBezTo>
                    <a:pt x="263" y="127"/>
                    <a:pt x="265" y="121"/>
                    <a:pt x="261" y="122"/>
                  </a:cubicBezTo>
                  <a:cubicBezTo>
                    <a:pt x="256" y="122"/>
                    <a:pt x="246" y="130"/>
                    <a:pt x="252" y="131"/>
                  </a:cubicBezTo>
                  <a:cubicBezTo>
                    <a:pt x="258" y="131"/>
                    <a:pt x="256" y="134"/>
                    <a:pt x="253" y="136"/>
                  </a:cubicBezTo>
                  <a:cubicBezTo>
                    <a:pt x="250" y="137"/>
                    <a:pt x="260" y="140"/>
                    <a:pt x="259" y="142"/>
                  </a:cubicBezTo>
                  <a:cubicBezTo>
                    <a:pt x="257" y="144"/>
                    <a:pt x="241" y="142"/>
                    <a:pt x="240" y="139"/>
                  </a:cubicBezTo>
                  <a:cubicBezTo>
                    <a:pt x="240" y="135"/>
                    <a:pt x="227" y="129"/>
                    <a:pt x="221" y="130"/>
                  </a:cubicBezTo>
                  <a:cubicBezTo>
                    <a:pt x="216" y="132"/>
                    <a:pt x="218" y="126"/>
                    <a:pt x="213" y="126"/>
                  </a:cubicBezTo>
                  <a:cubicBezTo>
                    <a:pt x="208" y="125"/>
                    <a:pt x="209" y="130"/>
                    <a:pt x="204" y="131"/>
                  </a:cubicBezTo>
                  <a:close/>
                  <a:moveTo>
                    <a:pt x="223" y="105"/>
                  </a:moveTo>
                  <a:cubicBezTo>
                    <a:pt x="225" y="101"/>
                    <a:pt x="211" y="101"/>
                    <a:pt x="212" y="103"/>
                  </a:cubicBezTo>
                  <a:cubicBezTo>
                    <a:pt x="215" y="106"/>
                    <a:pt x="221" y="109"/>
                    <a:pt x="223" y="105"/>
                  </a:cubicBezTo>
                  <a:close/>
                  <a:moveTo>
                    <a:pt x="252" y="103"/>
                  </a:moveTo>
                  <a:cubicBezTo>
                    <a:pt x="257" y="102"/>
                    <a:pt x="255" y="99"/>
                    <a:pt x="247" y="100"/>
                  </a:cubicBezTo>
                  <a:cubicBezTo>
                    <a:pt x="240" y="101"/>
                    <a:pt x="227" y="101"/>
                    <a:pt x="227" y="106"/>
                  </a:cubicBezTo>
                  <a:cubicBezTo>
                    <a:pt x="227" y="111"/>
                    <a:pt x="230" y="113"/>
                    <a:pt x="238" y="113"/>
                  </a:cubicBezTo>
                  <a:cubicBezTo>
                    <a:pt x="246" y="114"/>
                    <a:pt x="253" y="106"/>
                    <a:pt x="249" y="106"/>
                  </a:cubicBezTo>
                  <a:cubicBezTo>
                    <a:pt x="245" y="106"/>
                    <a:pt x="248" y="104"/>
                    <a:pt x="252" y="103"/>
                  </a:cubicBezTo>
                  <a:close/>
                  <a:moveTo>
                    <a:pt x="235" y="96"/>
                  </a:moveTo>
                  <a:cubicBezTo>
                    <a:pt x="239" y="98"/>
                    <a:pt x="242" y="93"/>
                    <a:pt x="245" y="95"/>
                  </a:cubicBezTo>
                  <a:cubicBezTo>
                    <a:pt x="247" y="97"/>
                    <a:pt x="258" y="99"/>
                    <a:pt x="258" y="93"/>
                  </a:cubicBezTo>
                  <a:cubicBezTo>
                    <a:pt x="258" y="88"/>
                    <a:pt x="244" y="87"/>
                    <a:pt x="241" y="89"/>
                  </a:cubicBezTo>
                  <a:cubicBezTo>
                    <a:pt x="237" y="91"/>
                    <a:pt x="221" y="92"/>
                    <a:pt x="225" y="96"/>
                  </a:cubicBezTo>
                  <a:cubicBezTo>
                    <a:pt x="228" y="98"/>
                    <a:pt x="231" y="95"/>
                    <a:pt x="235" y="96"/>
                  </a:cubicBezTo>
                  <a:close/>
                  <a:moveTo>
                    <a:pt x="295" y="85"/>
                  </a:moveTo>
                  <a:cubicBezTo>
                    <a:pt x="299" y="82"/>
                    <a:pt x="307" y="87"/>
                    <a:pt x="305" y="90"/>
                  </a:cubicBezTo>
                  <a:cubicBezTo>
                    <a:pt x="304" y="93"/>
                    <a:pt x="291" y="90"/>
                    <a:pt x="292" y="92"/>
                  </a:cubicBezTo>
                  <a:cubicBezTo>
                    <a:pt x="293" y="93"/>
                    <a:pt x="294" y="98"/>
                    <a:pt x="303" y="95"/>
                  </a:cubicBezTo>
                  <a:cubicBezTo>
                    <a:pt x="311" y="93"/>
                    <a:pt x="318" y="95"/>
                    <a:pt x="324" y="99"/>
                  </a:cubicBezTo>
                  <a:cubicBezTo>
                    <a:pt x="330" y="104"/>
                    <a:pt x="335" y="106"/>
                    <a:pt x="339" y="101"/>
                  </a:cubicBezTo>
                  <a:cubicBezTo>
                    <a:pt x="343" y="96"/>
                    <a:pt x="334" y="96"/>
                    <a:pt x="336" y="92"/>
                  </a:cubicBezTo>
                  <a:cubicBezTo>
                    <a:pt x="338" y="88"/>
                    <a:pt x="330" y="86"/>
                    <a:pt x="326" y="86"/>
                  </a:cubicBezTo>
                  <a:cubicBezTo>
                    <a:pt x="322" y="86"/>
                    <a:pt x="321" y="79"/>
                    <a:pt x="318" y="81"/>
                  </a:cubicBezTo>
                  <a:cubicBezTo>
                    <a:pt x="315" y="82"/>
                    <a:pt x="312" y="85"/>
                    <a:pt x="312" y="80"/>
                  </a:cubicBezTo>
                  <a:cubicBezTo>
                    <a:pt x="312" y="75"/>
                    <a:pt x="294" y="75"/>
                    <a:pt x="289" y="77"/>
                  </a:cubicBezTo>
                  <a:cubicBezTo>
                    <a:pt x="285" y="78"/>
                    <a:pt x="290" y="88"/>
                    <a:pt x="295" y="85"/>
                  </a:cubicBezTo>
                  <a:close/>
                  <a:moveTo>
                    <a:pt x="297" y="115"/>
                  </a:moveTo>
                  <a:cubicBezTo>
                    <a:pt x="300" y="112"/>
                    <a:pt x="286" y="100"/>
                    <a:pt x="285" y="106"/>
                  </a:cubicBezTo>
                  <a:cubicBezTo>
                    <a:pt x="284" y="111"/>
                    <a:pt x="294" y="119"/>
                    <a:pt x="297" y="115"/>
                  </a:cubicBezTo>
                  <a:close/>
                  <a:moveTo>
                    <a:pt x="343" y="68"/>
                  </a:moveTo>
                  <a:cubicBezTo>
                    <a:pt x="346" y="64"/>
                    <a:pt x="328" y="61"/>
                    <a:pt x="333" y="65"/>
                  </a:cubicBezTo>
                  <a:cubicBezTo>
                    <a:pt x="335" y="67"/>
                    <a:pt x="341" y="73"/>
                    <a:pt x="343" y="68"/>
                  </a:cubicBezTo>
                  <a:close/>
                  <a:moveTo>
                    <a:pt x="303" y="149"/>
                  </a:moveTo>
                  <a:cubicBezTo>
                    <a:pt x="306" y="147"/>
                    <a:pt x="298" y="141"/>
                    <a:pt x="296" y="146"/>
                  </a:cubicBezTo>
                  <a:cubicBezTo>
                    <a:pt x="293" y="151"/>
                    <a:pt x="301" y="152"/>
                    <a:pt x="303" y="149"/>
                  </a:cubicBezTo>
                  <a:close/>
                  <a:moveTo>
                    <a:pt x="343" y="124"/>
                  </a:moveTo>
                  <a:cubicBezTo>
                    <a:pt x="343" y="128"/>
                    <a:pt x="335" y="124"/>
                    <a:pt x="328" y="121"/>
                  </a:cubicBezTo>
                  <a:cubicBezTo>
                    <a:pt x="322" y="119"/>
                    <a:pt x="326" y="126"/>
                    <a:pt x="331" y="131"/>
                  </a:cubicBezTo>
                  <a:cubicBezTo>
                    <a:pt x="336" y="135"/>
                    <a:pt x="328" y="133"/>
                    <a:pt x="322" y="128"/>
                  </a:cubicBezTo>
                  <a:cubicBezTo>
                    <a:pt x="315" y="123"/>
                    <a:pt x="316" y="131"/>
                    <a:pt x="319" y="134"/>
                  </a:cubicBezTo>
                  <a:cubicBezTo>
                    <a:pt x="322" y="136"/>
                    <a:pt x="318" y="140"/>
                    <a:pt x="314" y="134"/>
                  </a:cubicBezTo>
                  <a:cubicBezTo>
                    <a:pt x="310" y="128"/>
                    <a:pt x="307" y="122"/>
                    <a:pt x="301" y="122"/>
                  </a:cubicBezTo>
                  <a:cubicBezTo>
                    <a:pt x="294" y="122"/>
                    <a:pt x="297" y="129"/>
                    <a:pt x="300" y="132"/>
                  </a:cubicBezTo>
                  <a:cubicBezTo>
                    <a:pt x="303" y="137"/>
                    <a:pt x="307" y="138"/>
                    <a:pt x="312" y="141"/>
                  </a:cubicBezTo>
                  <a:cubicBezTo>
                    <a:pt x="318" y="144"/>
                    <a:pt x="327" y="139"/>
                    <a:pt x="332" y="141"/>
                  </a:cubicBezTo>
                  <a:cubicBezTo>
                    <a:pt x="336" y="142"/>
                    <a:pt x="327" y="147"/>
                    <a:pt x="330" y="151"/>
                  </a:cubicBezTo>
                  <a:cubicBezTo>
                    <a:pt x="333" y="154"/>
                    <a:pt x="341" y="152"/>
                    <a:pt x="347" y="151"/>
                  </a:cubicBezTo>
                  <a:cubicBezTo>
                    <a:pt x="353" y="151"/>
                    <a:pt x="350" y="147"/>
                    <a:pt x="353" y="145"/>
                  </a:cubicBezTo>
                  <a:cubicBezTo>
                    <a:pt x="357" y="142"/>
                    <a:pt x="350" y="143"/>
                    <a:pt x="353" y="137"/>
                  </a:cubicBezTo>
                  <a:cubicBezTo>
                    <a:pt x="356" y="131"/>
                    <a:pt x="344" y="121"/>
                    <a:pt x="343" y="124"/>
                  </a:cubicBezTo>
                  <a:close/>
                  <a:moveTo>
                    <a:pt x="358" y="103"/>
                  </a:moveTo>
                  <a:cubicBezTo>
                    <a:pt x="364" y="103"/>
                    <a:pt x="368" y="103"/>
                    <a:pt x="373" y="101"/>
                  </a:cubicBezTo>
                  <a:cubicBezTo>
                    <a:pt x="377" y="99"/>
                    <a:pt x="370" y="99"/>
                    <a:pt x="373" y="95"/>
                  </a:cubicBezTo>
                  <a:cubicBezTo>
                    <a:pt x="377" y="91"/>
                    <a:pt x="366" y="90"/>
                    <a:pt x="365" y="92"/>
                  </a:cubicBezTo>
                  <a:cubicBezTo>
                    <a:pt x="364" y="93"/>
                    <a:pt x="350" y="83"/>
                    <a:pt x="348" y="86"/>
                  </a:cubicBezTo>
                  <a:cubicBezTo>
                    <a:pt x="346" y="90"/>
                    <a:pt x="353" y="103"/>
                    <a:pt x="358" y="103"/>
                  </a:cubicBezTo>
                  <a:close/>
                  <a:moveTo>
                    <a:pt x="387" y="105"/>
                  </a:moveTo>
                  <a:cubicBezTo>
                    <a:pt x="387" y="103"/>
                    <a:pt x="360" y="106"/>
                    <a:pt x="364" y="110"/>
                  </a:cubicBezTo>
                  <a:cubicBezTo>
                    <a:pt x="371" y="115"/>
                    <a:pt x="388" y="107"/>
                    <a:pt x="387" y="105"/>
                  </a:cubicBezTo>
                  <a:close/>
                  <a:moveTo>
                    <a:pt x="383" y="157"/>
                  </a:moveTo>
                  <a:cubicBezTo>
                    <a:pt x="390" y="157"/>
                    <a:pt x="387" y="149"/>
                    <a:pt x="379" y="144"/>
                  </a:cubicBezTo>
                  <a:cubicBezTo>
                    <a:pt x="372" y="138"/>
                    <a:pt x="356" y="149"/>
                    <a:pt x="359" y="152"/>
                  </a:cubicBezTo>
                  <a:cubicBezTo>
                    <a:pt x="362" y="154"/>
                    <a:pt x="377" y="158"/>
                    <a:pt x="383" y="157"/>
                  </a:cubicBezTo>
                  <a:close/>
                  <a:moveTo>
                    <a:pt x="338" y="207"/>
                  </a:moveTo>
                  <a:cubicBezTo>
                    <a:pt x="346" y="213"/>
                    <a:pt x="343" y="203"/>
                    <a:pt x="352" y="203"/>
                  </a:cubicBezTo>
                  <a:cubicBezTo>
                    <a:pt x="361" y="204"/>
                    <a:pt x="361" y="189"/>
                    <a:pt x="363" y="184"/>
                  </a:cubicBezTo>
                  <a:cubicBezTo>
                    <a:pt x="364" y="178"/>
                    <a:pt x="356" y="179"/>
                    <a:pt x="358" y="183"/>
                  </a:cubicBezTo>
                  <a:cubicBezTo>
                    <a:pt x="360" y="187"/>
                    <a:pt x="357" y="190"/>
                    <a:pt x="357" y="186"/>
                  </a:cubicBezTo>
                  <a:cubicBezTo>
                    <a:pt x="356" y="181"/>
                    <a:pt x="349" y="185"/>
                    <a:pt x="347" y="182"/>
                  </a:cubicBezTo>
                  <a:cubicBezTo>
                    <a:pt x="344" y="178"/>
                    <a:pt x="354" y="178"/>
                    <a:pt x="357" y="173"/>
                  </a:cubicBezTo>
                  <a:cubicBezTo>
                    <a:pt x="359" y="169"/>
                    <a:pt x="349" y="169"/>
                    <a:pt x="351" y="166"/>
                  </a:cubicBezTo>
                  <a:cubicBezTo>
                    <a:pt x="354" y="162"/>
                    <a:pt x="336" y="166"/>
                    <a:pt x="341" y="168"/>
                  </a:cubicBezTo>
                  <a:cubicBezTo>
                    <a:pt x="346" y="171"/>
                    <a:pt x="341" y="173"/>
                    <a:pt x="336" y="170"/>
                  </a:cubicBezTo>
                  <a:cubicBezTo>
                    <a:pt x="331" y="166"/>
                    <a:pt x="317" y="172"/>
                    <a:pt x="322" y="176"/>
                  </a:cubicBezTo>
                  <a:cubicBezTo>
                    <a:pt x="326" y="179"/>
                    <a:pt x="338" y="174"/>
                    <a:pt x="331" y="183"/>
                  </a:cubicBezTo>
                  <a:cubicBezTo>
                    <a:pt x="325" y="193"/>
                    <a:pt x="322" y="181"/>
                    <a:pt x="315" y="182"/>
                  </a:cubicBezTo>
                  <a:cubicBezTo>
                    <a:pt x="309" y="183"/>
                    <a:pt x="312" y="191"/>
                    <a:pt x="321" y="194"/>
                  </a:cubicBezTo>
                  <a:cubicBezTo>
                    <a:pt x="331" y="197"/>
                    <a:pt x="330" y="202"/>
                    <a:pt x="338" y="207"/>
                  </a:cubicBezTo>
                  <a:close/>
                  <a:moveTo>
                    <a:pt x="396" y="150"/>
                  </a:moveTo>
                  <a:cubicBezTo>
                    <a:pt x="398" y="157"/>
                    <a:pt x="401" y="152"/>
                    <a:pt x="405" y="155"/>
                  </a:cubicBezTo>
                  <a:cubicBezTo>
                    <a:pt x="409" y="158"/>
                    <a:pt x="415" y="160"/>
                    <a:pt x="418" y="157"/>
                  </a:cubicBezTo>
                  <a:cubicBezTo>
                    <a:pt x="422" y="154"/>
                    <a:pt x="423" y="152"/>
                    <a:pt x="424" y="154"/>
                  </a:cubicBezTo>
                  <a:cubicBezTo>
                    <a:pt x="426" y="159"/>
                    <a:pt x="434" y="159"/>
                    <a:pt x="451" y="159"/>
                  </a:cubicBezTo>
                  <a:cubicBezTo>
                    <a:pt x="468" y="160"/>
                    <a:pt x="464" y="152"/>
                    <a:pt x="469" y="155"/>
                  </a:cubicBezTo>
                  <a:cubicBezTo>
                    <a:pt x="474" y="158"/>
                    <a:pt x="485" y="158"/>
                    <a:pt x="490" y="157"/>
                  </a:cubicBezTo>
                  <a:cubicBezTo>
                    <a:pt x="495" y="156"/>
                    <a:pt x="498" y="148"/>
                    <a:pt x="497" y="144"/>
                  </a:cubicBezTo>
                  <a:cubicBezTo>
                    <a:pt x="497" y="140"/>
                    <a:pt x="459" y="137"/>
                    <a:pt x="452" y="141"/>
                  </a:cubicBezTo>
                  <a:cubicBezTo>
                    <a:pt x="445" y="145"/>
                    <a:pt x="434" y="139"/>
                    <a:pt x="429" y="142"/>
                  </a:cubicBezTo>
                  <a:cubicBezTo>
                    <a:pt x="424" y="145"/>
                    <a:pt x="425" y="138"/>
                    <a:pt x="416" y="138"/>
                  </a:cubicBezTo>
                  <a:cubicBezTo>
                    <a:pt x="406" y="138"/>
                    <a:pt x="417" y="133"/>
                    <a:pt x="418" y="131"/>
                  </a:cubicBezTo>
                  <a:cubicBezTo>
                    <a:pt x="420" y="128"/>
                    <a:pt x="404" y="123"/>
                    <a:pt x="397" y="124"/>
                  </a:cubicBezTo>
                  <a:cubicBezTo>
                    <a:pt x="390" y="126"/>
                    <a:pt x="386" y="122"/>
                    <a:pt x="380" y="119"/>
                  </a:cubicBezTo>
                  <a:cubicBezTo>
                    <a:pt x="373" y="116"/>
                    <a:pt x="356" y="117"/>
                    <a:pt x="359" y="122"/>
                  </a:cubicBezTo>
                  <a:cubicBezTo>
                    <a:pt x="362" y="126"/>
                    <a:pt x="383" y="133"/>
                    <a:pt x="385" y="129"/>
                  </a:cubicBezTo>
                  <a:cubicBezTo>
                    <a:pt x="387" y="126"/>
                    <a:pt x="392" y="134"/>
                    <a:pt x="395" y="138"/>
                  </a:cubicBezTo>
                  <a:cubicBezTo>
                    <a:pt x="399" y="142"/>
                    <a:pt x="393" y="143"/>
                    <a:pt x="396" y="150"/>
                  </a:cubicBezTo>
                  <a:close/>
                  <a:moveTo>
                    <a:pt x="414" y="108"/>
                  </a:moveTo>
                  <a:cubicBezTo>
                    <a:pt x="408" y="105"/>
                    <a:pt x="400" y="112"/>
                    <a:pt x="406" y="114"/>
                  </a:cubicBezTo>
                  <a:cubicBezTo>
                    <a:pt x="412" y="116"/>
                    <a:pt x="420" y="111"/>
                    <a:pt x="414" y="108"/>
                  </a:cubicBezTo>
                  <a:close/>
                  <a:moveTo>
                    <a:pt x="363" y="68"/>
                  </a:moveTo>
                  <a:cubicBezTo>
                    <a:pt x="368" y="71"/>
                    <a:pt x="365" y="74"/>
                    <a:pt x="371" y="77"/>
                  </a:cubicBezTo>
                  <a:cubicBezTo>
                    <a:pt x="376" y="79"/>
                    <a:pt x="393" y="73"/>
                    <a:pt x="394" y="77"/>
                  </a:cubicBezTo>
                  <a:cubicBezTo>
                    <a:pt x="395" y="81"/>
                    <a:pt x="377" y="82"/>
                    <a:pt x="380" y="84"/>
                  </a:cubicBezTo>
                  <a:cubicBezTo>
                    <a:pt x="382" y="87"/>
                    <a:pt x="393" y="91"/>
                    <a:pt x="391" y="93"/>
                  </a:cubicBezTo>
                  <a:cubicBezTo>
                    <a:pt x="390" y="95"/>
                    <a:pt x="408" y="101"/>
                    <a:pt x="410" y="98"/>
                  </a:cubicBezTo>
                  <a:cubicBezTo>
                    <a:pt x="412" y="95"/>
                    <a:pt x="417" y="96"/>
                    <a:pt x="422" y="98"/>
                  </a:cubicBezTo>
                  <a:cubicBezTo>
                    <a:pt x="426" y="100"/>
                    <a:pt x="427" y="87"/>
                    <a:pt x="430" y="89"/>
                  </a:cubicBezTo>
                  <a:cubicBezTo>
                    <a:pt x="433" y="91"/>
                    <a:pt x="433" y="84"/>
                    <a:pt x="438" y="82"/>
                  </a:cubicBezTo>
                  <a:cubicBezTo>
                    <a:pt x="443" y="80"/>
                    <a:pt x="451" y="80"/>
                    <a:pt x="451" y="77"/>
                  </a:cubicBezTo>
                  <a:cubicBezTo>
                    <a:pt x="452" y="76"/>
                    <a:pt x="450" y="73"/>
                    <a:pt x="444" y="74"/>
                  </a:cubicBezTo>
                  <a:cubicBezTo>
                    <a:pt x="437" y="75"/>
                    <a:pt x="433" y="72"/>
                    <a:pt x="436" y="68"/>
                  </a:cubicBezTo>
                  <a:cubicBezTo>
                    <a:pt x="439" y="65"/>
                    <a:pt x="429" y="64"/>
                    <a:pt x="432" y="61"/>
                  </a:cubicBezTo>
                  <a:cubicBezTo>
                    <a:pt x="436" y="58"/>
                    <a:pt x="425" y="55"/>
                    <a:pt x="427" y="60"/>
                  </a:cubicBezTo>
                  <a:cubicBezTo>
                    <a:pt x="428" y="64"/>
                    <a:pt x="420" y="60"/>
                    <a:pt x="419" y="56"/>
                  </a:cubicBezTo>
                  <a:cubicBezTo>
                    <a:pt x="418" y="52"/>
                    <a:pt x="403" y="51"/>
                    <a:pt x="394" y="42"/>
                  </a:cubicBezTo>
                  <a:cubicBezTo>
                    <a:pt x="384" y="34"/>
                    <a:pt x="374" y="39"/>
                    <a:pt x="380" y="40"/>
                  </a:cubicBezTo>
                  <a:cubicBezTo>
                    <a:pt x="386" y="41"/>
                    <a:pt x="385" y="44"/>
                    <a:pt x="381" y="44"/>
                  </a:cubicBezTo>
                  <a:cubicBezTo>
                    <a:pt x="376" y="44"/>
                    <a:pt x="368" y="44"/>
                    <a:pt x="375" y="47"/>
                  </a:cubicBezTo>
                  <a:cubicBezTo>
                    <a:pt x="383" y="50"/>
                    <a:pt x="374" y="51"/>
                    <a:pt x="368" y="51"/>
                  </a:cubicBezTo>
                  <a:cubicBezTo>
                    <a:pt x="362" y="51"/>
                    <a:pt x="362" y="59"/>
                    <a:pt x="370" y="60"/>
                  </a:cubicBezTo>
                  <a:cubicBezTo>
                    <a:pt x="378" y="61"/>
                    <a:pt x="372" y="66"/>
                    <a:pt x="366" y="64"/>
                  </a:cubicBezTo>
                  <a:cubicBezTo>
                    <a:pt x="359" y="62"/>
                    <a:pt x="357" y="65"/>
                    <a:pt x="363" y="68"/>
                  </a:cubicBezTo>
                  <a:close/>
                  <a:moveTo>
                    <a:pt x="406" y="33"/>
                  </a:moveTo>
                  <a:cubicBezTo>
                    <a:pt x="411" y="30"/>
                    <a:pt x="415" y="32"/>
                    <a:pt x="410" y="34"/>
                  </a:cubicBezTo>
                  <a:cubicBezTo>
                    <a:pt x="406" y="36"/>
                    <a:pt x="408" y="37"/>
                    <a:pt x="414" y="37"/>
                  </a:cubicBezTo>
                  <a:cubicBezTo>
                    <a:pt x="420" y="37"/>
                    <a:pt x="411" y="39"/>
                    <a:pt x="411" y="42"/>
                  </a:cubicBezTo>
                  <a:cubicBezTo>
                    <a:pt x="411" y="46"/>
                    <a:pt x="418" y="44"/>
                    <a:pt x="419" y="47"/>
                  </a:cubicBezTo>
                  <a:cubicBezTo>
                    <a:pt x="419" y="51"/>
                    <a:pt x="434" y="52"/>
                    <a:pt x="439" y="48"/>
                  </a:cubicBezTo>
                  <a:cubicBezTo>
                    <a:pt x="444" y="44"/>
                    <a:pt x="442" y="49"/>
                    <a:pt x="442" y="52"/>
                  </a:cubicBezTo>
                  <a:cubicBezTo>
                    <a:pt x="441" y="55"/>
                    <a:pt x="463" y="57"/>
                    <a:pt x="464" y="54"/>
                  </a:cubicBezTo>
                  <a:cubicBezTo>
                    <a:pt x="465" y="50"/>
                    <a:pt x="469" y="52"/>
                    <a:pt x="473" y="53"/>
                  </a:cubicBezTo>
                  <a:cubicBezTo>
                    <a:pt x="477" y="54"/>
                    <a:pt x="498" y="49"/>
                    <a:pt x="499" y="45"/>
                  </a:cubicBezTo>
                  <a:cubicBezTo>
                    <a:pt x="499" y="40"/>
                    <a:pt x="505" y="47"/>
                    <a:pt x="499" y="51"/>
                  </a:cubicBezTo>
                  <a:cubicBezTo>
                    <a:pt x="492" y="56"/>
                    <a:pt x="478" y="55"/>
                    <a:pt x="472" y="57"/>
                  </a:cubicBezTo>
                  <a:cubicBezTo>
                    <a:pt x="466" y="59"/>
                    <a:pt x="476" y="63"/>
                    <a:pt x="482" y="68"/>
                  </a:cubicBezTo>
                  <a:cubicBezTo>
                    <a:pt x="488" y="72"/>
                    <a:pt x="474" y="70"/>
                    <a:pt x="469" y="64"/>
                  </a:cubicBezTo>
                  <a:cubicBezTo>
                    <a:pt x="463" y="58"/>
                    <a:pt x="450" y="58"/>
                    <a:pt x="443" y="58"/>
                  </a:cubicBezTo>
                  <a:cubicBezTo>
                    <a:pt x="437" y="59"/>
                    <a:pt x="439" y="71"/>
                    <a:pt x="444" y="71"/>
                  </a:cubicBezTo>
                  <a:cubicBezTo>
                    <a:pt x="449" y="71"/>
                    <a:pt x="454" y="73"/>
                    <a:pt x="459" y="81"/>
                  </a:cubicBezTo>
                  <a:cubicBezTo>
                    <a:pt x="464" y="88"/>
                    <a:pt x="474" y="87"/>
                    <a:pt x="474" y="90"/>
                  </a:cubicBezTo>
                  <a:cubicBezTo>
                    <a:pt x="474" y="94"/>
                    <a:pt x="460" y="87"/>
                    <a:pt x="453" y="86"/>
                  </a:cubicBezTo>
                  <a:cubicBezTo>
                    <a:pt x="445" y="85"/>
                    <a:pt x="432" y="90"/>
                    <a:pt x="432" y="95"/>
                  </a:cubicBezTo>
                  <a:cubicBezTo>
                    <a:pt x="432" y="101"/>
                    <a:pt x="443" y="100"/>
                    <a:pt x="451" y="96"/>
                  </a:cubicBezTo>
                  <a:cubicBezTo>
                    <a:pt x="459" y="91"/>
                    <a:pt x="453" y="97"/>
                    <a:pt x="449" y="101"/>
                  </a:cubicBezTo>
                  <a:cubicBezTo>
                    <a:pt x="445" y="104"/>
                    <a:pt x="459" y="107"/>
                    <a:pt x="459" y="111"/>
                  </a:cubicBezTo>
                  <a:cubicBezTo>
                    <a:pt x="459" y="116"/>
                    <a:pt x="449" y="114"/>
                    <a:pt x="448" y="110"/>
                  </a:cubicBezTo>
                  <a:cubicBezTo>
                    <a:pt x="447" y="106"/>
                    <a:pt x="443" y="102"/>
                    <a:pt x="434" y="103"/>
                  </a:cubicBezTo>
                  <a:cubicBezTo>
                    <a:pt x="425" y="104"/>
                    <a:pt x="427" y="110"/>
                    <a:pt x="433" y="111"/>
                  </a:cubicBezTo>
                  <a:cubicBezTo>
                    <a:pt x="439" y="112"/>
                    <a:pt x="439" y="116"/>
                    <a:pt x="433" y="116"/>
                  </a:cubicBezTo>
                  <a:cubicBezTo>
                    <a:pt x="426" y="116"/>
                    <a:pt x="412" y="120"/>
                    <a:pt x="416" y="124"/>
                  </a:cubicBezTo>
                  <a:cubicBezTo>
                    <a:pt x="421" y="129"/>
                    <a:pt x="439" y="124"/>
                    <a:pt x="443" y="127"/>
                  </a:cubicBezTo>
                  <a:cubicBezTo>
                    <a:pt x="446" y="130"/>
                    <a:pt x="455" y="131"/>
                    <a:pt x="457" y="128"/>
                  </a:cubicBezTo>
                  <a:cubicBezTo>
                    <a:pt x="459" y="124"/>
                    <a:pt x="466" y="126"/>
                    <a:pt x="473" y="126"/>
                  </a:cubicBezTo>
                  <a:cubicBezTo>
                    <a:pt x="480" y="126"/>
                    <a:pt x="482" y="127"/>
                    <a:pt x="485" y="130"/>
                  </a:cubicBezTo>
                  <a:cubicBezTo>
                    <a:pt x="489" y="133"/>
                    <a:pt x="494" y="132"/>
                    <a:pt x="498" y="129"/>
                  </a:cubicBezTo>
                  <a:cubicBezTo>
                    <a:pt x="502" y="126"/>
                    <a:pt x="502" y="126"/>
                    <a:pt x="507" y="126"/>
                  </a:cubicBezTo>
                  <a:cubicBezTo>
                    <a:pt x="512" y="126"/>
                    <a:pt x="513" y="123"/>
                    <a:pt x="511" y="119"/>
                  </a:cubicBezTo>
                  <a:cubicBezTo>
                    <a:pt x="508" y="115"/>
                    <a:pt x="502" y="122"/>
                    <a:pt x="501" y="119"/>
                  </a:cubicBezTo>
                  <a:cubicBezTo>
                    <a:pt x="500" y="115"/>
                    <a:pt x="494" y="114"/>
                    <a:pt x="484" y="116"/>
                  </a:cubicBezTo>
                  <a:cubicBezTo>
                    <a:pt x="474" y="117"/>
                    <a:pt x="479" y="109"/>
                    <a:pt x="485" y="111"/>
                  </a:cubicBezTo>
                  <a:cubicBezTo>
                    <a:pt x="491" y="113"/>
                    <a:pt x="499" y="112"/>
                    <a:pt x="506" y="110"/>
                  </a:cubicBezTo>
                  <a:cubicBezTo>
                    <a:pt x="512" y="108"/>
                    <a:pt x="507" y="105"/>
                    <a:pt x="507" y="102"/>
                  </a:cubicBezTo>
                  <a:cubicBezTo>
                    <a:pt x="507" y="100"/>
                    <a:pt x="516" y="101"/>
                    <a:pt x="522" y="101"/>
                  </a:cubicBezTo>
                  <a:cubicBezTo>
                    <a:pt x="529" y="101"/>
                    <a:pt x="538" y="91"/>
                    <a:pt x="538" y="85"/>
                  </a:cubicBezTo>
                  <a:cubicBezTo>
                    <a:pt x="539" y="79"/>
                    <a:pt x="524" y="80"/>
                    <a:pt x="517" y="80"/>
                  </a:cubicBezTo>
                  <a:cubicBezTo>
                    <a:pt x="510" y="80"/>
                    <a:pt x="521" y="75"/>
                    <a:pt x="535" y="76"/>
                  </a:cubicBezTo>
                  <a:cubicBezTo>
                    <a:pt x="549" y="76"/>
                    <a:pt x="542" y="70"/>
                    <a:pt x="545" y="68"/>
                  </a:cubicBezTo>
                  <a:cubicBezTo>
                    <a:pt x="547" y="66"/>
                    <a:pt x="554" y="71"/>
                    <a:pt x="561" y="69"/>
                  </a:cubicBezTo>
                  <a:cubicBezTo>
                    <a:pt x="567" y="68"/>
                    <a:pt x="563" y="62"/>
                    <a:pt x="567" y="62"/>
                  </a:cubicBezTo>
                  <a:cubicBezTo>
                    <a:pt x="571" y="62"/>
                    <a:pt x="578" y="57"/>
                    <a:pt x="593" y="49"/>
                  </a:cubicBezTo>
                  <a:cubicBezTo>
                    <a:pt x="607" y="41"/>
                    <a:pt x="619" y="42"/>
                    <a:pt x="619" y="37"/>
                  </a:cubicBezTo>
                  <a:cubicBezTo>
                    <a:pt x="620" y="33"/>
                    <a:pt x="599" y="37"/>
                    <a:pt x="596" y="36"/>
                  </a:cubicBezTo>
                  <a:cubicBezTo>
                    <a:pt x="592" y="35"/>
                    <a:pt x="610" y="31"/>
                    <a:pt x="615" y="32"/>
                  </a:cubicBezTo>
                  <a:cubicBezTo>
                    <a:pt x="619" y="33"/>
                    <a:pt x="624" y="32"/>
                    <a:pt x="639" y="25"/>
                  </a:cubicBezTo>
                  <a:cubicBezTo>
                    <a:pt x="654" y="17"/>
                    <a:pt x="647" y="16"/>
                    <a:pt x="641" y="17"/>
                  </a:cubicBezTo>
                  <a:cubicBezTo>
                    <a:pt x="635" y="18"/>
                    <a:pt x="628" y="16"/>
                    <a:pt x="629" y="12"/>
                  </a:cubicBezTo>
                  <a:cubicBezTo>
                    <a:pt x="629" y="8"/>
                    <a:pt x="620" y="11"/>
                    <a:pt x="619" y="9"/>
                  </a:cubicBezTo>
                  <a:cubicBezTo>
                    <a:pt x="619" y="7"/>
                    <a:pt x="611" y="8"/>
                    <a:pt x="601" y="12"/>
                  </a:cubicBezTo>
                  <a:cubicBezTo>
                    <a:pt x="592" y="15"/>
                    <a:pt x="601" y="8"/>
                    <a:pt x="605" y="7"/>
                  </a:cubicBezTo>
                  <a:cubicBezTo>
                    <a:pt x="608" y="5"/>
                    <a:pt x="581" y="7"/>
                    <a:pt x="576" y="4"/>
                  </a:cubicBezTo>
                  <a:cubicBezTo>
                    <a:pt x="572" y="0"/>
                    <a:pt x="566" y="9"/>
                    <a:pt x="562" y="5"/>
                  </a:cubicBezTo>
                  <a:cubicBezTo>
                    <a:pt x="558" y="0"/>
                    <a:pt x="547" y="4"/>
                    <a:pt x="548" y="7"/>
                  </a:cubicBezTo>
                  <a:cubicBezTo>
                    <a:pt x="550" y="10"/>
                    <a:pt x="546" y="10"/>
                    <a:pt x="542" y="7"/>
                  </a:cubicBezTo>
                  <a:cubicBezTo>
                    <a:pt x="538" y="3"/>
                    <a:pt x="530" y="7"/>
                    <a:pt x="522" y="6"/>
                  </a:cubicBezTo>
                  <a:cubicBezTo>
                    <a:pt x="515" y="5"/>
                    <a:pt x="518" y="12"/>
                    <a:pt x="510" y="9"/>
                  </a:cubicBezTo>
                  <a:cubicBezTo>
                    <a:pt x="501" y="5"/>
                    <a:pt x="493" y="7"/>
                    <a:pt x="495" y="8"/>
                  </a:cubicBezTo>
                  <a:cubicBezTo>
                    <a:pt x="498" y="9"/>
                    <a:pt x="494" y="11"/>
                    <a:pt x="491" y="10"/>
                  </a:cubicBezTo>
                  <a:cubicBezTo>
                    <a:pt x="487" y="9"/>
                    <a:pt x="484" y="10"/>
                    <a:pt x="486" y="14"/>
                  </a:cubicBezTo>
                  <a:cubicBezTo>
                    <a:pt x="488" y="17"/>
                    <a:pt x="473" y="13"/>
                    <a:pt x="473" y="17"/>
                  </a:cubicBezTo>
                  <a:cubicBezTo>
                    <a:pt x="473" y="21"/>
                    <a:pt x="467" y="23"/>
                    <a:pt x="463" y="19"/>
                  </a:cubicBezTo>
                  <a:cubicBezTo>
                    <a:pt x="459" y="16"/>
                    <a:pt x="445" y="15"/>
                    <a:pt x="449" y="18"/>
                  </a:cubicBezTo>
                  <a:cubicBezTo>
                    <a:pt x="453" y="21"/>
                    <a:pt x="437" y="19"/>
                    <a:pt x="441" y="22"/>
                  </a:cubicBezTo>
                  <a:cubicBezTo>
                    <a:pt x="445" y="26"/>
                    <a:pt x="436" y="28"/>
                    <a:pt x="436" y="26"/>
                  </a:cubicBezTo>
                  <a:cubicBezTo>
                    <a:pt x="436" y="25"/>
                    <a:pt x="427" y="21"/>
                    <a:pt x="423" y="25"/>
                  </a:cubicBezTo>
                  <a:cubicBezTo>
                    <a:pt x="420" y="28"/>
                    <a:pt x="419" y="32"/>
                    <a:pt x="417" y="30"/>
                  </a:cubicBezTo>
                  <a:cubicBezTo>
                    <a:pt x="415" y="27"/>
                    <a:pt x="407" y="28"/>
                    <a:pt x="400" y="31"/>
                  </a:cubicBezTo>
                  <a:cubicBezTo>
                    <a:pt x="392" y="34"/>
                    <a:pt x="401" y="36"/>
                    <a:pt x="406" y="33"/>
                  </a:cubicBezTo>
                  <a:close/>
                  <a:moveTo>
                    <a:pt x="496" y="341"/>
                  </a:moveTo>
                  <a:cubicBezTo>
                    <a:pt x="498" y="340"/>
                    <a:pt x="503" y="331"/>
                    <a:pt x="497" y="332"/>
                  </a:cubicBezTo>
                  <a:cubicBezTo>
                    <a:pt x="490" y="332"/>
                    <a:pt x="492" y="341"/>
                    <a:pt x="496" y="341"/>
                  </a:cubicBezTo>
                  <a:close/>
                  <a:moveTo>
                    <a:pt x="464" y="333"/>
                  </a:moveTo>
                  <a:cubicBezTo>
                    <a:pt x="470" y="336"/>
                    <a:pt x="479" y="327"/>
                    <a:pt x="478" y="324"/>
                  </a:cubicBezTo>
                  <a:cubicBezTo>
                    <a:pt x="477" y="321"/>
                    <a:pt x="457" y="329"/>
                    <a:pt x="464" y="333"/>
                  </a:cubicBezTo>
                  <a:close/>
                  <a:moveTo>
                    <a:pt x="490" y="313"/>
                  </a:moveTo>
                  <a:cubicBezTo>
                    <a:pt x="491" y="310"/>
                    <a:pt x="478" y="308"/>
                    <a:pt x="479" y="304"/>
                  </a:cubicBezTo>
                  <a:cubicBezTo>
                    <a:pt x="480" y="300"/>
                    <a:pt x="467" y="297"/>
                    <a:pt x="463" y="295"/>
                  </a:cubicBezTo>
                  <a:cubicBezTo>
                    <a:pt x="459" y="293"/>
                    <a:pt x="453" y="292"/>
                    <a:pt x="453" y="288"/>
                  </a:cubicBezTo>
                  <a:cubicBezTo>
                    <a:pt x="453" y="283"/>
                    <a:pt x="445" y="286"/>
                    <a:pt x="444" y="293"/>
                  </a:cubicBezTo>
                  <a:cubicBezTo>
                    <a:pt x="444" y="299"/>
                    <a:pt x="440" y="298"/>
                    <a:pt x="442" y="304"/>
                  </a:cubicBezTo>
                  <a:cubicBezTo>
                    <a:pt x="444" y="310"/>
                    <a:pt x="434" y="311"/>
                    <a:pt x="435" y="315"/>
                  </a:cubicBezTo>
                  <a:cubicBezTo>
                    <a:pt x="437" y="318"/>
                    <a:pt x="441" y="314"/>
                    <a:pt x="445" y="314"/>
                  </a:cubicBezTo>
                  <a:cubicBezTo>
                    <a:pt x="450" y="314"/>
                    <a:pt x="444" y="320"/>
                    <a:pt x="450" y="321"/>
                  </a:cubicBezTo>
                  <a:cubicBezTo>
                    <a:pt x="454" y="321"/>
                    <a:pt x="461" y="316"/>
                    <a:pt x="463" y="313"/>
                  </a:cubicBezTo>
                  <a:cubicBezTo>
                    <a:pt x="465" y="310"/>
                    <a:pt x="469" y="309"/>
                    <a:pt x="474" y="313"/>
                  </a:cubicBezTo>
                  <a:cubicBezTo>
                    <a:pt x="479" y="316"/>
                    <a:pt x="489" y="317"/>
                    <a:pt x="490" y="313"/>
                  </a:cubicBezTo>
                  <a:close/>
                  <a:moveTo>
                    <a:pt x="607" y="282"/>
                  </a:moveTo>
                  <a:cubicBezTo>
                    <a:pt x="611" y="282"/>
                    <a:pt x="612" y="288"/>
                    <a:pt x="618" y="293"/>
                  </a:cubicBezTo>
                  <a:cubicBezTo>
                    <a:pt x="625" y="299"/>
                    <a:pt x="626" y="295"/>
                    <a:pt x="627" y="291"/>
                  </a:cubicBezTo>
                  <a:cubicBezTo>
                    <a:pt x="628" y="287"/>
                    <a:pt x="636" y="290"/>
                    <a:pt x="635" y="286"/>
                  </a:cubicBezTo>
                  <a:cubicBezTo>
                    <a:pt x="635" y="283"/>
                    <a:pt x="641" y="278"/>
                    <a:pt x="646" y="276"/>
                  </a:cubicBezTo>
                  <a:cubicBezTo>
                    <a:pt x="650" y="274"/>
                    <a:pt x="642" y="270"/>
                    <a:pt x="636" y="270"/>
                  </a:cubicBezTo>
                  <a:cubicBezTo>
                    <a:pt x="631" y="271"/>
                    <a:pt x="629" y="267"/>
                    <a:pt x="629" y="264"/>
                  </a:cubicBezTo>
                  <a:cubicBezTo>
                    <a:pt x="629" y="262"/>
                    <a:pt x="619" y="256"/>
                    <a:pt x="615" y="257"/>
                  </a:cubicBezTo>
                  <a:cubicBezTo>
                    <a:pt x="612" y="258"/>
                    <a:pt x="606" y="252"/>
                    <a:pt x="601" y="252"/>
                  </a:cubicBezTo>
                  <a:cubicBezTo>
                    <a:pt x="596" y="251"/>
                    <a:pt x="590" y="248"/>
                    <a:pt x="590" y="243"/>
                  </a:cubicBezTo>
                  <a:cubicBezTo>
                    <a:pt x="591" y="238"/>
                    <a:pt x="600" y="244"/>
                    <a:pt x="601" y="240"/>
                  </a:cubicBezTo>
                  <a:cubicBezTo>
                    <a:pt x="603" y="237"/>
                    <a:pt x="592" y="239"/>
                    <a:pt x="592" y="236"/>
                  </a:cubicBezTo>
                  <a:cubicBezTo>
                    <a:pt x="592" y="233"/>
                    <a:pt x="595" y="234"/>
                    <a:pt x="597" y="232"/>
                  </a:cubicBezTo>
                  <a:cubicBezTo>
                    <a:pt x="599" y="230"/>
                    <a:pt x="595" y="227"/>
                    <a:pt x="592" y="225"/>
                  </a:cubicBezTo>
                  <a:cubicBezTo>
                    <a:pt x="590" y="224"/>
                    <a:pt x="589" y="228"/>
                    <a:pt x="587" y="228"/>
                  </a:cubicBezTo>
                  <a:cubicBezTo>
                    <a:pt x="584" y="228"/>
                    <a:pt x="586" y="224"/>
                    <a:pt x="588" y="222"/>
                  </a:cubicBezTo>
                  <a:cubicBezTo>
                    <a:pt x="590" y="219"/>
                    <a:pt x="580" y="217"/>
                    <a:pt x="576" y="218"/>
                  </a:cubicBezTo>
                  <a:cubicBezTo>
                    <a:pt x="571" y="219"/>
                    <a:pt x="570" y="217"/>
                    <a:pt x="570" y="214"/>
                  </a:cubicBezTo>
                  <a:cubicBezTo>
                    <a:pt x="570" y="211"/>
                    <a:pt x="562" y="214"/>
                    <a:pt x="560" y="216"/>
                  </a:cubicBezTo>
                  <a:cubicBezTo>
                    <a:pt x="557" y="218"/>
                    <a:pt x="553" y="214"/>
                    <a:pt x="557" y="214"/>
                  </a:cubicBezTo>
                  <a:cubicBezTo>
                    <a:pt x="560" y="213"/>
                    <a:pt x="565" y="210"/>
                    <a:pt x="563" y="207"/>
                  </a:cubicBezTo>
                  <a:cubicBezTo>
                    <a:pt x="562" y="204"/>
                    <a:pt x="553" y="204"/>
                    <a:pt x="551" y="208"/>
                  </a:cubicBezTo>
                  <a:cubicBezTo>
                    <a:pt x="550" y="212"/>
                    <a:pt x="542" y="203"/>
                    <a:pt x="542" y="200"/>
                  </a:cubicBezTo>
                  <a:cubicBezTo>
                    <a:pt x="542" y="197"/>
                    <a:pt x="531" y="200"/>
                    <a:pt x="532" y="194"/>
                  </a:cubicBezTo>
                  <a:cubicBezTo>
                    <a:pt x="534" y="189"/>
                    <a:pt x="519" y="188"/>
                    <a:pt x="515" y="188"/>
                  </a:cubicBezTo>
                  <a:cubicBezTo>
                    <a:pt x="511" y="188"/>
                    <a:pt x="505" y="191"/>
                    <a:pt x="506" y="194"/>
                  </a:cubicBezTo>
                  <a:cubicBezTo>
                    <a:pt x="507" y="198"/>
                    <a:pt x="502" y="197"/>
                    <a:pt x="501" y="193"/>
                  </a:cubicBezTo>
                  <a:cubicBezTo>
                    <a:pt x="500" y="189"/>
                    <a:pt x="491" y="197"/>
                    <a:pt x="488" y="197"/>
                  </a:cubicBezTo>
                  <a:cubicBezTo>
                    <a:pt x="485" y="197"/>
                    <a:pt x="490" y="187"/>
                    <a:pt x="488" y="183"/>
                  </a:cubicBezTo>
                  <a:cubicBezTo>
                    <a:pt x="487" y="180"/>
                    <a:pt x="485" y="179"/>
                    <a:pt x="483" y="174"/>
                  </a:cubicBezTo>
                  <a:cubicBezTo>
                    <a:pt x="480" y="168"/>
                    <a:pt x="470" y="171"/>
                    <a:pt x="467" y="174"/>
                  </a:cubicBezTo>
                  <a:cubicBezTo>
                    <a:pt x="464" y="177"/>
                    <a:pt x="455" y="176"/>
                    <a:pt x="450" y="180"/>
                  </a:cubicBezTo>
                  <a:cubicBezTo>
                    <a:pt x="445" y="185"/>
                    <a:pt x="450" y="190"/>
                    <a:pt x="452" y="192"/>
                  </a:cubicBezTo>
                  <a:cubicBezTo>
                    <a:pt x="454" y="194"/>
                    <a:pt x="445" y="197"/>
                    <a:pt x="448" y="200"/>
                  </a:cubicBezTo>
                  <a:cubicBezTo>
                    <a:pt x="451" y="203"/>
                    <a:pt x="456" y="201"/>
                    <a:pt x="456" y="206"/>
                  </a:cubicBezTo>
                  <a:cubicBezTo>
                    <a:pt x="457" y="210"/>
                    <a:pt x="445" y="204"/>
                    <a:pt x="443" y="200"/>
                  </a:cubicBezTo>
                  <a:cubicBezTo>
                    <a:pt x="441" y="197"/>
                    <a:pt x="444" y="193"/>
                    <a:pt x="441" y="190"/>
                  </a:cubicBezTo>
                  <a:cubicBezTo>
                    <a:pt x="439" y="187"/>
                    <a:pt x="441" y="184"/>
                    <a:pt x="445" y="179"/>
                  </a:cubicBezTo>
                  <a:cubicBezTo>
                    <a:pt x="450" y="174"/>
                    <a:pt x="454" y="174"/>
                    <a:pt x="454" y="172"/>
                  </a:cubicBezTo>
                  <a:cubicBezTo>
                    <a:pt x="454" y="169"/>
                    <a:pt x="434" y="169"/>
                    <a:pt x="422" y="179"/>
                  </a:cubicBezTo>
                  <a:cubicBezTo>
                    <a:pt x="410" y="190"/>
                    <a:pt x="414" y="204"/>
                    <a:pt x="414" y="207"/>
                  </a:cubicBezTo>
                  <a:cubicBezTo>
                    <a:pt x="415" y="210"/>
                    <a:pt x="425" y="209"/>
                    <a:pt x="432" y="210"/>
                  </a:cubicBezTo>
                  <a:cubicBezTo>
                    <a:pt x="438" y="212"/>
                    <a:pt x="434" y="215"/>
                    <a:pt x="430" y="214"/>
                  </a:cubicBezTo>
                  <a:cubicBezTo>
                    <a:pt x="425" y="213"/>
                    <a:pt x="417" y="212"/>
                    <a:pt x="418" y="215"/>
                  </a:cubicBezTo>
                  <a:cubicBezTo>
                    <a:pt x="418" y="218"/>
                    <a:pt x="428" y="224"/>
                    <a:pt x="433" y="223"/>
                  </a:cubicBezTo>
                  <a:cubicBezTo>
                    <a:pt x="439" y="222"/>
                    <a:pt x="439" y="222"/>
                    <a:pt x="442" y="225"/>
                  </a:cubicBezTo>
                  <a:cubicBezTo>
                    <a:pt x="444" y="228"/>
                    <a:pt x="451" y="227"/>
                    <a:pt x="458" y="227"/>
                  </a:cubicBezTo>
                  <a:cubicBezTo>
                    <a:pt x="464" y="228"/>
                    <a:pt x="472" y="230"/>
                    <a:pt x="475" y="230"/>
                  </a:cubicBezTo>
                  <a:cubicBezTo>
                    <a:pt x="479" y="231"/>
                    <a:pt x="483" y="229"/>
                    <a:pt x="484" y="227"/>
                  </a:cubicBezTo>
                  <a:cubicBezTo>
                    <a:pt x="485" y="225"/>
                    <a:pt x="498" y="230"/>
                    <a:pt x="502" y="229"/>
                  </a:cubicBezTo>
                  <a:cubicBezTo>
                    <a:pt x="506" y="229"/>
                    <a:pt x="503" y="225"/>
                    <a:pt x="501" y="224"/>
                  </a:cubicBezTo>
                  <a:cubicBezTo>
                    <a:pt x="498" y="223"/>
                    <a:pt x="499" y="219"/>
                    <a:pt x="503" y="220"/>
                  </a:cubicBezTo>
                  <a:cubicBezTo>
                    <a:pt x="506" y="222"/>
                    <a:pt x="511" y="223"/>
                    <a:pt x="512" y="227"/>
                  </a:cubicBezTo>
                  <a:cubicBezTo>
                    <a:pt x="513" y="229"/>
                    <a:pt x="516" y="228"/>
                    <a:pt x="516" y="230"/>
                  </a:cubicBezTo>
                  <a:cubicBezTo>
                    <a:pt x="517" y="233"/>
                    <a:pt x="528" y="236"/>
                    <a:pt x="529" y="239"/>
                  </a:cubicBezTo>
                  <a:cubicBezTo>
                    <a:pt x="529" y="241"/>
                    <a:pt x="517" y="243"/>
                    <a:pt x="521" y="245"/>
                  </a:cubicBezTo>
                  <a:cubicBezTo>
                    <a:pt x="524" y="248"/>
                    <a:pt x="529" y="242"/>
                    <a:pt x="533" y="242"/>
                  </a:cubicBezTo>
                  <a:cubicBezTo>
                    <a:pt x="537" y="241"/>
                    <a:pt x="537" y="251"/>
                    <a:pt x="541" y="250"/>
                  </a:cubicBezTo>
                  <a:cubicBezTo>
                    <a:pt x="545" y="248"/>
                    <a:pt x="549" y="251"/>
                    <a:pt x="553" y="258"/>
                  </a:cubicBezTo>
                  <a:cubicBezTo>
                    <a:pt x="557" y="264"/>
                    <a:pt x="552" y="269"/>
                    <a:pt x="553" y="271"/>
                  </a:cubicBezTo>
                  <a:cubicBezTo>
                    <a:pt x="553" y="274"/>
                    <a:pt x="561" y="273"/>
                    <a:pt x="566" y="270"/>
                  </a:cubicBezTo>
                  <a:cubicBezTo>
                    <a:pt x="571" y="268"/>
                    <a:pt x="575" y="273"/>
                    <a:pt x="578" y="276"/>
                  </a:cubicBezTo>
                  <a:cubicBezTo>
                    <a:pt x="582" y="280"/>
                    <a:pt x="565" y="285"/>
                    <a:pt x="567" y="282"/>
                  </a:cubicBezTo>
                  <a:cubicBezTo>
                    <a:pt x="568" y="279"/>
                    <a:pt x="557" y="271"/>
                    <a:pt x="546" y="275"/>
                  </a:cubicBezTo>
                  <a:cubicBezTo>
                    <a:pt x="536" y="279"/>
                    <a:pt x="543" y="285"/>
                    <a:pt x="544" y="288"/>
                  </a:cubicBezTo>
                  <a:cubicBezTo>
                    <a:pt x="545" y="292"/>
                    <a:pt x="535" y="295"/>
                    <a:pt x="525" y="292"/>
                  </a:cubicBezTo>
                  <a:cubicBezTo>
                    <a:pt x="516" y="289"/>
                    <a:pt x="519" y="294"/>
                    <a:pt x="515" y="294"/>
                  </a:cubicBezTo>
                  <a:cubicBezTo>
                    <a:pt x="511" y="294"/>
                    <a:pt x="506" y="300"/>
                    <a:pt x="510" y="304"/>
                  </a:cubicBezTo>
                  <a:cubicBezTo>
                    <a:pt x="514" y="308"/>
                    <a:pt x="521" y="305"/>
                    <a:pt x="528" y="305"/>
                  </a:cubicBezTo>
                  <a:cubicBezTo>
                    <a:pt x="534" y="305"/>
                    <a:pt x="535" y="307"/>
                    <a:pt x="536" y="304"/>
                  </a:cubicBezTo>
                  <a:cubicBezTo>
                    <a:pt x="536" y="300"/>
                    <a:pt x="543" y="302"/>
                    <a:pt x="548" y="303"/>
                  </a:cubicBezTo>
                  <a:cubicBezTo>
                    <a:pt x="552" y="304"/>
                    <a:pt x="551" y="310"/>
                    <a:pt x="557" y="311"/>
                  </a:cubicBezTo>
                  <a:cubicBezTo>
                    <a:pt x="563" y="312"/>
                    <a:pt x="558" y="317"/>
                    <a:pt x="562" y="321"/>
                  </a:cubicBezTo>
                  <a:cubicBezTo>
                    <a:pt x="565" y="325"/>
                    <a:pt x="577" y="323"/>
                    <a:pt x="581" y="327"/>
                  </a:cubicBezTo>
                  <a:cubicBezTo>
                    <a:pt x="585" y="332"/>
                    <a:pt x="603" y="340"/>
                    <a:pt x="606" y="337"/>
                  </a:cubicBezTo>
                  <a:cubicBezTo>
                    <a:pt x="609" y="334"/>
                    <a:pt x="590" y="317"/>
                    <a:pt x="585" y="316"/>
                  </a:cubicBezTo>
                  <a:cubicBezTo>
                    <a:pt x="580" y="314"/>
                    <a:pt x="590" y="312"/>
                    <a:pt x="597" y="318"/>
                  </a:cubicBezTo>
                  <a:cubicBezTo>
                    <a:pt x="604" y="323"/>
                    <a:pt x="614" y="326"/>
                    <a:pt x="619" y="319"/>
                  </a:cubicBezTo>
                  <a:cubicBezTo>
                    <a:pt x="624" y="313"/>
                    <a:pt x="615" y="315"/>
                    <a:pt x="615" y="310"/>
                  </a:cubicBezTo>
                  <a:cubicBezTo>
                    <a:pt x="615" y="305"/>
                    <a:pt x="611" y="299"/>
                    <a:pt x="606" y="299"/>
                  </a:cubicBezTo>
                  <a:cubicBezTo>
                    <a:pt x="601" y="299"/>
                    <a:pt x="588" y="289"/>
                    <a:pt x="593" y="287"/>
                  </a:cubicBezTo>
                  <a:cubicBezTo>
                    <a:pt x="598" y="285"/>
                    <a:pt x="592" y="282"/>
                    <a:pt x="595" y="278"/>
                  </a:cubicBezTo>
                  <a:cubicBezTo>
                    <a:pt x="599" y="274"/>
                    <a:pt x="602" y="281"/>
                    <a:pt x="607" y="282"/>
                  </a:cubicBezTo>
                  <a:close/>
                  <a:moveTo>
                    <a:pt x="531" y="265"/>
                  </a:moveTo>
                  <a:cubicBezTo>
                    <a:pt x="536" y="264"/>
                    <a:pt x="535" y="257"/>
                    <a:pt x="532" y="254"/>
                  </a:cubicBezTo>
                  <a:cubicBezTo>
                    <a:pt x="531" y="251"/>
                    <a:pt x="526" y="251"/>
                    <a:pt x="522" y="251"/>
                  </a:cubicBezTo>
                  <a:cubicBezTo>
                    <a:pt x="518" y="252"/>
                    <a:pt x="511" y="258"/>
                    <a:pt x="515" y="264"/>
                  </a:cubicBezTo>
                  <a:cubicBezTo>
                    <a:pt x="519" y="270"/>
                    <a:pt x="527" y="265"/>
                    <a:pt x="531" y="265"/>
                  </a:cubicBezTo>
                  <a:close/>
                  <a:moveTo>
                    <a:pt x="487" y="172"/>
                  </a:moveTo>
                  <a:cubicBezTo>
                    <a:pt x="485" y="177"/>
                    <a:pt x="491" y="177"/>
                    <a:pt x="492" y="182"/>
                  </a:cubicBezTo>
                  <a:cubicBezTo>
                    <a:pt x="492" y="187"/>
                    <a:pt x="499" y="189"/>
                    <a:pt x="504" y="186"/>
                  </a:cubicBezTo>
                  <a:cubicBezTo>
                    <a:pt x="509" y="183"/>
                    <a:pt x="523" y="187"/>
                    <a:pt x="523" y="183"/>
                  </a:cubicBezTo>
                  <a:cubicBezTo>
                    <a:pt x="523" y="179"/>
                    <a:pt x="508" y="172"/>
                    <a:pt x="503" y="173"/>
                  </a:cubicBezTo>
                  <a:cubicBezTo>
                    <a:pt x="498" y="174"/>
                    <a:pt x="489" y="167"/>
                    <a:pt x="487" y="172"/>
                  </a:cubicBezTo>
                  <a:close/>
                  <a:moveTo>
                    <a:pt x="621" y="475"/>
                  </a:moveTo>
                  <a:cubicBezTo>
                    <a:pt x="621" y="478"/>
                    <a:pt x="642" y="487"/>
                    <a:pt x="643" y="483"/>
                  </a:cubicBezTo>
                  <a:cubicBezTo>
                    <a:pt x="643" y="479"/>
                    <a:pt x="620" y="473"/>
                    <a:pt x="621" y="475"/>
                  </a:cubicBezTo>
                  <a:close/>
                  <a:moveTo>
                    <a:pt x="711" y="497"/>
                  </a:moveTo>
                  <a:cubicBezTo>
                    <a:pt x="710" y="499"/>
                    <a:pt x="707" y="495"/>
                    <a:pt x="711" y="492"/>
                  </a:cubicBezTo>
                  <a:cubicBezTo>
                    <a:pt x="714" y="490"/>
                    <a:pt x="710" y="489"/>
                    <a:pt x="707" y="491"/>
                  </a:cubicBezTo>
                  <a:cubicBezTo>
                    <a:pt x="704" y="492"/>
                    <a:pt x="705" y="484"/>
                    <a:pt x="708" y="483"/>
                  </a:cubicBezTo>
                  <a:cubicBezTo>
                    <a:pt x="710" y="481"/>
                    <a:pt x="701" y="478"/>
                    <a:pt x="701" y="481"/>
                  </a:cubicBezTo>
                  <a:cubicBezTo>
                    <a:pt x="701" y="484"/>
                    <a:pt x="695" y="482"/>
                    <a:pt x="694" y="480"/>
                  </a:cubicBezTo>
                  <a:cubicBezTo>
                    <a:pt x="693" y="477"/>
                    <a:pt x="689" y="477"/>
                    <a:pt x="691" y="475"/>
                  </a:cubicBezTo>
                  <a:cubicBezTo>
                    <a:pt x="692" y="473"/>
                    <a:pt x="685" y="472"/>
                    <a:pt x="684" y="475"/>
                  </a:cubicBezTo>
                  <a:cubicBezTo>
                    <a:pt x="684" y="478"/>
                    <a:pt x="682" y="473"/>
                    <a:pt x="685" y="469"/>
                  </a:cubicBezTo>
                  <a:cubicBezTo>
                    <a:pt x="689" y="466"/>
                    <a:pt x="688" y="462"/>
                    <a:pt x="691" y="460"/>
                  </a:cubicBezTo>
                  <a:cubicBezTo>
                    <a:pt x="694" y="458"/>
                    <a:pt x="691" y="456"/>
                    <a:pt x="687" y="458"/>
                  </a:cubicBezTo>
                  <a:cubicBezTo>
                    <a:pt x="683" y="459"/>
                    <a:pt x="674" y="472"/>
                    <a:pt x="674" y="476"/>
                  </a:cubicBezTo>
                  <a:cubicBezTo>
                    <a:pt x="674" y="479"/>
                    <a:pt x="674" y="484"/>
                    <a:pt x="670" y="483"/>
                  </a:cubicBezTo>
                  <a:cubicBezTo>
                    <a:pt x="667" y="483"/>
                    <a:pt x="663" y="486"/>
                    <a:pt x="666" y="488"/>
                  </a:cubicBezTo>
                  <a:cubicBezTo>
                    <a:pt x="668" y="490"/>
                    <a:pt x="659" y="496"/>
                    <a:pt x="663" y="498"/>
                  </a:cubicBezTo>
                  <a:cubicBezTo>
                    <a:pt x="667" y="500"/>
                    <a:pt x="672" y="497"/>
                    <a:pt x="676" y="498"/>
                  </a:cubicBezTo>
                  <a:cubicBezTo>
                    <a:pt x="680" y="498"/>
                    <a:pt x="684" y="498"/>
                    <a:pt x="687" y="496"/>
                  </a:cubicBezTo>
                  <a:cubicBezTo>
                    <a:pt x="691" y="493"/>
                    <a:pt x="691" y="498"/>
                    <a:pt x="695" y="498"/>
                  </a:cubicBezTo>
                  <a:cubicBezTo>
                    <a:pt x="698" y="497"/>
                    <a:pt x="693" y="501"/>
                    <a:pt x="693" y="503"/>
                  </a:cubicBezTo>
                  <a:cubicBezTo>
                    <a:pt x="693" y="506"/>
                    <a:pt x="697" y="502"/>
                    <a:pt x="700" y="501"/>
                  </a:cubicBezTo>
                  <a:cubicBezTo>
                    <a:pt x="702" y="499"/>
                    <a:pt x="706" y="501"/>
                    <a:pt x="705" y="503"/>
                  </a:cubicBezTo>
                  <a:cubicBezTo>
                    <a:pt x="703" y="505"/>
                    <a:pt x="712" y="508"/>
                    <a:pt x="715" y="504"/>
                  </a:cubicBezTo>
                  <a:cubicBezTo>
                    <a:pt x="717" y="500"/>
                    <a:pt x="712" y="494"/>
                    <a:pt x="711" y="497"/>
                  </a:cubicBezTo>
                  <a:close/>
                  <a:moveTo>
                    <a:pt x="66" y="431"/>
                  </a:moveTo>
                  <a:cubicBezTo>
                    <a:pt x="60" y="435"/>
                    <a:pt x="75" y="451"/>
                    <a:pt x="79" y="449"/>
                  </a:cubicBezTo>
                  <a:cubicBezTo>
                    <a:pt x="81" y="447"/>
                    <a:pt x="75" y="441"/>
                    <a:pt x="75" y="436"/>
                  </a:cubicBezTo>
                  <a:cubicBezTo>
                    <a:pt x="75" y="432"/>
                    <a:pt x="73" y="428"/>
                    <a:pt x="66" y="431"/>
                  </a:cubicBezTo>
                  <a:close/>
                  <a:moveTo>
                    <a:pt x="654" y="513"/>
                  </a:moveTo>
                  <a:cubicBezTo>
                    <a:pt x="652" y="513"/>
                    <a:pt x="654" y="509"/>
                    <a:pt x="654" y="507"/>
                  </a:cubicBezTo>
                  <a:cubicBezTo>
                    <a:pt x="654" y="505"/>
                    <a:pt x="649" y="508"/>
                    <a:pt x="648" y="510"/>
                  </a:cubicBezTo>
                  <a:cubicBezTo>
                    <a:pt x="648" y="513"/>
                    <a:pt x="644" y="513"/>
                    <a:pt x="644" y="515"/>
                  </a:cubicBezTo>
                  <a:cubicBezTo>
                    <a:pt x="644" y="519"/>
                    <a:pt x="644" y="517"/>
                    <a:pt x="641" y="518"/>
                  </a:cubicBezTo>
                  <a:cubicBezTo>
                    <a:pt x="638" y="520"/>
                    <a:pt x="627" y="518"/>
                    <a:pt x="627" y="516"/>
                  </a:cubicBezTo>
                  <a:cubicBezTo>
                    <a:pt x="626" y="513"/>
                    <a:pt x="618" y="512"/>
                    <a:pt x="618" y="509"/>
                  </a:cubicBezTo>
                  <a:cubicBezTo>
                    <a:pt x="618" y="505"/>
                    <a:pt x="614" y="504"/>
                    <a:pt x="617" y="500"/>
                  </a:cubicBezTo>
                  <a:cubicBezTo>
                    <a:pt x="620" y="497"/>
                    <a:pt x="616" y="495"/>
                    <a:pt x="613" y="498"/>
                  </a:cubicBezTo>
                  <a:cubicBezTo>
                    <a:pt x="610" y="501"/>
                    <a:pt x="608" y="496"/>
                    <a:pt x="613" y="495"/>
                  </a:cubicBezTo>
                  <a:cubicBezTo>
                    <a:pt x="617" y="493"/>
                    <a:pt x="624" y="491"/>
                    <a:pt x="620" y="484"/>
                  </a:cubicBezTo>
                  <a:cubicBezTo>
                    <a:pt x="616" y="477"/>
                    <a:pt x="592" y="486"/>
                    <a:pt x="586" y="490"/>
                  </a:cubicBezTo>
                  <a:cubicBezTo>
                    <a:pt x="579" y="494"/>
                    <a:pt x="572" y="505"/>
                    <a:pt x="568" y="505"/>
                  </a:cubicBezTo>
                  <a:cubicBezTo>
                    <a:pt x="565" y="505"/>
                    <a:pt x="574" y="499"/>
                    <a:pt x="575" y="497"/>
                  </a:cubicBezTo>
                  <a:cubicBezTo>
                    <a:pt x="577" y="494"/>
                    <a:pt x="575" y="492"/>
                    <a:pt x="577" y="493"/>
                  </a:cubicBezTo>
                  <a:cubicBezTo>
                    <a:pt x="579" y="494"/>
                    <a:pt x="585" y="485"/>
                    <a:pt x="588" y="482"/>
                  </a:cubicBezTo>
                  <a:cubicBezTo>
                    <a:pt x="592" y="479"/>
                    <a:pt x="596" y="482"/>
                    <a:pt x="597" y="480"/>
                  </a:cubicBezTo>
                  <a:cubicBezTo>
                    <a:pt x="597" y="477"/>
                    <a:pt x="599" y="476"/>
                    <a:pt x="603" y="473"/>
                  </a:cubicBezTo>
                  <a:cubicBezTo>
                    <a:pt x="606" y="469"/>
                    <a:pt x="649" y="470"/>
                    <a:pt x="653" y="470"/>
                  </a:cubicBezTo>
                  <a:cubicBezTo>
                    <a:pt x="657" y="470"/>
                    <a:pt x="665" y="465"/>
                    <a:pt x="667" y="461"/>
                  </a:cubicBezTo>
                  <a:cubicBezTo>
                    <a:pt x="670" y="458"/>
                    <a:pt x="673" y="458"/>
                    <a:pt x="678" y="458"/>
                  </a:cubicBezTo>
                  <a:cubicBezTo>
                    <a:pt x="684" y="458"/>
                    <a:pt x="687" y="453"/>
                    <a:pt x="690" y="451"/>
                  </a:cubicBezTo>
                  <a:cubicBezTo>
                    <a:pt x="692" y="449"/>
                    <a:pt x="691" y="448"/>
                    <a:pt x="689" y="448"/>
                  </a:cubicBezTo>
                  <a:cubicBezTo>
                    <a:pt x="686" y="447"/>
                    <a:pt x="684" y="446"/>
                    <a:pt x="687" y="446"/>
                  </a:cubicBezTo>
                  <a:cubicBezTo>
                    <a:pt x="689" y="445"/>
                    <a:pt x="690" y="444"/>
                    <a:pt x="691" y="441"/>
                  </a:cubicBezTo>
                  <a:cubicBezTo>
                    <a:pt x="692" y="437"/>
                    <a:pt x="690" y="439"/>
                    <a:pt x="687" y="434"/>
                  </a:cubicBezTo>
                  <a:cubicBezTo>
                    <a:pt x="684" y="430"/>
                    <a:pt x="682" y="436"/>
                    <a:pt x="679" y="436"/>
                  </a:cubicBezTo>
                  <a:cubicBezTo>
                    <a:pt x="675" y="435"/>
                    <a:pt x="681" y="431"/>
                    <a:pt x="678" y="429"/>
                  </a:cubicBezTo>
                  <a:cubicBezTo>
                    <a:pt x="675" y="427"/>
                    <a:pt x="670" y="429"/>
                    <a:pt x="666" y="432"/>
                  </a:cubicBezTo>
                  <a:cubicBezTo>
                    <a:pt x="661" y="436"/>
                    <a:pt x="662" y="432"/>
                    <a:pt x="658" y="436"/>
                  </a:cubicBezTo>
                  <a:cubicBezTo>
                    <a:pt x="654" y="439"/>
                    <a:pt x="654" y="434"/>
                    <a:pt x="656" y="432"/>
                  </a:cubicBezTo>
                  <a:cubicBezTo>
                    <a:pt x="658" y="431"/>
                    <a:pt x="659" y="433"/>
                    <a:pt x="661" y="430"/>
                  </a:cubicBezTo>
                  <a:cubicBezTo>
                    <a:pt x="662" y="428"/>
                    <a:pt x="664" y="430"/>
                    <a:pt x="668" y="428"/>
                  </a:cubicBezTo>
                  <a:cubicBezTo>
                    <a:pt x="672" y="425"/>
                    <a:pt x="675" y="426"/>
                    <a:pt x="677" y="424"/>
                  </a:cubicBezTo>
                  <a:cubicBezTo>
                    <a:pt x="678" y="422"/>
                    <a:pt x="675" y="420"/>
                    <a:pt x="671" y="421"/>
                  </a:cubicBezTo>
                  <a:cubicBezTo>
                    <a:pt x="667" y="421"/>
                    <a:pt x="664" y="415"/>
                    <a:pt x="662" y="417"/>
                  </a:cubicBezTo>
                  <a:cubicBezTo>
                    <a:pt x="659" y="419"/>
                    <a:pt x="660" y="414"/>
                    <a:pt x="657" y="416"/>
                  </a:cubicBezTo>
                  <a:cubicBezTo>
                    <a:pt x="654" y="418"/>
                    <a:pt x="652" y="416"/>
                    <a:pt x="651" y="412"/>
                  </a:cubicBezTo>
                  <a:cubicBezTo>
                    <a:pt x="650" y="409"/>
                    <a:pt x="642" y="403"/>
                    <a:pt x="638" y="402"/>
                  </a:cubicBezTo>
                  <a:cubicBezTo>
                    <a:pt x="633" y="400"/>
                    <a:pt x="636" y="398"/>
                    <a:pt x="639" y="400"/>
                  </a:cubicBezTo>
                  <a:cubicBezTo>
                    <a:pt x="641" y="401"/>
                    <a:pt x="644" y="398"/>
                    <a:pt x="645" y="396"/>
                  </a:cubicBezTo>
                  <a:cubicBezTo>
                    <a:pt x="646" y="394"/>
                    <a:pt x="643" y="393"/>
                    <a:pt x="642" y="393"/>
                  </a:cubicBezTo>
                  <a:cubicBezTo>
                    <a:pt x="640" y="392"/>
                    <a:pt x="640" y="390"/>
                    <a:pt x="641" y="388"/>
                  </a:cubicBezTo>
                  <a:cubicBezTo>
                    <a:pt x="641" y="386"/>
                    <a:pt x="636" y="384"/>
                    <a:pt x="636" y="382"/>
                  </a:cubicBezTo>
                  <a:cubicBezTo>
                    <a:pt x="635" y="381"/>
                    <a:pt x="632" y="379"/>
                    <a:pt x="633" y="378"/>
                  </a:cubicBezTo>
                  <a:cubicBezTo>
                    <a:pt x="633" y="376"/>
                    <a:pt x="629" y="374"/>
                    <a:pt x="629" y="372"/>
                  </a:cubicBezTo>
                  <a:cubicBezTo>
                    <a:pt x="629" y="370"/>
                    <a:pt x="624" y="365"/>
                    <a:pt x="624" y="363"/>
                  </a:cubicBezTo>
                  <a:cubicBezTo>
                    <a:pt x="624" y="360"/>
                    <a:pt x="621" y="358"/>
                    <a:pt x="620" y="355"/>
                  </a:cubicBezTo>
                  <a:cubicBezTo>
                    <a:pt x="619" y="352"/>
                    <a:pt x="617" y="354"/>
                    <a:pt x="616" y="358"/>
                  </a:cubicBezTo>
                  <a:cubicBezTo>
                    <a:pt x="615" y="362"/>
                    <a:pt x="611" y="362"/>
                    <a:pt x="613" y="364"/>
                  </a:cubicBezTo>
                  <a:cubicBezTo>
                    <a:pt x="615" y="367"/>
                    <a:pt x="613" y="367"/>
                    <a:pt x="611" y="368"/>
                  </a:cubicBezTo>
                  <a:cubicBezTo>
                    <a:pt x="610" y="370"/>
                    <a:pt x="613" y="373"/>
                    <a:pt x="610" y="373"/>
                  </a:cubicBezTo>
                  <a:cubicBezTo>
                    <a:pt x="607" y="373"/>
                    <a:pt x="608" y="378"/>
                    <a:pt x="607" y="376"/>
                  </a:cubicBezTo>
                  <a:cubicBezTo>
                    <a:pt x="606" y="373"/>
                    <a:pt x="602" y="374"/>
                    <a:pt x="602" y="377"/>
                  </a:cubicBezTo>
                  <a:cubicBezTo>
                    <a:pt x="602" y="379"/>
                    <a:pt x="596" y="381"/>
                    <a:pt x="594" y="381"/>
                  </a:cubicBezTo>
                  <a:cubicBezTo>
                    <a:pt x="592" y="381"/>
                    <a:pt x="592" y="376"/>
                    <a:pt x="590" y="378"/>
                  </a:cubicBezTo>
                  <a:cubicBezTo>
                    <a:pt x="588" y="379"/>
                    <a:pt x="588" y="374"/>
                    <a:pt x="585" y="374"/>
                  </a:cubicBezTo>
                  <a:cubicBezTo>
                    <a:pt x="582" y="374"/>
                    <a:pt x="580" y="374"/>
                    <a:pt x="581" y="371"/>
                  </a:cubicBezTo>
                  <a:cubicBezTo>
                    <a:pt x="582" y="368"/>
                    <a:pt x="576" y="367"/>
                    <a:pt x="578" y="365"/>
                  </a:cubicBezTo>
                  <a:cubicBezTo>
                    <a:pt x="580" y="364"/>
                    <a:pt x="577" y="361"/>
                    <a:pt x="577" y="356"/>
                  </a:cubicBezTo>
                  <a:cubicBezTo>
                    <a:pt x="577" y="352"/>
                    <a:pt x="580" y="351"/>
                    <a:pt x="580" y="350"/>
                  </a:cubicBezTo>
                  <a:cubicBezTo>
                    <a:pt x="580" y="348"/>
                    <a:pt x="577" y="348"/>
                    <a:pt x="575" y="349"/>
                  </a:cubicBezTo>
                  <a:cubicBezTo>
                    <a:pt x="573" y="351"/>
                    <a:pt x="573" y="347"/>
                    <a:pt x="571" y="347"/>
                  </a:cubicBezTo>
                  <a:cubicBezTo>
                    <a:pt x="568" y="348"/>
                    <a:pt x="562" y="347"/>
                    <a:pt x="561" y="344"/>
                  </a:cubicBezTo>
                  <a:cubicBezTo>
                    <a:pt x="561" y="341"/>
                    <a:pt x="559" y="342"/>
                    <a:pt x="557" y="339"/>
                  </a:cubicBezTo>
                  <a:cubicBezTo>
                    <a:pt x="556" y="336"/>
                    <a:pt x="554" y="339"/>
                    <a:pt x="554" y="337"/>
                  </a:cubicBezTo>
                  <a:cubicBezTo>
                    <a:pt x="554" y="334"/>
                    <a:pt x="552" y="334"/>
                    <a:pt x="550" y="333"/>
                  </a:cubicBezTo>
                  <a:cubicBezTo>
                    <a:pt x="548" y="333"/>
                    <a:pt x="547" y="331"/>
                    <a:pt x="544" y="330"/>
                  </a:cubicBezTo>
                  <a:cubicBezTo>
                    <a:pt x="542" y="330"/>
                    <a:pt x="538" y="332"/>
                    <a:pt x="536" y="333"/>
                  </a:cubicBezTo>
                  <a:cubicBezTo>
                    <a:pt x="535" y="334"/>
                    <a:pt x="531" y="331"/>
                    <a:pt x="529" y="332"/>
                  </a:cubicBezTo>
                  <a:cubicBezTo>
                    <a:pt x="527" y="333"/>
                    <a:pt x="527" y="331"/>
                    <a:pt x="523" y="330"/>
                  </a:cubicBezTo>
                  <a:cubicBezTo>
                    <a:pt x="518" y="329"/>
                    <a:pt x="512" y="328"/>
                    <a:pt x="512" y="330"/>
                  </a:cubicBezTo>
                  <a:cubicBezTo>
                    <a:pt x="512" y="331"/>
                    <a:pt x="508" y="332"/>
                    <a:pt x="509" y="336"/>
                  </a:cubicBezTo>
                  <a:cubicBezTo>
                    <a:pt x="509" y="339"/>
                    <a:pt x="513" y="339"/>
                    <a:pt x="514" y="341"/>
                  </a:cubicBezTo>
                  <a:cubicBezTo>
                    <a:pt x="515" y="344"/>
                    <a:pt x="512" y="343"/>
                    <a:pt x="512" y="345"/>
                  </a:cubicBezTo>
                  <a:cubicBezTo>
                    <a:pt x="512" y="347"/>
                    <a:pt x="509" y="347"/>
                    <a:pt x="509" y="349"/>
                  </a:cubicBezTo>
                  <a:cubicBezTo>
                    <a:pt x="509" y="350"/>
                    <a:pt x="511" y="350"/>
                    <a:pt x="512" y="353"/>
                  </a:cubicBezTo>
                  <a:cubicBezTo>
                    <a:pt x="513" y="357"/>
                    <a:pt x="514" y="356"/>
                    <a:pt x="515" y="361"/>
                  </a:cubicBezTo>
                  <a:cubicBezTo>
                    <a:pt x="516" y="365"/>
                    <a:pt x="514" y="364"/>
                    <a:pt x="512" y="365"/>
                  </a:cubicBezTo>
                  <a:cubicBezTo>
                    <a:pt x="510" y="365"/>
                    <a:pt x="512" y="367"/>
                    <a:pt x="509" y="370"/>
                  </a:cubicBezTo>
                  <a:cubicBezTo>
                    <a:pt x="507" y="373"/>
                    <a:pt x="505" y="376"/>
                    <a:pt x="507" y="378"/>
                  </a:cubicBezTo>
                  <a:cubicBezTo>
                    <a:pt x="509" y="380"/>
                    <a:pt x="516" y="383"/>
                    <a:pt x="519" y="387"/>
                  </a:cubicBezTo>
                  <a:cubicBezTo>
                    <a:pt x="522" y="392"/>
                    <a:pt x="522" y="400"/>
                    <a:pt x="521" y="405"/>
                  </a:cubicBezTo>
                  <a:cubicBezTo>
                    <a:pt x="520" y="410"/>
                    <a:pt x="514" y="412"/>
                    <a:pt x="509" y="416"/>
                  </a:cubicBezTo>
                  <a:cubicBezTo>
                    <a:pt x="505" y="421"/>
                    <a:pt x="500" y="420"/>
                    <a:pt x="498" y="420"/>
                  </a:cubicBezTo>
                  <a:cubicBezTo>
                    <a:pt x="496" y="421"/>
                    <a:pt x="497" y="425"/>
                    <a:pt x="500" y="428"/>
                  </a:cubicBezTo>
                  <a:cubicBezTo>
                    <a:pt x="503" y="432"/>
                    <a:pt x="501" y="433"/>
                    <a:pt x="502" y="436"/>
                  </a:cubicBezTo>
                  <a:cubicBezTo>
                    <a:pt x="504" y="440"/>
                    <a:pt x="502" y="443"/>
                    <a:pt x="505" y="446"/>
                  </a:cubicBezTo>
                  <a:cubicBezTo>
                    <a:pt x="507" y="449"/>
                    <a:pt x="506" y="450"/>
                    <a:pt x="503" y="453"/>
                  </a:cubicBezTo>
                  <a:cubicBezTo>
                    <a:pt x="500" y="455"/>
                    <a:pt x="504" y="454"/>
                    <a:pt x="504" y="457"/>
                  </a:cubicBezTo>
                  <a:cubicBezTo>
                    <a:pt x="504" y="460"/>
                    <a:pt x="503" y="458"/>
                    <a:pt x="501" y="456"/>
                  </a:cubicBezTo>
                  <a:cubicBezTo>
                    <a:pt x="498" y="455"/>
                    <a:pt x="496" y="459"/>
                    <a:pt x="496" y="461"/>
                  </a:cubicBezTo>
                  <a:cubicBezTo>
                    <a:pt x="496" y="463"/>
                    <a:pt x="491" y="459"/>
                    <a:pt x="489" y="459"/>
                  </a:cubicBezTo>
                  <a:cubicBezTo>
                    <a:pt x="488" y="459"/>
                    <a:pt x="490" y="456"/>
                    <a:pt x="486" y="453"/>
                  </a:cubicBezTo>
                  <a:cubicBezTo>
                    <a:pt x="483" y="451"/>
                    <a:pt x="481" y="450"/>
                    <a:pt x="481" y="448"/>
                  </a:cubicBezTo>
                  <a:cubicBezTo>
                    <a:pt x="481" y="445"/>
                    <a:pt x="475" y="444"/>
                    <a:pt x="475" y="441"/>
                  </a:cubicBezTo>
                  <a:cubicBezTo>
                    <a:pt x="475" y="438"/>
                    <a:pt x="476" y="431"/>
                    <a:pt x="475" y="428"/>
                  </a:cubicBezTo>
                  <a:cubicBezTo>
                    <a:pt x="473" y="426"/>
                    <a:pt x="475" y="424"/>
                    <a:pt x="476" y="422"/>
                  </a:cubicBezTo>
                  <a:cubicBezTo>
                    <a:pt x="477" y="420"/>
                    <a:pt x="474" y="417"/>
                    <a:pt x="471" y="417"/>
                  </a:cubicBezTo>
                  <a:cubicBezTo>
                    <a:pt x="468" y="417"/>
                    <a:pt x="463" y="416"/>
                    <a:pt x="459" y="416"/>
                  </a:cubicBezTo>
                  <a:cubicBezTo>
                    <a:pt x="455" y="417"/>
                    <a:pt x="452" y="416"/>
                    <a:pt x="451" y="415"/>
                  </a:cubicBezTo>
                  <a:cubicBezTo>
                    <a:pt x="449" y="413"/>
                    <a:pt x="445" y="411"/>
                    <a:pt x="440" y="409"/>
                  </a:cubicBezTo>
                  <a:cubicBezTo>
                    <a:pt x="434" y="408"/>
                    <a:pt x="432" y="405"/>
                    <a:pt x="431" y="403"/>
                  </a:cubicBezTo>
                  <a:cubicBezTo>
                    <a:pt x="430" y="402"/>
                    <a:pt x="425" y="401"/>
                    <a:pt x="424" y="399"/>
                  </a:cubicBezTo>
                  <a:cubicBezTo>
                    <a:pt x="422" y="397"/>
                    <a:pt x="417" y="396"/>
                    <a:pt x="415" y="397"/>
                  </a:cubicBezTo>
                  <a:cubicBezTo>
                    <a:pt x="413" y="397"/>
                    <a:pt x="407" y="392"/>
                    <a:pt x="404" y="393"/>
                  </a:cubicBezTo>
                  <a:cubicBezTo>
                    <a:pt x="401" y="393"/>
                    <a:pt x="394" y="396"/>
                    <a:pt x="392" y="396"/>
                  </a:cubicBezTo>
                  <a:cubicBezTo>
                    <a:pt x="391" y="396"/>
                    <a:pt x="392" y="393"/>
                    <a:pt x="393" y="392"/>
                  </a:cubicBezTo>
                  <a:cubicBezTo>
                    <a:pt x="394" y="391"/>
                    <a:pt x="391" y="386"/>
                    <a:pt x="390" y="382"/>
                  </a:cubicBezTo>
                  <a:cubicBezTo>
                    <a:pt x="389" y="378"/>
                    <a:pt x="388" y="375"/>
                    <a:pt x="384" y="375"/>
                  </a:cubicBezTo>
                  <a:cubicBezTo>
                    <a:pt x="380" y="376"/>
                    <a:pt x="376" y="374"/>
                    <a:pt x="375" y="373"/>
                  </a:cubicBezTo>
                  <a:cubicBezTo>
                    <a:pt x="374" y="372"/>
                    <a:pt x="374" y="362"/>
                    <a:pt x="375" y="358"/>
                  </a:cubicBezTo>
                  <a:cubicBezTo>
                    <a:pt x="376" y="353"/>
                    <a:pt x="380" y="347"/>
                    <a:pt x="380" y="344"/>
                  </a:cubicBezTo>
                  <a:cubicBezTo>
                    <a:pt x="380" y="342"/>
                    <a:pt x="383" y="340"/>
                    <a:pt x="386" y="340"/>
                  </a:cubicBezTo>
                  <a:cubicBezTo>
                    <a:pt x="389" y="339"/>
                    <a:pt x="386" y="334"/>
                    <a:pt x="389" y="334"/>
                  </a:cubicBezTo>
                  <a:cubicBezTo>
                    <a:pt x="392" y="333"/>
                    <a:pt x="392" y="332"/>
                    <a:pt x="392" y="330"/>
                  </a:cubicBezTo>
                  <a:cubicBezTo>
                    <a:pt x="393" y="328"/>
                    <a:pt x="396" y="329"/>
                    <a:pt x="394" y="327"/>
                  </a:cubicBezTo>
                  <a:cubicBezTo>
                    <a:pt x="393" y="326"/>
                    <a:pt x="394" y="325"/>
                    <a:pt x="398" y="325"/>
                  </a:cubicBezTo>
                  <a:cubicBezTo>
                    <a:pt x="402" y="325"/>
                    <a:pt x="408" y="324"/>
                    <a:pt x="407" y="320"/>
                  </a:cubicBezTo>
                  <a:cubicBezTo>
                    <a:pt x="407" y="316"/>
                    <a:pt x="396" y="319"/>
                    <a:pt x="396" y="315"/>
                  </a:cubicBezTo>
                  <a:cubicBezTo>
                    <a:pt x="396" y="312"/>
                    <a:pt x="382" y="312"/>
                    <a:pt x="383" y="310"/>
                  </a:cubicBezTo>
                  <a:cubicBezTo>
                    <a:pt x="384" y="308"/>
                    <a:pt x="397" y="311"/>
                    <a:pt x="401" y="313"/>
                  </a:cubicBezTo>
                  <a:cubicBezTo>
                    <a:pt x="406" y="315"/>
                    <a:pt x="407" y="314"/>
                    <a:pt x="411" y="314"/>
                  </a:cubicBezTo>
                  <a:cubicBezTo>
                    <a:pt x="415" y="314"/>
                    <a:pt x="412" y="309"/>
                    <a:pt x="413" y="307"/>
                  </a:cubicBezTo>
                  <a:cubicBezTo>
                    <a:pt x="414" y="305"/>
                    <a:pt x="421" y="310"/>
                    <a:pt x="425" y="309"/>
                  </a:cubicBezTo>
                  <a:cubicBezTo>
                    <a:pt x="429" y="308"/>
                    <a:pt x="433" y="300"/>
                    <a:pt x="436" y="297"/>
                  </a:cubicBezTo>
                  <a:cubicBezTo>
                    <a:pt x="440" y="295"/>
                    <a:pt x="437" y="293"/>
                    <a:pt x="430" y="294"/>
                  </a:cubicBezTo>
                  <a:cubicBezTo>
                    <a:pt x="423" y="294"/>
                    <a:pt x="420" y="292"/>
                    <a:pt x="416" y="289"/>
                  </a:cubicBezTo>
                  <a:cubicBezTo>
                    <a:pt x="413" y="286"/>
                    <a:pt x="413" y="284"/>
                    <a:pt x="417" y="284"/>
                  </a:cubicBezTo>
                  <a:cubicBezTo>
                    <a:pt x="420" y="285"/>
                    <a:pt x="429" y="292"/>
                    <a:pt x="433" y="292"/>
                  </a:cubicBezTo>
                  <a:cubicBezTo>
                    <a:pt x="436" y="293"/>
                    <a:pt x="442" y="286"/>
                    <a:pt x="445" y="284"/>
                  </a:cubicBezTo>
                  <a:cubicBezTo>
                    <a:pt x="448" y="281"/>
                    <a:pt x="442" y="281"/>
                    <a:pt x="440" y="279"/>
                  </a:cubicBezTo>
                  <a:cubicBezTo>
                    <a:pt x="438" y="277"/>
                    <a:pt x="444" y="276"/>
                    <a:pt x="447" y="276"/>
                  </a:cubicBezTo>
                  <a:cubicBezTo>
                    <a:pt x="449" y="276"/>
                    <a:pt x="451" y="279"/>
                    <a:pt x="452" y="280"/>
                  </a:cubicBezTo>
                  <a:cubicBezTo>
                    <a:pt x="453" y="281"/>
                    <a:pt x="458" y="279"/>
                    <a:pt x="460" y="279"/>
                  </a:cubicBezTo>
                  <a:cubicBezTo>
                    <a:pt x="463" y="279"/>
                    <a:pt x="460" y="275"/>
                    <a:pt x="456" y="273"/>
                  </a:cubicBezTo>
                  <a:cubicBezTo>
                    <a:pt x="452" y="272"/>
                    <a:pt x="456" y="269"/>
                    <a:pt x="457" y="271"/>
                  </a:cubicBezTo>
                  <a:cubicBezTo>
                    <a:pt x="458" y="274"/>
                    <a:pt x="461" y="273"/>
                    <a:pt x="463" y="276"/>
                  </a:cubicBezTo>
                  <a:cubicBezTo>
                    <a:pt x="465" y="280"/>
                    <a:pt x="466" y="278"/>
                    <a:pt x="470" y="276"/>
                  </a:cubicBezTo>
                  <a:cubicBezTo>
                    <a:pt x="473" y="275"/>
                    <a:pt x="475" y="273"/>
                    <a:pt x="477" y="271"/>
                  </a:cubicBezTo>
                  <a:cubicBezTo>
                    <a:pt x="479" y="269"/>
                    <a:pt x="479" y="271"/>
                    <a:pt x="482" y="268"/>
                  </a:cubicBezTo>
                  <a:cubicBezTo>
                    <a:pt x="484" y="264"/>
                    <a:pt x="481" y="261"/>
                    <a:pt x="478" y="259"/>
                  </a:cubicBezTo>
                  <a:cubicBezTo>
                    <a:pt x="475" y="257"/>
                    <a:pt x="478" y="255"/>
                    <a:pt x="475" y="253"/>
                  </a:cubicBezTo>
                  <a:cubicBezTo>
                    <a:pt x="472" y="252"/>
                    <a:pt x="472" y="249"/>
                    <a:pt x="475" y="250"/>
                  </a:cubicBezTo>
                  <a:cubicBezTo>
                    <a:pt x="479" y="251"/>
                    <a:pt x="482" y="250"/>
                    <a:pt x="483" y="247"/>
                  </a:cubicBezTo>
                  <a:cubicBezTo>
                    <a:pt x="485" y="245"/>
                    <a:pt x="478" y="244"/>
                    <a:pt x="481" y="242"/>
                  </a:cubicBezTo>
                  <a:cubicBezTo>
                    <a:pt x="484" y="240"/>
                    <a:pt x="482" y="239"/>
                    <a:pt x="478" y="239"/>
                  </a:cubicBezTo>
                  <a:cubicBezTo>
                    <a:pt x="475" y="239"/>
                    <a:pt x="473" y="237"/>
                    <a:pt x="472" y="234"/>
                  </a:cubicBezTo>
                  <a:cubicBezTo>
                    <a:pt x="472" y="232"/>
                    <a:pt x="467" y="233"/>
                    <a:pt x="463" y="232"/>
                  </a:cubicBezTo>
                  <a:cubicBezTo>
                    <a:pt x="460" y="230"/>
                    <a:pt x="452" y="231"/>
                    <a:pt x="451" y="231"/>
                  </a:cubicBezTo>
                  <a:cubicBezTo>
                    <a:pt x="449" y="231"/>
                    <a:pt x="449" y="238"/>
                    <a:pt x="451" y="238"/>
                  </a:cubicBezTo>
                  <a:cubicBezTo>
                    <a:pt x="454" y="239"/>
                    <a:pt x="456" y="241"/>
                    <a:pt x="454" y="242"/>
                  </a:cubicBezTo>
                  <a:cubicBezTo>
                    <a:pt x="451" y="243"/>
                    <a:pt x="454" y="246"/>
                    <a:pt x="452" y="246"/>
                  </a:cubicBezTo>
                  <a:cubicBezTo>
                    <a:pt x="451" y="246"/>
                    <a:pt x="448" y="245"/>
                    <a:pt x="447" y="250"/>
                  </a:cubicBezTo>
                  <a:cubicBezTo>
                    <a:pt x="447" y="254"/>
                    <a:pt x="446" y="256"/>
                    <a:pt x="443" y="258"/>
                  </a:cubicBezTo>
                  <a:cubicBezTo>
                    <a:pt x="440" y="259"/>
                    <a:pt x="443" y="252"/>
                    <a:pt x="440" y="253"/>
                  </a:cubicBezTo>
                  <a:cubicBezTo>
                    <a:pt x="437" y="253"/>
                    <a:pt x="437" y="258"/>
                    <a:pt x="439" y="259"/>
                  </a:cubicBezTo>
                  <a:cubicBezTo>
                    <a:pt x="441" y="259"/>
                    <a:pt x="441" y="261"/>
                    <a:pt x="442" y="264"/>
                  </a:cubicBezTo>
                  <a:cubicBezTo>
                    <a:pt x="442" y="266"/>
                    <a:pt x="438" y="264"/>
                    <a:pt x="436" y="268"/>
                  </a:cubicBezTo>
                  <a:cubicBezTo>
                    <a:pt x="434" y="271"/>
                    <a:pt x="434" y="266"/>
                    <a:pt x="432" y="264"/>
                  </a:cubicBezTo>
                  <a:cubicBezTo>
                    <a:pt x="429" y="262"/>
                    <a:pt x="426" y="258"/>
                    <a:pt x="426" y="256"/>
                  </a:cubicBezTo>
                  <a:cubicBezTo>
                    <a:pt x="426" y="253"/>
                    <a:pt x="428" y="253"/>
                    <a:pt x="430" y="252"/>
                  </a:cubicBezTo>
                  <a:cubicBezTo>
                    <a:pt x="432" y="252"/>
                    <a:pt x="430" y="250"/>
                    <a:pt x="429" y="247"/>
                  </a:cubicBezTo>
                  <a:cubicBezTo>
                    <a:pt x="429" y="244"/>
                    <a:pt x="427" y="245"/>
                    <a:pt x="424" y="241"/>
                  </a:cubicBezTo>
                  <a:cubicBezTo>
                    <a:pt x="421" y="238"/>
                    <a:pt x="418" y="238"/>
                    <a:pt x="417" y="240"/>
                  </a:cubicBezTo>
                  <a:cubicBezTo>
                    <a:pt x="415" y="241"/>
                    <a:pt x="416" y="244"/>
                    <a:pt x="414" y="245"/>
                  </a:cubicBezTo>
                  <a:cubicBezTo>
                    <a:pt x="411" y="246"/>
                    <a:pt x="412" y="251"/>
                    <a:pt x="410" y="252"/>
                  </a:cubicBezTo>
                  <a:cubicBezTo>
                    <a:pt x="408" y="252"/>
                    <a:pt x="409" y="243"/>
                    <a:pt x="407" y="242"/>
                  </a:cubicBezTo>
                  <a:cubicBezTo>
                    <a:pt x="405" y="241"/>
                    <a:pt x="406" y="239"/>
                    <a:pt x="408" y="239"/>
                  </a:cubicBezTo>
                  <a:cubicBezTo>
                    <a:pt x="411" y="238"/>
                    <a:pt x="413" y="235"/>
                    <a:pt x="410" y="235"/>
                  </a:cubicBezTo>
                  <a:cubicBezTo>
                    <a:pt x="408" y="235"/>
                    <a:pt x="404" y="233"/>
                    <a:pt x="402" y="232"/>
                  </a:cubicBezTo>
                  <a:cubicBezTo>
                    <a:pt x="401" y="232"/>
                    <a:pt x="398" y="235"/>
                    <a:pt x="396" y="234"/>
                  </a:cubicBezTo>
                  <a:cubicBezTo>
                    <a:pt x="394" y="232"/>
                    <a:pt x="396" y="229"/>
                    <a:pt x="397" y="227"/>
                  </a:cubicBezTo>
                  <a:cubicBezTo>
                    <a:pt x="397" y="225"/>
                    <a:pt x="399" y="228"/>
                    <a:pt x="401" y="225"/>
                  </a:cubicBezTo>
                  <a:cubicBezTo>
                    <a:pt x="403" y="223"/>
                    <a:pt x="396" y="223"/>
                    <a:pt x="396" y="220"/>
                  </a:cubicBezTo>
                  <a:cubicBezTo>
                    <a:pt x="396" y="217"/>
                    <a:pt x="391" y="217"/>
                    <a:pt x="389" y="216"/>
                  </a:cubicBezTo>
                  <a:cubicBezTo>
                    <a:pt x="387" y="215"/>
                    <a:pt x="390" y="210"/>
                    <a:pt x="389" y="209"/>
                  </a:cubicBezTo>
                  <a:cubicBezTo>
                    <a:pt x="389" y="207"/>
                    <a:pt x="382" y="201"/>
                    <a:pt x="379" y="202"/>
                  </a:cubicBezTo>
                  <a:cubicBezTo>
                    <a:pt x="376" y="202"/>
                    <a:pt x="376" y="198"/>
                    <a:pt x="377" y="198"/>
                  </a:cubicBezTo>
                  <a:cubicBezTo>
                    <a:pt x="379" y="198"/>
                    <a:pt x="380" y="197"/>
                    <a:pt x="383" y="194"/>
                  </a:cubicBezTo>
                  <a:cubicBezTo>
                    <a:pt x="386" y="190"/>
                    <a:pt x="386" y="189"/>
                    <a:pt x="384" y="189"/>
                  </a:cubicBezTo>
                  <a:cubicBezTo>
                    <a:pt x="382" y="188"/>
                    <a:pt x="381" y="186"/>
                    <a:pt x="385" y="186"/>
                  </a:cubicBezTo>
                  <a:cubicBezTo>
                    <a:pt x="389" y="186"/>
                    <a:pt x="395" y="189"/>
                    <a:pt x="397" y="187"/>
                  </a:cubicBezTo>
                  <a:cubicBezTo>
                    <a:pt x="399" y="185"/>
                    <a:pt x="406" y="175"/>
                    <a:pt x="409" y="171"/>
                  </a:cubicBezTo>
                  <a:cubicBezTo>
                    <a:pt x="412" y="167"/>
                    <a:pt x="407" y="167"/>
                    <a:pt x="400" y="167"/>
                  </a:cubicBezTo>
                  <a:cubicBezTo>
                    <a:pt x="394" y="168"/>
                    <a:pt x="393" y="165"/>
                    <a:pt x="387" y="165"/>
                  </a:cubicBezTo>
                  <a:cubicBezTo>
                    <a:pt x="382" y="164"/>
                    <a:pt x="372" y="166"/>
                    <a:pt x="371" y="167"/>
                  </a:cubicBezTo>
                  <a:cubicBezTo>
                    <a:pt x="369" y="169"/>
                    <a:pt x="373" y="170"/>
                    <a:pt x="373" y="172"/>
                  </a:cubicBezTo>
                  <a:cubicBezTo>
                    <a:pt x="372" y="174"/>
                    <a:pt x="369" y="171"/>
                    <a:pt x="367" y="172"/>
                  </a:cubicBezTo>
                  <a:cubicBezTo>
                    <a:pt x="366" y="172"/>
                    <a:pt x="368" y="175"/>
                    <a:pt x="367" y="181"/>
                  </a:cubicBezTo>
                  <a:cubicBezTo>
                    <a:pt x="367" y="187"/>
                    <a:pt x="369" y="187"/>
                    <a:pt x="371" y="190"/>
                  </a:cubicBezTo>
                  <a:cubicBezTo>
                    <a:pt x="372" y="192"/>
                    <a:pt x="372" y="195"/>
                    <a:pt x="372" y="199"/>
                  </a:cubicBezTo>
                  <a:cubicBezTo>
                    <a:pt x="372" y="203"/>
                    <a:pt x="368" y="203"/>
                    <a:pt x="367" y="204"/>
                  </a:cubicBezTo>
                  <a:cubicBezTo>
                    <a:pt x="366" y="205"/>
                    <a:pt x="370" y="206"/>
                    <a:pt x="369" y="208"/>
                  </a:cubicBezTo>
                  <a:cubicBezTo>
                    <a:pt x="369" y="211"/>
                    <a:pt x="365" y="207"/>
                    <a:pt x="363" y="208"/>
                  </a:cubicBezTo>
                  <a:cubicBezTo>
                    <a:pt x="361" y="208"/>
                    <a:pt x="359" y="215"/>
                    <a:pt x="361" y="217"/>
                  </a:cubicBezTo>
                  <a:cubicBezTo>
                    <a:pt x="364" y="218"/>
                    <a:pt x="364" y="218"/>
                    <a:pt x="363" y="220"/>
                  </a:cubicBezTo>
                  <a:cubicBezTo>
                    <a:pt x="361" y="223"/>
                    <a:pt x="359" y="226"/>
                    <a:pt x="363" y="230"/>
                  </a:cubicBezTo>
                  <a:cubicBezTo>
                    <a:pt x="367" y="233"/>
                    <a:pt x="375" y="233"/>
                    <a:pt x="379" y="235"/>
                  </a:cubicBezTo>
                  <a:cubicBezTo>
                    <a:pt x="384" y="238"/>
                    <a:pt x="378" y="236"/>
                    <a:pt x="379" y="239"/>
                  </a:cubicBezTo>
                  <a:cubicBezTo>
                    <a:pt x="381" y="242"/>
                    <a:pt x="377" y="243"/>
                    <a:pt x="377" y="246"/>
                  </a:cubicBezTo>
                  <a:cubicBezTo>
                    <a:pt x="377" y="248"/>
                    <a:pt x="379" y="247"/>
                    <a:pt x="381" y="243"/>
                  </a:cubicBezTo>
                  <a:cubicBezTo>
                    <a:pt x="383" y="239"/>
                    <a:pt x="384" y="244"/>
                    <a:pt x="384" y="247"/>
                  </a:cubicBezTo>
                  <a:cubicBezTo>
                    <a:pt x="384" y="251"/>
                    <a:pt x="381" y="249"/>
                    <a:pt x="379" y="252"/>
                  </a:cubicBezTo>
                  <a:cubicBezTo>
                    <a:pt x="376" y="256"/>
                    <a:pt x="374" y="256"/>
                    <a:pt x="371" y="255"/>
                  </a:cubicBezTo>
                  <a:cubicBezTo>
                    <a:pt x="367" y="255"/>
                    <a:pt x="369" y="260"/>
                    <a:pt x="371" y="263"/>
                  </a:cubicBezTo>
                  <a:cubicBezTo>
                    <a:pt x="372" y="266"/>
                    <a:pt x="371" y="267"/>
                    <a:pt x="367" y="266"/>
                  </a:cubicBezTo>
                  <a:cubicBezTo>
                    <a:pt x="363" y="265"/>
                    <a:pt x="360" y="263"/>
                    <a:pt x="362" y="260"/>
                  </a:cubicBezTo>
                  <a:cubicBezTo>
                    <a:pt x="364" y="257"/>
                    <a:pt x="366" y="253"/>
                    <a:pt x="363" y="253"/>
                  </a:cubicBezTo>
                  <a:cubicBezTo>
                    <a:pt x="361" y="254"/>
                    <a:pt x="356" y="253"/>
                    <a:pt x="354" y="251"/>
                  </a:cubicBezTo>
                  <a:cubicBezTo>
                    <a:pt x="353" y="248"/>
                    <a:pt x="355" y="249"/>
                    <a:pt x="360" y="250"/>
                  </a:cubicBezTo>
                  <a:cubicBezTo>
                    <a:pt x="365" y="250"/>
                    <a:pt x="361" y="247"/>
                    <a:pt x="364" y="247"/>
                  </a:cubicBezTo>
                  <a:cubicBezTo>
                    <a:pt x="368" y="247"/>
                    <a:pt x="371" y="249"/>
                    <a:pt x="374" y="246"/>
                  </a:cubicBezTo>
                  <a:cubicBezTo>
                    <a:pt x="377" y="243"/>
                    <a:pt x="372" y="238"/>
                    <a:pt x="369" y="239"/>
                  </a:cubicBezTo>
                  <a:cubicBezTo>
                    <a:pt x="367" y="240"/>
                    <a:pt x="363" y="241"/>
                    <a:pt x="363" y="238"/>
                  </a:cubicBezTo>
                  <a:cubicBezTo>
                    <a:pt x="363" y="236"/>
                    <a:pt x="367" y="238"/>
                    <a:pt x="369" y="237"/>
                  </a:cubicBezTo>
                  <a:cubicBezTo>
                    <a:pt x="372" y="237"/>
                    <a:pt x="368" y="233"/>
                    <a:pt x="364" y="234"/>
                  </a:cubicBezTo>
                  <a:cubicBezTo>
                    <a:pt x="361" y="235"/>
                    <a:pt x="358" y="235"/>
                    <a:pt x="356" y="232"/>
                  </a:cubicBezTo>
                  <a:cubicBezTo>
                    <a:pt x="353" y="229"/>
                    <a:pt x="348" y="228"/>
                    <a:pt x="346" y="235"/>
                  </a:cubicBezTo>
                  <a:cubicBezTo>
                    <a:pt x="345" y="241"/>
                    <a:pt x="340" y="238"/>
                    <a:pt x="338" y="240"/>
                  </a:cubicBezTo>
                  <a:cubicBezTo>
                    <a:pt x="336" y="242"/>
                    <a:pt x="340" y="244"/>
                    <a:pt x="345" y="244"/>
                  </a:cubicBezTo>
                  <a:cubicBezTo>
                    <a:pt x="350" y="244"/>
                    <a:pt x="354" y="249"/>
                    <a:pt x="351" y="249"/>
                  </a:cubicBezTo>
                  <a:cubicBezTo>
                    <a:pt x="349" y="249"/>
                    <a:pt x="350" y="252"/>
                    <a:pt x="348" y="251"/>
                  </a:cubicBezTo>
                  <a:cubicBezTo>
                    <a:pt x="345" y="250"/>
                    <a:pt x="343" y="251"/>
                    <a:pt x="344" y="253"/>
                  </a:cubicBezTo>
                  <a:cubicBezTo>
                    <a:pt x="346" y="255"/>
                    <a:pt x="344" y="256"/>
                    <a:pt x="344" y="258"/>
                  </a:cubicBezTo>
                  <a:cubicBezTo>
                    <a:pt x="344" y="260"/>
                    <a:pt x="340" y="258"/>
                    <a:pt x="336" y="258"/>
                  </a:cubicBezTo>
                  <a:cubicBezTo>
                    <a:pt x="333" y="258"/>
                    <a:pt x="326" y="259"/>
                    <a:pt x="321" y="260"/>
                  </a:cubicBezTo>
                  <a:cubicBezTo>
                    <a:pt x="316" y="261"/>
                    <a:pt x="310" y="259"/>
                    <a:pt x="308" y="257"/>
                  </a:cubicBezTo>
                  <a:cubicBezTo>
                    <a:pt x="306" y="255"/>
                    <a:pt x="303" y="255"/>
                    <a:pt x="299" y="255"/>
                  </a:cubicBezTo>
                  <a:cubicBezTo>
                    <a:pt x="296" y="255"/>
                    <a:pt x="297" y="252"/>
                    <a:pt x="292" y="251"/>
                  </a:cubicBezTo>
                  <a:cubicBezTo>
                    <a:pt x="288" y="251"/>
                    <a:pt x="289" y="247"/>
                    <a:pt x="288" y="245"/>
                  </a:cubicBezTo>
                  <a:cubicBezTo>
                    <a:pt x="288" y="243"/>
                    <a:pt x="278" y="243"/>
                    <a:pt x="275" y="246"/>
                  </a:cubicBezTo>
                  <a:cubicBezTo>
                    <a:pt x="272" y="248"/>
                    <a:pt x="265" y="247"/>
                    <a:pt x="263" y="251"/>
                  </a:cubicBezTo>
                  <a:cubicBezTo>
                    <a:pt x="261" y="255"/>
                    <a:pt x="265" y="254"/>
                    <a:pt x="267" y="254"/>
                  </a:cubicBezTo>
                  <a:cubicBezTo>
                    <a:pt x="269" y="254"/>
                    <a:pt x="269" y="251"/>
                    <a:pt x="274" y="252"/>
                  </a:cubicBezTo>
                  <a:cubicBezTo>
                    <a:pt x="279" y="252"/>
                    <a:pt x="283" y="246"/>
                    <a:pt x="285" y="249"/>
                  </a:cubicBezTo>
                  <a:cubicBezTo>
                    <a:pt x="287" y="251"/>
                    <a:pt x="276" y="255"/>
                    <a:pt x="272" y="256"/>
                  </a:cubicBezTo>
                  <a:cubicBezTo>
                    <a:pt x="267" y="256"/>
                    <a:pt x="268" y="260"/>
                    <a:pt x="273" y="267"/>
                  </a:cubicBezTo>
                  <a:cubicBezTo>
                    <a:pt x="277" y="273"/>
                    <a:pt x="271" y="269"/>
                    <a:pt x="271" y="273"/>
                  </a:cubicBezTo>
                  <a:cubicBezTo>
                    <a:pt x="271" y="276"/>
                    <a:pt x="262" y="272"/>
                    <a:pt x="266" y="271"/>
                  </a:cubicBezTo>
                  <a:cubicBezTo>
                    <a:pt x="269" y="269"/>
                    <a:pt x="267" y="266"/>
                    <a:pt x="265" y="264"/>
                  </a:cubicBezTo>
                  <a:cubicBezTo>
                    <a:pt x="262" y="262"/>
                    <a:pt x="260" y="264"/>
                    <a:pt x="261" y="262"/>
                  </a:cubicBezTo>
                  <a:cubicBezTo>
                    <a:pt x="261" y="259"/>
                    <a:pt x="258" y="262"/>
                    <a:pt x="255" y="260"/>
                  </a:cubicBezTo>
                  <a:cubicBezTo>
                    <a:pt x="253" y="258"/>
                    <a:pt x="252" y="256"/>
                    <a:pt x="248" y="258"/>
                  </a:cubicBezTo>
                  <a:cubicBezTo>
                    <a:pt x="245" y="260"/>
                    <a:pt x="241" y="259"/>
                    <a:pt x="233" y="261"/>
                  </a:cubicBezTo>
                  <a:cubicBezTo>
                    <a:pt x="226" y="262"/>
                    <a:pt x="212" y="261"/>
                    <a:pt x="210" y="259"/>
                  </a:cubicBezTo>
                  <a:cubicBezTo>
                    <a:pt x="207" y="256"/>
                    <a:pt x="216" y="252"/>
                    <a:pt x="219" y="253"/>
                  </a:cubicBezTo>
                  <a:cubicBezTo>
                    <a:pt x="221" y="253"/>
                    <a:pt x="220" y="250"/>
                    <a:pt x="216" y="247"/>
                  </a:cubicBezTo>
                  <a:cubicBezTo>
                    <a:pt x="212" y="243"/>
                    <a:pt x="203" y="241"/>
                    <a:pt x="203" y="243"/>
                  </a:cubicBezTo>
                  <a:cubicBezTo>
                    <a:pt x="203" y="245"/>
                    <a:pt x="198" y="244"/>
                    <a:pt x="191" y="242"/>
                  </a:cubicBezTo>
                  <a:cubicBezTo>
                    <a:pt x="184" y="241"/>
                    <a:pt x="183" y="239"/>
                    <a:pt x="179" y="239"/>
                  </a:cubicBezTo>
                  <a:cubicBezTo>
                    <a:pt x="175" y="238"/>
                    <a:pt x="168" y="237"/>
                    <a:pt x="163" y="233"/>
                  </a:cubicBezTo>
                  <a:cubicBezTo>
                    <a:pt x="158" y="229"/>
                    <a:pt x="147" y="230"/>
                    <a:pt x="145" y="234"/>
                  </a:cubicBezTo>
                  <a:cubicBezTo>
                    <a:pt x="144" y="238"/>
                    <a:pt x="140" y="237"/>
                    <a:pt x="136" y="237"/>
                  </a:cubicBezTo>
                  <a:cubicBezTo>
                    <a:pt x="132" y="237"/>
                    <a:pt x="138" y="233"/>
                    <a:pt x="136" y="232"/>
                  </a:cubicBezTo>
                  <a:cubicBezTo>
                    <a:pt x="134" y="231"/>
                    <a:pt x="137" y="226"/>
                    <a:pt x="134" y="226"/>
                  </a:cubicBezTo>
                  <a:cubicBezTo>
                    <a:pt x="131" y="226"/>
                    <a:pt x="128" y="238"/>
                    <a:pt x="123" y="237"/>
                  </a:cubicBezTo>
                  <a:cubicBezTo>
                    <a:pt x="117" y="237"/>
                    <a:pt x="115" y="225"/>
                    <a:pt x="111" y="221"/>
                  </a:cubicBezTo>
                  <a:cubicBezTo>
                    <a:pt x="106" y="218"/>
                    <a:pt x="102" y="218"/>
                    <a:pt x="106" y="223"/>
                  </a:cubicBezTo>
                  <a:cubicBezTo>
                    <a:pt x="110" y="228"/>
                    <a:pt x="103" y="224"/>
                    <a:pt x="103" y="227"/>
                  </a:cubicBezTo>
                  <a:cubicBezTo>
                    <a:pt x="103" y="231"/>
                    <a:pt x="97" y="234"/>
                    <a:pt x="97" y="233"/>
                  </a:cubicBezTo>
                  <a:cubicBezTo>
                    <a:pt x="97" y="231"/>
                    <a:pt x="94" y="229"/>
                    <a:pt x="89" y="234"/>
                  </a:cubicBezTo>
                  <a:cubicBezTo>
                    <a:pt x="85" y="239"/>
                    <a:pt x="82" y="238"/>
                    <a:pt x="82" y="236"/>
                  </a:cubicBezTo>
                  <a:cubicBezTo>
                    <a:pt x="81" y="235"/>
                    <a:pt x="69" y="241"/>
                    <a:pt x="69" y="243"/>
                  </a:cubicBezTo>
                  <a:cubicBezTo>
                    <a:pt x="70" y="245"/>
                    <a:pt x="67" y="247"/>
                    <a:pt x="64" y="247"/>
                  </a:cubicBezTo>
                  <a:cubicBezTo>
                    <a:pt x="60" y="246"/>
                    <a:pt x="63" y="244"/>
                    <a:pt x="66" y="242"/>
                  </a:cubicBezTo>
                  <a:cubicBezTo>
                    <a:pt x="69" y="241"/>
                    <a:pt x="77" y="234"/>
                    <a:pt x="81" y="233"/>
                  </a:cubicBezTo>
                  <a:cubicBezTo>
                    <a:pt x="86" y="233"/>
                    <a:pt x="94" y="229"/>
                    <a:pt x="94" y="227"/>
                  </a:cubicBezTo>
                  <a:cubicBezTo>
                    <a:pt x="94" y="225"/>
                    <a:pt x="90" y="227"/>
                    <a:pt x="87" y="226"/>
                  </a:cubicBezTo>
                  <a:cubicBezTo>
                    <a:pt x="84" y="226"/>
                    <a:pt x="79" y="229"/>
                    <a:pt x="74" y="231"/>
                  </a:cubicBezTo>
                  <a:cubicBezTo>
                    <a:pt x="69" y="233"/>
                    <a:pt x="64" y="233"/>
                    <a:pt x="65" y="235"/>
                  </a:cubicBezTo>
                  <a:cubicBezTo>
                    <a:pt x="67" y="238"/>
                    <a:pt x="61" y="235"/>
                    <a:pt x="60" y="237"/>
                  </a:cubicBezTo>
                  <a:cubicBezTo>
                    <a:pt x="58" y="239"/>
                    <a:pt x="56" y="237"/>
                    <a:pt x="58" y="236"/>
                  </a:cubicBezTo>
                  <a:cubicBezTo>
                    <a:pt x="60" y="235"/>
                    <a:pt x="54" y="233"/>
                    <a:pt x="54" y="234"/>
                  </a:cubicBezTo>
                  <a:cubicBezTo>
                    <a:pt x="54" y="235"/>
                    <a:pt x="53" y="237"/>
                    <a:pt x="48" y="237"/>
                  </a:cubicBezTo>
                  <a:cubicBezTo>
                    <a:pt x="44" y="237"/>
                    <a:pt x="40" y="240"/>
                    <a:pt x="43" y="242"/>
                  </a:cubicBezTo>
                  <a:cubicBezTo>
                    <a:pt x="45" y="244"/>
                    <a:pt x="47" y="245"/>
                    <a:pt x="46" y="247"/>
                  </a:cubicBezTo>
                  <a:cubicBezTo>
                    <a:pt x="44" y="248"/>
                    <a:pt x="40" y="243"/>
                    <a:pt x="34" y="243"/>
                  </a:cubicBezTo>
                  <a:cubicBezTo>
                    <a:pt x="27" y="244"/>
                    <a:pt x="15" y="237"/>
                    <a:pt x="15" y="235"/>
                  </a:cubicBezTo>
                  <a:cubicBezTo>
                    <a:pt x="15" y="233"/>
                    <a:pt x="6" y="234"/>
                    <a:pt x="0" y="234"/>
                  </a:cubicBezTo>
                  <a:cubicBezTo>
                    <a:pt x="0" y="357"/>
                    <a:pt x="0" y="357"/>
                    <a:pt x="0" y="357"/>
                  </a:cubicBezTo>
                  <a:cubicBezTo>
                    <a:pt x="0" y="357"/>
                    <a:pt x="3" y="359"/>
                    <a:pt x="4" y="358"/>
                  </a:cubicBezTo>
                  <a:cubicBezTo>
                    <a:pt x="6" y="356"/>
                    <a:pt x="8" y="358"/>
                    <a:pt x="12" y="356"/>
                  </a:cubicBezTo>
                  <a:cubicBezTo>
                    <a:pt x="16" y="354"/>
                    <a:pt x="17" y="358"/>
                    <a:pt x="17" y="360"/>
                  </a:cubicBezTo>
                  <a:cubicBezTo>
                    <a:pt x="17" y="362"/>
                    <a:pt x="23" y="365"/>
                    <a:pt x="25" y="368"/>
                  </a:cubicBezTo>
                  <a:cubicBezTo>
                    <a:pt x="28" y="371"/>
                    <a:pt x="29" y="374"/>
                    <a:pt x="31" y="372"/>
                  </a:cubicBezTo>
                  <a:cubicBezTo>
                    <a:pt x="34" y="371"/>
                    <a:pt x="39" y="370"/>
                    <a:pt x="39" y="367"/>
                  </a:cubicBezTo>
                  <a:cubicBezTo>
                    <a:pt x="39" y="364"/>
                    <a:pt x="50" y="363"/>
                    <a:pt x="50" y="367"/>
                  </a:cubicBezTo>
                  <a:cubicBezTo>
                    <a:pt x="50" y="371"/>
                    <a:pt x="61" y="376"/>
                    <a:pt x="67" y="387"/>
                  </a:cubicBezTo>
                  <a:cubicBezTo>
                    <a:pt x="73" y="398"/>
                    <a:pt x="72" y="400"/>
                    <a:pt x="81" y="404"/>
                  </a:cubicBezTo>
                  <a:cubicBezTo>
                    <a:pt x="90" y="407"/>
                    <a:pt x="90" y="409"/>
                    <a:pt x="89" y="412"/>
                  </a:cubicBezTo>
                  <a:cubicBezTo>
                    <a:pt x="88" y="415"/>
                    <a:pt x="94" y="417"/>
                    <a:pt x="91" y="420"/>
                  </a:cubicBezTo>
                  <a:cubicBezTo>
                    <a:pt x="89" y="421"/>
                    <a:pt x="87" y="422"/>
                    <a:pt x="85" y="424"/>
                  </a:cubicBezTo>
                  <a:cubicBezTo>
                    <a:pt x="85" y="425"/>
                    <a:pt x="87" y="426"/>
                    <a:pt x="89" y="428"/>
                  </a:cubicBezTo>
                  <a:cubicBezTo>
                    <a:pt x="91" y="429"/>
                    <a:pt x="85" y="429"/>
                    <a:pt x="86" y="431"/>
                  </a:cubicBezTo>
                  <a:cubicBezTo>
                    <a:pt x="88" y="433"/>
                    <a:pt x="86" y="435"/>
                    <a:pt x="88" y="437"/>
                  </a:cubicBezTo>
                  <a:cubicBezTo>
                    <a:pt x="90" y="439"/>
                    <a:pt x="93" y="438"/>
                    <a:pt x="95" y="437"/>
                  </a:cubicBezTo>
                  <a:cubicBezTo>
                    <a:pt x="97" y="435"/>
                    <a:pt x="98" y="439"/>
                    <a:pt x="97" y="441"/>
                  </a:cubicBezTo>
                  <a:cubicBezTo>
                    <a:pt x="95" y="444"/>
                    <a:pt x="98" y="446"/>
                    <a:pt x="100" y="444"/>
                  </a:cubicBezTo>
                  <a:cubicBezTo>
                    <a:pt x="102" y="442"/>
                    <a:pt x="105" y="447"/>
                    <a:pt x="107" y="448"/>
                  </a:cubicBezTo>
                  <a:cubicBezTo>
                    <a:pt x="108" y="449"/>
                    <a:pt x="110" y="452"/>
                    <a:pt x="107" y="452"/>
                  </a:cubicBezTo>
                  <a:cubicBezTo>
                    <a:pt x="104" y="452"/>
                    <a:pt x="105" y="456"/>
                    <a:pt x="107" y="457"/>
                  </a:cubicBezTo>
                  <a:cubicBezTo>
                    <a:pt x="109" y="457"/>
                    <a:pt x="109" y="459"/>
                    <a:pt x="109" y="461"/>
                  </a:cubicBezTo>
                  <a:cubicBezTo>
                    <a:pt x="109" y="462"/>
                    <a:pt x="115" y="465"/>
                    <a:pt x="117" y="464"/>
                  </a:cubicBezTo>
                  <a:cubicBezTo>
                    <a:pt x="119" y="463"/>
                    <a:pt x="122" y="465"/>
                    <a:pt x="123" y="467"/>
                  </a:cubicBezTo>
                  <a:cubicBezTo>
                    <a:pt x="124" y="469"/>
                    <a:pt x="128" y="471"/>
                    <a:pt x="130" y="470"/>
                  </a:cubicBezTo>
                  <a:cubicBezTo>
                    <a:pt x="131" y="468"/>
                    <a:pt x="132" y="472"/>
                    <a:pt x="133" y="474"/>
                  </a:cubicBezTo>
                  <a:cubicBezTo>
                    <a:pt x="133" y="477"/>
                    <a:pt x="137" y="475"/>
                    <a:pt x="139" y="475"/>
                  </a:cubicBezTo>
                  <a:cubicBezTo>
                    <a:pt x="141" y="475"/>
                    <a:pt x="142" y="478"/>
                    <a:pt x="143" y="478"/>
                  </a:cubicBezTo>
                  <a:cubicBezTo>
                    <a:pt x="147" y="476"/>
                    <a:pt x="148" y="482"/>
                    <a:pt x="150" y="485"/>
                  </a:cubicBezTo>
                  <a:cubicBezTo>
                    <a:pt x="371" y="484"/>
                    <a:pt x="371" y="484"/>
                    <a:pt x="371" y="484"/>
                  </a:cubicBezTo>
                  <a:cubicBezTo>
                    <a:pt x="371" y="484"/>
                    <a:pt x="371" y="478"/>
                    <a:pt x="374" y="480"/>
                  </a:cubicBezTo>
                  <a:cubicBezTo>
                    <a:pt x="377" y="482"/>
                    <a:pt x="374" y="485"/>
                    <a:pt x="377" y="487"/>
                  </a:cubicBezTo>
                  <a:cubicBezTo>
                    <a:pt x="381" y="488"/>
                    <a:pt x="383" y="490"/>
                    <a:pt x="384" y="489"/>
                  </a:cubicBezTo>
                  <a:cubicBezTo>
                    <a:pt x="386" y="488"/>
                    <a:pt x="389" y="486"/>
                    <a:pt x="392" y="489"/>
                  </a:cubicBezTo>
                  <a:cubicBezTo>
                    <a:pt x="395" y="492"/>
                    <a:pt x="397" y="490"/>
                    <a:pt x="398" y="492"/>
                  </a:cubicBezTo>
                  <a:cubicBezTo>
                    <a:pt x="400" y="494"/>
                    <a:pt x="403" y="496"/>
                    <a:pt x="405" y="493"/>
                  </a:cubicBezTo>
                  <a:cubicBezTo>
                    <a:pt x="407" y="491"/>
                    <a:pt x="414" y="493"/>
                    <a:pt x="417" y="495"/>
                  </a:cubicBezTo>
                  <a:cubicBezTo>
                    <a:pt x="421" y="491"/>
                    <a:pt x="424" y="485"/>
                    <a:pt x="427" y="485"/>
                  </a:cubicBezTo>
                  <a:cubicBezTo>
                    <a:pt x="432" y="485"/>
                    <a:pt x="444" y="486"/>
                    <a:pt x="444" y="492"/>
                  </a:cubicBezTo>
                  <a:cubicBezTo>
                    <a:pt x="445" y="498"/>
                    <a:pt x="452" y="492"/>
                    <a:pt x="453" y="498"/>
                  </a:cubicBezTo>
                  <a:cubicBezTo>
                    <a:pt x="454" y="503"/>
                    <a:pt x="458" y="507"/>
                    <a:pt x="457" y="509"/>
                  </a:cubicBezTo>
                  <a:cubicBezTo>
                    <a:pt x="459" y="510"/>
                    <a:pt x="461" y="511"/>
                    <a:pt x="462" y="512"/>
                  </a:cubicBezTo>
                  <a:cubicBezTo>
                    <a:pt x="464" y="512"/>
                    <a:pt x="470" y="513"/>
                    <a:pt x="474" y="514"/>
                  </a:cubicBezTo>
                  <a:cubicBezTo>
                    <a:pt x="479" y="516"/>
                    <a:pt x="487" y="512"/>
                    <a:pt x="489" y="518"/>
                  </a:cubicBezTo>
                  <a:cubicBezTo>
                    <a:pt x="492" y="524"/>
                    <a:pt x="498" y="529"/>
                    <a:pt x="492" y="529"/>
                  </a:cubicBezTo>
                  <a:cubicBezTo>
                    <a:pt x="488" y="529"/>
                    <a:pt x="481" y="523"/>
                    <a:pt x="482" y="526"/>
                  </a:cubicBezTo>
                  <a:cubicBezTo>
                    <a:pt x="482" y="530"/>
                    <a:pt x="479" y="528"/>
                    <a:pt x="479" y="534"/>
                  </a:cubicBezTo>
                  <a:cubicBezTo>
                    <a:pt x="479" y="539"/>
                    <a:pt x="476" y="546"/>
                    <a:pt x="474" y="546"/>
                  </a:cubicBezTo>
                  <a:cubicBezTo>
                    <a:pt x="474" y="546"/>
                    <a:pt x="473" y="546"/>
                    <a:pt x="473" y="546"/>
                  </a:cubicBezTo>
                  <a:cubicBezTo>
                    <a:pt x="473" y="548"/>
                    <a:pt x="473" y="551"/>
                    <a:pt x="475" y="552"/>
                  </a:cubicBezTo>
                  <a:cubicBezTo>
                    <a:pt x="477" y="550"/>
                    <a:pt x="481" y="547"/>
                    <a:pt x="485" y="547"/>
                  </a:cubicBezTo>
                  <a:cubicBezTo>
                    <a:pt x="490" y="548"/>
                    <a:pt x="491" y="551"/>
                    <a:pt x="495" y="548"/>
                  </a:cubicBezTo>
                  <a:cubicBezTo>
                    <a:pt x="499" y="546"/>
                    <a:pt x="499" y="545"/>
                    <a:pt x="500" y="546"/>
                  </a:cubicBezTo>
                  <a:cubicBezTo>
                    <a:pt x="500" y="547"/>
                    <a:pt x="500" y="547"/>
                    <a:pt x="500" y="547"/>
                  </a:cubicBezTo>
                  <a:cubicBezTo>
                    <a:pt x="501" y="547"/>
                    <a:pt x="502" y="546"/>
                    <a:pt x="502" y="545"/>
                  </a:cubicBezTo>
                  <a:cubicBezTo>
                    <a:pt x="502" y="544"/>
                    <a:pt x="502" y="543"/>
                    <a:pt x="502" y="542"/>
                  </a:cubicBezTo>
                  <a:cubicBezTo>
                    <a:pt x="498" y="543"/>
                    <a:pt x="497" y="543"/>
                    <a:pt x="496" y="540"/>
                  </a:cubicBezTo>
                  <a:cubicBezTo>
                    <a:pt x="495" y="537"/>
                    <a:pt x="507" y="533"/>
                    <a:pt x="512" y="534"/>
                  </a:cubicBezTo>
                  <a:cubicBezTo>
                    <a:pt x="518" y="535"/>
                    <a:pt x="522" y="531"/>
                    <a:pt x="524" y="533"/>
                  </a:cubicBezTo>
                  <a:cubicBezTo>
                    <a:pt x="527" y="530"/>
                    <a:pt x="533" y="525"/>
                    <a:pt x="534" y="525"/>
                  </a:cubicBezTo>
                  <a:cubicBezTo>
                    <a:pt x="537" y="525"/>
                    <a:pt x="562" y="525"/>
                    <a:pt x="562" y="525"/>
                  </a:cubicBezTo>
                  <a:cubicBezTo>
                    <a:pt x="562" y="525"/>
                    <a:pt x="571" y="519"/>
                    <a:pt x="572" y="514"/>
                  </a:cubicBezTo>
                  <a:cubicBezTo>
                    <a:pt x="573" y="509"/>
                    <a:pt x="579" y="497"/>
                    <a:pt x="582" y="500"/>
                  </a:cubicBezTo>
                  <a:cubicBezTo>
                    <a:pt x="585" y="503"/>
                    <a:pt x="593" y="501"/>
                    <a:pt x="593" y="503"/>
                  </a:cubicBezTo>
                  <a:cubicBezTo>
                    <a:pt x="593" y="505"/>
                    <a:pt x="590" y="513"/>
                    <a:pt x="600" y="526"/>
                  </a:cubicBezTo>
                  <a:cubicBezTo>
                    <a:pt x="603" y="524"/>
                    <a:pt x="606" y="522"/>
                    <a:pt x="608" y="522"/>
                  </a:cubicBezTo>
                  <a:cubicBezTo>
                    <a:pt x="611" y="522"/>
                    <a:pt x="616" y="518"/>
                    <a:pt x="618" y="515"/>
                  </a:cubicBezTo>
                  <a:cubicBezTo>
                    <a:pt x="619" y="513"/>
                    <a:pt x="621" y="518"/>
                    <a:pt x="618" y="519"/>
                  </a:cubicBezTo>
                  <a:cubicBezTo>
                    <a:pt x="615" y="520"/>
                    <a:pt x="620" y="522"/>
                    <a:pt x="625" y="522"/>
                  </a:cubicBezTo>
                  <a:cubicBezTo>
                    <a:pt x="630" y="521"/>
                    <a:pt x="623" y="523"/>
                    <a:pt x="619" y="523"/>
                  </a:cubicBezTo>
                  <a:cubicBezTo>
                    <a:pt x="616" y="523"/>
                    <a:pt x="614" y="523"/>
                    <a:pt x="609" y="528"/>
                  </a:cubicBezTo>
                  <a:cubicBezTo>
                    <a:pt x="604" y="533"/>
                    <a:pt x="605" y="535"/>
                    <a:pt x="608" y="537"/>
                  </a:cubicBezTo>
                  <a:cubicBezTo>
                    <a:pt x="611" y="540"/>
                    <a:pt x="615" y="539"/>
                    <a:pt x="619" y="535"/>
                  </a:cubicBezTo>
                  <a:cubicBezTo>
                    <a:pt x="623" y="532"/>
                    <a:pt x="622" y="529"/>
                    <a:pt x="626" y="529"/>
                  </a:cubicBezTo>
                  <a:cubicBezTo>
                    <a:pt x="630" y="529"/>
                    <a:pt x="640" y="525"/>
                    <a:pt x="645" y="524"/>
                  </a:cubicBezTo>
                  <a:cubicBezTo>
                    <a:pt x="649" y="522"/>
                    <a:pt x="646" y="522"/>
                    <a:pt x="646" y="520"/>
                  </a:cubicBezTo>
                  <a:cubicBezTo>
                    <a:pt x="646" y="518"/>
                    <a:pt x="654" y="518"/>
                    <a:pt x="657" y="516"/>
                  </a:cubicBezTo>
                  <a:cubicBezTo>
                    <a:pt x="660" y="514"/>
                    <a:pt x="657" y="512"/>
                    <a:pt x="654" y="513"/>
                  </a:cubicBezTo>
                  <a:close/>
                  <a:moveTo>
                    <a:pt x="190" y="281"/>
                  </a:moveTo>
                  <a:cubicBezTo>
                    <a:pt x="185" y="287"/>
                    <a:pt x="184" y="288"/>
                    <a:pt x="179" y="287"/>
                  </a:cubicBezTo>
                  <a:cubicBezTo>
                    <a:pt x="174" y="286"/>
                    <a:pt x="171" y="289"/>
                    <a:pt x="173" y="290"/>
                  </a:cubicBezTo>
                  <a:cubicBezTo>
                    <a:pt x="176" y="292"/>
                    <a:pt x="176" y="294"/>
                    <a:pt x="171" y="295"/>
                  </a:cubicBezTo>
                  <a:cubicBezTo>
                    <a:pt x="166" y="296"/>
                    <a:pt x="163" y="300"/>
                    <a:pt x="161" y="299"/>
                  </a:cubicBezTo>
                  <a:cubicBezTo>
                    <a:pt x="159" y="299"/>
                    <a:pt x="169" y="291"/>
                    <a:pt x="167" y="289"/>
                  </a:cubicBezTo>
                  <a:cubicBezTo>
                    <a:pt x="164" y="287"/>
                    <a:pt x="157" y="293"/>
                    <a:pt x="157" y="295"/>
                  </a:cubicBezTo>
                  <a:cubicBezTo>
                    <a:pt x="157" y="298"/>
                    <a:pt x="153" y="298"/>
                    <a:pt x="150" y="298"/>
                  </a:cubicBezTo>
                  <a:cubicBezTo>
                    <a:pt x="147" y="297"/>
                    <a:pt x="144" y="295"/>
                    <a:pt x="146" y="295"/>
                  </a:cubicBezTo>
                  <a:cubicBezTo>
                    <a:pt x="149" y="294"/>
                    <a:pt x="147" y="291"/>
                    <a:pt x="151" y="290"/>
                  </a:cubicBezTo>
                  <a:cubicBezTo>
                    <a:pt x="155" y="289"/>
                    <a:pt x="150" y="286"/>
                    <a:pt x="151" y="285"/>
                  </a:cubicBezTo>
                  <a:cubicBezTo>
                    <a:pt x="152" y="283"/>
                    <a:pt x="160" y="286"/>
                    <a:pt x="160" y="284"/>
                  </a:cubicBezTo>
                  <a:cubicBezTo>
                    <a:pt x="160" y="281"/>
                    <a:pt x="153" y="278"/>
                    <a:pt x="150" y="280"/>
                  </a:cubicBezTo>
                  <a:cubicBezTo>
                    <a:pt x="148" y="282"/>
                    <a:pt x="142" y="286"/>
                    <a:pt x="134" y="283"/>
                  </a:cubicBezTo>
                  <a:cubicBezTo>
                    <a:pt x="132" y="282"/>
                    <a:pt x="152" y="279"/>
                    <a:pt x="156" y="276"/>
                  </a:cubicBezTo>
                  <a:cubicBezTo>
                    <a:pt x="159" y="273"/>
                    <a:pt x="174" y="270"/>
                    <a:pt x="176" y="272"/>
                  </a:cubicBezTo>
                  <a:cubicBezTo>
                    <a:pt x="177" y="275"/>
                    <a:pt x="167" y="277"/>
                    <a:pt x="172" y="280"/>
                  </a:cubicBezTo>
                  <a:cubicBezTo>
                    <a:pt x="176" y="282"/>
                    <a:pt x="184" y="281"/>
                    <a:pt x="186" y="278"/>
                  </a:cubicBezTo>
                  <a:cubicBezTo>
                    <a:pt x="187" y="275"/>
                    <a:pt x="195" y="276"/>
                    <a:pt x="190" y="281"/>
                  </a:cubicBezTo>
                  <a:close/>
                  <a:moveTo>
                    <a:pt x="235" y="339"/>
                  </a:moveTo>
                  <a:cubicBezTo>
                    <a:pt x="229" y="344"/>
                    <a:pt x="230" y="342"/>
                    <a:pt x="225" y="343"/>
                  </a:cubicBezTo>
                  <a:cubicBezTo>
                    <a:pt x="220" y="344"/>
                    <a:pt x="224" y="349"/>
                    <a:pt x="218" y="349"/>
                  </a:cubicBezTo>
                  <a:cubicBezTo>
                    <a:pt x="212" y="350"/>
                    <a:pt x="198" y="350"/>
                    <a:pt x="196" y="347"/>
                  </a:cubicBezTo>
                  <a:cubicBezTo>
                    <a:pt x="196" y="346"/>
                    <a:pt x="204" y="347"/>
                    <a:pt x="205" y="344"/>
                  </a:cubicBezTo>
                  <a:cubicBezTo>
                    <a:pt x="205" y="342"/>
                    <a:pt x="207" y="338"/>
                    <a:pt x="211" y="338"/>
                  </a:cubicBezTo>
                  <a:cubicBezTo>
                    <a:pt x="215" y="338"/>
                    <a:pt x="214" y="333"/>
                    <a:pt x="208" y="330"/>
                  </a:cubicBezTo>
                  <a:cubicBezTo>
                    <a:pt x="203" y="328"/>
                    <a:pt x="217" y="326"/>
                    <a:pt x="220" y="330"/>
                  </a:cubicBezTo>
                  <a:cubicBezTo>
                    <a:pt x="223" y="335"/>
                    <a:pt x="229" y="338"/>
                    <a:pt x="232" y="335"/>
                  </a:cubicBezTo>
                  <a:cubicBezTo>
                    <a:pt x="236" y="332"/>
                    <a:pt x="254" y="323"/>
                    <a:pt x="254" y="327"/>
                  </a:cubicBezTo>
                  <a:cubicBezTo>
                    <a:pt x="254" y="331"/>
                    <a:pt x="241" y="334"/>
                    <a:pt x="235" y="339"/>
                  </a:cubicBezTo>
                  <a:close/>
                  <a:moveTo>
                    <a:pt x="359" y="468"/>
                  </a:moveTo>
                  <a:cubicBezTo>
                    <a:pt x="355" y="469"/>
                    <a:pt x="359" y="458"/>
                    <a:pt x="352" y="454"/>
                  </a:cubicBezTo>
                  <a:cubicBezTo>
                    <a:pt x="344" y="449"/>
                    <a:pt x="340" y="441"/>
                    <a:pt x="340" y="436"/>
                  </a:cubicBezTo>
                  <a:cubicBezTo>
                    <a:pt x="340" y="432"/>
                    <a:pt x="347" y="429"/>
                    <a:pt x="350" y="433"/>
                  </a:cubicBezTo>
                  <a:cubicBezTo>
                    <a:pt x="353" y="437"/>
                    <a:pt x="357" y="451"/>
                    <a:pt x="360" y="456"/>
                  </a:cubicBezTo>
                  <a:cubicBezTo>
                    <a:pt x="362" y="461"/>
                    <a:pt x="362" y="468"/>
                    <a:pt x="359" y="468"/>
                  </a:cubicBezTo>
                  <a:close/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Freeform 158">
              <a:extLst>
                <a:ext uri="{FF2B5EF4-FFF2-40B4-BE49-F238E27FC236}">
                  <a16:creationId xmlns:a16="http://schemas.microsoft.com/office/drawing/2014/main" id="{338C85C8-08F6-4EDE-83F5-54D1493FC4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65054" y="4555002"/>
              <a:ext cx="942010" cy="833557"/>
            </a:xfrm>
            <a:custGeom>
              <a:avLst/>
              <a:gdLst>
                <a:gd name="T0" fmla="*/ 326 w 331"/>
                <a:gd name="T1" fmla="*/ 128 h 293"/>
                <a:gd name="T2" fmla="*/ 312 w 331"/>
                <a:gd name="T3" fmla="*/ 114 h 293"/>
                <a:gd name="T4" fmla="*/ 302 w 331"/>
                <a:gd name="T5" fmla="*/ 99 h 293"/>
                <a:gd name="T6" fmla="*/ 293 w 331"/>
                <a:gd name="T7" fmla="*/ 88 h 293"/>
                <a:gd name="T8" fmla="*/ 270 w 331"/>
                <a:gd name="T9" fmla="*/ 66 h 293"/>
                <a:gd name="T10" fmla="*/ 262 w 331"/>
                <a:gd name="T11" fmla="*/ 38 h 293"/>
                <a:gd name="T12" fmla="*/ 248 w 331"/>
                <a:gd name="T13" fmla="*/ 24 h 293"/>
                <a:gd name="T14" fmla="*/ 235 w 331"/>
                <a:gd name="T15" fmla="*/ 7 h 293"/>
                <a:gd name="T16" fmla="*/ 231 w 331"/>
                <a:gd name="T17" fmla="*/ 36 h 293"/>
                <a:gd name="T18" fmla="*/ 212 w 331"/>
                <a:gd name="T19" fmla="*/ 54 h 293"/>
                <a:gd name="T20" fmla="*/ 189 w 331"/>
                <a:gd name="T21" fmla="*/ 42 h 293"/>
                <a:gd name="T22" fmla="*/ 185 w 331"/>
                <a:gd name="T23" fmla="*/ 25 h 293"/>
                <a:gd name="T24" fmla="*/ 191 w 331"/>
                <a:gd name="T25" fmla="*/ 12 h 293"/>
                <a:gd name="T26" fmla="*/ 179 w 331"/>
                <a:gd name="T27" fmla="*/ 13 h 293"/>
                <a:gd name="T28" fmla="*/ 159 w 331"/>
                <a:gd name="T29" fmla="*/ 9 h 293"/>
                <a:gd name="T30" fmla="*/ 138 w 331"/>
                <a:gd name="T31" fmla="*/ 22 h 293"/>
                <a:gd name="T32" fmla="*/ 131 w 331"/>
                <a:gd name="T33" fmla="*/ 36 h 293"/>
                <a:gd name="T34" fmla="*/ 119 w 331"/>
                <a:gd name="T35" fmla="*/ 31 h 293"/>
                <a:gd name="T36" fmla="*/ 105 w 331"/>
                <a:gd name="T37" fmla="*/ 32 h 293"/>
                <a:gd name="T38" fmla="*/ 94 w 331"/>
                <a:gd name="T39" fmla="*/ 39 h 293"/>
                <a:gd name="T40" fmla="*/ 87 w 331"/>
                <a:gd name="T41" fmla="*/ 52 h 293"/>
                <a:gd name="T42" fmla="*/ 76 w 331"/>
                <a:gd name="T43" fmla="*/ 53 h 293"/>
                <a:gd name="T44" fmla="*/ 49 w 331"/>
                <a:gd name="T45" fmla="*/ 78 h 293"/>
                <a:gd name="T46" fmla="*/ 24 w 331"/>
                <a:gd name="T47" fmla="*/ 86 h 293"/>
                <a:gd name="T48" fmla="*/ 9 w 331"/>
                <a:gd name="T49" fmla="*/ 93 h 293"/>
                <a:gd name="T50" fmla="*/ 4 w 331"/>
                <a:gd name="T51" fmla="*/ 121 h 293"/>
                <a:gd name="T52" fmla="*/ 6 w 331"/>
                <a:gd name="T53" fmla="*/ 133 h 293"/>
                <a:gd name="T54" fmla="*/ 15 w 331"/>
                <a:gd name="T55" fmla="*/ 162 h 293"/>
                <a:gd name="T56" fmla="*/ 16 w 331"/>
                <a:gd name="T57" fmla="*/ 198 h 293"/>
                <a:gd name="T58" fmla="*/ 40 w 331"/>
                <a:gd name="T59" fmla="*/ 210 h 293"/>
                <a:gd name="T60" fmla="*/ 74 w 331"/>
                <a:gd name="T61" fmla="*/ 200 h 293"/>
                <a:gd name="T62" fmla="*/ 112 w 331"/>
                <a:gd name="T63" fmla="*/ 185 h 293"/>
                <a:gd name="T64" fmla="*/ 156 w 331"/>
                <a:gd name="T65" fmla="*/ 183 h 293"/>
                <a:gd name="T66" fmla="*/ 171 w 331"/>
                <a:gd name="T67" fmla="*/ 191 h 293"/>
                <a:gd name="T68" fmla="*/ 187 w 331"/>
                <a:gd name="T69" fmla="*/ 205 h 293"/>
                <a:gd name="T70" fmla="*/ 198 w 331"/>
                <a:gd name="T71" fmla="*/ 203 h 293"/>
                <a:gd name="T72" fmla="*/ 205 w 331"/>
                <a:gd name="T73" fmla="*/ 206 h 293"/>
                <a:gd name="T74" fmla="*/ 217 w 331"/>
                <a:gd name="T75" fmla="*/ 226 h 293"/>
                <a:gd name="T76" fmla="*/ 245 w 331"/>
                <a:gd name="T77" fmla="*/ 245 h 293"/>
                <a:gd name="T78" fmla="*/ 260 w 331"/>
                <a:gd name="T79" fmla="*/ 243 h 293"/>
                <a:gd name="T80" fmla="*/ 271 w 331"/>
                <a:gd name="T81" fmla="*/ 248 h 293"/>
                <a:gd name="T82" fmla="*/ 299 w 331"/>
                <a:gd name="T83" fmla="*/ 235 h 293"/>
                <a:gd name="T84" fmla="*/ 316 w 331"/>
                <a:gd name="T85" fmla="*/ 189 h 293"/>
                <a:gd name="T86" fmla="*/ 327 w 331"/>
                <a:gd name="T87" fmla="*/ 162 h 293"/>
                <a:gd name="T88" fmla="*/ 150 w 331"/>
                <a:gd name="T89" fmla="*/ 7 h 293"/>
                <a:gd name="T90" fmla="*/ 190 w 331"/>
                <a:gd name="T91" fmla="*/ 219 h 293"/>
                <a:gd name="T92" fmla="*/ 270 w 331"/>
                <a:gd name="T93" fmla="*/ 268 h 293"/>
                <a:gd name="T94" fmla="*/ 271 w 331"/>
                <a:gd name="T95" fmla="*/ 293 h 293"/>
                <a:gd name="T96" fmla="*/ 282 w 331"/>
                <a:gd name="T97" fmla="*/ 286 h 293"/>
                <a:gd name="T98" fmla="*/ 270 w 331"/>
                <a:gd name="T99" fmla="*/ 268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31" h="293">
                  <a:moveTo>
                    <a:pt x="328" y="147"/>
                  </a:moveTo>
                  <a:cubicBezTo>
                    <a:pt x="330" y="146"/>
                    <a:pt x="328" y="140"/>
                    <a:pt x="326" y="141"/>
                  </a:cubicBezTo>
                  <a:cubicBezTo>
                    <a:pt x="325" y="142"/>
                    <a:pt x="325" y="132"/>
                    <a:pt x="326" y="128"/>
                  </a:cubicBezTo>
                  <a:cubicBezTo>
                    <a:pt x="327" y="123"/>
                    <a:pt x="326" y="124"/>
                    <a:pt x="324" y="126"/>
                  </a:cubicBezTo>
                  <a:cubicBezTo>
                    <a:pt x="322" y="129"/>
                    <a:pt x="319" y="122"/>
                    <a:pt x="319" y="120"/>
                  </a:cubicBezTo>
                  <a:cubicBezTo>
                    <a:pt x="318" y="118"/>
                    <a:pt x="315" y="113"/>
                    <a:pt x="312" y="114"/>
                  </a:cubicBezTo>
                  <a:cubicBezTo>
                    <a:pt x="309" y="115"/>
                    <a:pt x="311" y="110"/>
                    <a:pt x="308" y="110"/>
                  </a:cubicBezTo>
                  <a:cubicBezTo>
                    <a:pt x="306" y="111"/>
                    <a:pt x="305" y="106"/>
                    <a:pt x="306" y="102"/>
                  </a:cubicBezTo>
                  <a:cubicBezTo>
                    <a:pt x="306" y="98"/>
                    <a:pt x="304" y="101"/>
                    <a:pt x="302" y="99"/>
                  </a:cubicBezTo>
                  <a:cubicBezTo>
                    <a:pt x="301" y="97"/>
                    <a:pt x="300" y="99"/>
                    <a:pt x="298" y="100"/>
                  </a:cubicBezTo>
                  <a:cubicBezTo>
                    <a:pt x="296" y="100"/>
                    <a:pt x="295" y="96"/>
                    <a:pt x="296" y="94"/>
                  </a:cubicBezTo>
                  <a:cubicBezTo>
                    <a:pt x="296" y="92"/>
                    <a:pt x="295" y="90"/>
                    <a:pt x="293" y="88"/>
                  </a:cubicBezTo>
                  <a:cubicBezTo>
                    <a:pt x="290" y="86"/>
                    <a:pt x="290" y="85"/>
                    <a:pt x="290" y="82"/>
                  </a:cubicBezTo>
                  <a:cubicBezTo>
                    <a:pt x="290" y="80"/>
                    <a:pt x="275" y="72"/>
                    <a:pt x="272" y="71"/>
                  </a:cubicBezTo>
                  <a:cubicBezTo>
                    <a:pt x="268" y="71"/>
                    <a:pt x="271" y="67"/>
                    <a:pt x="270" y="66"/>
                  </a:cubicBezTo>
                  <a:cubicBezTo>
                    <a:pt x="268" y="65"/>
                    <a:pt x="268" y="60"/>
                    <a:pt x="268" y="56"/>
                  </a:cubicBezTo>
                  <a:cubicBezTo>
                    <a:pt x="268" y="52"/>
                    <a:pt x="263" y="51"/>
                    <a:pt x="263" y="48"/>
                  </a:cubicBezTo>
                  <a:cubicBezTo>
                    <a:pt x="263" y="44"/>
                    <a:pt x="261" y="41"/>
                    <a:pt x="262" y="38"/>
                  </a:cubicBezTo>
                  <a:cubicBezTo>
                    <a:pt x="262" y="34"/>
                    <a:pt x="257" y="33"/>
                    <a:pt x="256" y="31"/>
                  </a:cubicBezTo>
                  <a:cubicBezTo>
                    <a:pt x="256" y="29"/>
                    <a:pt x="253" y="31"/>
                    <a:pt x="250" y="32"/>
                  </a:cubicBezTo>
                  <a:cubicBezTo>
                    <a:pt x="247" y="32"/>
                    <a:pt x="247" y="28"/>
                    <a:pt x="248" y="24"/>
                  </a:cubicBezTo>
                  <a:cubicBezTo>
                    <a:pt x="248" y="19"/>
                    <a:pt x="246" y="13"/>
                    <a:pt x="244" y="11"/>
                  </a:cubicBezTo>
                  <a:cubicBezTo>
                    <a:pt x="241" y="9"/>
                    <a:pt x="241" y="2"/>
                    <a:pt x="240" y="1"/>
                  </a:cubicBezTo>
                  <a:cubicBezTo>
                    <a:pt x="239" y="0"/>
                    <a:pt x="235" y="4"/>
                    <a:pt x="235" y="7"/>
                  </a:cubicBezTo>
                  <a:cubicBezTo>
                    <a:pt x="235" y="9"/>
                    <a:pt x="234" y="12"/>
                    <a:pt x="233" y="13"/>
                  </a:cubicBezTo>
                  <a:cubicBezTo>
                    <a:pt x="231" y="15"/>
                    <a:pt x="234" y="20"/>
                    <a:pt x="232" y="22"/>
                  </a:cubicBezTo>
                  <a:cubicBezTo>
                    <a:pt x="230" y="24"/>
                    <a:pt x="232" y="32"/>
                    <a:pt x="231" y="36"/>
                  </a:cubicBezTo>
                  <a:cubicBezTo>
                    <a:pt x="231" y="41"/>
                    <a:pt x="231" y="46"/>
                    <a:pt x="229" y="49"/>
                  </a:cubicBezTo>
                  <a:cubicBezTo>
                    <a:pt x="226" y="52"/>
                    <a:pt x="226" y="57"/>
                    <a:pt x="222" y="58"/>
                  </a:cubicBezTo>
                  <a:cubicBezTo>
                    <a:pt x="217" y="60"/>
                    <a:pt x="212" y="56"/>
                    <a:pt x="212" y="54"/>
                  </a:cubicBezTo>
                  <a:cubicBezTo>
                    <a:pt x="212" y="52"/>
                    <a:pt x="207" y="50"/>
                    <a:pt x="205" y="51"/>
                  </a:cubicBezTo>
                  <a:cubicBezTo>
                    <a:pt x="202" y="51"/>
                    <a:pt x="201" y="47"/>
                    <a:pt x="197" y="44"/>
                  </a:cubicBezTo>
                  <a:cubicBezTo>
                    <a:pt x="193" y="41"/>
                    <a:pt x="190" y="45"/>
                    <a:pt x="189" y="42"/>
                  </a:cubicBezTo>
                  <a:cubicBezTo>
                    <a:pt x="188" y="38"/>
                    <a:pt x="186" y="37"/>
                    <a:pt x="183" y="35"/>
                  </a:cubicBezTo>
                  <a:cubicBezTo>
                    <a:pt x="181" y="34"/>
                    <a:pt x="181" y="34"/>
                    <a:pt x="184" y="32"/>
                  </a:cubicBezTo>
                  <a:cubicBezTo>
                    <a:pt x="187" y="30"/>
                    <a:pt x="186" y="27"/>
                    <a:pt x="185" y="25"/>
                  </a:cubicBezTo>
                  <a:cubicBezTo>
                    <a:pt x="183" y="22"/>
                    <a:pt x="186" y="23"/>
                    <a:pt x="190" y="21"/>
                  </a:cubicBezTo>
                  <a:cubicBezTo>
                    <a:pt x="194" y="19"/>
                    <a:pt x="190" y="17"/>
                    <a:pt x="193" y="16"/>
                  </a:cubicBezTo>
                  <a:cubicBezTo>
                    <a:pt x="195" y="15"/>
                    <a:pt x="194" y="12"/>
                    <a:pt x="191" y="12"/>
                  </a:cubicBezTo>
                  <a:cubicBezTo>
                    <a:pt x="188" y="11"/>
                    <a:pt x="189" y="15"/>
                    <a:pt x="188" y="15"/>
                  </a:cubicBezTo>
                  <a:cubicBezTo>
                    <a:pt x="187" y="15"/>
                    <a:pt x="186" y="11"/>
                    <a:pt x="185" y="11"/>
                  </a:cubicBezTo>
                  <a:cubicBezTo>
                    <a:pt x="184" y="11"/>
                    <a:pt x="181" y="16"/>
                    <a:pt x="179" y="13"/>
                  </a:cubicBezTo>
                  <a:cubicBezTo>
                    <a:pt x="177" y="11"/>
                    <a:pt x="167" y="9"/>
                    <a:pt x="163" y="8"/>
                  </a:cubicBezTo>
                  <a:cubicBezTo>
                    <a:pt x="159" y="8"/>
                    <a:pt x="158" y="3"/>
                    <a:pt x="156" y="4"/>
                  </a:cubicBezTo>
                  <a:cubicBezTo>
                    <a:pt x="153" y="5"/>
                    <a:pt x="156" y="6"/>
                    <a:pt x="159" y="9"/>
                  </a:cubicBezTo>
                  <a:cubicBezTo>
                    <a:pt x="161" y="12"/>
                    <a:pt x="150" y="14"/>
                    <a:pt x="146" y="13"/>
                  </a:cubicBezTo>
                  <a:cubicBezTo>
                    <a:pt x="143" y="12"/>
                    <a:pt x="147" y="15"/>
                    <a:pt x="144" y="15"/>
                  </a:cubicBezTo>
                  <a:cubicBezTo>
                    <a:pt x="141" y="15"/>
                    <a:pt x="141" y="20"/>
                    <a:pt x="138" y="22"/>
                  </a:cubicBezTo>
                  <a:cubicBezTo>
                    <a:pt x="136" y="25"/>
                    <a:pt x="138" y="27"/>
                    <a:pt x="135" y="28"/>
                  </a:cubicBezTo>
                  <a:cubicBezTo>
                    <a:pt x="133" y="30"/>
                    <a:pt x="132" y="32"/>
                    <a:pt x="135" y="35"/>
                  </a:cubicBezTo>
                  <a:cubicBezTo>
                    <a:pt x="138" y="39"/>
                    <a:pt x="134" y="39"/>
                    <a:pt x="131" y="36"/>
                  </a:cubicBezTo>
                  <a:cubicBezTo>
                    <a:pt x="129" y="33"/>
                    <a:pt x="126" y="33"/>
                    <a:pt x="126" y="36"/>
                  </a:cubicBezTo>
                  <a:cubicBezTo>
                    <a:pt x="126" y="39"/>
                    <a:pt x="123" y="38"/>
                    <a:pt x="124" y="35"/>
                  </a:cubicBezTo>
                  <a:cubicBezTo>
                    <a:pt x="124" y="31"/>
                    <a:pt x="120" y="33"/>
                    <a:pt x="119" y="31"/>
                  </a:cubicBezTo>
                  <a:cubicBezTo>
                    <a:pt x="118" y="29"/>
                    <a:pt x="115" y="26"/>
                    <a:pt x="112" y="26"/>
                  </a:cubicBezTo>
                  <a:cubicBezTo>
                    <a:pt x="110" y="26"/>
                    <a:pt x="110" y="29"/>
                    <a:pt x="108" y="29"/>
                  </a:cubicBezTo>
                  <a:cubicBezTo>
                    <a:pt x="105" y="29"/>
                    <a:pt x="105" y="30"/>
                    <a:pt x="105" y="32"/>
                  </a:cubicBezTo>
                  <a:cubicBezTo>
                    <a:pt x="105" y="35"/>
                    <a:pt x="102" y="32"/>
                    <a:pt x="99" y="32"/>
                  </a:cubicBezTo>
                  <a:cubicBezTo>
                    <a:pt x="96" y="33"/>
                    <a:pt x="99" y="36"/>
                    <a:pt x="97" y="36"/>
                  </a:cubicBezTo>
                  <a:cubicBezTo>
                    <a:pt x="96" y="36"/>
                    <a:pt x="96" y="39"/>
                    <a:pt x="94" y="39"/>
                  </a:cubicBezTo>
                  <a:cubicBezTo>
                    <a:pt x="91" y="39"/>
                    <a:pt x="92" y="44"/>
                    <a:pt x="92" y="47"/>
                  </a:cubicBezTo>
                  <a:cubicBezTo>
                    <a:pt x="92" y="49"/>
                    <a:pt x="89" y="45"/>
                    <a:pt x="86" y="46"/>
                  </a:cubicBezTo>
                  <a:cubicBezTo>
                    <a:pt x="84" y="47"/>
                    <a:pt x="87" y="49"/>
                    <a:pt x="87" y="52"/>
                  </a:cubicBezTo>
                  <a:cubicBezTo>
                    <a:pt x="88" y="55"/>
                    <a:pt x="86" y="55"/>
                    <a:pt x="85" y="56"/>
                  </a:cubicBezTo>
                  <a:cubicBezTo>
                    <a:pt x="84" y="57"/>
                    <a:pt x="82" y="53"/>
                    <a:pt x="82" y="50"/>
                  </a:cubicBezTo>
                  <a:cubicBezTo>
                    <a:pt x="82" y="47"/>
                    <a:pt x="79" y="50"/>
                    <a:pt x="76" y="53"/>
                  </a:cubicBezTo>
                  <a:cubicBezTo>
                    <a:pt x="72" y="57"/>
                    <a:pt x="77" y="62"/>
                    <a:pt x="75" y="63"/>
                  </a:cubicBezTo>
                  <a:cubicBezTo>
                    <a:pt x="74" y="64"/>
                    <a:pt x="67" y="70"/>
                    <a:pt x="64" y="74"/>
                  </a:cubicBezTo>
                  <a:cubicBezTo>
                    <a:pt x="60" y="79"/>
                    <a:pt x="52" y="76"/>
                    <a:pt x="49" y="78"/>
                  </a:cubicBezTo>
                  <a:cubicBezTo>
                    <a:pt x="47" y="80"/>
                    <a:pt x="44" y="79"/>
                    <a:pt x="42" y="81"/>
                  </a:cubicBezTo>
                  <a:cubicBezTo>
                    <a:pt x="39" y="83"/>
                    <a:pt x="35" y="86"/>
                    <a:pt x="34" y="84"/>
                  </a:cubicBezTo>
                  <a:cubicBezTo>
                    <a:pt x="33" y="82"/>
                    <a:pt x="27" y="83"/>
                    <a:pt x="24" y="86"/>
                  </a:cubicBezTo>
                  <a:cubicBezTo>
                    <a:pt x="22" y="89"/>
                    <a:pt x="17" y="92"/>
                    <a:pt x="14" y="92"/>
                  </a:cubicBezTo>
                  <a:cubicBezTo>
                    <a:pt x="11" y="92"/>
                    <a:pt x="11" y="97"/>
                    <a:pt x="10" y="98"/>
                  </a:cubicBezTo>
                  <a:cubicBezTo>
                    <a:pt x="9" y="99"/>
                    <a:pt x="9" y="94"/>
                    <a:pt x="9" y="93"/>
                  </a:cubicBezTo>
                  <a:cubicBezTo>
                    <a:pt x="9" y="91"/>
                    <a:pt x="6" y="95"/>
                    <a:pt x="5" y="99"/>
                  </a:cubicBezTo>
                  <a:cubicBezTo>
                    <a:pt x="4" y="102"/>
                    <a:pt x="8" y="104"/>
                    <a:pt x="5" y="108"/>
                  </a:cubicBezTo>
                  <a:cubicBezTo>
                    <a:pt x="3" y="112"/>
                    <a:pt x="0" y="116"/>
                    <a:pt x="4" y="121"/>
                  </a:cubicBezTo>
                  <a:cubicBezTo>
                    <a:pt x="8" y="126"/>
                    <a:pt x="10" y="129"/>
                    <a:pt x="9" y="131"/>
                  </a:cubicBezTo>
                  <a:cubicBezTo>
                    <a:pt x="7" y="134"/>
                    <a:pt x="5" y="126"/>
                    <a:pt x="4" y="127"/>
                  </a:cubicBezTo>
                  <a:cubicBezTo>
                    <a:pt x="3" y="128"/>
                    <a:pt x="7" y="131"/>
                    <a:pt x="6" y="133"/>
                  </a:cubicBezTo>
                  <a:cubicBezTo>
                    <a:pt x="5" y="134"/>
                    <a:pt x="1" y="127"/>
                    <a:pt x="0" y="129"/>
                  </a:cubicBezTo>
                  <a:cubicBezTo>
                    <a:pt x="0" y="130"/>
                    <a:pt x="8" y="142"/>
                    <a:pt x="9" y="147"/>
                  </a:cubicBezTo>
                  <a:cubicBezTo>
                    <a:pt x="9" y="151"/>
                    <a:pt x="16" y="156"/>
                    <a:pt x="15" y="162"/>
                  </a:cubicBezTo>
                  <a:cubicBezTo>
                    <a:pt x="15" y="168"/>
                    <a:pt x="21" y="179"/>
                    <a:pt x="23" y="180"/>
                  </a:cubicBezTo>
                  <a:cubicBezTo>
                    <a:pt x="24" y="182"/>
                    <a:pt x="20" y="186"/>
                    <a:pt x="21" y="191"/>
                  </a:cubicBezTo>
                  <a:cubicBezTo>
                    <a:pt x="21" y="196"/>
                    <a:pt x="19" y="198"/>
                    <a:pt x="16" y="198"/>
                  </a:cubicBezTo>
                  <a:cubicBezTo>
                    <a:pt x="13" y="198"/>
                    <a:pt x="15" y="203"/>
                    <a:pt x="18" y="203"/>
                  </a:cubicBezTo>
                  <a:cubicBezTo>
                    <a:pt x="22" y="203"/>
                    <a:pt x="20" y="206"/>
                    <a:pt x="24" y="208"/>
                  </a:cubicBezTo>
                  <a:cubicBezTo>
                    <a:pt x="28" y="211"/>
                    <a:pt x="37" y="210"/>
                    <a:pt x="40" y="210"/>
                  </a:cubicBezTo>
                  <a:cubicBezTo>
                    <a:pt x="43" y="210"/>
                    <a:pt x="44" y="205"/>
                    <a:pt x="48" y="205"/>
                  </a:cubicBezTo>
                  <a:cubicBezTo>
                    <a:pt x="52" y="205"/>
                    <a:pt x="52" y="203"/>
                    <a:pt x="54" y="201"/>
                  </a:cubicBezTo>
                  <a:cubicBezTo>
                    <a:pt x="56" y="198"/>
                    <a:pt x="65" y="199"/>
                    <a:pt x="74" y="200"/>
                  </a:cubicBezTo>
                  <a:cubicBezTo>
                    <a:pt x="84" y="200"/>
                    <a:pt x="88" y="197"/>
                    <a:pt x="89" y="193"/>
                  </a:cubicBezTo>
                  <a:cubicBezTo>
                    <a:pt x="90" y="190"/>
                    <a:pt x="97" y="190"/>
                    <a:pt x="100" y="187"/>
                  </a:cubicBezTo>
                  <a:cubicBezTo>
                    <a:pt x="103" y="185"/>
                    <a:pt x="105" y="185"/>
                    <a:pt x="112" y="185"/>
                  </a:cubicBezTo>
                  <a:cubicBezTo>
                    <a:pt x="119" y="185"/>
                    <a:pt x="125" y="182"/>
                    <a:pt x="130" y="180"/>
                  </a:cubicBezTo>
                  <a:cubicBezTo>
                    <a:pt x="134" y="178"/>
                    <a:pt x="142" y="179"/>
                    <a:pt x="147" y="178"/>
                  </a:cubicBezTo>
                  <a:cubicBezTo>
                    <a:pt x="151" y="177"/>
                    <a:pt x="152" y="183"/>
                    <a:pt x="156" y="183"/>
                  </a:cubicBezTo>
                  <a:cubicBezTo>
                    <a:pt x="161" y="182"/>
                    <a:pt x="163" y="184"/>
                    <a:pt x="166" y="184"/>
                  </a:cubicBezTo>
                  <a:cubicBezTo>
                    <a:pt x="168" y="184"/>
                    <a:pt x="168" y="186"/>
                    <a:pt x="171" y="186"/>
                  </a:cubicBezTo>
                  <a:cubicBezTo>
                    <a:pt x="173" y="187"/>
                    <a:pt x="173" y="189"/>
                    <a:pt x="171" y="191"/>
                  </a:cubicBezTo>
                  <a:cubicBezTo>
                    <a:pt x="170" y="193"/>
                    <a:pt x="175" y="193"/>
                    <a:pt x="178" y="198"/>
                  </a:cubicBezTo>
                  <a:cubicBezTo>
                    <a:pt x="182" y="203"/>
                    <a:pt x="178" y="203"/>
                    <a:pt x="180" y="207"/>
                  </a:cubicBezTo>
                  <a:cubicBezTo>
                    <a:pt x="182" y="210"/>
                    <a:pt x="183" y="210"/>
                    <a:pt x="187" y="205"/>
                  </a:cubicBezTo>
                  <a:cubicBezTo>
                    <a:pt x="190" y="200"/>
                    <a:pt x="194" y="203"/>
                    <a:pt x="195" y="198"/>
                  </a:cubicBezTo>
                  <a:cubicBezTo>
                    <a:pt x="195" y="194"/>
                    <a:pt x="199" y="189"/>
                    <a:pt x="202" y="191"/>
                  </a:cubicBezTo>
                  <a:cubicBezTo>
                    <a:pt x="204" y="193"/>
                    <a:pt x="200" y="195"/>
                    <a:pt x="198" y="203"/>
                  </a:cubicBezTo>
                  <a:cubicBezTo>
                    <a:pt x="197" y="211"/>
                    <a:pt x="194" y="207"/>
                    <a:pt x="193" y="209"/>
                  </a:cubicBezTo>
                  <a:cubicBezTo>
                    <a:pt x="193" y="211"/>
                    <a:pt x="201" y="213"/>
                    <a:pt x="201" y="208"/>
                  </a:cubicBezTo>
                  <a:cubicBezTo>
                    <a:pt x="201" y="204"/>
                    <a:pt x="202" y="202"/>
                    <a:pt x="205" y="206"/>
                  </a:cubicBezTo>
                  <a:cubicBezTo>
                    <a:pt x="208" y="210"/>
                    <a:pt x="203" y="213"/>
                    <a:pt x="204" y="215"/>
                  </a:cubicBezTo>
                  <a:cubicBezTo>
                    <a:pt x="205" y="217"/>
                    <a:pt x="208" y="214"/>
                    <a:pt x="210" y="215"/>
                  </a:cubicBezTo>
                  <a:cubicBezTo>
                    <a:pt x="213" y="215"/>
                    <a:pt x="217" y="222"/>
                    <a:pt x="217" y="226"/>
                  </a:cubicBezTo>
                  <a:cubicBezTo>
                    <a:pt x="216" y="229"/>
                    <a:pt x="215" y="233"/>
                    <a:pt x="221" y="236"/>
                  </a:cubicBezTo>
                  <a:cubicBezTo>
                    <a:pt x="227" y="239"/>
                    <a:pt x="225" y="240"/>
                    <a:pt x="229" y="240"/>
                  </a:cubicBezTo>
                  <a:cubicBezTo>
                    <a:pt x="234" y="240"/>
                    <a:pt x="243" y="243"/>
                    <a:pt x="245" y="245"/>
                  </a:cubicBezTo>
                  <a:cubicBezTo>
                    <a:pt x="248" y="247"/>
                    <a:pt x="254" y="244"/>
                    <a:pt x="256" y="239"/>
                  </a:cubicBezTo>
                  <a:cubicBezTo>
                    <a:pt x="257" y="235"/>
                    <a:pt x="262" y="239"/>
                    <a:pt x="259" y="241"/>
                  </a:cubicBezTo>
                  <a:cubicBezTo>
                    <a:pt x="257" y="242"/>
                    <a:pt x="260" y="245"/>
                    <a:pt x="260" y="243"/>
                  </a:cubicBezTo>
                  <a:cubicBezTo>
                    <a:pt x="261" y="241"/>
                    <a:pt x="262" y="239"/>
                    <a:pt x="263" y="241"/>
                  </a:cubicBezTo>
                  <a:cubicBezTo>
                    <a:pt x="264" y="244"/>
                    <a:pt x="267" y="244"/>
                    <a:pt x="268" y="246"/>
                  </a:cubicBezTo>
                  <a:cubicBezTo>
                    <a:pt x="269" y="248"/>
                    <a:pt x="271" y="250"/>
                    <a:pt x="271" y="248"/>
                  </a:cubicBezTo>
                  <a:cubicBezTo>
                    <a:pt x="271" y="246"/>
                    <a:pt x="271" y="245"/>
                    <a:pt x="274" y="244"/>
                  </a:cubicBezTo>
                  <a:cubicBezTo>
                    <a:pt x="277" y="243"/>
                    <a:pt x="279" y="241"/>
                    <a:pt x="282" y="238"/>
                  </a:cubicBezTo>
                  <a:cubicBezTo>
                    <a:pt x="285" y="236"/>
                    <a:pt x="297" y="235"/>
                    <a:pt x="299" y="235"/>
                  </a:cubicBezTo>
                  <a:cubicBezTo>
                    <a:pt x="300" y="235"/>
                    <a:pt x="301" y="225"/>
                    <a:pt x="301" y="219"/>
                  </a:cubicBezTo>
                  <a:cubicBezTo>
                    <a:pt x="302" y="213"/>
                    <a:pt x="307" y="213"/>
                    <a:pt x="307" y="207"/>
                  </a:cubicBezTo>
                  <a:cubicBezTo>
                    <a:pt x="308" y="201"/>
                    <a:pt x="314" y="190"/>
                    <a:pt x="316" y="189"/>
                  </a:cubicBezTo>
                  <a:cubicBezTo>
                    <a:pt x="318" y="189"/>
                    <a:pt x="321" y="187"/>
                    <a:pt x="321" y="184"/>
                  </a:cubicBezTo>
                  <a:cubicBezTo>
                    <a:pt x="321" y="180"/>
                    <a:pt x="325" y="177"/>
                    <a:pt x="325" y="173"/>
                  </a:cubicBezTo>
                  <a:cubicBezTo>
                    <a:pt x="325" y="169"/>
                    <a:pt x="327" y="164"/>
                    <a:pt x="327" y="162"/>
                  </a:cubicBezTo>
                  <a:cubicBezTo>
                    <a:pt x="327" y="161"/>
                    <a:pt x="325" y="157"/>
                    <a:pt x="328" y="154"/>
                  </a:cubicBezTo>
                  <a:cubicBezTo>
                    <a:pt x="331" y="152"/>
                    <a:pt x="327" y="148"/>
                    <a:pt x="328" y="147"/>
                  </a:cubicBezTo>
                  <a:close/>
                  <a:moveTo>
                    <a:pt x="150" y="7"/>
                  </a:moveTo>
                  <a:cubicBezTo>
                    <a:pt x="149" y="5"/>
                    <a:pt x="136" y="8"/>
                    <a:pt x="139" y="10"/>
                  </a:cubicBezTo>
                  <a:cubicBezTo>
                    <a:pt x="141" y="11"/>
                    <a:pt x="150" y="10"/>
                    <a:pt x="150" y="7"/>
                  </a:cubicBezTo>
                  <a:close/>
                  <a:moveTo>
                    <a:pt x="190" y="219"/>
                  </a:moveTo>
                  <a:cubicBezTo>
                    <a:pt x="192" y="220"/>
                    <a:pt x="198" y="220"/>
                    <a:pt x="199" y="217"/>
                  </a:cubicBezTo>
                  <a:cubicBezTo>
                    <a:pt x="200" y="215"/>
                    <a:pt x="188" y="217"/>
                    <a:pt x="190" y="219"/>
                  </a:cubicBezTo>
                  <a:close/>
                  <a:moveTo>
                    <a:pt x="270" y="268"/>
                  </a:moveTo>
                  <a:cubicBezTo>
                    <a:pt x="265" y="269"/>
                    <a:pt x="258" y="264"/>
                    <a:pt x="257" y="264"/>
                  </a:cubicBezTo>
                  <a:cubicBezTo>
                    <a:pt x="255" y="265"/>
                    <a:pt x="263" y="277"/>
                    <a:pt x="260" y="280"/>
                  </a:cubicBezTo>
                  <a:cubicBezTo>
                    <a:pt x="258" y="284"/>
                    <a:pt x="268" y="292"/>
                    <a:pt x="271" y="293"/>
                  </a:cubicBezTo>
                  <a:cubicBezTo>
                    <a:pt x="274" y="293"/>
                    <a:pt x="273" y="289"/>
                    <a:pt x="275" y="290"/>
                  </a:cubicBezTo>
                  <a:cubicBezTo>
                    <a:pt x="278" y="290"/>
                    <a:pt x="277" y="287"/>
                    <a:pt x="277" y="286"/>
                  </a:cubicBezTo>
                  <a:cubicBezTo>
                    <a:pt x="278" y="284"/>
                    <a:pt x="280" y="287"/>
                    <a:pt x="282" y="286"/>
                  </a:cubicBezTo>
                  <a:cubicBezTo>
                    <a:pt x="284" y="285"/>
                    <a:pt x="281" y="278"/>
                    <a:pt x="284" y="278"/>
                  </a:cubicBezTo>
                  <a:cubicBezTo>
                    <a:pt x="287" y="278"/>
                    <a:pt x="285" y="268"/>
                    <a:pt x="284" y="265"/>
                  </a:cubicBezTo>
                  <a:cubicBezTo>
                    <a:pt x="283" y="262"/>
                    <a:pt x="275" y="268"/>
                    <a:pt x="270" y="268"/>
                  </a:cubicBezTo>
                  <a:close/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Freeform 164">
              <a:extLst>
                <a:ext uri="{FF2B5EF4-FFF2-40B4-BE49-F238E27FC236}">
                  <a16:creationId xmlns:a16="http://schemas.microsoft.com/office/drawing/2014/main" id="{58CA43E4-FD01-43B2-8F01-50B4EFB243F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53272" y="1795588"/>
              <a:ext cx="3907491" cy="1501332"/>
            </a:xfrm>
            <a:custGeom>
              <a:avLst/>
              <a:gdLst>
                <a:gd name="T0" fmla="*/ 361 w 1373"/>
                <a:gd name="T1" fmla="*/ 11 h 527"/>
                <a:gd name="T2" fmla="*/ 610 w 1373"/>
                <a:gd name="T3" fmla="*/ 5 h 527"/>
                <a:gd name="T4" fmla="*/ 480 w 1373"/>
                <a:gd name="T5" fmla="*/ 151 h 527"/>
                <a:gd name="T6" fmla="*/ 662 w 1373"/>
                <a:gd name="T7" fmla="*/ 50 h 527"/>
                <a:gd name="T8" fmla="*/ 1002 w 1373"/>
                <a:gd name="T9" fmla="*/ 111 h 527"/>
                <a:gd name="T10" fmla="*/ 1053 w 1373"/>
                <a:gd name="T11" fmla="*/ 117 h 527"/>
                <a:gd name="T12" fmla="*/ 981 w 1373"/>
                <a:gd name="T13" fmla="*/ 426 h 527"/>
                <a:gd name="T14" fmla="*/ 243 w 1373"/>
                <a:gd name="T15" fmla="*/ 23 h 527"/>
                <a:gd name="T16" fmla="*/ 1331 w 1373"/>
                <a:gd name="T17" fmla="*/ 242 h 527"/>
                <a:gd name="T18" fmla="*/ 1193 w 1373"/>
                <a:gd name="T19" fmla="*/ 203 h 527"/>
                <a:gd name="T20" fmla="*/ 1062 w 1373"/>
                <a:gd name="T21" fmla="*/ 177 h 527"/>
                <a:gd name="T22" fmla="*/ 973 w 1373"/>
                <a:gd name="T23" fmla="*/ 150 h 527"/>
                <a:gd name="T24" fmla="*/ 902 w 1373"/>
                <a:gd name="T25" fmla="*/ 168 h 527"/>
                <a:gd name="T26" fmla="*/ 844 w 1373"/>
                <a:gd name="T27" fmla="*/ 139 h 527"/>
                <a:gd name="T28" fmla="*/ 747 w 1373"/>
                <a:gd name="T29" fmla="*/ 136 h 527"/>
                <a:gd name="T30" fmla="*/ 737 w 1373"/>
                <a:gd name="T31" fmla="*/ 118 h 527"/>
                <a:gd name="T32" fmla="*/ 698 w 1373"/>
                <a:gd name="T33" fmla="*/ 84 h 527"/>
                <a:gd name="T34" fmla="*/ 630 w 1373"/>
                <a:gd name="T35" fmla="*/ 96 h 527"/>
                <a:gd name="T36" fmla="*/ 546 w 1373"/>
                <a:gd name="T37" fmla="*/ 114 h 527"/>
                <a:gd name="T38" fmla="*/ 519 w 1373"/>
                <a:gd name="T39" fmla="*/ 137 h 527"/>
                <a:gd name="T40" fmla="*/ 478 w 1373"/>
                <a:gd name="T41" fmla="*/ 178 h 527"/>
                <a:gd name="T42" fmla="*/ 455 w 1373"/>
                <a:gd name="T43" fmla="*/ 204 h 527"/>
                <a:gd name="T44" fmla="*/ 421 w 1373"/>
                <a:gd name="T45" fmla="*/ 244 h 527"/>
                <a:gd name="T46" fmla="*/ 437 w 1373"/>
                <a:gd name="T47" fmla="*/ 213 h 527"/>
                <a:gd name="T48" fmla="*/ 386 w 1373"/>
                <a:gd name="T49" fmla="*/ 188 h 527"/>
                <a:gd name="T50" fmla="*/ 326 w 1373"/>
                <a:gd name="T51" fmla="*/ 196 h 527"/>
                <a:gd name="T52" fmla="*/ 268 w 1373"/>
                <a:gd name="T53" fmla="*/ 211 h 527"/>
                <a:gd name="T54" fmla="*/ 195 w 1373"/>
                <a:gd name="T55" fmla="*/ 214 h 527"/>
                <a:gd name="T56" fmla="*/ 149 w 1373"/>
                <a:gd name="T57" fmla="*/ 263 h 527"/>
                <a:gd name="T58" fmla="*/ 102 w 1373"/>
                <a:gd name="T59" fmla="*/ 234 h 527"/>
                <a:gd name="T60" fmla="*/ 107 w 1373"/>
                <a:gd name="T61" fmla="*/ 200 h 527"/>
                <a:gd name="T62" fmla="*/ 78 w 1373"/>
                <a:gd name="T63" fmla="*/ 231 h 527"/>
                <a:gd name="T64" fmla="*/ 70 w 1373"/>
                <a:gd name="T65" fmla="*/ 316 h 527"/>
                <a:gd name="T66" fmla="*/ 73 w 1373"/>
                <a:gd name="T67" fmla="*/ 370 h 527"/>
                <a:gd name="T68" fmla="*/ 114 w 1373"/>
                <a:gd name="T69" fmla="*/ 412 h 527"/>
                <a:gd name="T70" fmla="*/ 160 w 1373"/>
                <a:gd name="T71" fmla="*/ 451 h 527"/>
                <a:gd name="T72" fmla="*/ 164 w 1373"/>
                <a:gd name="T73" fmla="*/ 503 h 527"/>
                <a:gd name="T74" fmla="*/ 238 w 1373"/>
                <a:gd name="T75" fmla="*/ 476 h 527"/>
                <a:gd name="T76" fmla="*/ 236 w 1373"/>
                <a:gd name="T77" fmla="*/ 430 h 527"/>
                <a:gd name="T78" fmla="*/ 325 w 1373"/>
                <a:gd name="T79" fmla="*/ 433 h 527"/>
                <a:gd name="T80" fmla="*/ 373 w 1373"/>
                <a:gd name="T81" fmla="*/ 388 h 527"/>
                <a:gd name="T82" fmla="*/ 450 w 1373"/>
                <a:gd name="T83" fmla="*/ 396 h 527"/>
                <a:gd name="T84" fmla="*/ 541 w 1373"/>
                <a:gd name="T85" fmla="*/ 442 h 527"/>
                <a:gd name="T86" fmla="*/ 624 w 1373"/>
                <a:gd name="T87" fmla="*/ 433 h 527"/>
                <a:gd name="T88" fmla="*/ 696 w 1373"/>
                <a:gd name="T89" fmla="*/ 437 h 527"/>
                <a:gd name="T90" fmla="*/ 803 w 1373"/>
                <a:gd name="T91" fmla="*/ 420 h 527"/>
                <a:gd name="T92" fmla="*/ 887 w 1373"/>
                <a:gd name="T93" fmla="*/ 453 h 527"/>
                <a:gd name="T94" fmla="*/ 898 w 1373"/>
                <a:gd name="T95" fmla="*/ 508 h 527"/>
                <a:gd name="T96" fmla="*/ 960 w 1373"/>
                <a:gd name="T97" fmla="*/ 393 h 527"/>
                <a:gd name="T98" fmla="*/ 969 w 1373"/>
                <a:gd name="T99" fmla="*/ 349 h 527"/>
                <a:gd name="T100" fmla="*/ 1078 w 1373"/>
                <a:gd name="T101" fmla="*/ 337 h 527"/>
                <a:gd name="T102" fmla="*/ 1152 w 1373"/>
                <a:gd name="T103" fmla="*/ 299 h 527"/>
                <a:gd name="T104" fmla="*/ 1097 w 1373"/>
                <a:gd name="T105" fmla="*/ 424 h 527"/>
                <a:gd name="T106" fmla="*/ 1150 w 1373"/>
                <a:gd name="T107" fmla="*/ 352 h 527"/>
                <a:gd name="T108" fmla="*/ 1234 w 1373"/>
                <a:gd name="T109" fmla="*/ 309 h 527"/>
                <a:gd name="T110" fmla="*/ 1292 w 1373"/>
                <a:gd name="T111" fmla="*/ 262 h 527"/>
                <a:gd name="T112" fmla="*/ 1347 w 1373"/>
                <a:gd name="T113" fmla="*/ 268 h 527"/>
                <a:gd name="T114" fmla="*/ 707 w 1373"/>
                <a:gd name="T115" fmla="*/ 392 h 527"/>
                <a:gd name="T116" fmla="*/ 276 w 1373"/>
                <a:gd name="T117" fmla="*/ 24 h 527"/>
                <a:gd name="T118" fmla="*/ 281 w 1373"/>
                <a:gd name="T119" fmla="*/ 15 h 527"/>
                <a:gd name="T120" fmla="*/ 299 w 1373"/>
                <a:gd name="T121" fmla="*/ 146 h 527"/>
                <a:gd name="T122" fmla="*/ 300 w 1373"/>
                <a:gd name="T123" fmla="*/ 111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373" h="527">
                  <a:moveTo>
                    <a:pt x="20" y="381"/>
                  </a:moveTo>
                  <a:cubicBezTo>
                    <a:pt x="19" y="382"/>
                    <a:pt x="16" y="381"/>
                    <a:pt x="16" y="379"/>
                  </a:cubicBezTo>
                  <a:cubicBezTo>
                    <a:pt x="15" y="378"/>
                    <a:pt x="13" y="379"/>
                    <a:pt x="11" y="379"/>
                  </a:cubicBezTo>
                  <a:cubicBezTo>
                    <a:pt x="11" y="379"/>
                    <a:pt x="12" y="380"/>
                    <a:pt x="12" y="380"/>
                  </a:cubicBezTo>
                  <a:cubicBezTo>
                    <a:pt x="13" y="382"/>
                    <a:pt x="8" y="382"/>
                    <a:pt x="9" y="385"/>
                  </a:cubicBezTo>
                  <a:cubicBezTo>
                    <a:pt x="11" y="387"/>
                    <a:pt x="5" y="387"/>
                    <a:pt x="5" y="385"/>
                  </a:cubicBezTo>
                  <a:cubicBezTo>
                    <a:pt x="5" y="382"/>
                    <a:pt x="0" y="383"/>
                    <a:pt x="0" y="385"/>
                  </a:cubicBezTo>
                  <a:cubicBezTo>
                    <a:pt x="0" y="385"/>
                    <a:pt x="0" y="386"/>
                    <a:pt x="0" y="387"/>
                  </a:cubicBezTo>
                  <a:cubicBezTo>
                    <a:pt x="1" y="387"/>
                    <a:pt x="3" y="388"/>
                    <a:pt x="4" y="388"/>
                  </a:cubicBezTo>
                  <a:cubicBezTo>
                    <a:pt x="5" y="389"/>
                    <a:pt x="19" y="390"/>
                    <a:pt x="24" y="389"/>
                  </a:cubicBezTo>
                  <a:cubicBezTo>
                    <a:pt x="24" y="388"/>
                    <a:pt x="25" y="385"/>
                    <a:pt x="25" y="384"/>
                  </a:cubicBezTo>
                  <a:cubicBezTo>
                    <a:pt x="25" y="382"/>
                    <a:pt x="21" y="381"/>
                    <a:pt x="20" y="381"/>
                  </a:cubicBezTo>
                  <a:close/>
                  <a:moveTo>
                    <a:pt x="364" y="15"/>
                  </a:moveTo>
                  <a:cubicBezTo>
                    <a:pt x="373" y="14"/>
                    <a:pt x="373" y="9"/>
                    <a:pt x="368" y="8"/>
                  </a:cubicBezTo>
                  <a:cubicBezTo>
                    <a:pt x="364" y="7"/>
                    <a:pt x="363" y="11"/>
                    <a:pt x="361" y="11"/>
                  </a:cubicBezTo>
                  <a:cubicBezTo>
                    <a:pt x="358" y="10"/>
                    <a:pt x="349" y="12"/>
                    <a:pt x="351" y="14"/>
                  </a:cubicBezTo>
                  <a:cubicBezTo>
                    <a:pt x="353" y="17"/>
                    <a:pt x="360" y="15"/>
                    <a:pt x="364" y="15"/>
                  </a:cubicBezTo>
                  <a:close/>
                  <a:moveTo>
                    <a:pt x="410" y="147"/>
                  </a:moveTo>
                  <a:cubicBezTo>
                    <a:pt x="413" y="148"/>
                    <a:pt x="422" y="146"/>
                    <a:pt x="423" y="144"/>
                  </a:cubicBezTo>
                  <a:cubicBezTo>
                    <a:pt x="424" y="143"/>
                    <a:pt x="419" y="141"/>
                    <a:pt x="414" y="141"/>
                  </a:cubicBezTo>
                  <a:cubicBezTo>
                    <a:pt x="408" y="141"/>
                    <a:pt x="408" y="147"/>
                    <a:pt x="410" y="147"/>
                  </a:cubicBezTo>
                  <a:close/>
                  <a:moveTo>
                    <a:pt x="586" y="26"/>
                  </a:moveTo>
                  <a:cubicBezTo>
                    <a:pt x="591" y="28"/>
                    <a:pt x="589" y="29"/>
                    <a:pt x="584" y="29"/>
                  </a:cubicBezTo>
                  <a:cubicBezTo>
                    <a:pt x="579" y="29"/>
                    <a:pt x="575" y="30"/>
                    <a:pt x="578" y="32"/>
                  </a:cubicBezTo>
                  <a:cubicBezTo>
                    <a:pt x="581" y="33"/>
                    <a:pt x="581" y="35"/>
                    <a:pt x="586" y="36"/>
                  </a:cubicBezTo>
                  <a:cubicBezTo>
                    <a:pt x="591" y="37"/>
                    <a:pt x="596" y="33"/>
                    <a:pt x="595" y="31"/>
                  </a:cubicBezTo>
                  <a:cubicBezTo>
                    <a:pt x="595" y="28"/>
                    <a:pt x="612" y="25"/>
                    <a:pt x="617" y="24"/>
                  </a:cubicBezTo>
                  <a:cubicBezTo>
                    <a:pt x="622" y="23"/>
                    <a:pt x="614" y="18"/>
                    <a:pt x="619" y="17"/>
                  </a:cubicBezTo>
                  <a:cubicBezTo>
                    <a:pt x="625" y="17"/>
                    <a:pt x="622" y="14"/>
                    <a:pt x="616" y="13"/>
                  </a:cubicBezTo>
                  <a:cubicBezTo>
                    <a:pt x="610" y="13"/>
                    <a:pt x="612" y="7"/>
                    <a:pt x="610" y="5"/>
                  </a:cubicBezTo>
                  <a:cubicBezTo>
                    <a:pt x="608" y="3"/>
                    <a:pt x="607" y="8"/>
                    <a:pt x="598" y="9"/>
                  </a:cubicBezTo>
                  <a:cubicBezTo>
                    <a:pt x="590" y="11"/>
                    <a:pt x="586" y="13"/>
                    <a:pt x="589" y="15"/>
                  </a:cubicBezTo>
                  <a:cubicBezTo>
                    <a:pt x="593" y="16"/>
                    <a:pt x="589" y="20"/>
                    <a:pt x="586" y="20"/>
                  </a:cubicBezTo>
                  <a:cubicBezTo>
                    <a:pt x="582" y="20"/>
                    <a:pt x="582" y="24"/>
                    <a:pt x="586" y="26"/>
                  </a:cubicBezTo>
                  <a:close/>
                  <a:moveTo>
                    <a:pt x="599" y="32"/>
                  </a:moveTo>
                  <a:cubicBezTo>
                    <a:pt x="599" y="35"/>
                    <a:pt x="591" y="37"/>
                    <a:pt x="593" y="39"/>
                  </a:cubicBezTo>
                  <a:cubicBezTo>
                    <a:pt x="595" y="41"/>
                    <a:pt x="597" y="41"/>
                    <a:pt x="599" y="41"/>
                  </a:cubicBezTo>
                  <a:cubicBezTo>
                    <a:pt x="601" y="42"/>
                    <a:pt x="603" y="47"/>
                    <a:pt x="607" y="47"/>
                  </a:cubicBezTo>
                  <a:cubicBezTo>
                    <a:pt x="611" y="46"/>
                    <a:pt x="623" y="51"/>
                    <a:pt x="630" y="51"/>
                  </a:cubicBezTo>
                  <a:cubicBezTo>
                    <a:pt x="637" y="51"/>
                    <a:pt x="637" y="46"/>
                    <a:pt x="635" y="45"/>
                  </a:cubicBezTo>
                  <a:cubicBezTo>
                    <a:pt x="633" y="45"/>
                    <a:pt x="635" y="42"/>
                    <a:pt x="639" y="36"/>
                  </a:cubicBezTo>
                  <a:cubicBezTo>
                    <a:pt x="643" y="31"/>
                    <a:pt x="627" y="27"/>
                    <a:pt x="627" y="31"/>
                  </a:cubicBezTo>
                  <a:cubicBezTo>
                    <a:pt x="627" y="35"/>
                    <a:pt x="622" y="30"/>
                    <a:pt x="621" y="28"/>
                  </a:cubicBezTo>
                  <a:cubicBezTo>
                    <a:pt x="620" y="25"/>
                    <a:pt x="599" y="30"/>
                    <a:pt x="599" y="32"/>
                  </a:cubicBezTo>
                  <a:close/>
                  <a:moveTo>
                    <a:pt x="480" y="151"/>
                  </a:moveTo>
                  <a:cubicBezTo>
                    <a:pt x="484" y="153"/>
                    <a:pt x="486" y="152"/>
                    <a:pt x="486" y="148"/>
                  </a:cubicBezTo>
                  <a:cubicBezTo>
                    <a:pt x="485" y="144"/>
                    <a:pt x="477" y="149"/>
                    <a:pt x="480" y="151"/>
                  </a:cubicBezTo>
                  <a:close/>
                  <a:moveTo>
                    <a:pt x="580" y="9"/>
                  </a:moveTo>
                  <a:cubicBezTo>
                    <a:pt x="581" y="5"/>
                    <a:pt x="565" y="7"/>
                    <a:pt x="569" y="10"/>
                  </a:cubicBezTo>
                  <a:cubicBezTo>
                    <a:pt x="571" y="11"/>
                    <a:pt x="579" y="12"/>
                    <a:pt x="580" y="9"/>
                  </a:cubicBezTo>
                  <a:close/>
                  <a:moveTo>
                    <a:pt x="1280" y="181"/>
                  </a:moveTo>
                  <a:cubicBezTo>
                    <a:pt x="1284" y="184"/>
                    <a:pt x="1287" y="178"/>
                    <a:pt x="1291" y="181"/>
                  </a:cubicBezTo>
                  <a:cubicBezTo>
                    <a:pt x="1295" y="184"/>
                    <a:pt x="1304" y="180"/>
                    <a:pt x="1308" y="179"/>
                  </a:cubicBezTo>
                  <a:cubicBezTo>
                    <a:pt x="1312" y="178"/>
                    <a:pt x="1310" y="174"/>
                    <a:pt x="1299" y="172"/>
                  </a:cubicBezTo>
                  <a:cubicBezTo>
                    <a:pt x="1288" y="171"/>
                    <a:pt x="1275" y="179"/>
                    <a:pt x="1280" y="181"/>
                  </a:cubicBezTo>
                  <a:close/>
                  <a:moveTo>
                    <a:pt x="636" y="66"/>
                  </a:moveTo>
                  <a:cubicBezTo>
                    <a:pt x="639" y="68"/>
                    <a:pt x="650" y="63"/>
                    <a:pt x="657" y="64"/>
                  </a:cubicBezTo>
                  <a:cubicBezTo>
                    <a:pt x="664" y="64"/>
                    <a:pt x="684" y="58"/>
                    <a:pt x="684" y="54"/>
                  </a:cubicBezTo>
                  <a:cubicBezTo>
                    <a:pt x="685" y="51"/>
                    <a:pt x="677" y="51"/>
                    <a:pt x="674" y="47"/>
                  </a:cubicBezTo>
                  <a:cubicBezTo>
                    <a:pt x="671" y="44"/>
                    <a:pt x="664" y="47"/>
                    <a:pt x="662" y="50"/>
                  </a:cubicBezTo>
                  <a:cubicBezTo>
                    <a:pt x="661" y="53"/>
                    <a:pt x="659" y="50"/>
                    <a:pt x="663" y="46"/>
                  </a:cubicBezTo>
                  <a:cubicBezTo>
                    <a:pt x="668" y="41"/>
                    <a:pt x="659" y="37"/>
                    <a:pt x="659" y="40"/>
                  </a:cubicBezTo>
                  <a:cubicBezTo>
                    <a:pt x="658" y="43"/>
                    <a:pt x="650" y="41"/>
                    <a:pt x="650" y="43"/>
                  </a:cubicBezTo>
                  <a:cubicBezTo>
                    <a:pt x="650" y="46"/>
                    <a:pt x="647" y="47"/>
                    <a:pt x="647" y="50"/>
                  </a:cubicBezTo>
                  <a:cubicBezTo>
                    <a:pt x="647" y="52"/>
                    <a:pt x="641" y="48"/>
                    <a:pt x="641" y="54"/>
                  </a:cubicBezTo>
                  <a:cubicBezTo>
                    <a:pt x="641" y="60"/>
                    <a:pt x="632" y="64"/>
                    <a:pt x="636" y="66"/>
                  </a:cubicBezTo>
                  <a:close/>
                  <a:moveTo>
                    <a:pt x="942" y="115"/>
                  </a:moveTo>
                  <a:cubicBezTo>
                    <a:pt x="946" y="116"/>
                    <a:pt x="947" y="118"/>
                    <a:pt x="949" y="120"/>
                  </a:cubicBezTo>
                  <a:cubicBezTo>
                    <a:pt x="951" y="122"/>
                    <a:pt x="958" y="119"/>
                    <a:pt x="961" y="118"/>
                  </a:cubicBezTo>
                  <a:cubicBezTo>
                    <a:pt x="963" y="117"/>
                    <a:pt x="964" y="122"/>
                    <a:pt x="968" y="120"/>
                  </a:cubicBezTo>
                  <a:cubicBezTo>
                    <a:pt x="973" y="117"/>
                    <a:pt x="977" y="118"/>
                    <a:pt x="982" y="118"/>
                  </a:cubicBezTo>
                  <a:cubicBezTo>
                    <a:pt x="988" y="118"/>
                    <a:pt x="981" y="112"/>
                    <a:pt x="982" y="109"/>
                  </a:cubicBezTo>
                  <a:cubicBezTo>
                    <a:pt x="982" y="106"/>
                    <a:pt x="988" y="108"/>
                    <a:pt x="986" y="110"/>
                  </a:cubicBezTo>
                  <a:cubicBezTo>
                    <a:pt x="984" y="113"/>
                    <a:pt x="989" y="118"/>
                    <a:pt x="996" y="118"/>
                  </a:cubicBezTo>
                  <a:cubicBezTo>
                    <a:pt x="1004" y="117"/>
                    <a:pt x="998" y="112"/>
                    <a:pt x="1002" y="111"/>
                  </a:cubicBezTo>
                  <a:cubicBezTo>
                    <a:pt x="1006" y="109"/>
                    <a:pt x="1006" y="107"/>
                    <a:pt x="1000" y="104"/>
                  </a:cubicBezTo>
                  <a:cubicBezTo>
                    <a:pt x="995" y="101"/>
                    <a:pt x="987" y="103"/>
                    <a:pt x="983" y="101"/>
                  </a:cubicBezTo>
                  <a:cubicBezTo>
                    <a:pt x="978" y="98"/>
                    <a:pt x="972" y="98"/>
                    <a:pt x="971" y="103"/>
                  </a:cubicBezTo>
                  <a:cubicBezTo>
                    <a:pt x="971" y="109"/>
                    <a:pt x="961" y="98"/>
                    <a:pt x="956" y="96"/>
                  </a:cubicBezTo>
                  <a:cubicBezTo>
                    <a:pt x="951" y="94"/>
                    <a:pt x="934" y="111"/>
                    <a:pt x="942" y="115"/>
                  </a:cubicBezTo>
                  <a:close/>
                  <a:moveTo>
                    <a:pt x="992" y="145"/>
                  </a:moveTo>
                  <a:cubicBezTo>
                    <a:pt x="996" y="144"/>
                    <a:pt x="989" y="136"/>
                    <a:pt x="981" y="135"/>
                  </a:cubicBezTo>
                  <a:cubicBezTo>
                    <a:pt x="974" y="134"/>
                    <a:pt x="967" y="140"/>
                    <a:pt x="968" y="141"/>
                  </a:cubicBezTo>
                  <a:cubicBezTo>
                    <a:pt x="970" y="145"/>
                    <a:pt x="988" y="146"/>
                    <a:pt x="992" y="145"/>
                  </a:cubicBezTo>
                  <a:close/>
                  <a:moveTo>
                    <a:pt x="973" y="130"/>
                  </a:moveTo>
                  <a:cubicBezTo>
                    <a:pt x="973" y="126"/>
                    <a:pt x="960" y="131"/>
                    <a:pt x="965" y="133"/>
                  </a:cubicBezTo>
                  <a:cubicBezTo>
                    <a:pt x="968" y="134"/>
                    <a:pt x="973" y="133"/>
                    <a:pt x="973" y="130"/>
                  </a:cubicBezTo>
                  <a:close/>
                  <a:moveTo>
                    <a:pt x="1014" y="115"/>
                  </a:moveTo>
                  <a:cubicBezTo>
                    <a:pt x="1020" y="115"/>
                    <a:pt x="1023" y="120"/>
                    <a:pt x="1034" y="121"/>
                  </a:cubicBezTo>
                  <a:cubicBezTo>
                    <a:pt x="1045" y="122"/>
                    <a:pt x="1053" y="120"/>
                    <a:pt x="1053" y="117"/>
                  </a:cubicBezTo>
                  <a:cubicBezTo>
                    <a:pt x="1053" y="115"/>
                    <a:pt x="1043" y="111"/>
                    <a:pt x="1040" y="113"/>
                  </a:cubicBezTo>
                  <a:cubicBezTo>
                    <a:pt x="1037" y="115"/>
                    <a:pt x="1035" y="110"/>
                    <a:pt x="1031" y="111"/>
                  </a:cubicBezTo>
                  <a:cubicBezTo>
                    <a:pt x="1027" y="113"/>
                    <a:pt x="1022" y="112"/>
                    <a:pt x="1020" y="109"/>
                  </a:cubicBezTo>
                  <a:cubicBezTo>
                    <a:pt x="1018" y="106"/>
                    <a:pt x="1011" y="114"/>
                    <a:pt x="1014" y="115"/>
                  </a:cubicBezTo>
                  <a:close/>
                  <a:moveTo>
                    <a:pt x="220" y="18"/>
                  </a:moveTo>
                  <a:cubicBezTo>
                    <a:pt x="225" y="13"/>
                    <a:pt x="232" y="18"/>
                    <a:pt x="233" y="15"/>
                  </a:cubicBezTo>
                  <a:cubicBezTo>
                    <a:pt x="234" y="13"/>
                    <a:pt x="223" y="12"/>
                    <a:pt x="219" y="14"/>
                  </a:cubicBezTo>
                  <a:cubicBezTo>
                    <a:pt x="215" y="17"/>
                    <a:pt x="206" y="15"/>
                    <a:pt x="207" y="18"/>
                  </a:cubicBezTo>
                  <a:cubicBezTo>
                    <a:pt x="207" y="19"/>
                    <a:pt x="214" y="23"/>
                    <a:pt x="220" y="18"/>
                  </a:cubicBezTo>
                  <a:close/>
                  <a:moveTo>
                    <a:pt x="990" y="420"/>
                  </a:moveTo>
                  <a:cubicBezTo>
                    <a:pt x="987" y="413"/>
                    <a:pt x="994" y="406"/>
                    <a:pt x="989" y="403"/>
                  </a:cubicBezTo>
                  <a:cubicBezTo>
                    <a:pt x="984" y="399"/>
                    <a:pt x="986" y="392"/>
                    <a:pt x="984" y="393"/>
                  </a:cubicBezTo>
                  <a:cubicBezTo>
                    <a:pt x="981" y="395"/>
                    <a:pt x="984" y="401"/>
                    <a:pt x="980" y="402"/>
                  </a:cubicBezTo>
                  <a:cubicBezTo>
                    <a:pt x="976" y="402"/>
                    <a:pt x="980" y="406"/>
                    <a:pt x="978" y="410"/>
                  </a:cubicBezTo>
                  <a:cubicBezTo>
                    <a:pt x="977" y="415"/>
                    <a:pt x="979" y="422"/>
                    <a:pt x="981" y="426"/>
                  </a:cubicBezTo>
                  <a:cubicBezTo>
                    <a:pt x="983" y="431"/>
                    <a:pt x="978" y="453"/>
                    <a:pt x="980" y="457"/>
                  </a:cubicBezTo>
                  <a:cubicBezTo>
                    <a:pt x="982" y="461"/>
                    <a:pt x="977" y="478"/>
                    <a:pt x="979" y="480"/>
                  </a:cubicBezTo>
                  <a:cubicBezTo>
                    <a:pt x="982" y="483"/>
                    <a:pt x="980" y="475"/>
                    <a:pt x="984" y="475"/>
                  </a:cubicBezTo>
                  <a:cubicBezTo>
                    <a:pt x="988" y="474"/>
                    <a:pt x="988" y="479"/>
                    <a:pt x="991" y="481"/>
                  </a:cubicBezTo>
                  <a:cubicBezTo>
                    <a:pt x="994" y="482"/>
                    <a:pt x="992" y="473"/>
                    <a:pt x="990" y="473"/>
                  </a:cubicBezTo>
                  <a:cubicBezTo>
                    <a:pt x="987" y="474"/>
                    <a:pt x="985" y="468"/>
                    <a:pt x="984" y="464"/>
                  </a:cubicBezTo>
                  <a:cubicBezTo>
                    <a:pt x="983" y="460"/>
                    <a:pt x="986" y="456"/>
                    <a:pt x="986" y="451"/>
                  </a:cubicBezTo>
                  <a:cubicBezTo>
                    <a:pt x="986" y="446"/>
                    <a:pt x="992" y="446"/>
                    <a:pt x="996" y="450"/>
                  </a:cubicBezTo>
                  <a:cubicBezTo>
                    <a:pt x="1000" y="453"/>
                    <a:pt x="1000" y="451"/>
                    <a:pt x="999" y="448"/>
                  </a:cubicBezTo>
                  <a:cubicBezTo>
                    <a:pt x="997" y="446"/>
                    <a:pt x="993" y="427"/>
                    <a:pt x="990" y="420"/>
                  </a:cubicBezTo>
                  <a:close/>
                  <a:moveTo>
                    <a:pt x="242" y="16"/>
                  </a:moveTo>
                  <a:cubicBezTo>
                    <a:pt x="246" y="18"/>
                    <a:pt x="233" y="18"/>
                    <a:pt x="231" y="20"/>
                  </a:cubicBezTo>
                  <a:cubicBezTo>
                    <a:pt x="230" y="22"/>
                    <a:pt x="222" y="21"/>
                    <a:pt x="224" y="24"/>
                  </a:cubicBezTo>
                  <a:cubicBezTo>
                    <a:pt x="225" y="27"/>
                    <a:pt x="237" y="27"/>
                    <a:pt x="237" y="25"/>
                  </a:cubicBezTo>
                  <a:cubicBezTo>
                    <a:pt x="237" y="23"/>
                    <a:pt x="243" y="25"/>
                    <a:pt x="243" y="23"/>
                  </a:cubicBezTo>
                  <a:cubicBezTo>
                    <a:pt x="244" y="20"/>
                    <a:pt x="246" y="18"/>
                    <a:pt x="253" y="18"/>
                  </a:cubicBezTo>
                  <a:cubicBezTo>
                    <a:pt x="260" y="17"/>
                    <a:pt x="260" y="15"/>
                    <a:pt x="253" y="12"/>
                  </a:cubicBezTo>
                  <a:cubicBezTo>
                    <a:pt x="247" y="9"/>
                    <a:pt x="239" y="13"/>
                    <a:pt x="242" y="16"/>
                  </a:cubicBezTo>
                  <a:close/>
                  <a:moveTo>
                    <a:pt x="232" y="208"/>
                  </a:moveTo>
                  <a:cubicBezTo>
                    <a:pt x="238" y="214"/>
                    <a:pt x="244" y="205"/>
                    <a:pt x="247" y="205"/>
                  </a:cubicBezTo>
                  <a:cubicBezTo>
                    <a:pt x="250" y="204"/>
                    <a:pt x="245" y="201"/>
                    <a:pt x="240" y="200"/>
                  </a:cubicBezTo>
                  <a:cubicBezTo>
                    <a:pt x="235" y="198"/>
                    <a:pt x="227" y="204"/>
                    <a:pt x="232" y="208"/>
                  </a:cubicBezTo>
                  <a:close/>
                  <a:moveTo>
                    <a:pt x="1371" y="249"/>
                  </a:moveTo>
                  <a:cubicBezTo>
                    <a:pt x="1369" y="248"/>
                    <a:pt x="1361" y="243"/>
                    <a:pt x="1359" y="240"/>
                  </a:cubicBezTo>
                  <a:cubicBezTo>
                    <a:pt x="1357" y="237"/>
                    <a:pt x="1348" y="236"/>
                    <a:pt x="1348" y="237"/>
                  </a:cubicBezTo>
                  <a:cubicBezTo>
                    <a:pt x="1348" y="239"/>
                    <a:pt x="1345" y="237"/>
                    <a:pt x="1344" y="236"/>
                  </a:cubicBezTo>
                  <a:cubicBezTo>
                    <a:pt x="1344" y="234"/>
                    <a:pt x="1334" y="234"/>
                    <a:pt x="1334" y="235"/>
                  </a:cubicBezTo>
                  <a:cubicBezTo>
                    <a:pt x="1334" y="237"/>
                    <a:pt x="1336" y="237"/>
                    <a:pt x="1338" y="239"/>
                  </a:cubicBezTo>
                  <a:cubicBezTo>
                    <a:pt x="1339" y="241"/>
                    <a:pt x="1336" y="242"/>
                    <a:pt x="1337" y="244"/>
                  </a:cubicBezTo>
                  <a:cubicBezTo>
                    <a:pt x="1337" y="246"/>
                    <a:pt x="1333" y="243"/>
                    <a:pt x="1331" y="242"/>
                  </a:cubicBezTo>
                  <a:cubicBezTo>
                    <a:pt x="1330" y="241"/>
                    <a:pt x="1331" y="236"/>
                    <a:pt x="1331" y="234"/>
                  </a:cubicBezTo>
                  <a:cubicBezTo>
                    <a:pt x="1332" y="231"/>
                    <a:pt x="1328" y="232"/>
                    <a:pt x="1328" y="230"/>
                  </a:cubicBezTo>
                  <a:cubicBezTo>
                    <a:pt x="1328" y="227"/>
                    <a:pt x="1317" y="222"/>
                    <a:pt x="1312" y="220"/>
                  </a:cubicBezTo>
                  <a:cubicBezTo>
                    <a:pt x="1308" y="218"/>
                    <a:pt x="1302" y="217"/>
                    <a:pt x="1300" y="214"/>
                  </a:cubicBezTo>
                  <a:cubicBezTo>
                    <a:pt x="1299" y="212"/>
                    <a:pt x="1291" y="212"/>
                    <a:pt x="1288" y="209"/>
                  </a:cubicBezTo>
                  <a:cubicBezTo>
                    <a:pt x="1285" y="205"/>
                    <a:pt x="1271" y="200"/>
                    <a:pt x="1265" y="199"/>
                  </a:cubicBezTo>
                  <a:cubicBezTo>
                    <a:pt x="1259" y="199"/>
                    <a:pt x="1261" y="196"/>
                    <a:pt x="1258" y="196"/>
                  </a:cubicBezTo>
                  <a:cubicBezTo>
                    <a:pt x="1255" y="197"/>
                    <a:pt x="1243" y="196"/>
                    <a:pt x="1239" y="196"/>
                  </a:cubicBezTo>
                  <a:cubicBezTo>
                    <a:pt x="1235" y="195"/>
                    <a:pt x="1234" y="198"/>
                    <a:pt x="1232" y="197"/>
                  </a:cubicBezTo>
                  <a:cubicBezTo>
                    <a:pt x="1229" y="196"/>
                    <a:pt x="1215" y="191"/>
                    <a:pt x="1213" y="192"/>
                  </a:cubicBezTo>
                  <a:cubicBezTo>
                    <a:pt x="1211" y="194"/>
                    <a:pt x="1212" y="197"/>
                    <a:pt x="1210" y="198"/>
                  </a:cubicBezTo>
                  <a:cubicBezTo>
                    <a:pt x="1209" y="198"/>
                    <a:pt x="1210" y="200"/>
                    <a:pt x="1214" y="204"/>
                  </a:cubicBezTo>
                  <a:cubicBezTo>
                    <a:pt x="1218" y="208"/>
                    <a:pt x="1216" y="210"/>
                    <a:pt x="1212" y="212"/>
                  </a:cubicBezTo>
                  <a:cubicBezTo>
                    <a:pt x="1209" y="213"/>
                    <a:pt x="1203" y="210"/>
                    <a:pt x="1201" y="208"/>
                  </a:cubicBezTo>
                  <a:cubicBezTo>
                    <a:pt x="1200" y="205"/>
                    <a:pt x="1195" y="206"/>
                    <a:pt x="1193" y="203"/>
                  </a:cubicBezTo>
                  <a:cubicBezTo>
                    <a:pt x="1192" y="199"/>
                    <a:pt x="1195" y="198"/>
                    <a:pt x="1197" y="200"/>
                  </a:cubicBezTo>
                  <a:cubicBezTo>
                    <a:pt x="1200" y="202"/>
                    <a:pt x="1203" y="201"/>
                    <a:pt x="1203" y="198"/>
                  </a:cubicBezTo>
                  <a:cubicBezTo>
                    <a:pt x="1204" y="196"/>
                    <a:pt x="1197" y="194"/>
                    <a:pt x="1193" y="194"/>
                  </a:cubicBezTo>
                  <a:cubicBezTo>
                    <a:pt x="1189" y="194"/>
                    <a:pt x="1187" y="199"/>
                    <a:pt x="1184" y="201"/>
                  </a:cubicBezTo>
                  <a:cubicBezTo>
                    <a:pt x="1180" y="204"/>
                    <a:pt x="1165" y="201"/>
                    <a:pt x="1164" y="199"/>
                  </a:cubicBezTo>
                  <a:cubicBezTo>
                    <a:pt x="1162" y="198"/>
                    <a:pt x="1141" y="199"/>
                    <a:pt x="1139" y="201"/>
                  </a:cubicBezTo>
                  <a:cubicBezTo>
                    <a:pt x="1137" y="202"/>
                    <a:pt x="1139" y="208"/>
                    <a:pt x="1138" y="208"/>
                  </a:cubicBezTo>
                  <a:cubicBezTo>
                    <a:pt x="1137" y="209"/>
                    <a:pt x="1135" y="202"/>
                    <a:pt x="1135" y="200"/>
                  </a:cubicBezTo>
                  <a:cubicBezTo>
                    <a:pt x="1135" y="199"/>
                    <a:pt x="1133" y="198"/>
                    <a:pt x="1129" y="198"/>
                  </a:cubicBezTo>
                  <a:cubicBezTo>
                    <a:pt x="1126" y="198"/>
                    <a:pt x="1123" y="198"/>
                    <a:pt x="1125" y="196"/>
                  </a:cubicBezTo>
                  <a:cubicBezTo>
                    <a:pt x="1127" y="195"/>
                    <a:pt x="1124" y="193"/>
                    <a:pt x="1126" y="191"/>
                  </a:cubicBezTo>
                  <a:cubicBezTo>
                    <a:pt x="1129" y="189"/>
                    <a:pt x="1121" y="183"/>
                    <a:pt x="1113" y="180"/>
                  </a:cubicBezTo>
                  <a:cubicBezTo>
                    <a:pt x="1106" y="177"/>
                    <a:pt x="1088" y="179"/>
                    <a:pt x="1083" y="180"/>
                  </a:cubicBezTo>
                  <a:cubicBezTo>
                    <a:pt x="1078" y="181"/>
                    <a:pt x="1069" y="181"/>
                    <a:pt x="1064" y="181"/>
                  </a:cubicBezTo>
                  <a:cubicBezTo>
                    <a:pt x="1060" y="181"/>
                    <a:pt x="1063" y="179"/>
                    <a:pt x="1062" y="177"/>
                  </a:cubicBezTo>
                  <a:cubicBezTo>
                    <a:pt x="1061" y="175"/>
                    <a:pt x="1053" y="172"/>
                    <a:pt x="1052" y="174"/>
                  </a:cubicBezTo>
                  <a:cubicBezTo>
                    <a:pt x="1051" y="176"/>
                    <a:pt x="1049" y="174"/>
                    <a:pt x="1049" y="173"/>
                  </a:cubicBezTo>
                  <a:cubicBezTo>
                    <a:pt x="1049" y="172"/>
                    <a:pt x="1042" y="169"/>
                    <a:pt x="1039" y="170"/>
                  </a:cubicBezTo>
                  <a:cubicBezTo>
                    <a:pt x="1036" y="170"/>
                    <a:pt x="1035" y="167"/>
                    <a:pt x="1038" y="167"/>
                  </a:cubicBezTo>
                  <a:cubicBezTo>
                    <a:pt x="1041" y="167"/>
                    <a:pt x="1047" y="168"/>
                    <a:pt x="1044" y="164"/>
                  </a:cubicBezTo>
                  <a:cubicBezTo>
                    <a:pt x="1042" y="160"/>
                    <a:pt x="1020" y="159"/>
                    <a:pt x="1018" y="160"/>
                  </a:cubicBezTo>
                  <a:cubicBezTo>
                    <a:pt x="1016" y="160"/>
                    <a:pt x="1018" y="163"/>
                    <a:pt x="1014" y="167"/>
                  </a:cubicBezTo>
                  <a:cubicBezTo>
                    <a:pt x="1009" y="172"/>
                    <a:pt x="1005" y="169"/>
                    <a:pt x="1005" y="167"/>
                  </a:cubicBezTo>
                  <a:cubicBezTo>
                    <a:pt x="1006" y="165"/>
                    <a:pt x="1011" y="165"/>
                    <a:pt x="1011" y="163"/>
                  </a:cubicBezTo>
                  <a:cubicBezTo>
                    <a:pt x="1011" y="161"/>
                    <a:pt x="1004" y="162"/>
                    <a:pt x="1002" y="160"/>
                  </a:cubicBezTo>
                  <a:cubicBezTo>
                    <a:pt x="1001" y="158"/>
                    <a:pt x="1004" y="157"/>
                    <a:pt x="1007" y="158"/>
                  </a:cubicBezTo>
                  <a:cubicBezTo>
                    <a:pt x="1010" y="159"/>
                    <a:pt x="1015" y="159"/>
                    <a:pt x="1015" y="158"/>
                  </a:cubicBezTo>
                  <a:cubicBezTo>
                    <a:pt x="1015" y="157"/>
                    <a:pt x="1012" y="156"/>
                    <a:pt x="1007" y="156"/>
                  </a:cubicBezTo>
                  <a:cubicBezTo>
                    <a:pt x="1003" y="155"/>
                    <a:pt x="991" y="152"/>
                    <a:pt x="985" y="153"/>
                  </a:cubicBezTo>
                  <a:cubicBezTo>
                    <a:pt x="979" y="153"/>
                    <a:pt x="976" y="150"/>
                    <a:pt x="973" y="150"/>
                  </a:cubicBezTo>
                  <a:cubicBezTo>
                    <a:pt x="969" y="150"/>
                    <a:pt x="969" y="152"/>
                    <a:pt x="971" y="154"/>
                  </a:cubicBezTo>
                  <a:cubicBezTo>
                    <a:pt x="973" y="156"/>
                    <a:pt x="968" y="157"/>
                    <a:pt x="964" y="156"/>
                  </a:cubicBezTo>
                  <a:cubicBezTo>
                    <a:pt x="960" y="156"/>
                    <a:pt x="954" y="158"/>
                    <a:pt x="957" y="161"/>
                  </a:cubicBezTo>
                  <a:cubicBezTo>
                    <a:pt x="959" y="164"/>
                    <a:pt x="961" y="160"/>
                    <a:pt x="963" y="161"/>
                  </a:cubicBezTo>
                  <a:cubicBezTo>
                    <a:pt x="965" y="162"/>
                    <a:pt x="958" y="164"/>
                    <a:pt x="961" y="166"/>
                  </a:cubicBezTo>
                  <a:cubicBezTo>
                    <a:pt x="964" y="167"/>
                    <a:pt x="963" y="170"/>
                    <a:pt x="963" y="171"/>
                  </a:cubicBezTo>
                  <a:cubicBezTo>
                    <a:pt x="963" y="173"/>
                    <a:pt x="959" y="173"/>
                    <a:pt x="957" y="171"/>
                  </a:cubicBezTo>
                  <a:cubicBezTo>
                    <a:pt x="955" y="169"/>
                    <a:pt x="952" y="171"/>
                    <a:pt x="949" y="171"/>
                  </a:cubicBezTo>
                  <a:cubicBezTo>
                    <a:pt x="946" y="170"/>
                    <a:pt x="943" y="172"/>
                    <a:pt x="947" y="172"/>
                  </a:cubicBezTo>
                  <a:cubicBezTo>
                    <a:pt x="950" y="173"/>
                    <a:pt x="952" y="175"/>
                    <a:pt x="947" y="176"/>
                  </a:cubicBezTo>
                  <a:cubicBezTo>
                    <a:pt x="942" y="176"/>
                    <a:pt x="943" y="171"/>
                    <a:pt x="940" y="172"/>
                  </a:cubicBezTo>
                  <a:cubicBezTo>
                    <a:pt x="938" y="172"/>
                    <a:pt x="931" y="170"/>
                    <a:pt x="928" y="170"/>
                  </a:cubicBezTo>
                  <a:cubicBezTo>
                    <a:pt x="925" y="170"/>
                    <a:pt x="923" y="172"/>
                    <a:pt x="919" y="173"/>
                  </a:cubicBezTo>
                  <a:cubicBezTo>
                    <a:pt x="914" y="173"/>
                    <a:pt x="908" y="171"/>
                    <a:pt x="907" y="168"/>
                  </a:cubicBezTo>
                  <a:cubicBezTo>
                    <a:pt x="905" y="166"/>
                    <a:pt x="904" y="165"/>
                    <a:pt x="902" y="168"/>
                  </a:cubicBezTo>
                  <a:cubicBezTo>
                    <a:pt x="900" y="171"/>
                    <a:pt x="900" y="176"/>
                    <a:pt x="898" y="176"/>
                  </a:cubicBezTo>
                  <a:cubicBezTo>
                    <a:pt x="896" y="176"/>
                    <a:pt x="895" y="181"/>
                    <a:pt x="893" y="182"/>
                  </a:cubicBezTo>
                  <a:cubicBezTo>
                    <a:pt x="891" y="184"/>
                    <a:pt x="890" y="181"/>
                    <a:pt x="888" y="181"/>
                  </a:cubicBezTo>
                  <a:cubicBezTo>
                    <a:pt x="885" y="181"/>
                    <a:pt x="876" y="172"/>
                    <a:pt x="876" y="170"/>
                  </a:cubicBezTo>
                  <a:cubicBezTo>
                    <a:pt x="875" y="167"/>
                    <a:pt x="870" y="163"/>
                    <a:pt x="868" y="162"/>
                  </a:cubicBezTo>
                  <a:cubicBezTo>
                    <a:pt x="867" y="161"/>
                    <a:pt x="870" y="160"/>
                    <a:pt x="872" y="162"/>
                  </a:cubicBezTo>
                  <a:cubicBezTo>
                    <a:pt x="873" y="163"/>
                    <a:pt x="876" y="163"/>
                    <a:pt x="877" y="162"/>
                  </a:cubicBezTo>
                  <a:cubicBezTo>
                    <a:pt x="879" y="162"/>
                    <a:pt x="879" y="157"/>
                    <a:pt x="876" y="157"/>
                  </a:cubicBezTo>
                  <a:cubicBezTo>
                    <a:pt x="873" y="157"/>
                    <a:pt x="874" y="154"/>
                    <a:pt x="875" y="154"/>
                  </a:cubicBezTo>
                  <a:cubicBezTo>
                    <a:pt x="877" y="153"/>
                    <a:pt x="872" y="149"/>
                    <a:pt x="874" y="148"/>
                  </a:cubicBezTo>
                  <a:cubicBezTo>
                    <a:pt x="876" y="148"/>
                    <a:pt x="875" y="146"/>
                    <a:pt x="872" y="145"/>
                  </a:cubicBezTo>
                  <a:cubicBezTo>
                    <a:pt x="870" y="145"/>
                    <a:pt x="867" y="143"/>
                    <a:pt x="867" y="142"/>
                  </a:cubicBezTo>
                  <a:cubicBezTo>
                    <a:pt x="867" y="140"/>
                    <a:pt x="856" y="140"/>
                    <a:pt x="856" y="142"/>
                  </a:cubicBezTo>
                  <a:cubicBezTo>
                    <a:pt x="857" y="144"/>
                    <a:pt x="852" y="143"/>
                    <a:pt x="853" y="141"/>
                  </a:cubicBezTo>
                  <a:cubicBezTo>
                    <a:pt x="854" y="140"/>
                    <a:pt x="849" y="140"/>
                    <a:pt x="844" y="139"/>
                  </a:cubicBezTo>
                  <a:cubicBezTo>
                    <a:pt x="839" y="137"/>
                    <a:pt x="839" y="134"/>
                    <a:pt x="837" y="134"/>
                  </a:cubicBezTo>
                  <a:cubicBezTo>
                    <a:pt x="835" y="133"/>
                    <a:pt x="836" y="139"/>
                    <a:pt x="833" y="137"/>
                  </a:cubicBezTo>
                  <a:cubicBezTo>
                    <a:pt x="830" y="136"/>
                    <a:pt x="828" y="139"/>
                    <a:pt x="829" y="142"/>
                  </a:cubicBezTo>
                  <a:cubicBezTo>
                    <a:pt x="830" y="145"/>
                    <a:pt x="829" y="145"/>
                    <a:pt x="829" y="148"/>
                  </a:cubicBezTo>
                  <a:cubicBezTo>
                    <a:pt x="829" y="150"/>
                    <a:pt x="827" y="149"/>
                    <a:pt x="824" y="148"/>
                  </a:cubicBezTo>
                  <a:cubicBezTo>
                    <a:pt x="821" y="147"/>
                    <a:pt x="821" y="151"/>
                    <a:pt x="814" y="149"/>
                  </a:cubicBezTo>
                  <a:cubicBezTo>
                    <a:pt x="808" y="147"/>
                    <a:pt x="805" y="149"/>
                    <a:pt x="804" y="147"/>
                  </a:cubicBezTo>
                  <a:cubicBezTo>
                    <a:pt x="802" y="145"/>
                    <a:pt x="800" y="145"/>
                    <a:pt x="800" y="146"/>
                  </a:cubicBezTo>
                  <a:cubicBezTo>
                    <a:pt x="800" y="148"/>
                    <a:pt x="790" y="147"/>
                    <a:pt x="789" y="145"/>
                  </a:cubicBezTo>
                  <a:cubicBezTo>
                    <a:pt x="788" y="142"/>
                    <a:pt x="791" y="142"/>
                    <a:pt x="792" y="141"/>
                  </a:cubicBezTo>
                  <a:cubicBezTo>
                    <a:pt x="794" y="140"/>
                    <a:pt x="790" y="139"/>
                    <a:pt x="785" y="140"/>
                  </a:cubicBezTo>
                  <a:cubicBezTo>
                    <a:pt x="779" y="140"/>
                    <a:pt x="776" y="137"/>
                    <a:pt x="770" y="137"/>
                  </a:cubicBezTo>
                  <a:cubicBezTo>
                    <a:pt x="764" y="138"/>
                    <a:pt x="752" y="139"/>
                    <a:pt x="750" y="140"/>
                  </a:cubicBezTo>
                  <a:cubicBezTo>
                    <a:pt x="748" y="141"/>
                    <a:pt x="751" y="144"/>
                    <a:pt x="749" y="144"/>
                  </a:cubicBezTo>
                  <a:cubicBezTo>
                    <a:pt x="746" y="144"/>
                    <a:pt x="748" y="139"/>
                    <a:pt x="747" y="136"/>
                  </a:cubicBezTo>
                  <a:cubicBezTo>
                    <a:pt x="747" y="134"/>
                    <a:pt x="743" y="133"/>
                    <a:pt x="743" y="135"/>
                  </a:cubicBezTo>
                  <a:cubicBezTo>
                    <a:pt x="744" y="137"/>
                    <a:pt x="737" y="138"/>
                    <a:pt x="735" y="137"/>
                  </a:cubicBezTo>
                  <a:cubicBezTo>
                    <a:pt x="733" y="135"/>
                    <a:pt x="730" y="133"/>
                    <a:pt x="726" y="132"/>
                  </a:cubicBezTo>
                  <a:cubicBezTo>
                    <a:pt x="721" y="131"/>
                    <a:pt x="715" y="136"/>
                    <a:pt x="717" y="137"/>
                  </a:cubicBezTo>
                  <a:cubicBezTo>
                    <a:pt x="718" y="139"/>
                    <a:pt x="721" y="137"/>
                    <a:pt x="722" y="138"/>
                  </a:cubicBezTo>
                  <a:cubicBezTo>
                    <a:pt x="722" y="140"/>
                    <a:pt x="712" y="140"/>
                    <a:pt x="712" y="141"/>
                  </a:cubicBezTo>
                  <a:cubicBezTo>
                    <a:pt x="712" y="143"/>
                    <a:pt x="702" y="145"/>
                    <a:pt x="699" y="146"/>
                  </a:cubicBezTo>
                  <a:cubicBezTo>
                    <a:pt x="692" y="147"/>
                    <a:pt x="690" y="147"/>
                    <a:pt x="686" y="150"/>
                  </a:cubicBezTo>
                  <a:cubicBezTo>
                    <a:pt x="683" y="153"/>
                    <a:pt x="685" y="147"/>
                    <a:pt x="688" y="144"/>
                  </a:cubicBezTo>
                  <a:cubicBezTo>
                    <a:pt x="691" y="141"/>
                    <a:pt x="694" y="142"/>
                    <a:pt x="696" y="140"/>
                  </a:cubicBezTo>
                  <a:cubicBezTo>
                    <a:pt x="697" y="138"/>
                    <a:pt x="700" y="138"/>
                    <a:pt x="705" y="137"/>
                  </a:cubicBezTo>
                  <a:cubicBezTo>
                    <a:pt x="709" y="137"/>
                    <a:pt x="709" y="134"/>
                    <a:pt x="711" y="133"/>
                  </a:cubicBezTo>
                  <a:cubicBezTo>
                    <a:pt x="713" y="132"/>
                    <a:pt x="718" y="130"/>
                    <a:pt x="719" y="128"/>
                  </a:cubicBezTo>
                  <a:cubicBezTo>
                    <a:pt x="720" y="126"/>
                    <a:pt x="731" y="122"/>
                    <a:pt x="733" y="122"/>
                  </a:cubicBezTo>
                  <a:cubicBezTo>
                    <a:pt x="735" y="123"/>
                    <a:pt x="736" y="118"/>
                    <a:pt x="737" y="118"/>
                  </a:cubicBezTo>
                  <a:cubicBezTo>
                    <a:pt x="738" y="118"/>
                    <a:pt x="744" y="115"/>
                    <a:pt x="747" y="114"/>
                  </a:cubicBezTo>
                  <a:cubicBezTo>
                    <a:pt x="749" y="113"/>
                    <a:pt x="750" y="111"/>
                    <a:pt x="750" y="109"/>
                  </a:cubicBezTo>
                  <a:cubicBezTo>
                    <a:pt x="750" y="108"/>
                    <a:pt x="747" y="108"/>
                    <a:pt x="747" y="107"/>
                  </a:cubicBezTo>
                  <a:cubicBezTo>
                    <a:pt x="746" y="105"/>
                    <a:pt x="748" y="106"/>
                    <a:pt x="751" y="105"/>
                  </a:cubicBezTo>
                  <a:cubicBezTo>
                    <a:pt x="753" y="104"/>
                    <a:pt x="751" y="101"/>
                    <a:pt x="749" y="102"/>
                  </a:cubicBezTo>
                  <a:cubicBezTo>
                    <a:pt x="747" y="102"/>
                    <a:pt x="750" y="100"/>
                    <a:pt x="748" y="98"/>
                  </a:cubicBezTo>
                  <a:cubicBezTo>
                    <a:pt x="746" y="96"/>
                    <a:pt x="743" y="99"/>
                    <a:pt x="743" y="97"/>
                  </a:cubicBezTo>
                  <a:cubicBezTo>
                    <a:pt x="743" y="94"/>
                    <a:pt x="743" y="92"/>
                    <a:pt x="741" y="90"/>
                  </a:cubicBezTo>
                  <a:cubicBezTo>
                    <a:pt x="740" y="89"/>
                    <a:pt x="737" y="93"/>
                    <a:pt x="734" y="90"/>
                  </a:cubicBezTo>
                  <a:cubicBezTo>
                    <a:pt x="731" y="88"/>
                    <a:pt x="723" y="87"/>
                    <a:pt x="723" y="88"/>
                  </a:cubicBezTo>
                  <a:cubicBezTo>
                    <a:pt x="723" y="89"/>
                    <a:pt x="718" y="86"/>
                    <a:pt x="718" y="87"/>
                  </a:cubicBezTo>
                  <a:cubicBezTo>
                    <a:pt x="717" y="88"/>
                    <a:pt x="710" y="88"/>
                    <a:pt x="708" y="87"/>
                  </a:cubicBezTo>
                  <a:cubicBezTo>
                    <a:pt x="706" y="87"/>
                    <a:pt x="703" y="88"/>
                    <a:pt x="702" y="90"/>
                  </a:cubicBezTo>
                  <a:cubicBezTo>
                    <a:pt x="702" y="93"/>
                    <a:pt x="694" y="92"/>
                    <a:pt x="692" y="91"/>
                  </a:cubicBezTo>
                  <a:cubicBezTo>
                    <a:pt x="691" y="91"/>
                    <a:pt x="698" y="85"/>
                    <a:pt x="698" y="84"/>
                  </a:cubicBezTo>
                  <a:cubicBezTo>
                    <a:pt x="698" y="83"/>
                    <a:pt x="686" y="84"/>
                    <a:pt x="685" y="83"/>
                  </a:cubicBezTo>
                  <a:cubicBezTo>
                    <a:pt x="684" y="82"/>
                    <a:pt x="678" y="81"/>
                    <a:pt x="675" y="81"/>
                  </a:cubicBezTo>
                  <a:cubicBezTo>
                    <a:pt x="673" y="82"/>
                    <a:pt x="675" y="81"/>
                    <a:pt x="678" y="81"/>
                  </a:cubicBezTo>
                  <a:cubicBezTo>
                    <a:pt x="680" y="80"/>
                    <a:pt x="683" y="78"/>
                    <a:pt x="685" y="78"/>
                  </a:cubicBezTo>
                  <a:cubicBezTo>
                    <a:pt x="688" y="77"/>
                    <a:pt x="687" y="76"/>
                    <a:pt x="686" y="75"/>
                  </a:cubicBezTo>
                  <a:cubicBezTo>
                    <a:pt x="685" y="73"/>
                    <a:pt x="682" y="74"/>
                    <a:pt x="679" y="73"/>
                  </a:cubicBezTo>
                  <a:cubicBezTo>
                    <a:pt x="677" y="72"/>
                    <a:pt x="673" y="71"/>
                    <a:pt x="671" y="71"/>
                  </a:cubicBezTo>
                  <a:cubicBezTo>
                    <a:pt x="669" y="71"/>
                    <a:pt x="666" y="72"/>
                    <a:pt x="660" y="73"/>
                  </a:cubicBezTo>
                  <a:cubicBezTo>
                    <a:pt x="655" y="74"/>
                    <a:pt x="654" y="78"/>
                    <a:pt x="652" y="80"/>
                  </a:cubicBezTo>
                  <a:cubicBezTo>
                    <a:pt x="649" y="81"/>
                    <a:pt x="644" y="86"/>
                    <a:pt x="646" y="87"/>
                  </a:cubicBezTo>
                  <a:cubicBezTo>
                    <a:pt x="648" y="87"/>
                    <a:pt x="647" y="89"/>
                    <a:pt x="648" y="90"/>
                  </a:cubicBezTo>
                  <a:cubicBezTo>
                    <a:pt x="648" y="92"/>
                    <a:pt x="646" y="92"/>
                    <a:pt x="643" y="92"/>
                  </a:cubicBezTo>
                  <a:cubicBezTo>
                    <a:pt x="640" y="91"/>
                    <a:pt x="631" y="91"/>
                    <a:pt x="631" y="93"/>
                  </a:cubicBezTo>
                  <a:cubicBezTo>
                    <a:pt x="631" y="95"/>
                    <a:pt x="636" y="96"/>
                    <a:pt x="636" y="97"/>
                  </a:cubicBezTo>
                  <a:cubicBezTo>
                    <a:pt x="636" y="98"/>
                    <a:pt x="632" y="97"/>
                    <a:pt x="630" y="96"/>
                  </a:cubicBezTo>
                  <a:cubicBezTo>
                    <a:pt x="628" y="95"/>
                    <a:pt x="624" y="96"/>
                    <a:pt x="623" y="98"/>
                  </a:cubicBezTo>
                  <a:cubicBezTo>
                    <a:pt x="622" y="100"/>
                    <a:pt x="619" y="99"/>
                    <a:pt x="618" y="99"/>
                  </a:cubicBezTo>
                  <a:cubicBezTo>
                    <a:pt x="617" y="98"/>
                    <a:pt x="614" y="100"/>
                    <a:pt x="613" y="99"/>
                  </a:cubicBezTo>
                  <a:cubicBezTo>
                    <a:pt x="611" y="98"/>
                    <a:pt x="616" y="96"/>
                    <a:pt x="615" y="95"/>
                  </a:cubicBezTo>
                  <a:cubicBezTo>
                    <a:pt x="614" y="93"/>
                    <a:pt x="608" y="94"/>
                    <a:pt x="607" y="97"/>
                  </a:cubicBezTo>
                  <a:cubicBezTo>
                    <a:pt x="607" y="99"/>
                    <a:pt x="603" y="95"/>
                    <a:pt x="602" y="96"/>
                  </a:cubicBezTo>
                  <a:cubicBezTo>
                    <a:pt x="601" y="96"/>
                    <a:pt x="599" y="97"/>
                    <a:pt x="597" y="98"/>
                  </a:cubicBezTo>
                  <a:cubicBezTo>
                    <a:pt x="594" y="99"/>
                    <a:pt x="590" y="97"/>
                    <a:pt x="589" y="99"/>
                  </a:cubicBezTo>
                  <a:cubicBezTo>
                    <a:pt x="588" y="101"/>
                    <a:pt x="594" y="102"/>
                    <a:pt x="594" y="102"/>
                  </a:cubicBezTo>
                  <a:cubicBezTo>
                    <a:pt x="594" y="103"/>
                    <a:pt x="581" y="103"/>
                    <a:pt x="580" y="104"/>
                  </a:cubicBezTo>
                  <a:cubicBezTo>
                    <a:pt x="580" y="106"/>
                    <a:pt x="576" y="106"/>
                    <a:pt x="570" y="106"/>
                  </a:cubicBezTo>
                  <a:cubicBezTo>
                    <a:pt x="565" y="106"/>
                    <a:pt x="567" y="109"/>
                    <a:pt x="563" y="109"/>
                  </a:cubicBezTo>
                  <a:cubicBezTo>
                    <a:pt x="559" y="110"/>
                    <a:pt x="557" y="110"/>
                    <a:pt x="555" y="113"/>
                  </a:cubicBezTo>
                  <a:cubicBezTo>
                    <a:pt x="554" y="115"/>
                    <a:pt x="550" y="115"/>
                    <a:pt x="549" y="113"/>
                  </a:cubicBezTo>
                  <a:cubicBezTo>
                    <a:pt x="548" y="112"/>
                    <a:pt x="544" y="114"/>
                    <a:pt x="546" y="114"/>
                  </a:cubicBezTo>
                  <a:cubicBezTo>
                    <a:pt x="548" y="115"/>
                    <a:pt x="546" y="117"/>
                    <a:pt x="545" y="116"/>
                  </a:cubicBezTo>
                  <a:cubicBezTo>
                    <a:pt x="543" y="116"/>
                    <a:pt x="540" y="119"/>
                    <a:pt x="542" y="118"/>
                  </a:cubicBezTo>
                  <a:cubicBezTo>
                    <a:pt x="544" y="118"/>
                    <a:pt x="545" y="120"/>
                    <a:pt x="544" y="121"/>
                  </a:cubicBezTo>
                  <a:cubicBezTo>
                    <a:pt x="543" y="123"/>
                    <a:pt x="538" y="120"/>
                    <a:pt x="537" y="121"/>
                  </a:cubicBezTo>
                  <a:cubicBezTo>
                    <a:pt x="536" y="122"/>
                    <a:pt x="539" y="124"/>
                    <a:pt x="541" y="123"/>
                  </a:cubicBezTo>
                  <a:cubicBezTo>
                    <a:pt x="543" y="123"/>
                    <a:pt x="545" y="125"/>
                    <a:pt x="545" y="126"/>
                  </a:cubicBezTo>
                  <a:cubicBezTo>
                    <a:pt x="545" y="128"/>
                    <a:pt x="540" y="125"/>
                    <a:pt x="539" y="126"/>
                  </a:cubicBezTo>
                  <a:cubicBezTo>
                    <a:pt x="538" y="128"/>
                    <a:pt x="540" y="128"/>
                    <a:pt x="542" y="129"/>
                  </a:cubicBezTo>
                  <a:cubicBezTo>
                    <a:pt x="544" y="129"/>
                    <a:pt x="543" y="130"/>
                    <a:pt x="545" y="131"/>
                  </a:cubicBezTo>
                  <a:cubicBezTo>
                    <a:pt x="545" y="132"/>
                    <a:pt x="545" y="132"/>
                    <a:pt x="545" y="132"/>
                  </a:cubicBezTo>
                  <a:cubicBezTo>
                    <a:pt x="546" y="133"/>
                    <a:pt x="544" y="134"/>
                    <a:pt x="544" y="135"/>
                  </a:cubicBezTo>
                  <a:cubicBezTo>
                    <a:pt x="544" y="137"/>
                    <a:pt x="542" y="137"/>
                    <a:pt x="542" y="136"/>
                  </a:cubicBezTo>
                  <a:cubicBezTo>
                    <a:pt x="542" y="135"/>
                    <a:pt x="536" y="134"/>
                    <a:pt x="534" y="136"/>
                  </a:cubicBezTo>
                  <a:cubicBezTo>
                    <a:pt x="533" y="137"/>
                    <a:pt x="532" y="138"/>
                    <a:pt x="530" y="137"/>
                  </a:cubicBezTo>
                  <a:cubicBezTo>
                    <a:pt x="529" y="135"/>
                    <a:pt x="524" y="137"/>
                    <a:pt x="519" y="137"/>
                  </a:cubicBezTo>
                  <a:cubicBezTo>
                    <a:pt x="513" y="138"/>
                    <a:pt x="501" y="138"/>
                    <a:pt x="498" y="139"/>
                  </a:cubicBezTo>
                  <a:cubicBezTo>
                    <a:pt x="495" y="140"/>
                    <a:pt x="492" y="144"/>
                    <a:pt x="495" y="147"/>
                  </a:cubicBezTo>
                  <a:cubicBezTo>
                    <a:pt x="498" y="150"/>
                    <a:pt x="495" y="151"/>
                    <a:pt x="495" y="153"/>
                  </a:cubicBezTo>
                  <a:cubicBezTo>
                    <a:pt x="495" y="155"/>
                    <a:pt x="502" y="158"/>
                    <a:pt x="506" y="159"/>
                  </a:cubicBezTo>
                  <a:cubicBezTo>
                    <a:pt x="510" y="159"/>
                    <a:pt x="513" y="164"/>
                    <a:pt x="511" y="167"/>
                  </a:cubicBezTo>
                  <a:cubicBezTo>
                    <a:pt x="508" y="169"/>
                    <a:pt x="502" y="166"/>
                    <a:pt x="497" y="162"/>
                  </a:cubicBezTo>
                  <a:cubicBezTo>
                    <a:pt x="492" y="159"/>
                    <a:pt x="482" y="157"/>
                    <a:pt x="479" y="157"/>
                  </a:cubicBezTo>
                  <a:cubicBezTo>
                    <a:pt x="475" y="158"/>
                    <a:pt x="477" y="154"/>
                    <a:pt x="473" y="154"/>
                  </a:cubicBezTo>
                  <a:cubicBezTo>
                    <a:pt x="468" y="155"/>
                    <a:pt x="465" y="159"/>
                    <a:pt x="468" y="159"/>
                  </a:cubicBezTo>
                  <a:cubicBezTo>
                    <a:pt x="471" y="159"/>
                    <a:pt x="472" y="158"/>
                    <a:pt x="471" y="160"/>
                  </a:cubicBezTo>
                  <a:cubicBezTo>
                    <a:pt x="469" y="161"/>
                    <a:pt x="472" y="161"/>
                    <a:pt x="475" y="162"/>
                  </a:cubicBezTo>
                  <a:cubicBezTo>
                    <a:pt x="479" y="164"/>
                    <a:pt x="472" y="166"/>
                    <a:pt x="469" y="164"/>
                  </a:cubicBezTo>
                  <a:cubicBezTo>
                    <a:pt x="465" y="161"/>
                    <a:pt x="461" y="163"/>
                    <a:pt x="460" y="165"/>
                  </a:cubicBezTo>
                  <a:cubicBezTo>
                    <a:pt x="459" y="167"/>
                    <a:pt x="464" y="173"/>
                    <a:pt x="471" y="174"/>
                  </a:cubicBezTo>
                  <a:cubicBezTo>
                    <a:pt x="477" y="175"/>
                    <a:pt x="475" y="177"/>
                    <a:pt x="478" y="178"/>
                  </a:cubicBezTo>
                  <a:cubicBezTo>
                    <a:pt x="481" y="179"/>
                    <a:pt x="479" y="180"/>
                    <a:pt x="477" y="180"/>
                  </a:cubicBezTo>
                  <a:cubicBezTo>
                    <a:pt x="475" y="180"/>
                    <a:pt x="471" y="177"/>
                    <a:pt x="467" y="175"/>
                  </a:cubicBezTo>
                  <a:cubicBezTo>
                    <a:pt x="464" y="174"/>
                    <a:pt x="456" y="176"/>
                    <a:pt x="454" y="174"/>
                  </a:cubicBezTo>
                  <a:cubicBezTo>
                    <a:pt x="452" y="172"/>
                    <a:pt x="455" y="170"/>
                    <a:pt x="453" y="169"/>
                  </a:cubicBezTo>
                  <a:cubicBezTo>
                    <a:pt x="452" y="167"/>
                    <a:pt x="453" y="164"/>
                    <a:pt x="455" y="161"/>
                  </a:cubicBezTo>
                  <a:cubicBezTo>
                    <a:pt x="457" y="158"/>
                    <a:pt x="455" y="152"/>
                    <a:pt x="452" y="151"/>
                  </a:cubicBezTo>
                  <a:cubicBezTo>
                    <a:pt x="449" y="150"/>
                    <a:pt x="449" y="153"/>
                    <a:pt x="450" y="154"/>
                  </a:cubicBezTo>
                  <a:cubicBezTo>
                    <a:pt x="450" y="155"/>
                    <a:pt x="450" y="160"/>
                    <a:pt x="448" y="163"/>
                  </a:cubicBezTo>
                  <a:cubicBezTo>
                    <a:pt x="445" y="166"/>
                    <a:pt x="438" y="166"/>
                    <a:pt x="438" y="168"/>
                  </a:cubicBezTo>
                  <a:cubicBezTo>
                    <a:pt x="438" y="170"/>
                    <a:pt x="433" y="171"/>
                    <a:pt x="435" y="173"/>
                  </a:cubicBezTo>
                  <a:cubicBezTo>
                    <a:pt x="436" y="174"/>
                    <a:pt x="443" y="181"/>
                    <a:pt x="444" y="184"/>
                  </a:cubicBezTo>
                  <a:cubicBezTo>
                    <a:pt x="445" y="186"/>
                    <a:pt x="438" y="193"/>
                    <a:pt x="439" y="197"/>
                  </a:cubicBezTo>
                  <a:cubicBezTo>
                    <a:pt x="440" y="201"/>
                    <a:pt x="438" y="203"/>
                    <a:pt x="440" y="205"/>
                  </a:cubicBezTo>
                  <a:cubicBezTo>
                    <a:pt x="441" y="207"/>
                    <a:pt x="444" y="205"/>
                    <a:pt x="446" y="206"/>
                  </a:cubicBezTo>
                  <a:cubicBezTo>
                    <a:pt x="448" y="207"/>
                    <a:pt x="451" y="205"/>
                    <a:pt x="455" y="204"/>
                  </a:cubicBezTo>
                  <a:cubicBezTo>
                    <a:pt x="460" y="203"/>
                    <a:pt x="468" y="208"/>
                    <a:pt x="471" y="210"/>
                  </a:cubicBezTo>
                  <a:cubicBezTo>
                    <a:pt x="474" y="211"/>
                    <a:pt x="472" y="213"/>
                    <a:pt x="474" y="216"/>
                  </a:cubicBezTo>
                  <a:cubicBezTo>
                    <a:pt x="475" y="218"/>
                    <a:pt x="470" y="218"/>
                    <a:pt x="470" y="222"/>
                  </a:cubicBezTo>
                  <a:cubicBezTo>
                    <a:pt x="470" y="225"/>
                    <a:pt x="479" y="227"/>
                    <a:pt x="479" y="228"/>
                  </a:cubicBezTo>
                  <a:cubicBezTo>
                    <a:pt x="480" y="229"/>
                    <a:pt x="473" y="228"/>
                    <a:pt x="470" y="227"/>
                  </a:cubicBezTo>
                  <a:cubicBezTo>
                    <a:pt x="467" y="226"/>
                    <a:pt x="467" y="223"/>
                    <a:pt x="466" y="222"/>
                  </a:cubicBezTo>
                  <a:cubicBezTo>
                    <a:pt x="466" y="221"/>
                    <a:pt x="468" y="218"/>
                    <a:pt x="468" y="216"/>
                  </a:cubicBezTo>
                  <a:cubicBezTo>
                    <a:pt x="469" y="214"/>
                    <a:pt x="465" y="213"/>
                    <a:pt x="464" y="211"/>
                  </a:cubicBezTo>
                  <a:cubicBezTo>
                    <a:pt x="463" y="210"/>
                    <a:pt x="461" y="207"/>
                    <a:pt x="459" y="208"/>
                  </a:cubicBezTo>
                  <a:cubicBezTo>
                    <a:pt x="457" y="208"/>
                    <a:pt x="449" y="209"/>
                    <a:pt x="447" y="211"/>
                  </a:cubicBezTo>
                  <a:cubicBezTo>
                    <a:pt x="445" y="213"/>
                    <a:pt x="447" y="219"/>
                    <a:pt x="449" y="222"/>
                  </a:cubicBezTo>
                  <a:cubicBezTo>
                    <a:pt x="450" y="225"/>
                    <a:pt x="442" y="229"/>
                    <a:pt x="442" y="232"/>
                  </a:cubicBezTo>
                  <a:cubicBezTo>
                    <a:pt x="442" y="234"/>
                    <a:pt x="439" y="235"/>
                    <a:pt x="436" y="237"/>
                  </a:cubicBezTo>
                  <a:cubicBezTo>
                    <a:pt x="432" y="239"/>
                    <a:pt x="428" y="240"/>
                    <a:pt x="428" y="244"/>
                  </a:cubicBezTo>
                  <a:cubicBezTo>
                    <a:pt x="429" y="247"/>
                    <a:pt x="424" y="245"/>
                    <a:pt x="421" y="244"/>
                  </a:cubicBezTo>
                  <a:cubicBezTo>
                    <a:pt x="419" y="242"/>
                    <a:pt x="416" y="244"/>
                    <a:pt x="412" y="244"/>
                  </a:cubicBezTo>
                  <a:cubicBezTo>
                    <a:pt x="408" y="244"/>
                    <a:pt x="408" y="241"/>
                    <a:pt x="406" y="242"/>
                  </a:cubicBezTo>
                  <a:cubicBezTo>
                    <a:pt x="403" y="243"/>
                    <a:pt x="401" y="241"/>
                    <a:pt x="402" y="239"/>
                  </a:cubicBezTo>
                  <a:cubicBezTo>
                    <a:pt x="402" y="237"/>
                    <a:pt x="406" y="238"/>
                    <a:pt x="406" y="240"/>
                  </a:cubicBezTo>
                  <a:cubicBezTo>
                    <a:pt x="406" y="241"/>
                    <a:pt x="408" y="241"/>
                    <a:pt x="411" y="239"/>
                  </a:cubicBezTo>
                  <a:cubicBezTo>
                    <a:pt x="413" y="238"/>
                    <a:pt x="412" y="241"/>
                    <a:pt x="415" y="241"/>
                  </a:cubicBezTo>
                  <a:cubicBezTo>
                    <a:pt x="419" y="242"/>
                    <a:pt x="417" y="240"/>
                    <a:pt x="419" y="240"/>
                  </a:cubicBezTo>
                  <a:cubicBezTo>
                    <a:pt x="422" y="240"/>
                    <a:pt x="422" y="239"/>
                    <a:pt x="421" y="238"/>
                  </a:cubicBezTo>
                  <a:cubicBezTo>
                    <a:pt x="420" y="237"/>
                    <a:pt x="423" y="236"/>
                    <a:pt x="425" y="235"/>
                  </a:cubicBezTo>
                  <a:cubicBezTo>
                    <a:pt x="427" y="234"/>
                    <a:pt x="426" y="231"/>
                    <a:pt x="427" y="231"/>
                  </a:cubicBezTo>
                  <a:cubicBezTo>
                    <a:pt x="429" y="230"/>
                    <a:pt x="428" y="228"/>
                    <a:pt x="429" y="228"/>
                  </a:cubicBezTo>
                  <a:cubicBezTo>
                    <a:pt x="431" y="228"/>
                    <a:pt x="432" y="225"/>
                    <a:pt x="433" y="225"/>
                  </a:cubicBezTo>
                  <a:cubicBezTo>
                    <a:pt x="435" y="225"/>
                    <a:pt x="436" y="223"/>
                    <a:pt x="435" y="222"/>
                  </a:cubicBezTo>
                  <a:cubicBezTo>
                    <a:pt x="434" y="220"/>
                    <a:pt x="435" y="217"/>
                    <a:pt x="437" y="216"/>
                  </a:cubicBezTo>
                  <a:cubicBezTo>
                    <a:pt x="438" y="216"/>
                    <a:pt x="439" y="214"/>
                    <a:pt x="437" y="213"/>
                  </a:cubicBezTo>
                  <a:cubicBezTo>
                    <a:pt x="436" y="212"/>
                    <a:pt x="431" y="209"/>
                    <a:pt x="431" y="206"/>
                  </a:cubicBezTo>
                  <a:cubicBezTo>
                    <a:pt x="431" y="204"/>
                    <a:pt x="430" y="200"/>
                    <a:pt x="431" y="198"/>
                  </a:cubicBezTo>
                  <a:cubicBezTo>
                    <a:pt x="431" y="196"/>
                    <a:pt x="431" y="193"/>
                    <a:pt x="431" y="191"/>
                  </a:cubicBezTo>
                  <a:cubicBezTo>
                    <a:pt x="430" y="188"/>
                    <a:pt x="432" y="186"/>
                    <a:pt x="433" y="182"/>
                  </a:cubicBezTo>
                  <a:cubicBezTo>
                    <a:pt x="433" y="178"/>
                    <a:pt x="428" y="174"/>
                    <a:pt x="426" y="173"/>
                  </a:cubicBezTo>
                  <a:cubicBezTo>
                    <a:pt x="424" y="172"/>
                    <a:pt x="425" y="170"/>
                    <a:pt x="429" y="167"/>
                  </a:cubicBezTo>
                  <a:cubicBezTo>
                    <a:pt x="432" y="164"/>
                    <a:pt x="432" y="155"/>
                    <a:pt x="432" y="153"/>
                  </a:cubicBezTo>
                  <a:cubicBezTo>
                    <a:pt x="432" y="151"/>
                    <a:pt x="425" y="150"/>
                    <a:pt x="422" y="150"/>
                  </a:cubicBezTo>
                  <a:cubicBezTo>
                    <a:pt x="419" y="150"/>
                    <a:pt x="409" y="150"/>
                    <a:pt x="407" y="149"/>
                  </a:cubicBezTo>
                  <a:cubicBezTo>
                    <a:pt x="404" y="149"/>
                    <a:pt x="403" y="151"/>
                    <a:pt x="402" y="154"/>
                  </a:cubicBezTo>
                  <a:cubicBezTo>
                    <a:pt x="401" y="156"/>
                    <a:pt x="398" y="160"/>
                    <a:pt x="397" y="165"/>
                  </a:cubicBezTo>
                  <a:cubicBezTo>
                    <a:pt x="395" y="170"/>
                    <a:pt x="389" y="172"/>
                    <a:pt x="386" y="173"/>
                  </a:cubicBezTo>
                  <a:cubicBezTo>
                    <a:pt x="383" y="174"/>
                    <a:pt x="382" y="178"/>
                    <a:pt x="383" y="180"/>
                  </a:cubicBezTo>
                  <a:cubicBezTo>
                    <a:pt x="384" y="182"/>
                    <a:pt x="386" y="181"/>
                    <a:pt x="387" y="181"/>
                  </a:cubicBezTo>
                  <a:cubicBezTo>
                    <a:pt x="389" y="182"/>
                    <a:pt x="387" y="187"/>
                    <a:pt x="386" y="188"/>
                  </a:cubicBezTo>
                  <a:cubicBezTo>
                    <a:pt x="386" y="188"/>
                    <a:pt x="388" y="190"/>
                    <a:pt x="386" y="192"/>
                  </a:cubicBezTo>
                  <a:cubicBezTo>
                    <a:pt x="384" y="193"/>
                    <a:pt x="382" y="196"/>
                    <a:pt x="383" y="197"/>
                  </a:cubicBezTo>
                  <a:cubicBezTo>
                    <a:pt x="384" y="198"/>
                    <a:pt x="390" y="199"/>
                    <a:pt x="393" y="201"/>
                  </a:cubicBezTo>
                  <a:cubicBezTo>
                    <a:pt x="395" y="202"/>
                    <a:pt x="394" y="205"/>
                    <a:pt x="396" y="207"/>
                  </a:cubicBezTo>
                  <a:cubicBezTo>
                    <a:pt x="398" y="210"/>
                    <a:pt x="400" y="208"/>
                    <a:pt x="401" y="210"/>
                  </a:cubicBezTo>
                  <a:cubicBezTo>
                    <a:pt x="402" y="211"/>
                    <a:pt x="398" y="217"/>
                    <a:pt x="396" y="218"/>
                  </a:cubicBezTo>
                  <a:cubicBezTo>
                    <a:pt x="394" y="218"/>
                    <a:pt x="388" y="211"/>
                    <a:pt x="386" y="210"/>
                  </a:cubicBezTo>
                  <a:cubicBezTo>
                    <a:pt x="384" y="208"/>
                    <a:pt x="377" y="206"/>
                    <a:pt x="373" y="204"/>
                  </a:cubicBezTo>
                  <a:cubicBezTo>
                    <a:pt x="370" y="202"/>
                    <a:pt x="367" y="203"/>
                    <a:pt x="363" y="200"/>
                  </a:cubicBezTo>
                  <a:cubicBezTo>
                    <a:pt x="359" y="197"/>
                    <a:pt x="355" y="196"/>
                    <a:pt x="348" y="196"/>
                  </a:cubicBezTo>
                  <a:cubicBezTo>
                    <a:pt x="340" y="196"/>
                    <a:pt x="336" y="194"/>
                    <a:pt x="333" y="195"/>
                  </a:cubicBezTo>
                  <a:cubicBezTo>
                    <a:pt x="331" y="195"/>
                    <a:pt x="332" y="192"/>
                    <a:pt x="327" y="190"/>
                  </a:cubicBezTo>
                  <a:cubicBezTo>
                    <a:pt x="323" y="188"/>
                    <a:pt x="320" y="186"/>
                    <a:pt x="317" y="187"/>
                  </a:cubicBezTo>
                  <a:cubicBezTo>
                    <a:pt x="315" y="188"/>
                    <a:pt x="316" y="193"/>
                    <a:pt x="320" y="194"/>
                  </a:cubicBezTo>
                  <a:cubicBezTo>
                    <a:pt x="324" y="194"/>
                    <a:pt x="322" y="196"/>
                    <a:pt x="326" y="196"/>
                  </a:cubicBezTo>
                  <a:cubicBezTo>
                    <a:pt x="330" y="196"/>
                    <a:pt x="331" y="197"/>
                    <a:pt x="331" y="200"/>
                  </a:cubicBezTo>
                  <a:cubicBezTo>
                    <a:pt x="331" y="202"/>
                    <a:pt x="333" y="205"/>
                    <a:pt x="334" y="206"/>
                  </a:cubicBezTo>
                  <a:cubicBezTo>
                    <a:pt x="336" y="208"/>
                    <a:pt x="335" y="211"/>
                    <a:pt x="332" y="211"/>
                  </a:cubicBezTo>
                  <a:cubicBezTo>
                    <a:pt x="329" y="211"/>
                    <a:pt x="325" y="211"/>
                    <a:pt x="326" y="214"/>
                  </a:cubicBezTo>
                  <a:cubicBezTo>
                    <a:pt x="328" y="216"/>
                    <a:pt x="326" y="216"/>
                    <a:pt x="322" y="215"/>
                  </a:cubicBezTo>
                  <a:cubicBezTo>
                    <a:pt x="319" y="214"/>
                    <a:pt x="321" y="212"/>
                    <a:pt x="322" y="210"/>
                  </a:cubicBezTo>
                  <a:cubicBezTo>
                    <a:pt x="324" y="209"/>
                    <a:pt x="319" y="208"/>
                    <a:pt x="317" y="207"/>
                  </a:cubicBezTo>
                  <a:cubicBezTo>
                    <a:pt x="315" y="206"/>
                    <a:pt x="307" y="212"/>
                    <a:pt x="305" y="213"/>
                  </a:cubicBezTo>
                  <a:cubicBezTo>
                    <a:pt x="303" y="214"/>
                    <a:pt x="297" y="212"/>
                    <a:pt x="292" y="213"/>
                  </a:cubicBezTo>
                  <a:cubicBezTo>
                    <a:pt x="286" y="214"/>
                    <a:pt x="286" y="219"/>
                    <a:pt x="284" y="218"/>
                  </a:cubicBezTo>
                  <a:cubicBezTo>
                    <a:pt x="282" y="218"/>
                    <a:pt x="276" y="219"/>
                    <a:pt x="273" y="218"/>
                  </a:cubicBezTo>
                  <a:cubicBezTo>
                    <a:pt x="271" y="216"/>
                    <a:pt x="273" y="215"/>
                    <a:pt x="275" y="215"/>
                  </a:cubicBezTo>
                  <a:cubicBezTo>
                    <a:pt x="278" y="216"/>
                    <a:pt x="279" y="215"/>
                    <a:pt x="277" y="213"/>
                  </a:cubicBezTo>
                  <a:cubicBezTo>
                    <a:pt x="276" y="211"/>
                    <a:pt x="279" y="209"/>
                    <a:pt x="279" y="208"/>
                  </a:cubicBezTo>
                  <a:cubicBezTo>
                    <a:pt x="279" y="206"/>
                    <a:pt x="270" y="210"/>
                    <a:pt x="268" y="211"/>
                  </a:cubicBezTo>
                  <a:cubicBezTo>
                    <a:pt x="266" y="212"/>
                    <a:pt x="268" y="215"/>
                    <a:pt x="266" y="215"/>
                  </a:cubicBezTo>
                  <a:cubicBezTo>
                    <a:pt x="265" y="216"/>
                    <a:pt x="265" y="214"/>
                    <a:pt x="263" y="213"/>
                  </a:cubicBezTo>
                  <a:cubicBezTo>
                    <a:pt x="261" y="213"/>
                    <a:pt x="247" y="216"/>
                    <a:pt x="244" y="219"/>
                  </a:cubicBezTo>
                  <a:cubicBezTo>
                    <a:pt x="242" y="222"/>
                    <a:pt x="237" y="222"/>
                    <a:pt x="237" y="223"/>
                  </a:cubicBezTo>
                  <a:cubicBezTo>
                    <a:pt x="237" y="225"/>
                    <a:pt x="230" y="225"/>
                    <a:pt x="228" y="226"/>
                  </a:cubicBezTo>
                  <a:cubicBezTo>
                    <a:pt x="225" y="227"/>
                    <a:pt x="227" y="232"/>
                    <a:pt x="226" y="235"/>
                  </a:cubicBezTo>
                  <a:cubicBezTo>
                    <a:pt x="225" y="237"/>
                    <a:pt x="215" y="236"/>
                    <a:pt x="212" y="236"/>
                  </a:cubicBezTo>
                  <a:cubicBezTo>
                    <a:pt x="209" y="237"/>
                    <a:pt x="208" y="231"/>
                    <a:pt x="206" y="230"/>
                  </a:cubicBezTo>
                  <a:cubicBezTo>
                    <a:pt x="204" y="230"/>
                    <a:pt x="205" y="227"/>
                    <a:pt x="206" y="225"/>
                  </a:cubicBezTo>
                  <a:cubicBezTo>
                    <a:pt x="207" y="224"/>
                    <a:pt x="208" y="225"/>
                    <a:pt x="211" y="223"/>
                  </a:cubicBezTo>
                  <a:cubicBezTo>
                    <a:pt x="214" y="221"/>
                    <a:pt x="217" y="224"/>
                    <a:pt x="219" y="223"/>
                  </a:cubicBezTo>
                  <a:cubicBezTo>
                    <a:pt x="220" y="221"/>
                    <a:pt x="214" y="218"/>
                    <a:pt x="214" y="215"/>
                  </a:cubicBezTo>
                  <a:cubicBezTo>
                    <a:pt x="213" y="212"/>
                    <a:pt x="207" y="211"/>
                    <a:pt x="203" y="212"/>
                  </a:cubicBezTo>
                  <a:cubicBezTo>
                    <a:pt x="200" y="213"/>
                    <a:pt x="196" y="212"/>
                    <a:pt x="193" y="211"/>
                  </a:cubicBezTo>
                  <a:cubicBezTo>
                    <a:pt x="191" y="210"/>
                    <a:pt x="191" y="213"/>
                    <a:pt x="195" y="214"/>
                  </a:cubicBezTo>
                  <a:cubicBezTo>
                    <a:pt x="199" y="215"/>
                    <a:pt x="197" y="218"/>
                    <a:pt x="197" y="220"/>
                  </a:cubicBezTo>
                  <a:cubicBezTo>
                    <a:pt x="198" y="222"/>
                    <a:pt x="196" y="226"/>
                    <a:pt x="194" y="229"/>
                  </a:cubicBezTo>
                  <a:cubicBezTo>
                    <a:pt x="192" y="232"/>
                    <a:pt x="194" y="232"/>
                    <a:pt x="197" y="232"/>
                  </a:cubicBezTo>
                  <a:cubicBezTo>
                    <a:pt x="200" y="231"/>
                    <a:pt x="200" y="236"/>
                    <a:pt x="200" y="239"/>
                  </a:cubicBezTo>
                  <a:cubicBezTo>
                    <a:pt x="200" y="242"/>
                    <a:pt x="197" y="243"/>
                    <a:pt x="197" y="245"/>
                  </a:cubicBezTo>
                  <a:cubicBezTo>
                    <a:pt x="197" y="247"/>
                    <a:pt x="195" y="244"/>
                    <a:pt x="194" y="245"/>
                  </a:cubicBezTo>
                  <a:cubicBezTo>
                    <a:pt x="193" y="246"/>
                    <a:pt x="192" y="244"/>
                    <a:pt x="191" y="242"/>
                  </a:cubicBezTo>
                  <a:cubicBezTo>
                    <a:pt x="191" y="240"/>
                    <a:pt x="186" y="242"/>
                    <a:pt x="183" y="241"/>
                  </a:cubicBezTo>
                  <a:cubicBezTo>
                    <a:pt x="181" y="240"/>
                    <a:pt x="180" y="241"/>
                    <a:pt x="178" y="243"/>
                  </a:cubicBezTo>
                  <a:cubicBezTo>
                    <a:pt x="177" y="245"/>
                    <a:pt x="173" y="246"/>
                    <a:pt x="171" y="246"/>
                  </a:cubicBezTo>
                  <a:cubicBezTo>
                    <a:pt x="169" y="247"/>
                    <a:pt x="165" y="251"/>
                    <a:pt x="163" y="252"/>
                  </a:cubicBezTo>
                  <a:cubicBezTo>
                    <a:pt x="161" y="253"/>
                    <a:pt x="161" y="256"/>
                    <a:pt x="164" y="259"/>
                  </a:cubicBezTo>
                  <a:cubicBezTo>
                    <a:pt x="167" y="262"/>
                    <a:pt x="167" y="264"/>
                    <a:pt x="167" y="265"/>
                  </a:cubicBezTo>
                  <a:cubicBezTo>
                    <a:pt x="167" y="267"/>
                    <a:pt x="159" y="266"/>
                    <a:pt x="158" y="265"/>
                  </a:cubicBezTo>
                  <a:cubicBezTo>
                    <a:pt x="156" y="263"/>
                    <a:pt x="151" y="262"/>
                    <a:pt x="149" y="263"/>
                  </a:cubicBezTo>
                  <a:cubicBezTo>
                    <a:pt x="147" y="263"/>
                    <a:pt x="143" y="257"/>
                    <a:pt x="140" y="257"/>
                  </a:cubicBezTo>
                  <a:cubicBezTo>
                    <a:pt x="138" y="257"/>
                    <a:pt x="136" y="260"/>
                    <a:pt x="135" y="262"/>
                  </a:cubicBezTo>
                  <a:cubicBezTo>
                    <a:pt x="134" y="263"/>
                    <a:pt x="136" y="264"/>
                    <a:pt x="138" y="266"/>
                  </a:cubicBezTo>
                  <a:cubicBezTo>
                    <a:pt x="139" y="269"/>
                    <a:pt x="143" y="269"/>
                    <a:pt x="145" y="269"/>
                  </a:cubicBezTo>
                  <a:cubicBezTo>
                    <a:pt x="148" y="269"/>
                    <a:pt x="147" y="273"/>
                    <a:pt x="146" y="274"/>
                  </a:cubicBezTo>
                  <a:cubicBezTo>
                    <a:pt x="145" y="276"/>
                    <a:pt x="141" y="277"/>
                    <a:pt x="140" y="275"/>
                  </a:cubicBezTo>
                  <a:cubicBezTo>
                    <a:pt x="139" y="274"/>
                    <a:pt x="134" y="275"/>
                    <a:pt x="134" y="273"/>
                  </a:cubicBezTo>
                  <a:cubicBezTo>
                    <a:pt x="134" y="271"/>
                    <a:pt x="130" y="268"/>
                    <a:pt x="126" y="269"/>
                  </a:cubicBezTo>
                  <a:cubicBezTo>
                    <a:pt x="123" y="270"/>
                    <a:pt x="122" y="267"/>
                    <a:pt x="122" y="264"/>
                  </a:cubicBezTo>
                  <a:cubicBezTo>
                    <a:pt x="122" y="261"/>
                    <a:pt x="120" y="260"/>
                    <a:pt x="120" y="259"/>
                  </a:cubicBezTo>
                  <a:cubicBezTo>
                    <a:pt x="120" y="257"/>
                    <a:pt x="119" y="255"/>
                    <a:pt x="121" y="253"/>
                  </a:cubicBezTo>
                  <a:cubicBezTo>
                    <a:pt x="122" y="252"/>
                    <a:pt x="121" y="250"/>
                    <a:pt x="121" y="248"/>
                  </a:cubicBezTo>
                  <a:cubicBezTo>
                    <a:pt x="121" y="246"/>
                    <a:pt x="118" y="244"/>
                    <a:pt x="115" y="244"/>
                  </a:cubicBezTo>
                  <a:cubicBezTo>
                    <a:pt x="112" y="244"/>
                    <a:pt x="113" y="241"/>
                    <a:pt x="110" y="240"/>
                  </a:cubicBezTo>
                  <a:cubicBezTo>
                    <a:pt x="108" y="240"/>
                    <a:pt x="103" y="235"/>
                    <a:pt x="102" y="234"/>
                  </a:cubicBezTo>
                  <a:cubicBezTo>
                    <a:pt x="102" y="232"/>
                    <a:pt x="98" y="232"/>
                    <a:pt x="99" y="231"/>
                  </a:cubicBezTo>
                  <a:cubicBezTo>
                    <a:pt x="101" y="230"/>
                    <a:pt x="104" y="231"/>
                    <a:pt x="106" y="233"/>
                  </a:cubicBezTo>
                  <a:cubicBezTo>
                    <a:pt x="108" y="235"/>
                    <a:pt x="111" y="237"/>
                    <a:pt x="117" y="238"/>
                  </a:cubicBezTo>
                  <a:cubicBezTo>
                    <a:pt x="123" y="239"/>
                    <a:pt x="125" y="241"/>
                    <a:pt x="131" y="242"/>
                  </a:cubicBezTo>
                  <a:cubicBezTo>
                    <a:pt x="137" y="244"/>
                    <a:pt x="141" y="244"/>
                    <a:pt x="150" y="246"/>
                  </a:cubicBezTo>
                  <a:cubicBezTo>
                    <a:pt x="159" y="247"/>
                    <a:pt x="171" y="238"/>
                    <a:pt x="173" y="235"/>
                  </a:cubicBezTo>
                  <a:cubicBezTo>
                    <a:pt x="176" y="233"/>
                    <a:pt x="172" y="228"/>
                    <a:pt x="172" y="226"/>
                  </a:cubicBezTo>
                  <a:cubicBezTo>
                    <a:pt x="172" y="224"/>
                    <a:pt x="168" y="224"/>
                    <a:pt x="168" y="222"/>
                  </a:cubicBezTo>
                  <a:cubicBezTo>
                    <a:pt x="167" y="221"/>
                    <a:pt x="165" y="218"/>
                    <a:pt x="161" y="218"/>
                  </a:cubicBezTo>
                  <a:cubicBezTo>
                    <a:pt x="158" y="218"/>
                    <a:pt x="157" y="214"/>
                    <a:pt x="154" y="215"/>
                  </a:cubicBezTo>
                  <a:cubicBezTo>
                    <a:pt x="152" y="215"/>
                    <a:pt x="150" y="213"/>
                    <a:pt x="143" y="209"/>
                  </a:cubicBezTo>
                  <a:cubicBezTo>
                    <a:pt x="136" y="204"/>
                    <a:pt x="126" y="200"/>
                    <a:pt x="124" y="201"/>
                  </a:cubicBezTo>
                  <a:cubicBezTo>
                    <a:pt x="122" y="202"/>
                    <a:pt x="121" y="203"/>
                    <a:pt x="120" y="201"/>
                  </a:cubicBezTo>
                  <a:cubicBezTo>
                    <a:pt x="119" y="199"/>
                    <a:pt x="116" y="199"/>
                    <a:pt x="114" y="201"/>
                  </a:cubicBezTo>
                  <a:cubicBezTo>
                    <a:pt x="112" y="202"/>
                    <a:pt x="110" y="199"/>
                    <a:pt x="107" y="200"/>
                  </a:cubicBezTo>
                  <a:cubicBezTo>
                    <a:pt x="103" y="201"/>
                    <a:pt x="101" y="199"/>
                    <a:pt x="102" y="198"/>
                  </a:cubicBezTo>
                  <a:cubicBezTo>
                    <a:pt x="103" y="196"/>
                    <a:pt x="108" y="197"/>
                    <a:pt x="108" y="196"/>
                  </a:cubicBezTo>
                  <a:cubicBezTo>
                    <a:pt x="108" y="194"/>
                    <a:pt x="106" y="196"/>
                    <a:pt x="103" y="193"/>
                  </a:cubicBezTo>
                  <a:cubicBezTo>
                    <a:pt x="99" y="191"/>
                    <a:pt x="98" y="193"/>
                    <a:pt x="97" y="195"/>
                  </a:cubicBezTo>
                  <a:cubicBezTo>
                    <a:pt x="96" y="196"/>
                    <a:pt x="94" y="196"/>
                    <a:pt x="92" y="194"/>
                  </a:cubicBezTo>
                  <a:cubicBezTo>
                    <a:pt x="92" y="194"/>
                    <a:pt x="92" y="194"/>
                    <a:pt x="91" y="194"/>
                  </a:cubicBezTo>
                  <a:cubicBezTo>
                    <a:pt x="91" y="197"/>
                    <a:pt x="89" y="197"/>
                    <a:pt x="87" y="197"/>
                  </a:cubicBezTo>
                  <a:cubicBezTo>
                    <a:pt x="85" y="196"/>
                    <a:pt x="83" y="200"/>
                    <a:pt x="81" y="200"/>
                  </a:cubicBezTo>
                  <a:cubicBezTo>
                    <a:pt x="78" y="200"/>
                    <a:pt x="76" y="203"/>
                    <a:pt x="75" y="205"/>
                  </a:cubicBezTo>
                  <a:cubicBezTo>
                    <a:pt x="75" y="207"/>
                    <a:pt x="72" y="206"/>
                    <a:pt x="72" y="207"/>
                  </a:cubicBezTo>
                  <a:cubicBezTo>
                    <a:pt x="72" y="208"/>
                    <a:pt x="72" y="210"/>
                    <a:pt x="71" y="211"/>
                  </a:cubicBezTo>
                  <a:cubicBezTo>
                    <a:pt x="70" y="213"/>
                    <a:pt x="71" y="213"/>
                    <a:pt x="72" y="216"/>
                  </a:cubicBezTo>
                  <a:cubicBezTo>
                    <a:pt x="73" y="218"/>
                    <a:pt x="76" y="218"/>
                    <a:pt x="77" y="219"/>
                  </a:cubicBezTo>
                  <a:cubicBezTo>
                    <a:pt x="78" y="219"/>
                    <a:pt x="83" y="223"/>
                    <a:pt x="83" y="225"/>
                  </a:cubicBezTo>
                  <a:cubicBezTo>
                    <a:pt x="83" y="226"/>
                    <a:pt x="79" y="230"/>
                    <a:pt x="78" y="231"/>
                  </a:cubicBezTo>
                  <a:cubicBezTo>
                    <a:pt x="76" y="232"/>
                    <a:pt x="75" y="234"/>
                    <a:pt x="75" y="235"/>
                  </a:cubicBezTo>
                  <a:cubicBezTo>
                    <a:pt x="76" y="237"/>
                    <a:pt x="80" y="243"/>
                    <a:pt x="83" y="247"/>
                  </a:cubicBezTo>
                  <a:cubicBezTo>
                    <a:pt x="86" y="252"/>
                    <a:pt x="82" y="250"/>
                    <a:pt x="80" y="252"/>
                  </a:cubicBezTo>
                  <a:cubicBezTo>
                    <a:pt x="79" y="254"/>
                    <a:pt x="81" y="257"/>
                    <a:pt x="82" y="258"/>
                  </a:cubicBezTo>
                  <a:cubicBezTo>
                    <a:pt x="82" y="260"/>
                    <a:pt x="80" y="260"/>
                    <a:pt x="80" y="261"/>
                  </a:cubicBezTo>
                  <a:cubicBezTo>
                    <a:pt x="80" y="262"/>
                    <a:pt x="84" y="262"/>
                    <a:pt x="84" y="263"/>
                  </a:cubicBezTo>
                  <a:cubicBezTo>
                    <a:pt x="84" y="264"/>
                    <a:pt x="81" y="266"/>
                    <a:pt x="83" y="267"/>
                  </a:cubicBezTo>
                  <a:cubicBezTo>
                    <a:pt x="84" y="269"/>
                    <a:pt x="87" y="269"/>
                    <a:pt x="87" y="272"/>
                  </a:cubicBezTo>
                  <a:cubicBezTo>
                    <a:pt x="87" y="274"/>
                    <a:pt x="82" y="274"/>
                    <a:pt x="82" y="276"/>
                  </a:cubicBezTo>
                  <a:cubicBezTo>
                    <a:pt x="82" y="278"/>
                    <a:pt x="89" y="281"/>
                    <a:pt x="92" y="284"/>
                  </a:cubicBezTo>
                  <a:cubicBezTo>
                    <a:pt x="95" y="288"/>
                    <a:pt x="95" y="289"/>
                    <a:pt x="94" y="291"/>
                  </a:cubicBezTo>
                  <a:cubicBezTo>
                    <a:pt x="93" y="294"/>
                    <a:pt x="84" y="298"/>
                    <a:pt x="82" y="302"/>
                  </a:cubicBezTo>
                  <a:cubicBezTo>
                    <a:pt x="80" y="306"/>
                    <a:pt x="73" y="309"/>
                    <a:pt x="70" y="312"/>
                  </a:cubicBezTo>
                  <a:cubicBezTo>
                    <a:pt x="69" y="313"/>
                    <a:pt x="67" y="315"/>
                    <a:pt x="66" y="317"/>
                  </a:cubicBezTo>
                  <a:cubicBezTo>
                    <a:pt x="68" y="316"/>
                    <a:pt x="69" y="316"/>
                    <a:pt x="70" y="316"/>
                  </a:cubicBezTo>
                  <a:cubicBezTo>
                    <a:pt x="71" y="315"/>
                    <a:pt x="73" y="319"/>
                    <a:pt x="75" y="321"/>
                  </a:cubicBezTo>
                  <a:cubicBezTo>
                    <a:pt x="77" y="322"/>
                    <a:pt x="80" y="321"/>
                    <a:pt x="82" y="322"/>
                  </a:cubicBezTo>
                  <a:cubicBezTo>
                    <a:pt x="83" y="324"/>
                    <a:pt x="81" y="324"/>
                    <a:pt x="78" y="323"/>
                  </a:cubicBezTo>
                  <a:cubicBezTo>
                    <a:pt x="75" y="323"/>
                    <a:pt x="74" y="325"/>
                    <a:pt x="70" y="326"/>
                  </a:cubicBezTo>
                  <a:cubicBezTo>
                    <a:pt x="67" y="327"/>
                    <a:pt x="67" y="328"/>
                    <a:pt x="66" y="329"/>
                  </a:cubicBezTo>
                  <a:cubicBezTo>
                    <a:pt x="68" y="332"/>
                    <a:pt x="66" y="332"/>
                    <a:pt x="65" y="334"/>
                  </a:cubicBezTo>
                  <a:cubicBezTo>
                    <a:pt x="63" y="337"/>
                    <a:pt x="62" y="337"/>
                    <a:pt x="62" y="339"/>
                  </a:cubicBezTo>
                  <a:cubicBezTo>
                    <a:pt x="62" y="340"/>
                    <a:pt x="62" y="341"/>
                    <a:pt x="62" y="343"/>
                  </a:cubicBezTo>
                  <a:cubicBezTo>
                    <a:pt x="63" y="345"/>
                    <a:pt x="63" y="346"/>
                    <a:pt x="64" y="347"/>
                  </a:cubicBezTo>
                  <a:cubicBezTo>
                    <a:pt x="65" y="349"/>
                    <a:pt x="63" y="349"/>
                    <a:pt x="62" y="350"/>
                  </a:cubicBezTo>
                  <a:cubicBezTo>
                    <a:pt x="61" y="351"/>
                    <a:pt x="62" y="353"/>
                    <a:pt x="63" y="354"/>
                  </a:cubicBezTo>
                  <a:cubicBezTo>
                    <a:pt x="65" y="356"/>
                    <a:pt x="65" y="358"/>
                    <a:pt x="64" y="359"/>
                  </a:cubicBezTo>
                  <a:cubicBezTo>
                    <a:pt x="63" y="360"/>
                    <a:pt x="65" y="362"/>
                    <a:pt x="67" y="364"/>
                  </a:cubicBezTo>
                  <a:cubicBezTo>
                    <a:pt x="68" y="365"/>
                    <a:pt x="68" y="368"/>
                    <a:pt x="69" y="369"/>
                  </a:cubicBezTo>
                  <a:cubicBezTo>
                    <a:pt x="70" y="370"/>
                    <a:pt x="71" y="371"/>
                    <a:pt x="73" y="370"/>
                  </a:cubicBezTo>
                  <a:cubicBezTo>
                    <a:pt x="75" y="370"/>
                    <a:pt x="76" y="371"/>
                    <a:pt x="77" y="372"/>
                  </a:cubicBezTo>
                  <a:cubicBezTo>
                    <a:pt x="78" y="374"/>
                    <a:pt x="79" y="373"/>
                    <a:pt x="81" y="372"/>
                  </a:cubicBezTo>
                  <a:cubicBezTo>
                    <a:pt x="83" y="371"/>
                    <a:pt x="88" y="374"/>
                    <a:pt x="89" y="374"/>
                  </a:cubicBezTo>
                  <a:cubicBezTo>
                    <a:pt x="90" y="375"/>
                    <a:pt x="89" y="378"/>
                    <a:pt x="90" y="380"/>
                  </a:cubicBezTo>
                  <a:cubicBezTo>
                    <a:pt x="90" y="382"/>
                    <a:pt x="88" y="384"/>
                    <a:pt x="90" y="386"/>
                  </a:cubicBezTo>
                  <a:cubicBezTo>
                    <a:pt x="92" y="387"/>
                    <a:pt x="92" y="390"/>
                    <a:pt x="94" y="391"/>
                  </a:cubicBezTo>
                  <a:cubicBezTo>
                    <a:pt x="96" y="392"/>
                    <a:pt x="97" y="395"/>
                    <a:pt x="99" y="395"/>
                  </a:cubicBezTo>
                  <a:cubicBezTo>
                    <a:pt x="100" y="395"/>
                    <a:pt x="103" y="398"/>
                    <a:pt x="103" y="399"/>
                  </a:cubicBezTo>
                  <a:cubicBezTo>
                    <a:pt x="104" y="401"/>
                    <a:pt x="101" y="402"/>
                    <a:pt x="99" y="403"/>
                  </a:cubicBezTo>
                  <a:cubicBezTo>
                    <a:pt x="98" y="404"/>
                    <a:pt x="95" y="401"/>
                    <a:pt x="93" y="402"/>
                  </a:cubicBezTo>
                  <a:cubicBezTo>
                    <a:pt x="92" y="403"/>
                    <a:pt x="94" y="406"/>
                    <a:pt x="95" y="410"/>
                  </a:cubicBezTo>
                  <a:cubicBezTo>
                    <a:pt x="96" y="413"/>
                    <a:pt x="96" y="414"/>
                    <a:pt x="98" y="414"/>
                  </a:cubicBezTo>
                  <a:cubicBezTo>
                    <a:pt x="100" y="414"/>
                    <a:pt x="101" y="413"/>
                    <a:pt x="102" y="412"/>
                  </a:cubicBezTo>
                  <a:cubicBezTo>
                    <a:pt x="103" y="411"/>
                    <a:pt x="106" y="412"/>
                    <a:pt x="107" y="412"/>
                  </a:cubicBezTo>
                  <a:cubicBezTo>
                    <a:pt x="108" y="411"/>
                    <a:pt x="113" y="411"/>
                    <a:pt x="114" y="412"/>
                  </a:cubicBezTo>
                  <a:cubicBezTo>
                    <a:pt x="115" y="414"/>
                    <a:pt x="116" y="417"/>
                    <a:pt x="115" y="418"/>
                  </a:cubicBezTo>
                  <a:cubicBezTo>
                    <a:pt x="114" y="420"/>
                    <a:pt x="116" y="421"/>
                    <a:pt x="117" y="423"/>
                  </a:cubicBezTo>
                  <a:cubicBezTo>
                    <a:pt x="118" y="425"/>
                    <a:pt x="121" y="424"/>
                    <a:pt x="123" y="424"/>
                  </a:cubicBezTo>
                  <a:cubicBezTo>
                    <a:pt x="124" y="425"/>
                    <a:pt x="127" y="429"/>
                    <a:pt x="126" y="431"/>
                  </a:cubicBezTo>
                  <a:cubicBezTo>
                    <a:pt x="126" y="432"/>
                    <a:pt x="128" y="433"/>
                    <a:pt x="129" y="432"/>
                  </a:cubicBezTo>
                  <a:cubicBezTo>
                    <a:pt x="130" y="432"/>
                    <a:pt x="132" y="433"/>
                    <a:pt x="133" y="434"/>
                  </a:cubicBezTo>
                  <a:cubicBezTo>
                    <a:pt x="134" y="435"/>
                    <a:pt x="136" y="434"/>
                    <a:pt x="137" y="434"/>
                  </a:cubicBezTo>
                  <a:cubicBezTo>
                    <a:pt x="139" y="433"/>
                    <a:pt x="141" y="432"/>
                    <a:pt x="142" y="433"/>
                  </a:cubicBezTo>
                  <a:cubicBezTo>
                    <a:pt x="142" y="434"/>
                    <a:pt x="145" y="437"/>
                    <a:pt x="145" y="438"/>
                  </a:cubicBezTo>
                  <a:cubicBezTo>
                    <a:pt x="145" y="438"/>
                    <a:pt x="150" y="438"/>
                    <a:pt x="152" y="439"/>
                  </a:cubicBezTo>
                  <a:cubicBezTo>
                    <a:pt x="154" y="440"/>
                    <a:pt x="156" y="439"/>
                    <a:pt x="159" y="440"/>
                  </a:cubicBezTo>
                  <a:cubicBezTo>
                    <a:pt x="161" y="442"/>
                    <a:pt x="163" y="442"/>
                    <a:pt x="163" y="443"/>
                  </a:cubicBezTo>
                  <a:cubicBezTo>
                    <a:pt x="163" y="445"/>
                    <a:pt x="161" y="446"/>
                    <a:pt x="161" y="447"/>
                  </a:cubicBezTo>
                  <a:cubicBezTo>
                    <a:pt x="161" y="447"/>
                    <a:pt x="163" y="448"/>
                    <a:pt x="163" y="449"/>
                  </a:cubicBezTo>
                  <a:cubicBezTo>
                    <a:pt x="163" y="450"/>
                    <a:pt x="160" y="450"/>
                    <a:pt x="160" y="451"/>
                  </a:cubicBezTo>
                  <a:cubicBezTo>
                    <a:pt x="160" y="452"/>
                    <a:pt x="161" y="453"/>
                    <a:pt x="162" y="454"/>
                  </a:cubicBezTo>
                  <a:cubicBezTo>
                    <a:pt x="162" y="455"/>
                    <a:pt x="160" y="458"/>
                    <a:pt x="160" y="459"/>
                  </a:cubicBezTo>
                  <a:cubicBezTo>
                    <a:pt x="160" y="460"/>
                    <a:pt x="155" y="459"/>
                    <a:pt x="154" y="459"/>
                  </a:cubicBezTo>
                  <a:cubicBezTo>
                    <a:pt x="152" y="459"/>
                    <a:pt x="149" y="463"/>
                    <a:pt x="147" y="463"/>
                  </a:cubicBezTo>
                  <a:cubicBezTo>
                    <a:pt x="146" y="463"/>
                    <a:pt x="147" y="465"/>
                    <a:pt x="147" y="467"/>
                  </a:cubicBezTo>
                  <a:cubicBezTo>
                    <a:pt x="151" y="466"/>
                    <a:pt x="155" y="466"/>
                    <a:pt x="156" y="466"/>
                  </a:cubicBezTo>
                  <a:cubicBezTo>
                    <a:pt x="156" y="468"/>
                    <a:pt x="147" y="472"/>
                    <a:pt x="146" y="472"/>
                  </a:cubicBezTo>
                  <a:cubicBezTo>
                    <a:pt x="144" y="473"/>
                    <a:pt x="149" y="475"/>
                    <a:pt x="149" y="477"/>
                  </a:cubicBezTo>
                  <a:cubicBezTo>
                    <a:pt x="149" y="478"/>
                    <a:pt x="143" y="479"/>
                    <a:pt x="144" y="481"/>
                  </a:cubicBezTo>
                  <a:cubicBezTo>
                    <a:pt x="144" y="484"/>
                    <a:pt x="142" y="485"/>
                    <a:pt x="139" y="485"/>
                  </a:cubicBezTo>
                  <a:cubicBezTo>
                    <a:pt x="137" y="485"/>
                    <a:pt x="136" y="487"/>
                    <a:pt x="137" y="487"/>
                  </a:cubicBezTo>
                  <a:cubicBezTo>
                    <a:pt x="139" y="487"/>
                    <a:pt x="139" y="491"/>
                    <a:pt x="144" y="492"/>
                  </a:cubicBezTo>
                  <a:cubicBezTo>
                    <a:pt x="149" y="493"/>
                    <a:pt x="154" y="498"/>
                    <a:pt x="159" y="503"/>
                  </a:cubicBezTo>
                  <a:cubicBezTo>
                    <a:pt x="159" y="503"/>
                    <a:pt x="160" y="504"/>
                    <a:pt x="161" y="504"/>
                  </a:cubicBezTo>
                  <a:cubicBezTo>
                    <a:pt x="162" y="504"/>
                    <a:pt x="163" y="503"/>
                    <a:pt x="164" y="503"/>
                  </a:cubicBezTo>
                  <a:cubicBezTo>
                    <a:pt x="166" y="503"/>
                    <a:pt x="171" y="504"/>
                    <a:pt x="173" y="506"/>
                  </a:cubicBezTo>
                  <a:cubicBezTo>
                    <a:pt x="176" y="508"/>
                    <a:pt x="185" y="505"/>
                    <a:pt x="186" y="507"/>
                  </a:cubicBezTo>
                  <a:cubicBezTo>
                    <a:pt x="187" y="508"/>
                    <a:pt x="189" y="510"/>
                    <a:pt x="191" y="510"/>
                  </a:cubicBezTo>
                  <a:cubicBezTo>
                    <a:pt x="193" y="510"/>
                    <a:pt x="194" y="514"/>
                    <a:pt x="196" y="513"/>
                  </a:cubicBezTo>
                  <a:cubicBezTo>
                    <a:pt x="197" y="512"/>
                    <a:pt x="203" y="512"/>
                    <a:pt x="204" y="512"/>
                  </a:cubicBezTo>
                  <a:cubicBezTo>
                    <a:pt x="205" y="512"/>
                    <a:pt x="205" y="513"/>
                    <a:pt x="207" y="513"/>
                  </a:cubicBezTo>
                  <a:cubicBezTo>
                    <a:pt x="208" y="513"/>
                    <a:pt x="208" y="518"/>
                    <a:pt x="209" y="518"/>
                  </a:cubicBezTo>
                  <a:cubicBezTo>
                    <a:pt x="210" y="517"/>
                    <a:pt x="214" y="521"/>
                    <a:pt x="217" y="521"/>
                  </a:cubicBezTo>
                  <a:cubicBezTo>
                    <a:pt x="219" y="522"/>
                    <a:pt x="222" y="526"/>
                    <a:pt x="223" y="525"/>
                  </a:cubicBezTo>
                  <a:cubicBezTo>
                    <a:pt x="224" y="525"/>
                    <a:pt x="226" y="527"/>
                    <a:pt x="226" y="525"/>
                  </a:cubicBezTo>
                  <a:cubicBezTo>
                    <a:pt x="227" y="524"/>
                    <a:pt x="231" y="525"/>
                    <a:pt x="232" y="522"/>
                  </a:cubicBezTo>
                  <a:cubicBezTo>
                    <a:pt x="227" y="516"/>
                    <a:pt x="222" y="510"/>
                    <a:pt x="222" y="508"/>
                  </a:cubicBezTo>
                  <a:cubicBezTo>
                    <a:pt x="223" y="504"/>
                    <a:pt x="224" y="501"/>
                    <a:pt x="219" y="497"/>
                  </a:cubicBezTo>
                  <a:cubicBezTo>
                    <a:pt x="214" y="492"/>
                    <a:pt x="220" y="490"/>
                    <a:pt x="223" y="485"/>
                  </a:cubicBezTo>
                  <a:cubicBezTo>
                    <a:pt x="227" y="481"/>
                    <a:pt x="233" y="479"/>
                    <a:pt x="238" y="476"/>
                  </a:cubicBezTo>
                  <a:cubicBezTo>
                    <a:pt x="237" y="476"/>
                    <a:pt x="236" y="475"/>
                    <a:pt x="235" y="475"/>
                  </a:cubicBezTo>
                  <a:cubicBezTo>
                    <a:pt x="232" y="473"/>
                    <a:pt x="231" y="472"/>
                    <a:pt x="233" y="471"/>
                  </a:cubicBezTo>
                  <a:cubicBezTo>
                    <a:pt x="236" y="471"/>
                    <a:pt x="235" y="469"/>
                    <a:pt x="232" y="466"/>
                  </a:cubicBezTo>
                  <a:cubicBezTo>
                    <a:pt x="230" y="463"/>
                    <a:pt x="229" y="461"/>
                    <a:pt x="227" y="461"/>
                  </a:cubicBezTo>
                  <a:cubicBezTo>
                    <a:pt x="226" y="461"/>
                    <a:pt x="224" y="460"/>
                    <a:pt x="221" y="461"/>
                  </a:cubicBezTo>
                  <a:cubicBezTo>
                    <a:pt x="219" y="462"/>
                    <a:pt x="220" y="459"/>
                    <a:pt x="220" y="457"/>
                  </a:cubicBezTo>
                  <a:cubicBezTo>
                    <a:pt x="220" y="454"/>
                    <a:pt x="216" y="454"/>
                    <a:pt x="215" y="453"/>
                  </a:cubicBezTo>
                  <a:cubicBezTo>
                    <a:pt x="215" y="452"/>
                    <a:pt x="217" y="449"/>
                    <a:pt x="217" y="448"/>
                  </a:cubicBezTo>
                  <a:cubicBezTo>
                    <a:pt x="218" y="448"/>
                    <a:pt x="220" y="447"/>
                    <a:pt x="220" y="446"/>
                  </a:cubicBezTo>
                  <a:cubicBezTo>
                    <a:pt x="220" y="445"/>
                    <a:pt x="216" y="444"/>
                    <a:pt x="218" y="442"/>
                  </a:cubicBezTo>
                  <a:cubicBezTo>
                    <a:pt x="219" y="439"/>
                    <a:pt x="222" y="439"/>
                    <a:pt x="222" y="437"/>
                  </a:cubicBezTo>
                  <a:cubicBezTo>
                    <a:pt x="222" y="434"/>
                    <a:pt x="224" y="432"/>
                    <a:pt x="226" y="434"/>
                  </a:cubicBezTo>
                  <a:cubicBezTo>
                    <a:pt x="229" y="436"/>
                    <a:pt x="230" y="441"/>
                    <a:pt x="233" y="439"/>
                  </a:cubicBezTo>
                  <a:cubicBezTo>
                    <a:pt x="236" y="438"/>
                    <a:pt x="234" y="436"/>
                    <a:pt x="234" y="434"/>
                  </a:cubicBezTo>
                  <a:cubicBezTo>
                    <a:pt x="233" y="433"/>
                    <a:pt x="233" y="431"/>
                    <a:pt x="236" y="430"/>
                  </a:cubicBezTo>
                  <a:cubicBezTo>
                    <a:pt x="239" y="429"/>
                    <a:pt x="238" y="426"/>
                    <a:pt x="240" y="426"/>
                  </a:cubicBezTo>
                  <a:cubicBezTo>
                    <a:pt x="243" y="426"/>
                    <a:pt x="247" y="423"/>
                    <a:pt x="249" y="422"/>
                  </a:cubicBezTo>
                  <a:cubicBezTo>
                    <a:pt x="250" y="422"/>
                    <a:pt x="253" y="420"/>
                    <a:pt x="255" y="421"/>
                  </a:cubicBezTo>
                  <a:cubicBezTo>
                    <a:pt x="256" y="421"/>
                    <a:pt x="258" y="423"/>
                    <a:pt x="259" y="421"/>
                  </a:cubicBezTo>
                  <a:cubicBezTo>
                    <a:pt x="260" y="418"/>
                    <a:pt x="264" y="419"/>
                    <a:pt x="265" y="421"/>
                  </a:cubicBezTo>
                  <a:cubicBezTo>
                    <a:pt x="265" y="422"/>
                    <a:pt x="272" y="422"/>
                    <a:pt x="274" y="423"/>
                  </a:cubicBezTo>
                  <a:cubicBezTo>
                    <a:pt x="276" y="425"/>
                    <a:pt x="281" y="428"/>
                    <a:pt x="281" y="429"/>
                  </a:cubicBezTo>
                  <a:cubicBezTo>
                    <a:pt x="281" y="431"/>
                    <a:pt x="283" y="433"/>
                    <a:pt x="283" y="430"/>
                  </a:cubicBezTo>
                  <a:cubicBezTo>
                    <a:pt x="283" y="428"/>
                    <a:pt x="285" y="428"/>
                    <a:pt x="287" y="430"/>
                  </a:cubicBezTo>
                  <a:cubicBezTo>
                    <a:pt x="290" y="432"/>
                    <a:pt x="294" y="431"/>
                    <a:pt x="295" y="429"/>
                  </a:cubicBezTo>
                  <a:cubicBezTo>
                    <a:pt x="296" y="428"/>
                    <a:pt x="301" y="426"/>
                    <a:pt x="303" y="427"/>
                  </a:cubicBezTo>
                  <a:cubicBezTo>
                    <a:pt x="305" y="428"/>
                    <a:pt x="305" y="429"/>
                    <a:pt x="307" y="427"/>
                  </a:cubicBezTo>
                  <a:cubicBezTo>
                    <a:pt x="310" y="425"/>
                    <a:pt x="315" y="426"/>
                    <a:pt x="315" y="428"/>
                  </a:cubicBezTo>
                  <a:cubicBezTo>
                    <a:pt x="316" y="430"/>
                    <a:pt x="319" y="430"/>
                    <a:pt x="321" y="430"/>
                  </a:cubicBezTo>
                  <a:cubicBezTo>
                    <a:pt x="323" y="430"/>
                    <a:pt x="323" y="433"/>
                    <a:pt x="325" y="433"/>
                  </a:cubicBezTo>
                  <a:cubicBezTo>
                    <a:pt x="326" y="432"/>
                    <a:pt x="326" y="428"/>
                    <a:pt x="327" y="429"/>
                  </a:cubicBezTo>
                  <a:cubicBezTo>
                    <a:pt x="329" y="429"/>
                    <a:pt x="331" y="431"/>
                    <a:pt x="333" y="431"/>
                  </a:cubicBezTo>
                  <a:cubicBezTo>
                    <a:pt x="336" y="431"/>
                    <a:pt x="338" y="431"/>
                    <a:pt x="338" y="428"/>
                  </a:cubicBezTo>
                  <a:cubicBezTo>
                    <a:pt x="338" y="426"/>
                    <a:pt x="338" y="423"/>
                    <a:pt x="336" y="423"/>
                  </a:cubicBezTo>
                  <a:cubicBezTo>
                    <a:pt x="335" y="423"/>
                    <a:pt x="333" y="421"/>
                    <a:pt x="331" y="421"/>
                  </a:cubicBezTo>
                  <a:cubicBezTo>
                    <a:pt x="329" y="421"/>
                    <a:pt x="326" y="417"/>
                    <a:pt x="329" y="417"/>
                  </a:cubicBezTo>
                  <a:cubicBezTo>
                    <a:pt x="331" y="416"/>
                    <a:pt x="334" y="414"/>
                    <a:pt x="333" y="412"/>
                  </a:cubicBezTo>
                  <a:cubicBezTo>
                    <a:pt x="333" y="411"/>
                    <a:pt x="332" y="407"/>
                    <a:pt x="335" y="407"/>
                  </a:cubicBezTo>
                  <a:cubicBezTo>
                    <a:pt x="338" y="406"/>
                    <a:pt x="344" y="406"/>
                    <a:pt x="343" y="405"/>
                  </a:cubicBezTo>
                  <a:cubicBezTo>
                    <a:pt x="343" y="404"/>
                    <a:pt x="337" y="403"/>
                    <a:pt x="336" y="402"/>
                  </a:cubicBezTo>
                  <a:cubicBezTo>
                    <a:pt x="335" y="400"/>
                    <a:pt x="335" y="396"/>
                    <a:pt x="336" y="395"/>
                  </a:cubicBezTo>
                  <a:cubicBezTo>
                    <a:pt x="337" y="394"/>
                    <a:pt x="341" y="395"/>
                    <a:pt x="343" y="395"/>
                  </a:cubicBezTo>
                  <a:cubicBezTo>
                    <a:pt x="345" y="394"/>
                    <a:pt x="350" y="396"/>
                    <a:pt x="352" y="393"/>
                  </a:cubicBezTo>
                  <a:cubicBezTo>
                    <a:pt x="355" y="391"/>
                    <a:pt x="361" y="391"/>
                    <a:pt x="365" y="391"/>
                  </a:cubicBezTo>
                  <a:cubicBezTo>
                    <a:pt x="368" y="391"/>
                    <a:pt x="370" y="389"/>
                    <a:pt x="373" y="388"/>
                  </a:cubicBezTo>
                  <a:cubicBezTo>
                    <a:pt x="375" y="388"/>
                    <a:pt x="382" y="387"/>
                    <a:pt x="384" y="386"/>
                  </a:cubicBezTo>
                  <a:cubicBezTo>
                    <a:pt x="386" y="386"/>
                    <a:pt x="396" y="384"/>
                    <a:pt x="396" y="382"/>
                  </a:cubicBezTo>
                  <a:cubicBezTo>
                    <a:pt x="396" y="381"/>
                    <a:pt x="404" y="379"/>
                    <a:pt x="406" y="380"/>
                  </a:cubicBezTo>
                  <a:cubicBezTo>
                    <a:pt x="408" y="381"/>
                    <a:pt x="410" y="382"/>
                    <a:pt x="412" y="381"/>
                  </a:cubicBezTo>
                  <a:cubicBezTo>
                    <a:pt x="414" y="380"/>
                    <a:pt x="418" y="382"/>
                    <a:pt x="417" y="384"/>
                  </a:cubicBezTo>
                  <a:cubicBezTo>
                    <a:pt x="417" y="386"/>
                    <a:pt x="419" y="388"/>
                    <a:pt x="419" y="390"/>
                  </a:cubicBezTo>
                  <a:cubicBezTo>
                    <a:pt x="419" y="392"/>
                    <a:pt x="417" y="392"/>
                    <a:pt x="418" y="393"/>
                  </a:cubicBezTo>
                  <a:cubicBezTo>
                    <a:pt x="419" y="395"/>
                    <a:pt x="424" y="394"/>
                    <a:pt x="425" y="392"/>
                  </a:cubicBezTo>
                  <a:cubicBezTo>
                    <a:pt x="427" y="390"/>
                    <a:pt x="428" y="393"/>
                    <a:pt x="428" y="394"/>
                  </a:cubicBezTo>
                  <a:cubicBezTo>
                    <a:pt x="428" y="395"/>
                    <a:pt x="431" y="396"/>
                    <a:pt x="431" y="395"/>
                  </a:cubicBezTo>
                  <a:cubicBezTo>
                    <a:pt x="431" y="393"/>
                    <a:pt x="433" y="394"/>
                    <a:pt x="434" y="395"/>
                  </a:cubicBezTo>
                  <a:cubicBezTo>
                    <a:pt x="435" y="396"/>
                    <a:pt x="439" y="394"/>
                    <a:pt x="439" y="396"/>
                  </a:cubicBezTo>
                  <a:cubicBezTo>
                    <a:pt x="439" y="397"/>
                    <a:pt x="434" y="399"/>
                    <a:pt x="436" y="401"/>
                  </a:cubicBezTo>
                  <a:cubicBezTo>
                    <a:pt x="438" y="403"/>
                    <a:pt x="439" y="398"/>
                    <a:pt x="442" y="399"/>
                  </a:cubicBezTo>
                  <a:cubicBezTo>
                    <a:pt x="444" y="400"/>
                    <a:pt x="448" y="396"/>
                    <a:pt x="450" y="396"/>
                  </a:cubicBezTo>
                  <a:cubicBezTo>
                    <a:pt x="453" y="395"/>
                    <a:pt x="456" y="393"/>
                    <a:pt x="458" y="392"/>
                  </a:cubicBezTo>
                  <a:cubicBezTo>
                    <a:pt x="460" y="390"/>
                    <a:pt x="465" y="391"/>
                    <a:pt x="463" y="392"/>
                  </a:cubicBezTo>
                  <a:cubicBezTo>
                    <a:pt x="462" y="394"/>
                    <a:pt x="460" y="396"/>
                    <a:pt x="465" y="398"/>
                  </a:cubicBezTo>
                  <a:cubicBezTo>
                    <a:pt x="471" y="400"/>
                    <a:pt x="477" y="411"/>
                    <a:pt x="480" y="416"/>
                  </a:cubicBezTo>
                  <a:cubicBezTo>
                    <a:pt x="484" y="421"/>
                    <a:pt x="487" y="430"/>
                    <a:pt x="489" y="430"/>
                  </a:cubicBezTo>
                  <a:cubicBezTo>
                    <a:pt x="490" y="430"/>
                    <a:pt x="491" y="426"/>
                    <a:pt x="493" y="425"/>
                  </a:cubicBezTo>
                  <a:cubicBezTo>
                    <a:pt x="496" y="425"/>
                    <a:pt x="497" y="429"/>
                    <a:pt x="500" y="429"/>
                  </a:cubicBezTo>
                  <a:cubicBezTo>
                    <a:pt x="502" y="430"/>
                    <a:pt x="505" y="431"/>
                    <a:pt x="507" y="431"/>
                  </a:cubicBezTo>
                  <a:cubicBezTo>
                    <a:pt x="509" y="430"/>
                    <a:pt x="514" y="428"/>
                    <a:pt x="515" y="428"/>
                  </a:cubicBezTo>
                  <a:cubicBezTo>
                    <a:pt x="517" y="429"/>
                    <a:pt x="519" y="429"/>
                    <a:pt x="521" y="433"/>
                  </a:cubicBezTo>
                  <a:cubicBezTo>
                    <a:pt x="522" y="436"/>
                    <a:pt x="524" y="437"/>
                    <a:pt x="526" y="437"/>
                  </a:cubicBezTo>
                  <a:cubicBezTo>
                    <a:pt x="527" y="437"/>
                    <a:pt x="527" y="438"/>
                    <a:pt x="527" y="440"/>
                  </a:cubicBezTo>
                  <a:cubicBezTo>
                    <a:pt x="527" y="441"/>
                    <a:pt x="530" y="443"/>
                    <a:pt x="531" y="443"/>
                  </a:cubicBezTo>
                  <a:cubicBezTo>
                    <a:pt x="533" y="443"/>
                    <a:pt x="537" y="443"/>
                    <a:pt x="538" y="442"/>
                  </a:cubicBezTo>
                  <a:cubicBezTo>
                    <a:pt x="539" y="441"/>
                    <a:pt x="540" y="441"/>
                    <a:pt x="541" y="442"/>
                  </a:cubicBezTo>
                  <a:cubicBezTo>
                    <a:pt x="541" y="444"/>
                    <a:pt x="543" y="446"/>
                    <a:pt x="544" y="446"/>
                  </a:cubicBezTo>
                  <a:cubicBezTo>
                    <a:pt x="546" y="446"/>
                    <a:pt x="549" y="448"/>
                    <a:pt x="549" y="446"/>
                  </a:cubicBezTo>
                  <a:cubicBezTo>
                    <a:pt x="549" y="445"/>
                    <a:pt x="553" y="445"/>
                    <a:pt x="554" y="444"/>
                  </a:cubicBezTo>
                  <a:cubicBezTo>
                    <a:pt x="556" y="444"/>
                    <a:pt x="561" y="443"/>
                    <a:pt x="562" y="441"/>
                  </a:cubicBezTo>
                  <a:cubicBezTo>
                    <a:pt x="563" y="439"/>
                    <a:pt x="567" y="439"/>
                    <a:pt x="568" y="437"/>
                  </a:cubicBezTo>
                  <a:cubicBezTo>
                    <a:pt x="569" y="436"/>
                    <a:pt x="572" y="435"/>
                    <a:pt x="573" y="434"/>
                  </a:cubicBezTo>
                  <a:cubicBezTo>
                    <a:pt x="574" y="432"/>
                    <a:pt x="578" y="433"/>
                    <a:pt x="579" y="432"/>
                  </a:cubicBezTo>
                  <a:cubicBezTo>
                    <a:pt x="579" y="430"/>
                    <a:pt x="583" y="430"/>
                    <a:pt x="584" y="431"/>
                  </a:cubicBezTo>
                  <a:cubicBezTo>
                    <a:pt x="586" y="431"/>
                    <a:pt x="594" y="433"/>
                    <a:pt x="596" y="432"/>
                  </a:cubicBezTo>
                  <a:cubicBezTo>
                    <a:pt x="597" y="432"/>
                    <a:pt x="597" y="437"/>
                    <a:pt x="598" y="437"/>
                  </a:cubicBezTo>
                  <a:cubicBezTo>
                    <a:pt x="599" y="437"/>
                    <a:pt x="604" y="441"/>
                    <a:pt x="605" y="440"/>
                  </a:cubicBezTo>
                  <a:cubicBezTo>
                    <a:pt x="606" y="439"/>
                    <a:pt x="609" y="438"/>
                    <a:pt x="611" y="439"/>
                  </a:cubicBezTo>
                  <a:cubicBezTo>
                    <a:pt x="614" y="441"/>
                    <a:pt x="616" y="442"/>
                    <a:pt x="617" y="441"/>
                  </a:cubicBezTo>
                  <a:cubicBezTo>
                    <a:pt x="618" y="439"/>
                    <a:pt x="623" y="438"/>
                    <a:pt x="624" y="437"/>
                  </a:cubicBezTo>
                  <a:cubicBezTo>
                    <a:pt x="624" y="437"/>
                    <a:pt x="625" y="434"/>
                    <a:pt x="624" y="433"/>
                  </a:cubicBezTo>
                  <a:cubicBezTo>
                    <a:pt x="623" y="432"/>
                    <a:pt x="621" y="428"/>
                    <a:pt x="621" y="426"/>
                  </a:cubicBezTo>
                  <a:cubicBezTo>
                    <a:pt x="621" y="424"/>
                    <a:pt x="624" y="424"/>
                    <a:pt x="624" y="422"/>
                  </a:cubicBezTo>
                  <a:cubicBezTo>
                    <a:pt x="625" y="420"/>
                    <a:pt x="628" y="420"/>
                    <a:pt x="629" y="419"/>
                  </a:cubicBezTo>
                  <a:cubicBezTo>
                    <a:pt x="630" y="418"/>
                    <a:pt x="630" y="416"/>
                    <a:pt x="631" y="417"/>
                  </a:cubicBezTo>
                  <a:cubicBezTo>
                    <a:pt x="633" y="417"/>
                    <a:pt x="637" y="418"/>
                    <a:pt x="637" y="419"/>
                  </a:cubicBezTo>
                  <a:cubicBezTo>
                    <a:pt x="638" y="420"/>
                    <a:pt x="641" y="420"/>
                    <a:pt x="642" y="420"/>
                  </a:cubicBezTo>
                  <a:cubicBezTo>
                    <a:pt x="644" y="420"/>
                    <a:pt x="647" y="422"/>
                    <a:pt x="648" y="422"/>
                  </a:cubicBezTo>
                  <a:cubicBezTo>
                    <a:pt x="650" y="423"/>
                    <a:pt x="655" y="423"/>
                    <a:pt x="656" y="425"/>
                  </a:cubicBezTo>
                  <a:cubicBezTo>
                    <a:pt x="657" y="426"/>
                    <a:pt x="656" y="430"/>
                    <a:pt x="657" y="432"/>
                  </a:cubicBezTo>
                  <a:cubicBezTo>
                    <a:pt x="658" y="433"/>
                    <a:pt x="661" y="436"/>
                    <a:pt x="662" y="436"/>
                  </a:cubicBezTo>
                  <a:cubicBezTo>
                    <a:pt x="663" y="435"/>
                    <a:pt x="668" y="438"/>
                    <a:pt x="669" y="438"/>
                  </a:cubicBezTo>
                  <a:cubicBezTo>
                    <a:pt x="671" y="437"/>
                    <a:pt x="674" y="435"/>
                    <a:pt x="675" y="435"/>
                  </a:cubicBezTo>
                  <a:cubicBezTo>
                    <a:pt x="676" y="435"/>
                    <a:pt x="681" y="434"/>
                    <a:pt x="682" y="434"/>
                  </a:cubicBezTo>
                  <a:cubicBezTo>
                    <a:pt x="684" y="434"/>
                    <a:pt x="689" y="436"/>
                    <a:pt x="690" y="436"/>
                  </a:cubicBezTo>
                  <a:cubicBezTo>
                    <a:pt x="690" y="435"/>
                    <a:pt x="695" y="436"/>
                    <a:pt x="696" y="437"/>
                  </a:cubicBezTo>
                  <a:cubicBezTo>
                    <a:pt x="697" y="439"/>
                    <a:pt x="703" y="439"/>
                    <a:pt x="703" y="440"/>
                  </a:cubicBezTo>
                  <a:cubicBezTo>
                    <a:pt x="703" y="442"/>
                    <a:pt x="706" y="443"/>
                    <a:pt x="707" y="445"/>
                  </a:cubicBezTo>
                  <a:cubicBezTo>
                    <a:pt x="708" y="447"/>
                    <a:pt x="716" y="446"/>
                    <a:pt x="717" y="447"/>
                  </a:cubicBezTo>
                  <a:cubicBezTo>
                    <a:pt x="718" y="448"/>
                    <a:pt x="728" y="448"/>
                    <a:pt x="728" y="447"/>
                  </a:cubicBezTo>
                  <a:cubicBezTo>
                    <a:pt x="728" y="446"/>
                    <a:pt x="737" y="445"/>
                    <a:pt x="738" y="444"/>
                  </a:cubicBezTo>
                  <a:cubicBezTo>
                    <a:pt x="740" y="443"/>
                    <a:pt x="744" y="443"/>
                    <a:pt x="745" y="442"/>
                  </a:cubicBezTo>
                  <a:cubicBezTo>
                    <a:pt x="745" y="440"/>
                    <a:pt x="749" y="439"/>
                    <a:pt x="751" y="437"/>
                  </a:cubicBezTo>
                  <a:cubicBezTo>
                    <a:pt x="753" y="436"/>
                    <a:pt x="761" y="436"/>
                    <a:pt x="761" y="438"/>
                  </a:cubicBezTo>
                  <a:cubicBezTo>
                    <a:pt x="762" y="440"/>
                    <a:pt x="766" y="440"/>
                    <a:pt x="768" y="439"/>
                  </a:cubicBezTo>
                  <a:cubicBezTo>
                    <a:pt x="770" y="439"/>
                    <a:pt x="775" y="440"/>
                    <a:pt x="776" y="441"/>
                  </a:cubicBezTo>
                  <a:cubicBezTo>
                    <a:pt x="776" y="443"/>
                    <a:pt x="782" y="444"/>
                    <a:pt x="783" y="443"/>
                  </a:cubicBezTo>
                  <a:cubicBezTo>
                    <a:pt x="785" y="443"/>
                    <a:pt x="789" y="440"/>
                    <a:pt x="791" y="439"/>
                  </a:cubicBezTo>
                  <a:cubicBezTo>
                    <a:pt x="793" y="439"/>
                    <a:pt x="795" y="437"/>
                    <a:pt x="795" y="436"/>
                  </a:cubicBezTo>
                  <a:cubicBezTo>
                    <a:pt x="794" y="434"/>
                    <a:pt x="798" y="429"/>
                    <a:pt x="798" y="427"/>
                  </a:cubicBezTo>
                  <a:cubicBezTo>
                    <a:pt x="799" y="426"/>
                    <a:pt x="802" y="420"/>
                    <a:pt x="803" y="420"/>
                  </a:cubicBezTo>
                  <a:cubicBezTo>
                    <a:pt x="805" y="419"/>
                    <a:pt x="807" y="417"/>
                    <a:pt x="807" y="416"/>
                  </a:cubicBezTo>
                  <a:cubicBezTo>
                    <a:pt x="807" y="414"/>
                    <a:pt x="806" y="410"/>
                    <a:pt x="805" y="410"/>
                  </a:cubicBezTo>
                  <a:cubicBezTo>
                    <a:pt x="803" y="410"/>
                    <a:pt x="801" y="410"/>
                    <a:pt x="804" y="406"/>
                  </a:cubicBezTo>
                  <a:cubicBezTo>
                    <a:pt x="807" y="401"/>
                    <a:pt x="813" y="403"/>
                    <a:pt x="814" y="403"/>
                  </a:cubicBezTo>
                  <a:cubicBezTo>
                    <a:pt x="815" y="403"/>
                    <a:pt x="823" y="401"/>
                    <a:pt x="826" y="402"/>
                  </a:cubicBezTo>
                  <a:cubicBezTo>
                    <a:pt x="829" y="403"/>
                    <a:pt x="831" y="401"/>
                    <a:pt x="835" y="403"/>
                  </a:cubicBezTo>
                  <a:cubicBezTo>
                    <a:pt x="839" y="405"/>
                    <a:pt x="844" y="404"/>
                    <a:pt x="845" y="406"/>
                  </a:cubicBezTo>
                  <a:cubicBezTo>
                    <a:pt x="846" y="408"/>
                    <a:pt x="851" y="409"/>
                    <a:pt x="850" y="412"/>
                  </a:cubicBezTo>
                  <a:cubicBezTo>
                    <a:pt x="849" y="415"/>
                    <a:pt x="853" y="413"/>
                    <a:pt x="854" y="419"/>
                  </a:cubicBezTo>
                  <a:cubicBezTo>
                    <a:pt x="855" y="425"/>
                    <a:pt x="858" y="426"/>
                    <a:pt x="859" y="429"/>
                  </a:cubicBezTo>
                  <a:cubicBezTo>
                    <a:pt x="859" y="432"/>
                    <a:pt x="863" y="437"/>
                    <a:pt x="863" y="438"/>
                  </a:cubicBezTo>
                  <a:cubicBezTo>
                    <a:pt x="862" y="440"/>
                    <a:pt x="862" y="443"/>
                    <a:pt x="866" y="443"/>
                  </a:cubicBezTo>
                  <a:cubicBezTo>
                    <a:pt x="870" y="443"/>
                    <a:pt x="873" y="446"/>
                    <a:pt x="874" y="446"/>
                  </a:cubicBezTo>
                  <a:cubicBezTo>
                    <a:pt x="874" y="445"/>
                    <a:pt x="879" y="447"/>
                    <a:pt x="882" y="449"/>
                  </a:cubicBezTo>
                  <a:cubicBezTo>
                    <a:pt x="884" y="452"/>
                    <a:pt x="888" y="451"/>
                    <a:pt x="887" y="453"/>
                  </a:cubicBezTo>
                  <a:cubicBezTo>
                    <a:pt x="887" y="456"/>
                    <a:pt x="889" y="458"/>
                    <a:pt x="889" y="460"/>
                  </a:cubicBezTo>
                  <a:cubicBezTo>
                    <a:pt x="889" y="462"/>
                    <a:pt x="894" y="464"/>
                    <a:pt x="897" y="463"/>
                  </a:cubicBezTo>
                  <a:cubicBezTo>
                    <a:pt x="900" y="463"/>
                    <a:pt x="903" y="464"/>
                    <a:pt x="904" y="461"/>
                  </a:cubicBezTo>
                  <a:cubicBezTo>
                    <a:pt x="905" y="459"/>
                    <a:pt x="910" y="460"/>
                    <a:pt x="912" y="459"/>
                  </a:cubicBezTo>
                  <a:cubicBezTo>
                    <a:pt x="913" y="457"/>
                    <a:pt x="918" y="456"/>
                    <a:pt x="918" y="460"/>
                  </a:cubicBezTo>
                  <a:cubicBezTo>
                    <a:pt x="918" y="465"/>
                    <a:pt x="921" y="466"/>
                    <a:pt x="918" y="467"/>
                  </a:cubicBezTo>
                  <a:cubicBezTo>
                    <a:pt x="916" y="468"/>
                    <a:pt x="915" y="475"/>
                    <a:pt x="914" y="477"/>
                  </a:cubicBezTo>
                  <a:cubicBezTo>
                    <a:pt x="913" y="480"/>
                    <a:pt x="910" y="481"/>
                    <a:pt x="909" y="483"/>
                  </a:cubicBezTo>
                  <a:cubicBezTo>
                    <a:pt x="909" y="486"/>
                    <a:pt x="906" y="486"/>
                    <a:pt x="906" y="489"/>
                  </a:cubicBezTo>
                  <a:cubicBezTo>
                    <a:pt x="906" y="491"/>
                    <a:pt x="901" y="490"/>
                    <a:pt x="898" y="489"/>
                  </a:cubicBezTo>
                  <a:cubicBezTo>
                    <a:pt x="896" y="487"/>
                    <a:pt x="894" y="492"/>
                    <a:pt x="892" y="492"/>
                  </a:cubicBezTo>
                  <a:cubicBezTo>
                    <a:pt x="890" y="492"/>
                    <a:pt x="890" y="496"/>
                    <a:pt x="891" y="497"/>
                  </a:cubicBezTo>
                  <a:cubicBezTo>
                    <a:pt x="891" y="499"/>
                    <a:pt x="890" y="501"/>
                    <a:pt x="891" y="504"/>
                  </a:cubicBezTo>
                  <a:cubicBezTo>
                    <a:pt x="892" y="506"/>
                    <a:pt x="891" y="508"/>
                    <a:pt x="892" y="512"/>
                  </a:cubicBezTo>
                  <a:cubicBezTo>
                    <a:pt x="895" y="510"/>
                    <a:pt x="897" y="508"/>
                    <a:pt x="898" y="508"/>
                  </a:cubicBezTo>
                  <a:cubicBezTo>
                    <a:pt x="901" y="508"/>
                    <a:pt x="904" y="513"/>
                    <a:pt x="908" y="513"/>
                  </a:cubicBezTo>
                  <a:cubicBezTo>
                    <a:pt x="911" y="513"/>
                    <a:pt x="926" y="503"/>
                    <a:pt x="926" y="502"/>
                  </a:cubicBezTo>
                  <a:cubicBezTo>
                    <a:pt x="926" y="500"/>
                    <a:pt x="935" y="492"/>
                    <a:pt x="939" y="487"/>
                  </a:cubicBezTo>
                  <a:cubicBezTo>
                    <a:pt x="943" y="483"/>
                    <a:pt x="949" y="476"/>
                    <a:pt x="951" y="471"/>
                  </a:cubicBezTo>
                  <a:cubicBezTo>
                    <a:pt x="952" y="468"/>
                    <a:pt x="958" y="462"/>
                    <a:pt x="960" y="460"/>
                  </a:cubicBezTo>
                  <a:cubicBezTo>
                    <a:pt x="961" y="458"/>
                    <a:pt x="962" y="457"/>
                    <a:pt x="965" y="452"/>
                  </a:cubicBezTo>
                  <a:cubicBezTo>
                    <a:pt x="967" y="446"/>
                    <a:pt x="967" y="432"/>
                    <a:pt x="968" y="431"/>
                  </a:cubicBezTo>
                  <a:cubicBezTo>
                    <a:pt x="969" y="430"/>
                    <a:pt x="968" y="427"/>
                    <a:pt x="970" y="426"/>
                  </a:cubicBezTo>
                  <a:cubicBezTo>
                    <a:pt x="971" y="424"/>
                    <a:pt x="970" y="422"/>
                    <a:pt x="973" y="420"/>
                  </a:cubicBezTo>
                  <a:cubicBezTo>
                    <a:pt x="975" y="418"/>
                    <a:pt x="974" y="416"/>
                    <a:pt x="974" y="415"/>
                  </a:cubicBezTo>
                  <a:cubicBezTo>
                    <a:pt x="973" y="413"/>
                    <a:pt x="974" y="410"/>
                    <a:pt x="973" y="408"/>
                  </a:cubicBezTo>
                  <a:cubicBezTo>
                    <a:pt x="973" y="407"/>
                    <a:pt x="973" y="407"/>
                    <a:pt x="974" y="406"/>
                  </a:cubicBezTo>
                  <a:cubicBezTo>
                    <a:pt x="976" y="405"/>
                    <a:pt x="973" y="403"/>
                    <a:pt x="971" y="402"/>
                  </a:cubicBezTo>
                  <a:cubicBezTo>
                    <a:pt x="969" y="401"/>
                    <a:pt x="967" y="400"/>
                    <a:pt x="967" y="398"/>
                  </a:cubicBezTo>
                  <a:cubicBezTo>
                    <a:pt x="966" y="396"/>
                    <a:pt x="963" y="393"/>
                    <a:pt x="960" y="393"/>
                  </a:cubicBezTo>
                  <a:cubicBezTo>
                    <a:pt x="958" y="394"/>
                    <a:pt x="953" y="392"/>
                    <a:pt x="953" y="394"/>
                  </a:cubicBezTo>
                  <a:cubicBezTo>
                    <a:pt x="954" y="395"/>
                    <a:pt x="953" y="397"/>
                    <a:pt x="952" y="396"/>
                  </a:cubicBezTo>
                  <a:cubicBezTo>
                    <a:pt x="950" y="396"/>
                    <a:pt x="950" y="397"/>
                    <a:pt x="948" y="399"/>
                  </a:cubicBezTo>
                  <a:cubicBezTo>
                    <a:pt x="947" y="402"/>
                    <a:pt x="941" y="402"/>
                    <a:pt x="944" y="400"/>
                  </a:cubicBezTo>
                  <a:cubicBezTo>
                    <a:pt x="946" y="398"/>
                    <a:pt x="943" y="397"/>
                    <a:pt x="943" y="395"/>
                  </a:cubicBezTo>
                  <a:cubicBezTo>
                    <a:pt x="944" y="393"/>
                    <a:pt x="946" y="390"/>
                    <a:pt x="943" y="392"/>
                  </a:cubicBezTo>
                  <a:cubicBezTo>
                    <a:pt x="940" y="393"/>
                    <a:pt x="940" y="397"/>
                    <a:pt x="938" y="398"/>
                  </a:cubicBezTo>
                  <a:cubicBezTo>
                    <a:pt x="936" y="398"/>
                    <a:pt x="937" y="391"/>
                    <a:pt x="937" y="389"/>
                  </a:cubicBezTo>
                  <a:cubicBezTo>
                    <a:pt x="938" y="388"/>
                    <a:pt x="933" y="389"/>
                    <a:pt x="928" y="389"/>
                  </a:cubicBezTo>
                  <a:cubicBezTo>
                    <a:pt x="923" y="389"/>
                    <a:pt x="924" y="385"/>
                    <a:pt x="928" y="383"/>
                  </a:cubicBezTo>
                  <a:cubicBezTo>
                    <a:pt x="933" y="381"/>
                    <a:pt x="932" y="379"/>
                    <a:pt x="934" y="378"/>
                  </a:cubicBezTo>
                  <a:cubicBezTo>
                    <a:pt x="936" y="377"/>
                    <a:pt x="941" y="374"/>
                    <a:pt x="944" y="372"/>
                  </a:cubicBezTo>
                  <a:cubicBezTo>
                    <a:pt x="947" y="370"/>
                    <a:pt x="948" y="368"/>
                    <a:pt x="949" y="366"/>
                  </a:cubicBezTo>
                  <a:cubicBezTo>
                    <a:pt x="949" y="364"/>
                    <a:pt x="955" y="362"/>
                    <a:pt x="960" y="358"/>
                  </a:cubicBezTo>
                  <a:cubicBezTo>
                    <a:pt x="965" y="353"/>
                    <a:pt x="968" y="351"/>
                    <a:pt x="969" y="349"/>
                  </a:cubicBezTo>
                  <a:cubicBezTo>
                    <a:pt x="970" y="346"/>
                    <a:pt x="978" y="343"/>
                    <a:pt x="978" y="341"/>
                  </a:cubicBezTo>
                  <a:cubicBezTo>
                    <a:pt x="978" y="339"/>
                    <a:pt x="987" y="334"/>
                    <a:pt x="993" y="333"/>
                  </a:cubicBezTo>
                  <a:cubicBezTo>
                    <a:pt x="999" y="332"/>
                    <a:pt x="1009" y="334"/>
                    <a:pt x="1010" y="335"/>
                  </a:cubicBezTo>
                  <a:cubicBezTo>
                    <a:pt x="1012" y="337"/>
                    <a:pt x="1013" y="336"/>
                    <a:pt x="1015" y="335"/>
                  </a:cubicBezTo>
                  <a:cubicBezTo>
                    <a:pt x="1016" y="334"/>
                    <a:pt x="1018" y="335"/>
                    <a:pt x="1022" y="335"/>
                  </a:cubicBezTo>
                  <a:cubicBezTo>
                    <a:pt x="1026" y="336"/>
                    <a:pt x="1027" y="333"/>
                    <a:pt x="1030" y="334"/>
                  </a:cubicBezTo>
                  <a:cubicBezTo>
                    <a:pt x="1032" y="335"/>
                    <a:pt x="1035" y="335"/>
                    <a:pt x="1036" y="332"/>
                  </a:cubicBezTo>
                  <a:cubicBezTo>
                    <a:pt x="1038" y="329"/>
                    <a:pt x="1046" y="330"/>
                    <a:pt x="1048" y="331"/>
                  </a:cubicBezTo>
                  <a:cubicBezTo>
                    <a:pt x="1050" y="332"/>
                    <a:pt x="1051" y="334"/>
                    <a:pt x="1054" y="332"/>
                  </a:cubicBezTo>
                  <a:cubicBezTo>
                    <a:pt x="1057" y="330"/>
                    <a:pt x="1057" y="334"/>
                    <a:pt x="1059" y="335"/>
                  </a:cubicBezTo>
                  <a:cubicBezTo>
                    <a:pt x="1062" y="335"/>
                    <a:pt x="1060" y="338"/>
                    <a:pt x="1058" y="337"/>
                  </a:cubicBezTo>
                  <a:cubicBezTo>
                    <a:pt x="1056" y="337"/>
                    <a:pt x="1053" y="339"/>
                    <a:pt x="1055" y="340"/>
                  </a:cubicBezTo>
                  <a:cubicBezTo>
                    <a:pt x="1058" y="342"/>
                    <a:pt x="1061" y="339"/>
                    <a:pt x="1063" y="339"/>
                  </a:cubicBezTo>
                  <a:cubicBezTo>
                    <a:pt x="1066" y="339"/>
                    <a:pt x="1069" y="339"/>
                    <a:pt x="1072" y="337"/>
                  </a:cubicBezTo>
                  <a:cubicBezTo>
                    <a:pt x="1075" y="336"/>
                    <a:pt x="1076" y="339"/>
                    <a:pt x="1078" y="337"/>
                  </a:cubicBezTo>
                  <a:cubicBezTo>
                    <a:pt x="1079" y="336"/>
                    <a:pt x="1084" y="335"/>
                    <a:pt x="1086" y="335"/>
                  </a:cubicBezTo>
                  <a:cubicBezTo>
                    <a:pt x="1088" y="335"/>
                    <a:pt x="1086" y="333"/>
                    <a:pt x="1083" y="333"/>
                  </a:cubicBezTo>
                  <a:cubicBezTo>
                    <a:pt x="1079" y="333"/>
                    <a:pt x="1079" y="331"/>
                    <a:pt x="1082" y="326"/>
                  </a:cubicBezTo>
                  <a:cubicBezTo>
                    <a:pt x="1085" y="321"/>
                    <a:pt x="1090" y="319"/>
                    <a:pt x="1094" y="316"/>
                  </a:cubicBezTo>
                  <a:cubicBezTo>
                    <a:pt x="1097" y="313"/>
                    <a:pt x="1100" y="314"/>
                    <a:pt x="1100" y="312"/>
                  </a:cubicBezTo>
                  <a:cubicBezTo>
                    <a:pt x="1100" y="310"/>
                    <a:pt x="1101" y="305"/>
                    <a:pt x="1104" y="305"/>
                  </a:cubicBezTo>
                  <a:cubicBezTo>
                    <a:pt x="1107" y="305"/>
                    <a:pt x="1113" y="306"/>
                    <a:pt x="1117" y="304"/>
                  </a:cubicBezTo>
                  <a:cubicBezTo>
                    <a:pt x="1121" y="301"/>
                    <a:pt x="1121" y="305"/>
                    <a:pt x="1123" y="306"/>
                  </a:cubicBezTo>
                  <a:cubicBezTo>
                    <a:pt x="1124" y="306"/>
                    <a:pt x="1127" y="302"/>
                    <a:pt x="1128" y="304"/>
                  </a:cubicBezTo>
                  <a:cubicBezTo>
                    <a:pt x="1130" y="305"/>
                    <a:pt x="1126" y="308"/>
                    <a:pt x="1125" y="311"/>
                  </a:cubicBezTo>
                  <a:cubicBezTo>
                    <a:pt x="1123" y="315"/>
                    <a:pt x="1127" y="313"/>
                    <a:pt x="1129" y="314"/>
                  </a:cubicBezTo>
                  <a:cubicBezTo>
                    <a:pt x="1131" y="315"/>
                    <a:pt x="1126" y="317"/>
                    <a:pt x="1127" y="317"/>
                  </a:cubicBezTo>
                  <a:cubicBezTo>
                    <a:pt x="1127" y="318"/>
                    <a:pt x="1131" y="318"/>
                    <a:pt x="1137" y="313"/>
                  </a:cubicBezTo>
                  <a:cubicBezTo>
                    <a:pt x="1142" y="308"/>
                    <a:pt x="1147" y="307"/>
                    <a:pt x="1150" y="307"/>
                  </a:cubicBezTo>
                  <a:cubicBezTo>
                    <a:pt x="1153" y="307"/>
                    <a:pt x="1151" y="304"/>
                    <a:pt x="1152" y="299"/>
                  </a:cubicBezTo>
                  <a:cubicBezTo>
                    <a:pt x="1152" y="294"/>
                    <a:pt x="1162" y="293"/>
                    <a:pt x="1165" y="294"/>
                  </a:cubicBezTo>
                  <a:cubicBezTo>
                    <a:pt x="1169" y="296"/>
                    <a:pt x="1169" y="297"/>
                    <a:pt x="1165" y="296"/>
                  </a:cubicBezTo>
                  <a:cubicBezTo>
                    <a:pt x="1162" y="295"/>
                    <a:pt x="1159" y="298"/>
                    <a:pt x="1159" y="302"/>
                  </a:cubicBezTo>
                  <a:cubicBezTo>
                    <a:pt x="1159" y="306"/>
                    <a:pt x="1156" y="308"/>
                    <a:pt x="1158" y="309"/>
                  </a:cubicBezTo>
                  <a:cubicBezTo>
                    <a:pt x="1159" y="311"/>
                    <a:pt x="1156" y="311"/>
                    <a:pt x="1156" y="313"/>
                  </a:cubicBezTo>
                  <a:cubicBezTo>
                    <a:pt x="1155" y="314"/>
                    <a:pt x="1156" y="316"/>
                    <a:pt x="1153" y="316"/>
                  </a:cubicBezTo>
                  <a:cubicBezTo>
                    <a:pt x="1151" y="317"/>
                    <a:pt x="1143" y="318"/>
                    <a:pt x="1143" y="321"/>
                  </a:cubicBezTo>
                  <a:cubicBezTo>
                    <a:pt x="1142" y="324"/>
                    <a:pt x="1138" y="324"/>
                    <a:pt x="1136" y="328"/>
                  </a:cubicBezTo>
                  <a:cubicBezTo>
                    <a:pt x="1134" y="332"/>
                    <a:pt x="1126" y="334"/>
                    <a:pt x="1121" y="342"/>
                  </a:cubicBezTo>
                  <a:cubicBezTo>
                    <a:pt x="1116" y="349"/>
                    <a:pt x="1108" y="349"/>
                    <a:pt x="1108" y="351"/>
                  </a:cubicBezTo>
                  <a:cubicBezTo>
                    <a:pt x="1108" y="352"/>
                    <a:pt x="1102" y="352"/>
                    <a:pt x="1101" y="352"/>
                  </a:cubicBezTo>
                  <a:cubicBezTo>
                    <a:pt x="1099" y="353"/>
                    <a:pt x="1102" y="357"/>
                    <a:pt x="1098" y="362"/>
                  </a:cubicBezTo>
                  <a:cubicBezTo>
                    <a:pt x="1093" y="367"/>
                    <a:pt x="1090" y="374"/>
                    <a:pt x="1090" y="381"/>
                  </a:cubicBezTo>
                  <a:cubicBezTo>
                    <a:pt x="1091" y="387"/>
                    <a:pt x="1093" y="407"/>
                    <a:pt x="1095" y="410"/>
                  </a:cubicBezTo>
                  <a:cubicBezTo>
                    <a:pt x="1097" y="414"/>
                    <a:pt x="1096" y="422"/>
                    <a:pt x="1097" y="424"/>
                  </a:cubicBezTo>
                  <a:cubicBezTo>
                    <a:pt x="1099" y="426"/>
                    <a:pt x="1098" y="429"/>
                    <a:pt x="1099" y="430"/>
                  </a:cubicBezTo>
                  <a:cubicBezTo>
                    <a:pt x="1101" y="431"/>
                    <a:pt x="1105" y="425"/>
                    <a:pt x="1108" y="423"/>
                  </a:cubicBezTo>
                  <a:cubicBezTo>
                    <a:pt x="1111" y="420"/>
                    <a:pt x="1110" y="419"/>
                    <a:pt x="1112" y="418"/>
                  </a:cubicBezTo>
                  <a:cubicBezTo>
                    <a:pt x="1114" y="417"/>
                    <a:pt x="1113" y="411"/>
                    <a:pt x="1114" y="410"/>
                  </a:cubicBezTo>
                  <a:cubicBezTo>
                    <a:pt x="1114" y="408"/>
                    <a:pt x="1118" y="408"/>
                    <a:pt x="1119" y="406"/>
                  </a:cubicBezTo>
                  <a:cubicBezTo>
                    <a:pt x="1120" y="405"/>
                    <a:pt x="1123" y="405"/>
                    <a:pt x="1125" y="405"/>
                  </a:cubicBezTo>
                  <a:cubicBezTo>
                    <a:pt x="1127" y="404"/>
                    <a:pt x="1125" y="400"/>
                    <a:pt x="1124" y="398"/>
                  </a:cubicBezTo>
                  <a:cubicBezTo>
                    <a:pt x="1124" y="396"/>
                    <a:pt x="1129" y="393"/>
                    <a:pt x="1132" y="391"/>
                  </a:cubicBezTo>
                  <a:cubicBezTo>
                    <a:pt x="1135" y="389"/>
                    <a:pt x="1139" y="392"/>
                    <a:pt x="1142" y="389"/>
                  </a:cubicBezTo>
                  <a:cubicBezTo>
                    <a:pt x="1145" y="386"/>
                    <a:pt x="1142" y="383"/>
                    <a:pt x="1140" y="381"/>
                  </a:cubicBezTo>
                  <a:cubicBezTo>
                    <a:pt x="1139" y="380"/>
                    <a:pt x="1144" y="372"/>
                    <a:pt x="1146" y="371"/>
                  </a:cubicBezTo>
                  <a:cubicBezTo>
                    <a:pt x="1149" y="371"/>
                    <a:pt x="1150" y="373"/>
                    <a:pt x="1152" y="371"/>
                  </a:cubicBezTo>
                  <a:cubicBezTo>
                    <a:pt x="1155" y="369"/>
                    <a:pt x="1150" y="365"/>
                    <a:pt x="1148" y="366"/>
                  </a:cubicBezTo>
                  <a:cubicBezTo>
                    <a:pt x="1147" y="366"/>
                    <a:pt x="1146" y="360"/>
                    <a:pt x="1150" y="357"/>
                  </a:cubicBezTo>
                  <a:cubicBezTo>
                    <a:pt x="1154" y="354"/>
                    <a:pt x="1152" y="353"/>
                    <a:pt x="1150" y="352"/>
                  </a:cubicBezTo>
                  <a:cubicBezTo>
                    <a:pt x="1147" y="352"/>
                    <a:pt x="1147" y="353"/>
                    <a:pt x="1145" y="353"/>
                  </a:cubicBezTo>
                  <a:cubicBezTo>
                    <a:pt x="1143" y="353"/>
                    <a:pt x="1141" y="349"/>
                    <a:pt x="1144" y="344"/>
                  </a:cubicBezTo>
                  <a:cubicBezTo>
                    <a:pt x="1147" y="340"/>
                    <a:pt x="1150" y="341"/>
                    <a:pt x="1151" y="337"/>
                  </a:cubicBezTo>
                  <a:cubicBezTo>
                    <a:pt x="1151" y="334"/>
                    <a:pt x="1156" y="329"/>
                    <a:pt x="1157" y="327"/>
                  </a:cubicBezTo>
                  <a:cubicBezTo>
                    <a:pt x="1158" y="325"/>
                    <a:pt x="1162" y="327"/>
                    <a:pt x="1164" y="327"/>
                  </a:cubicBezTo>
                  <a:cubicBezTo>
                    <a:pt x="1165" y="326"/>
                    <a:pt x="1165" y="330"/>
                    <a:pt x="1167" y="328"/>
                  </a:cubicBezTo>
                  <a:cubicBezTo>
                    <a:pt x="1169" y="326"/>
                    <a:pt x="1172" y="320"/>
                    <a:pt x="1175" y="320"/>
                  </a:cubicBezTo>
                  <a:cubicBezTo>
                    <a:pt x="1178" y="320"/>
                    <a:pt x="1176" y="325"/>
                    <a:pt x="1176" y="327"/>
                  </a:cubicBezTo>
                  <a:cubicBezTo>
                    <a:pt x="1177" y="330"/>
                    <a:pt x="1179" y="327"/>
                    <a:pt x="1184" y="323"/>
                  </a:cubicBezTo>
                  <a:cubicBezTo>
                    <a:pt x="1189" y="320"/>
                    <a:pt x="1201" y="320"/>
                    <a:pt x="1204" y="322"/>
                  </a:cubicBezTo>
                  <a:cubicBezTo>
                    <a:pt x="1208" y="323"/>
                    <a:pt x="1208" y="327"/>
                    <a:pt x="1210" y="327"/>
                  </a:cubicBezTo>
                  <a:cubicBezTo>
                    <a:pt x="1213" y="326"/>
                    <a:pt x="1210" y="323"/>
                    <a:pt x="1213" y="322"/>
                  </a:cubicBezTo>
                  <a:cubicBezTo>
                    <a:pt x="1216" y="321"/>
                    <a:pt x="1221" y="318"/>
                    <a:pt x="1225" y="315"/>
                  </a:cubicBezTo>
                  <a:cubicBezTo>
                    <a:pt x="1229" y="313"/>
                    <a:pt x="1228" y="315"/>
                    <a:pt x="1230" y="312"/>
                  </a:cubicBezTo>
                  <a:cubicBezTo>
                    <a:pt x="1232" y="310"/>
                    <a:pt x="1234" y="311"/>
                    <a:pt x="1234" y="309"/>
                  </a:cubicBezTo>
                  <a:cubicBezTo>
                    <a:pt x="1235" y="308"/>
                    <a:pt x="1240" y="305"/>
                    <a:pt x="1248" y="303"/>
                  </a:cubicBezTo>
                  <a:cubicBezTo>
                    <a:pt x="1255" y="301"/>
                    <a:pt x="1265" y="296"/>
                    <a:pt x="1265" y="295"/>
                  </a:cubicBezTo>
                  <a:cubicBezTo>
                    <a:pt x="1264" y="293"/>
                    <a:pt x="1268" y="293"/>
                    <a:pt x="1268" y="294"/>
                  </a:cubicBezTo>
                  <a:cubicBezTo>
                    <a:pt x="1268" y="296"/>
                    <a:pt x="1271" y="295"/>
                    <a:pt x="1275" y="296"/>
                  </a:cubicBezTo>
                  <a:cubicBezTo>
                    <a:pt x="1279" y="297"/>
                    <a:pt x="1281" y="298"/>
                    <a:pt x="1284" y="295"/>
                  </a:cubicBezTo>
                  <a:cubicBezTo>
                    <a:pt x="1287" y="292"/>
                    <a:pt x="1283" y="291"/>
                    <a:pt x="1284" y="289"/>
                  </a:cubicBezTo>
                  <a:cubicBezTo>
                    <a:pt x="1284" y="286"/>
                    <a:pt x="1278" y="284"/>
                    <a:pt x="1279" y="281"/>
                  </a:cubicBezTo>
                  <a:cubicBezTo>
                    <a:pt x="1280" y="279"/>
                    <a:pt x="1275" y="272"/>
                    <a:pt x="1274" y="274"/>
                  </a:cubicBezTo>
                  <a:cubicBezTo>
                    <a:pt x="1272" y="275"/>
                    <a:pt x="1269" y="272"/>
                    <a:pt x="1269" y="271"/>
                  </a:cubicBezTo>
                  <a:cubicBezTo>
                    <a:pt x="1269" y="269"/>
                    <a:pt x="1269" y="266"/>
                    <a:pt x="1266" y="268"/>
                  </a:cubicBezTo>
                  <a:cubicBezTo>
                    <a:pt x="1264" y="269"/>
                    <a:pt x="1260" y="269"/>
                    <a:pt x="1259" y="266"/>
                  </a:cubicBezTo>
                  <a:cubicBezTo>
                    <a:pt x="1259" y="264"/>
                    <a:pt x="1264" y="263"/>
                    <a:pt x="1267" y="264"/>
                  </a:cubicBezTo>
                  <a:cubicBezTo>
                    <a:pt x="1271" y="266"/>
                    <a:pt x="1270" y="267"/>
                    <a:pt x="1272" y="268"/>
                  </a:cubicBezTo>
                  <a:cubicBezTo>
                    <a:pt x="1274" y="269"/>
                    <a:pt x="1278" y="269"/>
                    <a:pt x="1281" y="267"/>
                  </a:cubicBezTo>
                  <a:cubicBezTo>
                    <a:pt x="1283" y="266"/>
                    <a:pt x="1290" y="264"/>
                    <a:pt x="1292" y="262"/>
                  </a:cubicBezTo>
                  <a:cubicBezTo>
                    <a:pt x="1293" y="260"/>
                    <a:pt x="1291" y="259"/>
                    <a:pt x="1294" y="258"/>
                  </a:cubicBezTo>
                  <a:cubicBezTo>
                    <a:pt x="1296" y="257"/>
                    <a:pt x="1294" y="254"/>
                    <a:pt x="1292" y="253"/>
                  </a:cubicBezTo>
                  <a:cubicBezTo>
                    <a:pt x="1290" y="252"/>
                    <a:pt x="1291" y="249"/>
                    <a:pt x="1293" y="249"/>
                  </a:cubicBezTo>
                  <a:cubicBezTo>
                    <a:pt x="1295" y="249"/>
                    <a:pt x="1295" y="247"/>
                    <a:pt x="1296" y="247"/>
                  </a:cubicBezTo>
                  <a:cubicBezTo>
                    <a:pt x="1297" y="246"/>
                    <a:pt x="1298" y="248"/>
                    <a:pt x="1300" y="246"/>
                  </a:cubicBezTo>
                  <a:cubicBezTo>
                    <a:pt x="1303" y="245"/>
                    <a:pt x="1300" y="248"/>
                    <a:pt x="1299" y="251"/>
                  </a:cubicBezTo>
                  <a:cubicBezTo>
                    <a:pt x="1298" y="253"/>
                    <a:pt x="1302" y="255"/>
                    <a:pt x="1302" y="256"/>
                  </a:cubicBezTo>
                  <a:cubicBezTo>
                    <a:pt x="1302" y="257"/>
                    <a:pt x="1308" y="258"/>
                    <a:pt x="1310" y="256"/>
                  </a:cubicBezTo>
                  <a:cubicBezTo>
                    <a:pt x="1313" y="255"/>
                    <a:pt x="1322" y="258"/>
                    <a:pt x="1323" y="260"/>
                  </a:cubicBezTo>
                  <a:cubicBezTo>
                    <a:pt x="1324" y="263"/>
                    <a:pt x="1325" y="265"/>
                    <a:pt x="1329" y="267"/>
                  </a:cubicBezTo>
                  <a:cubicBezTo>
                    <a:pt x="1332" y="269"/>
                    <a:pt x="1336" y="268"/>
                    <a:pt x="1337" y="270"/>
                  </a:cubicBezTo>
                  <a:cubicBezTo>
                    <a:pt x="1337" y="272"/>
                    <a:pt x="1339" y="273"/>
                    <a:pt x="1341" y="272"/>
                  </a:cubicBezTo>
                  <a:cubicBezTo>
                    <a:pt x="1343" y="272"/>
                    <a:pt x="1344" y="274"/>
                    <a:pt x="1346" y="273"/>
                  </a:cubicBezTo>
                  <a:cubicBezTo>
                    <a:pt x="1347" y="271"/>
                    <a:pt x="1348" y="274"/>
                    <a:pt x="1350" y="272"/>
                  </a:cubicBezTo>
                  <a:cubicBezTo>
                    <a:pt x="1352" y="270"/>
                    <a:pt x="1346" y="269"/>
                    <a:pt x="1347" y="268"/>
                  </a:cubicBezTo>
                  <a:cubicBezTo>
                    <a:pt x="1347" y="266"/>
                    <a:pt x="1349" y="269"/>
                    <a:pt x="1351" y="269"/>
                  </a:cubicBezTo>
                  <a:cubicBezTo>
                    <a:pt x="1352" y="268"/>
                    <a:pt x="1350" y="265"/>
                    <a:pt x="1351" y="265"/>
                  </a:cubicBezTo>
                  <a:cubicBezTo>
                    <a:pt x="1353" y="264"/>
                    <a:pt x="1352" y="257"/>
                    <a:pt x="1350" y="257"/>
                  </a:cubicBezTo>
                  <a:cubicBezTo>
                    <a:pt x="1349" y="256"/>
                    <a:pt x="1350" y="254"/>
                    <a:pt x="1353" y="256"/>
                  </a:cubicBezTo>
                  <a:cubicBezTo>
                    <a:pt x="1355" y="258"/>
                    <a:pt x="1360" y="258"/>
                    <a:pt x="1362" y="258"/>
                  </a:cubicBezTo>
                  <a:cubicBezTo>
                    <a:pt x="1364" y="258"/>
                    <a:pt x="1362" y="256"/>
                    <a:pt x="1360" y="255"/>
                  </a:cubicBezTo>
                  <a:cubicBezTo>
                    <a:pt x="1358" y="255"/>
                    <a:pt x="1360" y="253"/>
                    <a:pt x="1362" y="255"/>
                  </a:cubicBezTo>
                  <a:cubicBezTo>
                    <a:pt x="1363" y="256"/>
                    <a:pt x="1366" y="257"/>
                    <a:pt x="1366" y="255"/>
                  </a:cubicBezTo>
                  <a:cubicBezTo>
                    <a:pt x="1366" y="254"/>
                    <a:pt x="1368" y="251"/>
                    <a:pt x="1370" y="251"/>
                  </a:cubicBezTo>
                  <a:cubicBezTo>
                    <a:pt x="1373" y="251"/>
                    <a:pt x="1373" y="249"/>
                    <a:pt x="1371" y="249"/>
                  </a:cubicBezTo>
                  <a:close/>
                  <a:moveTo>
                    <a:pt x="708" y="405"/>
                  </a:moveTo>
                  <a:cubicBezTo>
                    <a:pt x="701" y="411"/>
                    <a:pt x="688" y="412"/>
                    <a:pt x="688" y="417"/>
                  </a:cubicBezTo>
                  <a:cubicBezTo>
                    <a:pt x="688" y="422"/>
                    <a:pt x="671" y="425"/>
                    <a:pt x="670" y="422"/>
                  </a:cubicBezTo>
                  <a:cubicBezTo>
                    <a:pt x="669" y="420"/>
                    <a:pt x="682" y="420"/>
                    <a:pt x="685" y="413"/>
                  </a:cubicBezTo>
                  <a:cubicBezTo>
                    <a:pt x="688" y="406"/>
                    <a:pt x="701" y="402"/>
                    <a:pt x="707" y="392"/>
                  </a:cubicBezTo>
                  <a:cubicBezTo>
                    <a:pt x="711" y="386"/>
                    <a:pt x="714" y="375"/>
                    <a:pt x="717" y="376"/>
                  </a:cubicBezTo>
                  <a:cubicBezTo>
                    <a:pt x="719" y="377"/>
                    <a:pt x="715" y="398"/>
                    <a:pt x="708" y="405"/>
                  </a:cubicBezTo>
                  <a:close/>
                  <a:moveTo>
                    <a:pt x="738" y="125"/>
                  </a:moveTo>
                  <a:cubicBezTo>
                    <a:pt x="737" y="127"/>
                    <a:pt x="732" y="127"/>
                    <a:pt x="733" y="129"/>
                  </a:cubicBezTo>
                  <a:cubicBezTo>
                    <a:pt x="736" y="132"/>
                    <a:pt x="748" y="130"/>
                    <a:pt x="748" y="127"/>
                  </a:cubicBezTo>
                  <a:cubicBezTo>
                    <a:pt x="748" y="123"/>
                    <a:pt x="739" y="123"/>
                    <a:pt x="738" y="125"/>
                  </a:cubicBezTo>
                  <a:close/>
                  <a:moveTo>
                    <a:pt x="305" y="8"/>
                  </a:moveTo>
                  <a:cubicBezTo>
                    <a:pt x="311" y="8"/>
                    <a:pt x="309" y="4"/>
                    <a:pt x="313" y="5"/>
                  </a:cubicBezTo>
                  <a:cubicBezTo>
                    <a:pt x="317" y="5"/>
                    <a:pt x="322" y="5"/>
                    <a:pt x="320" y="3"/>
                  </a:cubicBezTo>
                  <a:cubicBezTo>
                    <a:pt x="318" y="0"/>
                    <a:pt x="304" y="1"/>
                    <a:pt x="306" y="3"/>
                  </a:cubicBezTo>
                  <a:cubicBezTo>
                    <a:pt x="307" y="5"/>
                    <a:pt x="295" y="4"/>
                    <a:pt x="295" y="5"/>
                  </a:cubicBezTo>
                  <a:cubicBezTo>
                    <a:pt x="295" y="6"/>
                    <a:pt x="299" y="8"/>
                    <a:pt x="305" y="8"/>
                  </a:cubicBezTo>
                  <a:close/>
                  <a:moveTo>
                    <a:pt x="276" y="24"/>
                  </a:moveTo>
                  <a:cubicBezTo>
                    <a:pt x="276" y="20"/>
                    <a:pt x="263" y="24"/>
                    <a:pt x="266" y="25"/>
                  </a:cubicBezTo>
                  <a:cubicBezTo>
                    <a:pt x="268" y="26"/>
                    <a:pt x="276" y="28"/>
                    <a:pt x="276" y="24"/>
                  </a:cubicBezTo>
                  <a:close/>
                  <a:moveTo>
                    <a:pt x="306" y="21"/>
                  </a:moveTo>
                  <a:cubicBezTo>
                    <a:pt x="307" y="23"/>
                    <a:pt x="305" y="23"/>
                    <a:pt x="300" y="23"/>
                  </a:cubicBezTo>
                  <a:cubicBezTo>
                    <a:pt x="296" y="23"/>
                    <a:pt x="293" y="25"/>
                    <a:pt x="296" y="28"/>
                  </a:cubicBezTo>
                  <a:cubicBezTo>
                    <a:pt x="299" y="30"/>
                    <a:pt x="311" y="29"/>
                    <a:pt x="313" y="26"/>
                  </a:cubicBezTo>
                  <a:cubicBezTo>
                    <a:pt x="315" y="23"/>
                    <a:pt x="321" y="26"/>
                    <a:pt x="322" y="23"/>
                  </a:cubicBezTo>
                  <a:cubicBezTo>
                    <a:pt x="323" y="20"/>
                    <a:pt x="306" y="19"/>
                    <a:pt x="306" y="21"/>
                  </a:cubicBezTo>
                  <a:close/>
                  <a:moveTo>
                    <a:pt x="347" y="16"/>
                  </a:moveTo>
                  <a:cubicBezTo>
                    <a:pt x="349" y="14"/>
                    <a:pt x="344" y="14"/>
                    <a:pt x="343" y="12"/>
                  </a:cubicBezTo>
                  <a:cubicBezTo>
                    <a:pt x="343" y="10"/>
                    <a:pt x="330" y="9"/>
                    <a:pt x="330" y="12"/>
                  </a:cubicBezTo>
                  <a:cubicBezTo>
                    <a:pt x="331" y="14"/>
                    <a:pt x="321" y="17"/>
                    <a:pt x="324" y="19"/>
                  </a:cubicBezTo>
                  <a:cubicBezTo>
                    <a:pt x="330" y="23"/>
                    <a:pt x="345" y="18"/>
                    <a:pt x="347" y="16"/>
                  </a:cubicBezTo>
                  <a:close/>
                  <a:moveTo>
                    <a:pt x="309" y="12"/>
                  </a:moveTo>
                  <a:cubicBezTo>
                    <a:pt x="310" y="7"/>
                    <a:pt x="302" y="11"/>
                    <a:pt x="295" y="9"/>
                  </a:cubicBezTo>
                  <a:cubicBezTo>
                    <a:pt x="289" y="6"/>
                    <a:pt x="286" y="6"/>
                    <a:pt x="290" y="10"/>
                  </a:cubicBezTo>
                  <a:cubicBezTo>
                    <a:pt x="292" y="12"/>
                    <a:pt x="279" y="13"/>
                    <a:pt x="281" y="15"/>
                  </a:cubicBezTo>
                  <a:cubicBezTo>
                    <a:pt x="286" y="19"/>
                    <a:pt x="309" y="17"/>
                    <a:pt x="309" y="12"/>
                  </a:cubicBezTo>
                  <a:close/>
                  <a:moveTo>
                    <a:pt x="274" y="144"/>
                  </a:moveTo>
                  <a:cubicBezTo>
                    <a:pt x="274" y="147"/>
                    <a:pt x="273" y="148"/>
                    <a:pt x="268" y="148"/>
                  </a:cubicBezTo>
                  <a:cubicBezTo>
                    <a:pt x="264" y="148"/>
                    <a:pt x="270" y="151"/>
                    <a:pt x="271" y="154"/>
                  </a:cubicBezTo>
                  <a:cubicBezTo>
                    <a:pt x="271" y="156"/>
                    <a:pt x="266" y="154"/>
                    <a:pt x="266" y="159"/>
                  </a:cubicBezTo>
                  <a:cubicBezTo>
                    <a:pt x="266" y="163"/>
                    <a:pt x="257" y="159"/>
                    <a:pt x="256" y="164"/>
                  </a:cubicBezTo>
                  <a:cubicBezTo>
                    <a:pt x="255" y="169"/>
                    <a:pt x="260" y="168"/>
                    <a:pt x="264" y="169"/>
                  </a:cubicBezTo>
                  <a:cubicBezTo>
                    <a:pt x="268" y="169"/>
                    <a:pt x="263" y="172"/>
                    <a:pt x="265" y="174"/>
                  </a:cubicBezTo>
                  <a:cubicBezTo>
                    <a:pt x="268" y="177"/>
                    <a:pt x="270" y="176"/>
                    <a:pt x="269" y="172"/>
                  </a:cubicBezTo>
                  <a:cubicBezTo>
                    <a:pt x="267" y="168"/>
                    <a:pt x="279" y="173"/>
                    <a:pt x="275" y="176"/>
                  </a:cubicBezTo>
                  <a:cubicBezTo>
                    <a:pt x="271" y="179"/>
                    <a:pt x="281" y="182"/>
                    <a:pt x="285" y="182"/>
                  </a:cubicBezTo>
                  <a:cubicBezTo>
                    <a:pt x="290" y="182"/>
                    <a:pt x="306" y="186"/>
                    <a:pt x="306" y="182"/>
                  </a:cubicBezTo>
                  <a:cubicBezTo>
                    <a:pt x="306" y="180"/>
                    <a:pt x="300" y="178"/>
                    <a:pt x="295" y="172"/>
                  </a:cubicBezTo>
                  <a:cubicBezTo>
                    <a:pt x="290" y="167"/>
                    <a:pt x="287" y="159"/>
                    <a:pt x="292" y="155"/>
                  </a:cubicBezTo>
                  <a:cubicBezTo>
                    <a:pt x="298" y="151"/>
                    <a:pt x="293" y="150"/>
                    <a:pt x="299" y="146"/>
                  </a:cubicBezTo>
                  <a:cubicBezTo>
                    <a:pt x="304" y="142"/>
                    <a:pt x="301" y="138"/>
                    <a:pt x="306" y="137"/>
                  </a:cubicBezTo>
                  <a:cubicBezTo>
                    <a:pt x="311" y="137"/>
                    <a:pt x="305" y="133"/>
                    <a:pt x="310" y="132"/>
                  </a:cubicBezTo>
                  <a:cubicBezTo>
                    <a:pt x="315" y="131"/>
                    <a:pt x="316" y="126"/>
                    <a:pt x="315" y="124"/>
                  </a:cubicBezTo>
                  <a:cubicBezTo>
                    <a:pt x="314" y="122"/>
                    <a:pt x="320" y="124"/>
                    <a:pt x="323" y="121"/>
                  </a:cubicBezTo>
                  <a:cubicBezTo>
                    <a:pt x="325" y="119"/>
                    <a:pt x="332" y="120"/>
                    <a:pt x="333" y="116"/>
                  </a:cubicBezTo>
                  <a:cubicBezTo>
                    <a:pt x="335" y="112"/>
                    <a:pt x="363" y="103"/>
                    <a:pt x="378" y="100"/>
                  </a:cubicBezTo>
                  <a:cubicBezTo>
                    <a:pt x="394" y="96"/>
                    <a:pt x="404" y="90"/>
                    <a:pt x="399" y="85"/>
                  </a:cubicBezTo>
                  <a:cubicBezTo>
                    <a:pt x="393" y="81"/>
                    <a:pt x="378" y="87"/>
                    <a:pt x="374" y="90"/>
                  </a:cubicBezTo>
                  <a:cubicBezTo>
                    <a:pt x="370" y="93"/>
                    <a:pt x="365" y="91"/>
                    <a:pt x="361" y="93"/>
                  </a:cubicBezTo>
                  <a:cubicBezTo>
                    <a:pt x="357" y="95"/>
                    <a:pt x="349" y="97"/>
                    <a:pt x="345" y="95"/>
                  </a:cubicBezTo>
                  <a:cubicBezTo>
                    <a:pt x="341" y="92"/>
                    <a:pt x="336" y="98"/>
                    <a:pt x="333" y="97"/>
                  </a:cubicBezTo>
                  <a:cubicBezTo>
                    <a:pt x="330" y="97"/>
                    <a:pt x="327" y="101"/>
                    <a:pt x="323" y="100"/>
                  </a:cubicBezTo>
                  <a:cubicBezTo>
                    <a:pt x="320" y="100"/>
                    <a:pt x="313" y="103"/>
                    <a:pt x="313" y="105"/>
                  </a:cubicBezTo>
                  <a:cubicBezTo>
                    <a:pt x="312" y="107"/>
                    <a:pt x="307" y="106"/>
                    <a:pt x="307" y="109"/>
                  </a:cubicBezTo>
                  <a:cubicBezTo>
                    <a:pt x="307" y="111"/>
                    <a:pt x="302" y="113"/>
                    <a:pt x="300" y="111"/>
                  </a:cubicBezTo>
                  <a:cubicBezTo>
                    <a:pt x="297" y="109"/>
                    <a:pt x="295" y="113"/>
                    <a:pt x="298" y="116"/>
                  </a:cubicBezTo>
                  <a:cubicBezTo>
                    <a:pt x="301" y="120"/>
                    <a:pt x="292" y="120"/>
                    <a:pt x="293" y="122"/>
                  </a:cubicBezTo>
                  <a:cubicBezTo>
                    <a:pt x="295" y="124"/>
                    <a:pt x="290" y="125"/>
                    <a:pt x="291" y="127"/>
                  </a:cubicBezTo>
                  <a:cubicBezTo>
                    <a:pt x="292" y="129"/>
                    <a:pt x="288" y="130"/>
                    <a:pt x="284" y="130"/>
                  </a:cubicBezTo>
                  <a:cubicBezTo>
                    <a:pt x="280" y="131"/>
                    <a:pt x="279" y="136"/>
                    <a:pt x="283" y="136"/>
                  </a:cubicBezTo>
                  <a:cubicBezTo>
                    <a:pt x="288" y="136"/>
                    <a:pt x="280" y="137"/>
                    <a:pt x="281" y="141"/>
                  </a:cubicBezTo>
                  <a:cubicBezTo>
                    <a:pt x="281" y="144"/>
                    <a:pt x="274" y="142"/>
                    <a:pt x="274" y="144"/>
                  </a:cubicBezTo>
                  <a:close/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208" name="Group 207">
              <a:extLst>
                <a:ext uri="{FF2B5EF4-FFF2-40B4-BE49-F238E27FC236}">
                  <a16:creationId xmlns:a16="http://schemas.microsoft.com/office/drawing/2014/main" id="{2780527C-2773-45AF-BFC0-428E07C24C92}"/>
                </a:ext>
              </a:extLst>
            </p:cNvPr>
            <p:cNvGrpSpPr/>
            <p:nvPr/>
          </p:nvGrpSpPr>
          <p:grpSpPr>
            <a:xfrm>
              <a:off x="2235200" y="1676289"/>
              <a:ext cx="8248805" cy="4068623"/>
              <a:chOff x="1785409" y="1960529"/>
              <a:chExt cx="6680161" cy="3294909"/>
            </a:xfrm>
            <a:grpFill/>
          </p:grpSpPr>
          <p:sp>
            <p:nvSpPr>
              <p:cNvPr id="209" name="Freeform 5">
                <a:extLst>
                  <a:ext uri="{FF2B5EF4-FFF2-40B4-BE49-F238E27FC236}">
                    <a16:creationId xmlns:a16="http://schemas.microsoft.com/office/drawing/2014/main" id="{99561CFB-789B-4A23-B9C8-6022C6FB95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9291" y="4409753"/>
                <a:ext cx="235888" cy="234634"/>
              </a:xfrm>
              <a:custGeom>
                <a:avLst/>
                <a:gdLst>
                  <a:gd name="T0" fmla="*/ 38 w 102"/>
                  <a:gd name="T1" fmla="*/ 98 h 102"/>
                  <a:gd name="T2" fmla="*/ 43 w 102"/>
                  <a:gd name="T3" fmla="*/ 95 h 102"/>
                  <a:gd name="T4" fmla="*/ 47 w 102"/>
                  <a:gd name="T5" fmla="*/ 101 h 102"/>
                  <a:gd name="T6" fmla="*/ 57 w 102"/>
                  <a:gd name="T7" fmla="*/ 101 h 102"/>
                  <a:gd name="T8" fmla="*/ 62 w 102"/>
                  <a:gd name="T9" fmla="*/ 95 h 102"/>
                  <a:gd name="T10" fmla="*/ 62 w 102"/>
                  <a:gd name="T11" fmla="*/ 42 h 102"/>
                  <a:gd name="T12" fmla="*/ 70 w 102"/>
                  <a:gd name="T13" fmla="*/ 39 h 102"/>
                  <a:gd name="T14" fmla="*/ 70 w 102"/>
                  <a:gd name="T15" fmla="*/ 12 h 102"/>
                  <a:gd name="T16" fmla="*/ 78 w 102"/>
                  <a:gd name="T17" fmla="*/ 11 h 102"/>
                  <a:gd name="T18" fmla="*/ 87 w 102"/>
                  <a:gd name="T19" fmla="*/ 8 h 102"/>
                  <a:gd name="T20" fmla="*/ 91 w 102"/>
                  <a:gd name="T21" fmla="*/ 11 h 102"/>
                  <a:gd name="T22" fmla="*/ 97 w 102"/>
                  <a:gd name="T23" fmla="*/ 8 h 102"/>
                  <a:gd name="T24" fmla="*/ 102 w 102"/>
                  <a:gd name="T25" fmla="*/ 7 h 102"/>
                  <a:gd name="T26" fmla="*/ 102 w 102"/>
                  <a:gd name="T27" fmla="*/ 5 h 102"/>
                  <a:gd name="T28" fmla="*/ 85 w 102"/>
                  <a:gd name="T29" fmla="*/ 6 h 102"/>
                  <a:gd name="T30" fmla="*/ 72 w 102"/>
                  <a:gd name="T31" fmla="*/ 7 h 102"/>
                  <a:gd name="T32" fmla="*/ 55 w 102"/>
                  <a:gd name="T33" fmla="*/ 7 h 102"/>
                  <a:gd name="T34" fmla="*/ 52 w 102"/>
                  <a:gd name="T35" fmla="*/ 4 h 102"/>
                  <a:gd name="T36" fmla="*/ 24 w 102"/>
                  <a:gd name="T37" fmla="*/ 4 h 102"/>
                  <a:gd name="T38" fmla="*/ 17 w 102"/>
                  <a:gd name="T39" fmla="*/ 2 h 102"/>
                  <a:gd name="T40" fmla="*/ 9 w 102"/>
                  <a:gd name="T41" fmla="*/ 2 h 102"/>
                  <a:gd name="T42" fmla="*/ 6 w 102"/>
                  <a:gd name="T43" fmla="*/ 0 h 102"/>
                  <a:gd name="T44" fmla="*/ 3 w 102"/>
                  <a:gd name="T45" fmla="*/ 2 h 102"/>
                  <a:gd name="T46" fmla="*/ 0 w 102"/>
                  <a:gd name="T47" fmla="*/ 3 h 102"/>
                  <a:gd name="T48" fmla="*/ 5 w 102"/>
                  <a:gd name="T49" fmla="*/ 13 h 102"/>
                  <a:gd name="T50" fmla="*/ 13 w 102"/>
                  <a:gd name="T51" fmla="*/ 30 h 102"/>
                  <a:gd name="T52" fmla="*/ 21 w 102"/>
                  <a:gd name="T53" fmla="*/ 46 h 102"/>
                  <a:gd name="T54" fmla="*/ 21 w 102"/>
                  <a:gd name="T55" fmla="*/ 60 h 102"/>
                  <a:gd name="T56" fmla="*/ 24 w 102"/>
                  <a:gd name="T57" fmla="*/ 72 h 102"/>
                  <a:gd name="T58" fmla="*/ 30 w 102"/>
                  <a:gd name="T59" fmla="*/ 92 h 102"/>
                  <a:gd name="T60" fmla="*/ 35 w 102"/>
                  <a:gd name="T61" fmla="*/ 98 h 102"/>
                  <a:gd name="T62" fmla="*/ 38 w 102"/>
                  <a:gd name="T63" fmla="*/ 98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2" h="102">
                    <a:moveTo>
                      <a:pt x="38" y="98"/>
                    </a:moveTo>
                    <a:cubicBezTo>
                      <a:pt x="38" y="96"/>
                      <a:pt x="41" y="93"/>
                      <a:pt x="43" y="95"/>
                    </a:cubicBezTo>
                    <a:cubicBezTo>
                      <a:pt x="44" y="98"/>
                      <a:pt x="44" y="101"/>
                      <a:pt x="47" y="101"/>
                    </a:cubicBezTo>
                    <a:cubicBezTo>
                      <a:pt x="50" y="101"/>
                      <a:pt x="56" y="102"/>
                      <a:pt x="57" y="101"/>
                    </a:cubicBezTo>
                    <a:cubicBezTo>
                      <a:pt x="58" y="99"/>
                      <a:pt x="62" y="98"/>
                      <a:pt x="62" y="95"/>
                    </a:cubicBezTo>
                    <a:cubicBezTo>
                      <a:pt x="62" y="93"/>
                      <a:pt x="62" y="44"/>
                      <a:pt x="62" y="42"/>
                    </a:cubicBezTo>
                    <a:cubicBezTo>
                      <a:pt x="62" y="40"/>
                      <a:pt x="70" y="42"/>
                      <a:pt x="70" y="39"/>
                    </a:cubicBezTo>
                    <a:cubicBezTo>
                      <a:pt x="70" y="36"/>
                      <a:pt x="70" y="12"/>
                      <a:pt x="70" y="12"/>
                    </a:cubicBezTo>
                    <a:cubicBezTo>
                      <a:pt x="70" y="12"/>
                      <a:pt x="76" y="11"/>
                      <a:pt x="78" y="11"/>
                    </a:cubicBezTo>
                    <a:cubicBezTo>
                      <a:pt x="80" y="10"/>
                      <a:pt x="86" y="7"/>
                      <a:pt x="87" y="8"/>
                    </a:cubicBezTo>
                    <a:cubicBezTo>
                      <a:pt x="89" y="9"/>
                      <a:pt x="90" y="12"/>
                      <a:pt x="91" y="11"/>
                    </a:cubicBezTo>
                    <a:cubicBezTo>
                      <a:pt x="92" y="10"/>
                      <a:pt x="95" y="8"/>
                      <a:pt x="97" y="8"/>
                    </a:cubicBezTo>
                    <a:cubicBezTo>
                      <a:pt x="98" y="8"/>
                      <a:pt x="100" y="7"/>
                      <a:pt x="102" y="7"/>
                    </a:cubicBezTo>
                    <a:cubicBezTo>
                      <a:pt x="102" y="6"/>
                      <a:pt x="102" y="5"/>
                      <a:pt x="102" y="5"/>
                    </a:cubicBezTo>
                    <a:cubicBezTo>
                      <a:pt x="102" y="3"/>
                      <a:pt x="87" y="5"/>
                      <a:pt x="85" y="6"/>
                    </a:cubicBezTo>
                    <a:cubicBezTo>
                      <a:pt x="83" y="7"/>
                      <a:pt x="75" y="8"/>
                      <a:pt x="72" y="7"/>
                    </a:cubicBezTo>
                    <a:cubicBezTo>
                      <a:pt x="70" y="6"/>
                      <a:pt x="55" y="7"/>
                      <a:pt x="55" y="7"/>
                    </a:cubicBezTo>
                    <a:cubicBezTo>
                      <a:pt x="52" y="4"/>
                      <a:pt x="52" y="4"/>
                      <a:pt x="52" y="4"/>
                    </a:cubicBezTo>
                    <a:cubicBezTo>
                      <a:pt x="52" y="4"/>
                      <a:pt x="27" y="4"/>
                      <a:pt x="24" y="4"/>
                    </a:cubicBezTo>
                    <a:cubicBezTo>
                      <a:pt x="21" y="4"/>
                      <a:pt x="19" y="4"/>
                      <a:pt x="17" y="2"/>
                    </a:cubicBezTo>
                    <a:cubicBezTo>
                      <a:pt x="15" y="0"/>
                      <a:pt x="12" y="0"/>
                      <a:pt x="9" y="2"/>
                    </a:cubicBezTo>
                    <a:cubicBezTo>
                      <a:pt x="7" y="3"/>
                      <a:pt x="8" y="0"/>
                      <a:pt x="6" y="0"/>
                    </a:cubicBezTo>
                    <a:cubicBezTo>
                      <a:pt x="4" y="0"/>
                      <a:pt x="3" y="2"/>
                      <a:pt x="3" y="2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5"/>
                      <a:pt x="2" y="10"/>
                      <a:pt x="5" y="13"/>
                    </a:cubicBezTo>
                    <a:cubicBezTo>
                      <a:pt x="8" y="17"/>
                      <a:pt x="11" y="24"/>
                      <a:pt x="13" y="30"/>
                    </a:cubicBezTo>
                    <a:cubicBezTo>
                      <a:pt x="15" y="35"/>
                      <a:pt x="20" y="42"/>
                      <a:pt x="21" y="46"/>
                    </a:cubicBezTo>
                    <a:cubicBezTo>
                      <a:pt x="22" y="51"/>
                      <a:pt x="20" y="57"/>
                      <a:pt x="21" y="60"/>
                    </a:cubicBezTo>
                    <a:cubicBezTo>
                      <a:pt x="23" y="63"/>
                      <a:pt x="23" y="68"/>
                      <a:pt x="24" y="72"/>
                    </a:cubicBezTo>
                    <a:cubicBezTo>
                      <a:pt x="25" y="77"/>
                      <a:pt x="25" y="88"/>
                      <a:pt x="30" y="92"/>
                    </a:cubicBezTo>
                    <a:cubicBezTo>
                      <a:pt x="31" y="94"/>
                      <a:pt x="33" y="96"/>
                      <a:pt x="35" y="98"/>
                    </a:cubicBezTo>
                    <a:cubicBezTo>
                      <a:pt x="37" y="99"/>
                      <a:pt x="38" y="99"/>
                      <a:pt x="38" y="98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0" name="Freeform 6">
                <a:extLst>
                  <a:ext uri="{FF2B5EF4-FFF2-40B4-BE49-F238E27FC236}">
                    <a16:creationId xmlns:a16="http://schemas.microsoft.com/office/drawing/2014/main" id="{7A0DF6EB-2359-465E-97D9-31DDB91769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5180" y="4383404"/>
                <a:ext cx="149312" cy="129237"/>
              </a:xfrm>
              <a:custGeom>
                <a:avLst/>
                <a:gdLst>
                  <a:gd name="T0" fmla="*/ 43 w 65"/>
                  <a:gd name="T1" fmla="*/ 2 h 56"/>
                  <a:gd name="T2" fmla="*/ 42 w 65"/>
                  <a:gd name="T3" fmla="*/ 0 h 56"/>
                  <a:gd name="T4" fmla="*/ 35 w 65"/>
                  <a:gd name="T5" fmla="*/ 0 h 56"/>
                  <a:gd name="T6" fmla="*/ 31 w 65"/>
                  <a:gd name="T7" fmla="*/ 4 h 56"/>
                  <a:gd name="T8" fmla="*/ 23 w 65"/>
                  <a:gd name="T9" fmla="*/ 10 h 56"/>
                  <a:gd name="T10" fmla="*/ 15 w 65"/>
                  <a:gd name="T11" fmla="*/ 19 h 56"/>
                  <a:gd name="T12" fmla="*/ 5 w 65"/>
                  <a:gd name="T13" fmla="*/ 17 h 56"/>
                  <a:gd name="T14" fmla="*/ 0 w 65"/>
                  <a:gd name="T15" fmla="*/ 18 h 56"/>
                  <a:gd name="T16" fmla="*/ 5 w 65"/>
                  <a:gd name="T17" fmla="*/ 22 h 56"/>
                  <a:gd name="T18" fmla="*/ 9 w 65"/>
                  <a:gd name="T19" fmla="*/ 32 h 56"/>
                  <a:gd name="T20" fmla="*/ 18 w 65"/>
                  <a:gd name="T21" fmla="*/ 37 h 56"/>
                  <a:gd name="T22" fmla="*/ 21 w 65"/>
                  <a:gd name="T23" fmla="*/ 44 h 56"/>
                  <a:gd name="T24" fmla="*/ 26 w 65"/>
                  <a:gd name="T25" fmla="*/ 49 h 56"/>
                  <a:gd name="T26" fmla="*/ 32 w 65"/>
                  <a:gd name="T27" fmla="*/ 53 h 56"/>
                  <a:gd name="T28" fmla="*/ 40 w 65"/>
                  <a:gd name="T29" fmla="*/ 54 h 56"/>
                  <a:gd name="T30" fmla="*/ 49 w 65"/>
                  <a:gd name="T31" fmla="*/ 56 h 56"/>
                  <a:gd name="T32" fmla="*/ 57 w 65"/>
                  <a:gd name="T33" fmla="*/ 48 h 56"/>
                  <a:gd name="T34" fmla="*/ 59 w 65"/>
                  <a:gd name="T35" fmla="*/ 40 h 56"/>
                  <a:gd name="T36" fmla="*/ 63 w 65"/>
                  <a:gd name="T37" fmla="*/ 34 h 56"/>
                  <a:gd name="T38" fmla="*/ 61 w 65"/>
                  <a:gd name="T39" fmla="*/ 28 h 56"/>
                  <a:gd name="T40" fmla="*/ 63 w 65"/>
                  <a:gd name="T41" fmla="*/ 20 h 56"/>
                  <a:gd name="T42" fmla="*/ 63 w 65"/>
                  <a:gd name="T43" fmla="*/ 8 h 56"/>
                  <a:gd name="T44" fmla="*/ 53 w 65"/>
                  <a:gd name="T45" fmla="*/ 5 h 56"/>
                  <a:gd name="T46" fmla="*/ 43 w 65"/>
                  <a:gd name="T47" fmla="*/ 2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65" h="56">
                    <a:moveTo>
                      <a:pt x="43" y="2"/>
                    </a:moveTo>
                    <a:cubicBezTo>
                      <a:pt x="42" y="0"/>
                      <a:pt x="42" y="0"/>
                      <a:pt x="42" y="0"/>
                    </a:cubicBezTo>
                    <a:cubicBezTo>
                      <a:pt x="35" y="0"/>
                      <a:pt x="35" y="0"/>
                      <a:pt x="35" y="0"/>
                    </a:cubicBezTo>
                    <a:cubicBezTo>
                      <a:pt x="31" y="1"/>
                      <a:pt x="31" y="2"/>
                      <a:pt x="31" y="4"/>
                    </a:cubicBezTo>
                    <a:cubicBezTo>
                      <a:pt x="31" y="5"/>
                      <a:pt x="26" y="9"/>
                      <a:pt x="23" y="10"/>
                    </a:cubicBezTo>
                    <a:cubicBezTo>
                      <a:pt x="20" y="11"/>
                      <a:pt x="17" y="18"/>
                      <a:pt x="15" y="19"/>
                    </a:cubicBezTo>
                    <a:cubicBezTo>
                      <a:pt x="13" y="20"/>
                      <a:pt x="6" y="17"/>
                      <a:pt x="5" y="17"/>
                    </a:cubicBezTo>
                    <a:cubicBezTo>
                      <a:pt x="4" y="17"/>
                      <a:pt x="2" y="17"/>
                      <a:pt x="0" y="18"/>
                    </a:cubicBezTo>
                    <a:cubicBezTo>
                      <a:pt x="2" y="20"/>
                      <a:pt x="4" y="22"/>
                      <a:pt x="5" y="22"/>
                    </a:cubicBezTo>
                    <a:cubicBezTo>
                      <a:pt x="6" y="22"/>
                      <a:pt x="7" y="31"/>
                      <a:pt x="9" y="32"/>
                    </a:cubicBezTo>
                    <a:cubicBezTo>
                      <a:pt x="12" y="33"/>
                      <a:pt x="18" y="36"/>
                      <a:pt x="18" y="37"/>
                    </a:cubicBezTo>
                    <a:cubicBezTo>
                      <a:pt x="18" y="39"/>
                      <a:pt x="21" y="41"/>
                      <a:pt x="21" y="44"/>
                    </a:cubicBezTo>
                    <a:cubicBezTo>
                      <a:pt x="21" y="46"/>
                      <a:pt x="24" y="49"/>
                      <a:pt x="26" y="49"/>
                    </a:cubicBezTo>
                    <a:cubicBezTo>
                      <a:pt x="32" y="49"/>
                      <a:pt x="32" y="51"/>
                      <a:pt x="32" y="53"/>
                    </a:cubicBezTo>
                    <a:cubicBezTo>
                      <a:pt x="32" y="54"/>
                      <a:pt x="39" y="53"/>
                      <a:pt x="40" y="54"/>
                    </a:cubicBezTo>
                    <a:cubicBezTo>
                      <a:pt x="41" y="55"/>
                      <a:pt x="47" y="55"/>
                      <a:pt x="49" y="56"/>
                    </a:cubicBezTo>
                    <a:cubicBezTo>
                      <a:pt x="52" y="53"/>
                      <a:pt x="56" y="49"/>
                      <a:pt x="57" y="48"/>
                    </a:cubicBezTo>
                    <a:cubicBezTo>
                      <a:pt x="59" y="45"/>
                      <a:pt x="57" y="41"/>
                      <a:pt x="59" y="40"/>
                    </a:cubicBezTo>
                    <a:cubicBezTo>
                      <a:pt x="61" y="39"/>
                      <a:pt x="65" y="34"/>
                      <a:pt x="63" y="34"/>
                    </a:cubicBezTo>
                    <a:cubicBezTo>
                      <a:pt x="62" y="33"/>
                      <a:pt x="63" y="30"/>
                      <a:pt x="61" y="28"/>
                    </a:cubicBezTo>
                    <a:cubicBezTo>
                      <a:pt x="59" y="25"/>
                      <a:pt x="63" y="24"/>
                      <a:pt x="63" y="20"/>
                    </a:cubicBezTo>
                    <a:cubicBezTo>
                      <a:pt x="63" y="17"/>
                      <a:pt x="64" y="9"/>
                      <a:pt x="63" y="8"/>
                    </a:cubicBezTo>
                    <a:cubicBezTo>
                      <a:pt x="62" y="7"/>
                      <a:pt x="57" y="7"/>
                      <a:pt x="53" y="5"/>
                    </a:cubicBezTo>
                    <a:cubicBezTo>
                      <a:pt x="50" y="3"/>
                      <a:pt x="43" y="2"/>
                      <a:pt x="43" y="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1" name="Freeform 7">
                <a:extLst>
                  <a:ext uri="{FF2B5EF4-FFF2-40B4-BE49-F238E27FC236}">
                    <a16:creationId xmlns:a16="http://schemas.microsoft.com/office/drawing/2014/main" id="{45CDC157-C2FE-4B36-9285-7BBC2F5373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82330" y="4424810"/>
                <a:ext cx="165624" cy="178171"/>
              </a:xfrm>
              <a:custGeom>
                <a:avLst/>
                <a:gdLst>
                  <a:gd name="T0" fmla="*/ 66 w 72"/>
                  <a:gd name="T1" fmla="*/ 31 h 77"/>
                  <a:gd name="T2" fmla="*/ 61 w 72"/>
                  <a:gd name="T3" fmla="*/ 26 h 77"/>
                  <a:gd name="T4" fmla="*/ 58 w 72"/>
                  <a:gd name="T5" fmla="*/ 19 h 77"/>
                  <a:gd name="T6" fmla="*/ 49 w 72"/>
                  <a:gd name="T7" fmla="*/ 14 h 77"/>
                  <a:gd name="T8" fmla="*/ 45 w 72"/>
                  <a:gd name="T9" fmla="*/ 4 h 77"/>
                  <a:gd name="T10" fmla="*/ 40 w 72"/>
                  <a:gd name="T11" fmla="*/ 0 h 77"/>
                  <a:gd name="T12" fmla="*/ 35 w 72"/>
                  <a:gd name="T13" fmla="*/ 1 h 77"/>
                  <a:gd name="T14" fmla="*/ 29 w 72"/>
                  <a:gd name="T15" fmla="*/ 4 h 77"/>
                  <a:gd name="T16" fmla="*/ 25 w 72"/>
                  <a:gd name="T17" fmla="*/ 1 h 77"/>
                  <a:gd name="T18" fmla="*/ 16 w 72"/>
                  <a:gd name="T19" fmla="*/ 4 h 77"/>
                  <a:gd name="T20" fmla="*/ 8 w 72"/>
                  <a:gd name="T21" fmla="*/ 5 h 77"/>
                  <a:gd name="T22" fmla="*/ 8 w 72"/>
                  <a:gd name="T23" fmla="*/ 32 h 77"/>
                  <a:gd name="T24" fmla="*/ 0 w 72"/>
                  <a:gd name="T25" fmla="*/ 35 h 77"/>
                  <a:gd name="T26" fmla="*/ 0 w 72"/>
                  <a:gd name="T27" fmla="*/ 59 h 77"/>
                  <a:gd name="T28" fmla="*/ 4 w 72"/>
                  <a:gd name="T29" fmla="*/ 62 h 77"/>
                  <a:gd name="T30" fmla="*/ 7 w 72"/>
                  <a:gd name="T31" fmla="*/ 71 h 77"/>
                  <a:gd name="T32" fmla="*/ 5 w 72"/>
                  <a:gd name="T33" fmla="*/ 72 h 77"/>
                  <a:gd name="T34" fmla="*/ 7 w 72"/>
                  <a:gd name="T35" fmla="*/ 76 h 77"/>
                  <a:gd name="T36" fmla="*/ 15 w 72"/>
                  <a:gd name="T37" fmla="*/ 76 h 77"/>
                  <a:gd name="T38" fmla="*/ 22 w 72"/>
                  <a:gd name="T39" fmla="*/ 67 h 77"/>
                  <a:gd name="T40" fmla="*/ 27 w 72"/>
                  <a:gd name="T41" fmla="*/ 63 h 77"/>
                  <a:gd name="T42" fmla="*/ 37 w 72"/>
                  <a:gd name="T43" fmla="*/ 66 h 77"/>
                  <a:gd name="T44" fmla="*/ 45 w 72"/>
                  <a:gd name="T45" fmla="*/ 62 h 77"/>
                  <a:gd name="T46" fmla="*/ 48 w 72"/>
                  <a:gd name="T47" fmla="*/ 57 h 77"/>
                  <a:gd name="T48" fmla="*/ 55 w 72"/>
                  <a:gd name="T49" fmla="*/ 52 h 77"/>
                  <a:gd name="T50" fmla="*/ 58 w 72"/>
                  <a:gd name="T51" fmla="*/ 46 h 77"/>
                  <a:gd name="T52" fmla="*/ 64 w 72"/>
                  <a:gd name="T53" fmla="*/ 41 h 77"/>
                  <a:gd name="T54" fmla="*/ 69 w 72"/>
                  <a:gd name="T55" fmla="*/ 38 h 77"/>
                  <a:gd name="T56" fmla="*/ 72 w 72"/>
                  <a:gd name="T57" fmla="*/ 35 h 77"/>
                  <a:gd name="T58" fmla="*/ 72 w 72"/>
                  <a:gd name="T59" fmla="*/ 35 h 77"/>
                  <a:gd name="T60" fmla="*/ 66 w 72"/>
                  <a:gd name="T61" fmla="*/ 31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72" h="77">
                    <a:moveTo>
                      <a:pt x="66" y="31"/>
                    </a:moveTo>
                    <a:cubicBezTo>
                      <a:pt x="64" y="31"/>
                      <a:pt x="61" y="28"/>
                      <a:pt x="61" y="26"/>
                    </a:cubicBezTo>
                    <a:cubicBezTo>
                      <a:pt x="61" y="23"/>
                      <a:pt x="58" y="21"/>
                      <a:pt x="58" y="19"/>
                    </a:cubicBezTo>
                    <a:cubicBezTo>
                      <a:pt x="58" y="18"/>
                      <a:pt x="52" y="15"/>
                      <a:pt x="49" y="14"/>
                    </a:cubicBezTo>
                    <a:cubicBezTo>
                      <a:pt x="47" y="13"/>
                      <a:pt x="46" y="4"/>
                      <a:pt x="45" y="4"/>
                    </a:cubicBezTo>
                    <a:cubicBezTo>
                      <a:pt x="44" y="4"/>
                      <a:pt x="42" y="2"/>
                      <a:pt x="40" y="0"/>
                    </a:cubicBezTo>
                    <a:cubicBezTo>
                      <a:pt x="38" y="0"/>
                      <a:pt x="36" y="1"/>
                      <a:pt x="35" y="1"/>
                    </a:cubicBezTo>
                    <a:cubicBezTo>
                      <a:pt x="33" y="1"/>
                      <a:pt x="30" y="3"/>
                      <a:pt x="29" y="4"/>
                    </a:cubicBezTo>
                    <a:cubicBezTo>
                      <a:pt x="28" y="5"/>
                      <a:pt x="27" y="2"/>
                      <a:pt x="25" y="1"/>
                    </a:cubicBezTo>
                    <a:cubicBezTo>
                      <a:pt x="24" y="0"/>
                      <a:pt x="18" y="3"/>
                      <a:pt x="16" y="4"/>
                    </a:cubicBezTo>
                    <a:cubicBezTo>
                      <a:pt x="14" y="4"/>
                      <a:pt x="8" y="5"/>
                      <a:pt x="8" y="5"/>
                    </a:cubicBezTo>
                    <a:cubicBezTo>
                      <a:pt x="8" y="5"/>
                      <a:pt x="8" y="29"/>
                      <a:pt x="8" y="32"/>
                    </a:cubicBezTo>
                    <a:cubicBezTo>
                      <a:pt x="8" y="35"/>
                      <a:pt x="0" y="33"/>
                      <a:pt x="0" y="35"/>
                    </a:cubicBezTo>
                    <a:cubicBezTo>
                      <a:pt x="0" y="36"/>
                      <a:pt x="0" y="47"/>
                      <a:pt x="0" y="59"/>
                    </a:cubicBezTo>
                    <a:cubicBezTo>
                      <a:pt x="2" y="60"/>
                      <a:pt x="4" y="61"/>
                      <a:pt x="4" y="62"/>
                    </a:cubicBezTo>
                    <a:cubicBezTo>
                      <a:pt x="5" y="64"/>
                      <a:pt x="7" y="69"/>
                      <a:pt x="7" y="71"/>
                    </a:cubicBezTo>
                    <a:cubicBezTo>
                      <a:pt x="6" y="72"/>
                      <a:pt x="5" y="71"/>
                      <a:pt x="5" y="72"/>
                    </a:cubicBezTo>
                    <a:cubicBezTo>
                      <a:pt x="5" y="74"/>
                      <a:pt x="4" y="76"/>
                      <a:pt x="7" y="76"/>
                    </a:cubicBezTo>
                    <a:cubicBezTo>
                      <a:pt x="9" y="76"/>
                      <a:pt x="13" y="77"/>
                      <a:pt x="15" y="76"/>
                    </a:cubicBezTo>
                    <a:cubicBezTo>
                      <a:pt x="16" y="74"/>
                      <a:pt x="22" y="69"/>
                      <a:pt x="22" y="67"/>
                    </a:cubicBezTo>
                    <a:cubicBezTo>
                      <a:pt x="22" y="65"/>
                      <a:pt x="23" y="60"/>
                      <a:pt x="27" y="63"/>
                    </a:cubicBezTo>
                    <a:cubicBezTo>
                      <a:pt x="32" y="66"/>
                      <a:pt x="32" y="66"/>
                      <a:pt x="37" y="66"/>
                    </a:cubicBezTo>
                    <a:cubicBezTo>
                      <a:pt x="42" y="66"/>
                      <a:pt x="44" y="66"/>
                      <a:pt x="45" y="62"/>
                    </a:cubicBezTo>
                    <a:cubicBezTo>
                      <a:pt x="46" y="59"/>
                      <a:pt x="45" y="57"/>
                      <a:pt x="48" y="57"/>
                    </a:cubicBezTo>
                    <a:cubicBezTo>
                      <a:pt x="51" y="57"/>
                      <a:pt x="55" y="54"/>
                      <a:pt x="55" y="52"/>
                    </a:cubicBezTo>
                    <a:cubicBezTo>
                      <a:pt x="55" y="49"/>
                      <a:pt x="56" y="46"/>
                      <a:pt x="58" y="46"/>
                    </a:cubicBezTo>
                    <a:cubicBezTo>
                      <a:pt x="60" y="46"/>
                      <a:pt x="64" y="44"/>
                      <a:pt x="64" y="41"/>
                    </a:cubicBezTo>
                    <a:cubicBezTo>
                      <a:pt x="65" y="39"/>
                      <a:pt x="68" y="40"/>
                      <a:pt x="69" y="38"/>
                    </a:cubicBezTo>
                    <a:cubicBezTo>
                      <a:pt x="70" y="38"/>
                      <a:pt x="71" y="36"/>
                      <a:pt x="72" y="35"/>
                    </a:cubicBezTo>
                    <a:cubicBezTo>
                      <a:pt x="72" y="35"/>
                      <a:pt x="72" y="35"/>
                      <a:pt x="72" y="35"/>
                    </a:cubicBezTo>
                    <a:cubicBezTo>
                      <a:pt x="72" y="33"/>
                      <a:pt x="72" y="31"/>
                      <a:pt x="66" y="3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2" name="Freeform 8">
                <a:extLst>
                  <a:ext uri="{FF2B5EF4-FFF2-40B4-BE49-F238E27FC236}">
                    <a16:creationId xmlns:a16="http://schemas.microsoft.com/office/drawing/2014/main" id="{C81324F5-201D-4284-8888-95FF9B0882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78067" y="4580396"/>
                <a:ext cx="25095" cy="28859"/>
              </a:xfrm>
              <a:custGeom>
                <a:avLst/>
                <a:gdLst>
                  <a:gd name="T0" fmla="*/ 5 w 11"/>
                  <a:gd name="T1" fmla="*/ 0 h 13"/>
                  <a:gd name="T2" fmla="*/ 0 w 11"/>
                  <a:gd name="T3" fmla="*/ 5 h 13"/>
                  <a:gd name="T4" fmla="*/ 5 w 11"/>
                  <a:gd name="T5" fmla="*/ 13 h 13"/>
                  <a:gd name="T6" fmla="*/ 9 w 11"/>
                  <a:gd name="T7" fmla="*/ 11 h 13"/>
                  <a:gd name="T8" fmla="*/ 11 w 11"/>
                  <a:gd name="T9" fmla="*/ 9 h 13"/>
                  <a:gd name="T10" fmla="*/ 10 w 11"/>
                  <a:gd name="T11" fmla="*/ 2 h 13"/>
                  <a:gd name="T12" fmla="*/ 5 w 11"/>
                  <a:gd name="T13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" h="13">
                    <a:moveTo>
                      <a:pt x="5" y="0"/>
                    </a:moveTo>
                    <a:cubicBezTo>
                      <a:pt x="3" y="0"/>
                      <a:pt x="0" y="4"/>
                      <a:pt x="0" y="5"/>
                    </a:cubicBezTo>
                    <a:cubicBezTo>
                      <a:pt x="0" y="6"/>
                      <a:pt x="2" y="13"/>
                      <a:pt x="5" y="13"/>
                    </a:cubicBezTo>
                    <a:cubicBezTo>
                      <a:pt x="7" y="13"/>
                      <a:pt x="9" y="13"/>
                      <a:pt x="9" y="11"/>
                    </a:cubicBezTo>
                    <a:cubicBezTo>
                      <a:pt x="9" y="10"/>
                      <a:pt x="10" y="9"/>
                      <a:pt x="11" y="9"/>
                    </a:cubicBezTo>
                    <a:cubicBezTo>
                      <a:pt x="10" y="7"/>
                      <a:pt x="10" y="4"/>
                      <a:pt x="10" y="2"/>
                    </a:cubicBezTo>
                    <a:cubicBezTo>
                      <a:pt x="8" y="1"/>
                      <a:pt x="7" y="0"/>
                      <a:pt x="5" y="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3" name="Freeform 9">
                <a:extLst>
                  <a:ext uri="{FF2B5EF4-FFF2-40B4-BE49-F238E27FC236}">
                    <a16:creationId xmlns:a16="http://schemas.microsoft.com/office/drawing/2014/main" id="{5ADC209C-A8E7-4A30-B5BC-49FCA0BFA0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11567" y="4633094"/>
                <a:ext cx="41406" cy="43915"/>
              </a:xfrm>
              <a:custGeom>
                <a:avLst/>
                <a:gdLst>
                  <a:gd name="T0" fmla="*/ 13 w 18"/>
                  <a:gd name="T1" fmla="*/ 2 h 19"/>
                  <a:gd name="T2" fmla="*/ 5 w 18"/>
                  <a:gd name="T3" fmla="*/ 5 h 19"/>
                  <a:gd name="T4" fmla="*/ 0 w 18"/>
                  <a:gd name="T5" fmla="*/ 12 h 19"/>
                  <a:gd name="T6" fmla="*/ 5 w 18"/>
                  <a:gd name="T7" fmla="*/ 19 h 19"/>
                  <a:gd name="T8" fmla="*/ 8 w 18"/>
                  <a:gd name="T9" fmla="*/ 19 h 19"/>
                  <a:gd name="T10" fmla="*/ 10 w 18"/>
                  <a:gd name="T11" fmla="*/ 15 h 19"/>
                  <a:gd name="T12" fmla="*/ 15 w 18"/>
                  <a:gd name="T13" fmla="*/ 13 h 19"/>
                  <a:gd name="T14" fmla="*/ 18 w 18"/>
                  <a:gd name="T15" fmla="*/ 8 h 19"/>
                  <a:gd name="T16" fmla="*/ 13 w 18"/>
                  <a:gd name="T17" fmla="*/ 2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" h="19">
                    <a:moveTo>
                      <a:pt x="13" y="2"/>
                    </a:moveTo>
                    <a:cubicBezTo>
                      <a:pt x="12" y="0"/>
                      <a:pt x="5" y="3"/>
                      <a:pt x="5" y="5"/>
                    </a:cubicBezTo>
                    <a:cubicBezTo>
                      <a:pt x="4" y="7"/>
                      <a:pt x="0" y="12"/>
                      <a:pt x="0" y="12"/>
                    </a:cubicBezTo>
                    <a:cubicBezTo>
                      <a:pt x="5" y="19"/>
                      <a:pt x="5" y="19"/>
                      <a:pt x="5" y="19"/>
                    </a:cubicBezTo>
                    <a:cubicBezTo>
                      <a:pt x="8" y="19"/>
                      <a:pt x="8" y="19"/>
                      <a:pt x="8" y="19"/>
                    </a:cubicBezTo>
                    <a:cubicBezTo>
                      <a:pt x="8" y="19"/>
                      <a:pt x="9" y="17"/>
                      <a:pt x="10" y="15"/>
                    </a:cubicBezTo>
                    <a:cubicBezTo>
                      <a:pt x="11" y="13"/>
                      <a:pt x="15" y="15"/>
                      <a:pt x="15" y="13"/>
                    </a:cubicBezTo>
                    <a:cubicBezTo>
                      <a:pt x="15" y="11"/>
                      <a:pt x="18" y="10"/>
                      <a:pt x="18" y="8"/>
                    </a:cubicBezTo>
                    <a:cubicBezTo>
                      <a:pt x="18" y="6"/>
                      <a:pt x="14" y="3"/>
                      <a:pt x="13" y="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4" name="Freeform 10">
                <a:extLst>
                  <a:ext uri="{FF2B5EF4-FFF2-40B4-BE49-F238E27FC236}">
                    <a16:creationId xmlns:a16="http://schemas.microsoft.com/office/drawing/2014/main" id="{1E35FBEE-6A9F-4128-8E85-379AA616F4B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20849" y="4506367"/>
                <a:ext cx="297370" cy="259728"/>
              </a:xfrm>
              <a:custGeom>
                <a:avLst/>
                <a:gdLst>
                  <a:gd name="T0" fmla="*/ 123 w 129"/>
                  <a:gd name="T1" fmla="*/ 42 h 113"/>
                  <a:gd name="T2" fmla="*/ 123 w 129"/>
                  <a:gd name="T3" fmla="*/ 41 h 113"/>
                  <a:gd name="T4" fmla="*/ 121 w 129"/>
                  <a:gd name="T5" fmla="*/ 43 h 113"/>
                  <a:gd name="T6" fmla="*/ 117 w 129"/>
                  <a:gd name="T7" fmla="*/ 45 h 113"/>
                  <a:gd name="T8" fmla="*/ 112 w 129"/>
                  <a:gd name="T9" fmla="*/ 37 h 113"/>
                  <a:gd name="T10" fmla="*/ 117 w 129"/>
                  <a:gd name="T11" fmla="*/ 32 h 113"/>
                  <a:gd name="T12" fmla="*/ 122 w 129"/>
                  <a:gd name="T13" fmla="*/ 34 h 113"/>
                  <a:gd name="T14" fmla="*/ 122 w 129"/>
                  <a:gd name="T15" fmla="*/ 33 h 113"/>
                  <a:gd name="T16" fmla="*/ 121 w 129"/>
                  <a:gd name="T17" fmla="*/ 18 h 113"/>
                  <a:gd name="T18" fmla="*/ 116 w 129"/>
                  <a:gd name="T19" fmla="*/ 3 h 113"/>
                  <a:gd name="T20" fmla="*/ 107 w 129"/>
                  <a:gd name="T21" fmla="*/ 1 h 113"/>
                  <a:gd name="T22" fmla="*/ 99 w 129"/>
                  <a:gd name="T23" fmla="*/ 0 h 113"/>
                  <a:gd name="T24" fmla="*/ 96 w 129"/>
                  <a:gd name="T25" fmla="*/ 3 h 113"/>
                  <a:gd name="T26" fmla="*/ 91 w 129"/>
                  <a:gd name="T27" fmla="*/ 6 h 113"/>
                  <a:gd name="T28" fmla="*/ 85 w 129"/>
                  <a:gd name="T29" fmla="*/ 11 h 113"/>
                  <a:gd name="T30" fmla="*/ 82 w 129"/>
                  <a:gd name="T31" fmla="*/ 17 h 113"/>
                  <a:gd name="T32" fmla="*/ 75 w 129"/>
                  <a:gd name="T33" fmla="*/ 22 h 113"/>
                  <a:gd name="T34" fmla="*/ 72 w 129"/>
                  <a:gd name="T35" fmla="*/ 27 h 113"/>
                  <a:gd name="T36" fmla="*/ 64 w 129"/>
                  <a:gd name="T37" fmla="*/ 31 h 113"/>
                  <a:gd name="T38" fmla="*/ 54 w 129"/>
                  <a:gd name="T39" fmla="*/ 28 h 113"/>
                  <a:gd name="T40" fmla="*/ 49 w 129"/>
                  <a:gd name="T41" fmla="*/ 32 h 113"/>
                  <a:gd name="T42" fmla="*/ 42 w 129"/>
                  <a:gd name="T43" fmla="*/ 41 h 113"/>
                  <a:gd name="T44" fmla="*/ 34 w 129"/>
                  <a:gd name="T45" fmla="*/ 41 h 113"/>
                  <a:gd name="T46" fmla="*/ 32 w 129"/>
                  <a:gd name="T47" fmla="*/ 37 h 113"/>
                  <a:gd name="T48" fmla="*/ 34 w 129"/>
                  <a:gd name="T49" fmla="*/ 36 h 113"/>
                  <a:gd name="T50" fmla="*/ 31 w 129"/>
                  <a:gd name="T51" fmla="*/ 27 h 113"/>
                  <a:gd name="T52" fmla="*/ 27 w 129"/>
                  <a:gd name="T53" fmla="*/ 24 h 113"/>
                  <a:gd name="T54" fmla="*/ 27 w 129"/>
                  <a:gd name="T55" fmla="*/ 53 h 113"/>
                  <a:gd name="T56" fmla="*/ 22 w 129"/>
                  <a:gd name="T57" fmla="*/ 59 h 113"/>
                  <a:gd name="T58" fmla="*/ 12 w 129"/>
                  <a:gd name="T59" fmla="*/ 59 h 113"/>
                  <a:gd name="T60" fmla="*/ 8 w 129"/>
                  <a:gd name="T61" fmla="*/ 53 h 113"/>
                  <a:gd name="T62" fmla="*/ 3 w 129"/>
                  <a:gd name="T63" fmla="*/ 56 h 113"/>
                  <a:gd name="T64" fmla="*/ 0 w 129"/>
                  <a:gd name="T65" fmla="*/ 56 h 113"/>
                  <a:gd name="T66" fmla="*/ 6 w 129"/>
                  <a:gd name="T67" fmla="*/ 69 h 113"/>
                  <a:gd name="T68" fmla="*/ 13 w 129"/>
                  <a:gd name="T69" fmla="*/ 85 h 113"/>
                  <a:gd name="T70" fmla="*/ 13 w 129"/>
                  <a:gd name="T71" fmla="*/ 93 h 113"/>
                  <a:gd name="T72" fmla="*/ 14 w 129"/>
                  <a:gd name="T73" fmla="*/ 99 h 113"/>
                  <a:gd name="T74" fmla="*/ 16 w 129"/>
                  <a:gd name="T75" fmla="*/ 106 h 113"/>
                  <a:gd name="T76" fmla="*/ 20 w 129"/>
                  <a:gd name="T77" fmla="*/ 108 h 113"/>
                  <a:gd name="T78" fmla="*/ 24 w 129"/>
                  <a:gd name="T79" fmla="*/ 112 h 113"/>
                  <a:gd name="T80" fmla="*/ 29 w 129"/>
                  <a:gd name="T81" fmla="*/ 111 h 113"/>
                  <a:gd name="T82" fmla="*/ 39 w 129"/>
                  <a:gd name="T83" fmla="*/ 109 h 113"/>
                  <a:gd name="T84" fmla="*/ 46 w 129"/>
                  <a:gd name="T85" fmla="*/ 106 h 113"/>
                  <a:gd name="T86" fmla="*/ 58 w 129"/>
                  <a:gd name="T87" fmla="*/ 106 h 113"/>
                  <a:gd name="T88" fmla="*/ 66 w 129"/>
                  <a:gd name="T89" fmla="*/ 105 h 113"/>
                  <a:gd name="T90" fmla="*/ 71 w 129"/>
                  <a:gd name="T91" fmla="*/ 104 h 113"/>
                  <a:gd name="T92" fmla="*/ 78 w 129"/>
                  <a:gd name="T93" fmla="*/ 101 h 113"/>
                  <a:gd name="T94" fmla="*/ 94 w 129"/>
                  <a:gd name="T95" fmla="*/ 91 h 113"/>
                  <a:gd name="T96" fmla="*/ 113 w 129"/>
                  <a:gd name="T97" fmla="*/ 67 h 113"/>
                  <a:gd name="T98" fmla="*/ 125 w 129"/>
                  <a:gd name="T99" fmla="*/ 55 h 113"/>
                  <a:gd name="T100" fmla="*/ 129 w 129"/>
                  <a:gd name="T101" fmla="*/ 41 h 113"/>
                  <a:gd name="T102" fmla="*/ 123 w 129"/>
                  <a:gd name="T103" fmla="*/ 42 h 113"/>
                  <a:gd name="T104" fmla="*/ 98 w 129"/>
                  <a:gd name="T105" fmla="*/ 68 h 113"/>
                  <a:gd name="T106" fmla="*/ 93 w 129"/>
                  <a:gd name="T107" fmla="*/ 70 h 113"/>
                  <a:gd name="T108" fmla="*/ 91 w 129"/>
                  <a:gd name="T109" fmla="*/ 74 h 113"/>
                  <a:gd name="T110" fmla="*/ 88 w 129"/>
                  <a:gd name="T111" fmla="*/ 74 h 113"/>
                  <a:gd name="T112" fmla="*/ 83 w 129"/>
                  <a:gd name="T113" fmla="*/ 67 h 113"/>
                  <a:gd name="T114" fmla="*/ 88 w 129"/>
                  <a:gd name="T115" fmla="*/ 60 h 113"/>
                  <a:gd name="T116" fmla="*/ 96 w 129"/>
                  <a:gd name="T117" fmla="*/ 57 h 113"/>
                  <a:gd name="T118" fmla="*/ 101 w 129"/>
                  <a:gd name="T119" fmla="*/ 63 h 113"/>
                  <a:gd name="T120" fmla="*/ 98 w 129"/>
                  <a:gd name="T121" fmla="*/ 68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29" h="113">
                    <a:moveTo>
                      <a:pt x="123" y="42"/>
                    </a:moveTo>
                    <a:cubicBezTo>
                      <a:pt x="123" y="42"/>
                      <a:pt x="123" y="41"/>
                      <a:pt x="123" y="41"/>
                    </a:cubicBezTo>
                    <a:cubicBezTo>
                      <a:pt x="122" y="41"/>
                      <a:pt x="121" y="42"/>
                      <a:pt x="121" y="43"/>
                    </a:cubicBezTo>
                    <a:cubicBezTo>
                      <a:pt x="121" y="45"/>
                      <a:pt x="119" y="45"/>
                      <a:pt x="117" y="45"/>
                    </a:cubicBezTo>
                    <a:cubicBezTo>
                      <a:pt x="114" y="45"/>
                      <a:pt x="112" y="38"/>
                      <a:pt x="112" y="37"/>
                    </a:cubicBezTo>
                    <a:cubicBezTo>
                      <a:pt x="112" y="36"/>
                      <a:pt x="115" y="32"/>
                      <a:pt x="117" y="32"/>
                    </a:cubicBezTo>
                    <a:cubicBezTo>
                      <a:pt x="119" y="32"/>
                      <a:pt x="120" y="33"/>
                      <a:pt x="122" y="34"/>
                    </a:cubicBezTo>
                    <a:cubicBezTo>
                      <a:pt x="122" y="33"/>
                      <a:pt x="122" y="33"/>
                      <a:pt x="122" y="33"/>
                    </a:cubicBezTo>
                    <a:cubicBezTo>
                      <a:pt x="122" y="31"/>
                      <a:pt x="123" y="19"/>
                      <a:pt x="121" y="18"/>
                    </a:cubicBezTo>
                    <a:cubicBezTo>
                      <a:pt x="119" y="17"/>
                      <a:pt x="117" y="4"/>
                      <a:pt x="116" y="3"/>
                    </a:cubicBezTo>
                    <a:cubicBezTo>
                      <a:pt x="115" y="2"/>
                      <a:pt x="108" y="2"/>
                      <a:pt x="107" y="1"/>
                    </a:cubicBezTo>
                    <a:cubicBezTo>
                      <a:pt x="106" y="0"/>
                      <a:pt x="99" y="1"/>
                      <a:pt x="99" y="0"/>
                    </a:cubicBezTo>
                    <a:cubicBezTo>
                      <a:pt x="98" y="1"/>
                      <a:pt x="97" y="3"/>
                      <a:pt x="96" y="3"/>
                    </a:cubicBezTo>
                    <a:cubicBezTo>
                      <a:pt x="95" y="5"/>
                      <a:pt x="92" y="4"/>
                      <a:pt x="91" y="6"/>
                    </a:cubicBezTo>
                    <a:cubicBezTo>
                      <a:pt x="91" y="9"/>
                      <a:pt x="87" y="11"/>
                      <a:pt x="85" y="11"/>
                    </a:cubicBezTo>
                    <a:cubicBezTo>
                      <a:pt x="83" y="11"/>
                      <a:pt x="82" y="14"/>
                      <a:pt x="82" y="17"/>
                    </a:cubicBezTo>
                    <a:cubicBezTo>
                      <a:pt x="82" y="19"/>
                      <a:pt x="78" y="22"/>
                      <a:pt x="75" y="22"/>
                    </a:cubicBezTo>
                    <a:cubicBezTo>
                      <a:pt x="72" y="22"/>
                      <a:pt x="73" y="24"/>
                      <a:pt x="72" y="27"/>
                    </a:cubicBezTo>
                    <a:cubicBezTo>
                      <a:pt x="71" y="31"/>
                      <a:pt x="69" y="31"/>
                      <a:pt x="64" y="31"/>
                    </a:cubicBezTo>
                    <a:cubicBezTo>
                      <a:pt x="59" y="31"/>
                      <a:pt x="59" y="31"/>
                      <a:pt x="54" y="28"/>
                    </a:cubicBezTo>
                    <a:cubicBezTo>
                      <a:pt x="50" y="25"/>
                      <a:pt x="49" y="30"/>
                      <a:pt x="49" y="32"/>
                    </a:cubicBezTo>
                    <a:cubicBezTo>
                      <a:pt x="49" y="34"/>
                      <a:pt x="43" y="39"/>
                      <a:pt x="42" y="41"/>
                    </a:cubicBezTo>
                    <a:cubicBezTo>
                      <a:pt x="40" y="42"/>
                      <a:pt x="36" y="41"/>
                      <a:pt x="34" y="41"/>
                    </a:cubicBezTo>
                    <a:cubicBezTo>
                      <a:pt x="31" y="41"/>
                      <a:pt x="32" y="39"/>
                      <a:pt x="32" y="37"/>
                    </a:cubicBezTo>
                    <a:cubicBezTo>
                      <a:pt x="32" y="36"/>
                      <a:pt x="33" y="37"/>
                      <a:pt x="34" y="36"/>
                    </a:cubicBezTo>
                    <a:cubicBezTo>
                      <a:pt x="34" y="34"/>
                      <a:pt x="32" y="29"/>
                      <a:pt x="31" y="27"/>
                    </a:cubicBezTo>
                    <a:cubicBezTo>
                      <a:pt x="31" y="26"/>
                      <a:pt x="29" y="25"/>
                      <a:pt x="27" y="24"/>
                    </a:cubicBezTo>
                    <a:cubicBezTo>
                      <a:pt x="27" y="38"/>
                      <a:pt x="27" y="52"/>
                      <a:pt x="27" y="53"/>
                    </a:cubicBezTo>
                    <a:cubicBezTo>
                      <a:pt x="27" y="56"/>
                      <a:pt x="23" y="57"/>
                      <a:pt x="22" y="59"/>
                    </a:cubicBezTo>
                    <a:cubicBezTo>
                      <a:pt x="21" y="60"/>
                      <a:pt x="15" y="59"/>
                      <a:pt x="12" y="59"/>
                    </a:cubicBezTo>
                    <a:cubicBezTo>
                      <a:pt x="9" y="59"/>
                      <a:pt x="9" y="56"/>
                      <a:pt x="8" y="53"/>
                    </a:cubicBezTo>
                    <a:cubicBezTo>
                      <a:pt x="6" y="51"/>
                      <a:pt x="3" y="54"/>
                      <a:pt x="3" y="56"/>
                    </a:cubicBezTo>
                    <a:cubicBezTo>
                      <a:pt x="3" y="57"/>
                      <a:pt x="2" y="57"/>
                      <a:pt x="0" y="56"/>
                    </a:cubicBezTo>
                    <a:cubicBezTo>
                      <a:pt x="2" y="61"/>
                      <a:pt x="5" y="65"/>
                      <a:pt x="6" y="69"/>
                    </a:cubicBezTo>
                    <a:cubicBezTo>
                      <a:pt x="8" y="76"/>
                      <a:pt x="12" y="81"/>
                      <a:pt x="13" y="85"/>
                    </a:cubicBezTo>
                    <a:cubicBezTo>
                      <a:pt x="15" y="89"/>
                      <a:pt x="16" y="92"/>
                      <a:pt x="13" y="93"/>
                    </a:cubicBezTo>
                    <a:cubicBezTo>
                      <a:pt x="11" y="93"/>
                      <a:pt x="11" y="95"/>
                      <a:pt x="14" y="99"/>
                    </a:cubicBezTo>
                    <a:cubicBezTo>
                      <a:pt x="16" y="103"/>
                      <a:pt x="14" y="106"/>
                      <a:pt x="16" y="106"/>
                    </a:cubicBezTo>
                    <a:cubicBezTo>
                      <a:pt x="18" y="107"/>
                      <a:pt x="18" y="108"/>
                      <a:pt x="20" y="108"/>
                    </a:cubicBezTo>
                    <a:cubicBezTo>
                      <a:pt x="21" y="108"/>
                      <a:pt x="23" y="110"/>
                      <a:pt x="24" y="112"/>
                    </a:cubicBezTo>
                    <a:cubicBezTo>
                      <a:pt x="25" y="113"/>
                      <a:pt x="28" y="113"/>
                      <a:pt x="29" y="111"/>
                    </a:cubicBezTo>
                    <a:cubicBezTo>
                      <a:pt x="30" y="109"/>
                      <a:pt x="34" y="109"/>
                      <a:pt x="39" y="109"/>
                    </a:cubicBezTo>
                    <a:cubicBezTo>
                      <a:pt x="43" y="109"/>
                      <a:pt x="42" y="107"/>
                      <a:pt x="46" y="106"/>
                    </a:cubicBezTo>
                    <a:cubicBezTo>
                      <a:pt x="50" y="105"/>
                      <a:pt x="55" y="104"/>
                      <a:pt x="58" y="106"/>
                    </a:cubicBezTo>
                    <a:cubicBezTo>
                      <a:pt x="62" y="107"/>
                      <a:pt x="64" y="106"/>
                      <a:pt x="66" y="105"/>
                    </a:cubicBezTo>
                    <a:cubicBezTo>
                      <a:pt x="68" y="104"/>
                      <a:pt x="71" y="106"/>
                      <a:pt x="71" y="104"/>
                    </a:cubicBezTo>
                    <a:cubicBezTo>
                      <a:pt x="71" y="101"/>
                      <a:pt x="75" y="101"/>
                      <a:pt x="78" y="101"/>
                    </a:cubicBezTo>
                    <a:cubicBezTo>
                      <a:pt x="81" y="101"/>
                      <a:pt x="88" y="96"/>
                      <a:pt x="94" y="91"/>
                    </a:cubicBezTo>
                    <a:cubicBezTo>
                      <a:pt x="100" y="85"/>
                      <a:pt x="110" y="73"/>
                      <a:pt x="113" y="67"/>
                    </a:cubicBezTo>
                    <a:cubicBezTo>
                      <a:pt x="117" y="62"/>
                      <a:pt x="122" y="57"/>
                      <a:pt x="125" y="55"/>
                    </a:cubicBezTo>
                    <a:cubicBezTo>
                      <a:pt x="127" y="53"/>
                      <a:pt x="128" y="46"/>
                      <a:pt x="129" y="41"/>
                    </a:cubicBezTo>
                    <a:cubicBezTo>
                      <a:pt x="126" y="41"/>
                      <a:pt x="123" y="42"/>
                      <a:pt x="123" y="42"/>
                    </a:cubicBezTo>
                    <a:close/>
                    <a:moveTo>
                      <a:pt x="98" y="68"/>
                    </a:moveTo>
                    <a:cubicBezTo>
                      <a:pt x="98" y="70"/>
                      <a:pt x="94" y="68"/>
                      <a:pt x="93" y="70"/>
                    </a:cubicBezTo>
                    <a:cubicBezTo>
                      <a:pt x="92" y="72"/>
                      <a:pt x="91" y="74"/>
                      <a:pt x="91" y="74"/>
                    </a:cubicBezTo>
                    <a:cubicBezTo>
                      <a:pt x="88" y="74"/>
                      <a:pt x="88" y="74"/>
                      <a:pt x="88" y="74"/>
                    </a:cubicBezTo>
                    <a:cubicBezTo>
                      <a:pt x="83" y="67"/>
                      <a:pt x="83" y="67"/>
                      <a:pt x="83" y="67"/>
                    </a:cubicBezTo>
                    <a:cubicBezTo>
                      <a:pt x="83" y="67"/>
                      <a:pt x="87" y="62"/>
                      <a:pt x="88" y="60"/>
                    </a:cubicBezTo>
                    <a:cubicBezTo>
                      <a:pt x="88" y="58"/>
                      <a:pt x="95" y="55"/>
                      <a:pt x="96" y="57"/>
                    </a:cubicBezTo>
                    <a:cubicBezTo>
                      <a:pt x="97" y="58"/>
                      <a:pt x="101" y="61"/>
                      <a:pt x="101" y="63"/>
                    </a:cubicBezTo>
                    <a:cubicBezTo>
                      <a:pt x="101" y="65"/>
                      <a:pt x="98" y="66"/>
                      <a:pt x="98" y="68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5" name="Freeform 11">
                <a:extLst>
                  <a:ext uri="{FF2B5EF4-FFF2-40B4-BE49-F238E27FC236}">
                    <a16:creationId xmlns:a16="http://schemas.microsoft.com/office/drawing/2014/main" id="{D1198E76-B30B-433B-AF07-FB3ECE541C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9291" y="4197704"/>
                <a:ext cx="217068" cy="229615"/>
              </a:xfrm>
              <a:custGeom>
                <a:avLst/>
                <a:gdLst>
                  <a:gd name="T0" fmla="*/ 6 w 94"/>
                  <a:gd name="T1" fmla="*/ 92 h 100"/>
                  <a:gd name="T2" fmla="*/ 9 w 94"/>
                  <a:gd name="T3" fmla="*/ 94 h 100"/>
                  <a:gd name="T4" fmla="*/ 17 w 94"/>
                  <a:gd name="T5" fmla="*/ 94 h 100"/>
                  <a:gd name="T6" fmla="*/ 24 w 94"/>
                  <a:gd name="T7" fmla="*/ 96 h 100"/>
                  <a:gd name="T8" fmla="*/ 52 w 94"/>
                  <a:gd name="T9" fmla="*/ 96 h 100"/>
                  <a:gd name="T10" fmla="*/ 55 w 94"/>
                  <a:gd name="T11" fmla="*/ 99 h 100"/>
                  <a:gd name="T12" fmla="*/ 72 w 94"/>
                  <a:gd name="T13" fmla="*/ 99 h 100"/>
                  <a:gd name="T14" fmla="*/ 85 w 94"/>
                  <a:gd name="T15" fmla="*/ 98 h 100"/>
                  <a:gd name="T16" fmla="*/ 87 w 94"/>
                  <a:gd name="T17" fmla="*/ 97 h 100"/>
                  <a:gd name="T18" fmla="*/ 78 w 94"/>
                  <a:gd name="T19" fmla="*/ 85 h 100"/>
                  <a:gd name="T20" fmla="*/ 79 w 94"/>
                  <a:gd name="T21" fmla="*/ 58 h 100"/>
                  <a:gd name="T22" fmla="*/ 91 w 94"/>
                  <a:gd name="T23" fmla="*/ 59 h 100"/>
                  <a:gd name="T24" fmla="*/ 93 w 94"/>
                  <a:gd name="T25" fmla="*/ 57 h 100"/>
                  <a:gd name="T26" fmla="*/ 94 w 94"/>
                  <a:gd name="T27" fmla="*/ 41 h 100"/>
                  <a:gd name="T28" fmla="*/ 92 w 94"/>
                  <a:gd name="T29" fmla="*/ 40 h 100"/>
                  <a:gd name="T30" fmla="*/ 85 w 94"/>
                  <a:gd name="T31" fmla="*/ 41 h 100"/>
                  <a:gd name="T32" fmla="*/ 81 w 94"/>
                  <a:gd name="T33" fmla="*/ 43 h 100"/>
                  <a:gd name="T34" fmla="*/ 81 w 94"/>
                  <a:gd name="T35" fmla="*/ 37 h 100"/>
                  <a:gd name="T36" fmla="*/ 77 w 94"/>
                  <a:gd name="T37" fmla="*/ 30 h 100"/>
                  <a:gd name="T38" fmla="*/ 78 w 94"/>
                  <a:gd name="T39" fmla="*/ 19 h 100"/>
                  <a:gd name="T40" fmla="*/ 77 w 94"/>
                  <a:gd name="T41" fmla="*/ 13 h 100"/>
                  <a:gd name="T42" fmla="*/ 71 w 94"/>
                  <a:gd name="T43" fmla="*/ 12 h 100"/>
                  <a:gd name="T44" fmla="*/ 67 w 94"/>
                  <a:gd name="T45" fmla="*/ 10 h 100"/>
                  <a:gd name="T46" fmla="*/ 61 w 94"/>
                  <a:gd name="T47" fmla="*/ 10 h 100"/>
                  <a:gd name="T48" fmla="*/ 58 w 94"/>
                  <a:gd name="T49" fmla="*/ 17 h 100"/>
                  <a:gd name="T50" fmla="*/ 48 w 94"/>
                  <a:gd name="T51" fmla="*/ 18 h 100"/>
                  <a:gd name="T52" fmla="*/ 42 w 94"/>
                  <a:gd name="T53" fmla="*/ 13 h 100"/>
                  <a:gd name="T54" fmla="*/ 38 w 94"/>
                  <a:gd name="T55" fmla="*/ 7 h 100"/>
                  <a:gd name="T56" fmla="*/ 37 w 94"/>
                  <a:gd name="T57" fmla="*/ 1 h 100"/>
                  <a:gd name="T58" fmla="*/ 11 w 94"/>
                  <a:gd name="T59" fmla="*/ 1 h 100"/>
                  <a:gd name="T60" fmla="*/ 6 w 94"/>
                  <a:gd name="T61" fmla="*/ 3 h 100"/>
                  <a:gd name="T62" fmla="*/ 13 w 94"/>
                  <a:gd name="T63" fmla="*/ 20 h 100"/>
                  <a:gd name="T64" fmla="*/ 12 w 94"/>
                  <a:gd name="T65" fmla="*/ 28 h 100"/>
                  <a:gd name="T66" fmla="*/ 17 w 94"/>
                  <a:gd name="T67" fmla="*/ 45 h 100"/>
                  <a:gd name="T68" fmla="*/ 11 w 94"/>
                  <a:gd name="T69" fmla="*/ 57 h 100"/>
                  <a:gd name="T70" fmla="*/ 6 w 94"/>
                  <a:gd name="T71" fmla="*/ 72 h 100"/>
                  <a:gd name="T72" fmla="*/ 1 w 94"/>
                  <a:gd name="T73" fmla="*/ 83 h 100"/>
                  <a:gd name="T74" fmla="*/ 0 w 94"/>
                  <a:gd name="T75" fmla="*/ 94 h 100"/>
                  <a:gd name="T76" fmla="*/ 0 w 94"/>
                  <a:gd name="T77" fmla="*/ 95 h 100"/>
                  <a:gd name="T78" fmla="*/ 3 w 94"/>
                  <a:gd name="T79" fmla="*/ 94 h 100"/>
                  <a:gd name="T80" fmla="*/ 6 w 94"/>
                  <a:gd name="T81" fmla="*/ 92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94" h="100">
                    <a:moveTo>
                      <a:pt x="6" y="92"/>
                    </a:moveTo>
                    <a:cubicBezTo>
                      <a:pt x="8" y="92"/>
                      <a:pt x="7" y="95"/>
                      <a:pt x="9" y="94"/>
                    </a:cubicBezTo>
                    <a:cubicBezTo>
                      <a:pt x="12" y="92"/>
                      <a:pt x="15" y="92"/>
                      <a:pt x="17" y="94"/>
                    </a:cubicBezTo>
                    <a:cubicBezTo>
                      <a:pt x="19" y="96"/>
                      <a:pt x="21" y="96"/>
                      <a:pt x="24" y="96"/>
                    </a:cubicBezTo>
                    <a:cubicBezTo>
                      <a:pt x="27" y="96"/>
                      <a:pt x="52" y="96"/>
                      <a:pt x="52" y="96"/>
                    </a:cubicBezTo>
                    <a:cubicBezTo>
                      <a:pt x="55" y="99"/>
                      <a:pt x="55" y="99"/>
                      <a:pt x="55" y="99"/>
                    </a:cubicBezTo>
                    <a:cubicBezTo>
                      <a:pt x="55" y="99"/>
                      <a:pt x="70" y="98"/>
                      <a:pt x="72" y="99"/>
                    </a:cubicBezTo>
                    <a:cubicBezTo>
                      <a:pt x="75" y="100"/>
                      <a:pt x="83" y="99"/>
                      <a:pt x="85" y="98"/>
                    </a:cubicBezTo>
                    <a:cubicBezTo>
                      <a:pt x="85" y="98"/>
                      <a:pt x="86" y="98"/>
                      <a:pt x="87" y="97"/>
                    </a:cubicBezTo>
                    <a:cubicBezTo>
                      <a:pt x="78" y="85"/>
                      <a:pt x="78" y="85"/>
                      <a:pt x="78" y="85"/>
                    </a:cubicBezTo>
                    <a:cubicBezTo>
                      <a:pt x="79" y="58"/>
                      <a:pt x="79" y="58"/>
                      <a:pt x="79" y="58"/>
                    </a:cubicBezTo>
                    <a:cubicBezTo>
                      <a:pt x="91" y="59"/>
                      <a:pt x="91" y="59"/>
                      <a:pt x="91" y="59"/>
                    </a:cubicBezTo>
                    <a:cubicBezTo>
                      <a:pt x="93" y="57"/>
                      <a:pt x="93" y="57"/>
                      <a:pt x="93" y="57"/>
                    </a:cubicBezTo>
                    <a:cubicBezTo>
                      <a:pt x="94" y="41"/>
                      <a:pt x="94" y="41"/>
                      <a:pt x="94" y="41"/>
                    </a:cubicBezTo>
                    <a:cubicBezTo>
                      <a:pt x="94" y="40"/>
                      <a:pt x="93" y="40"/>
                      <a:pt x="92" y="40"/>
                    </a:cubicBezTo>
                    <a:cubicBezTo>
                      <a:pt x="90" y="42"/>
                      <a:pt x="88" y="41"/>
                      <a:pt x="85" y="41"/>
                    </a:cubicBezTo>
                    <a:cubicBezTo>
                      <a:pt x="83" y="41"/>
                      <a:pt x="82" y="44"/>
                      <a:pt x="81" y="43"/>
                    </a:cubicBezTo>
                    <a:cubicBezTo>
                      <a:pt x="79" y="43"/>
                      <a:pt x="81" y="39"/>
                      <a:pt x="81" y="37"/>
                    </a:cubicBezTo>
                    <a:cubicBezTo>
                      <a:pt x="81" y="35"/>
                      <a:pt x="79" y="32"/>
                      <a:pt x="77" y="30"/>
                    </a:cubicBezTo>
                    <a:cubicBezTo>
                      <a:pt x="75" y="29"/>
                      <a:pt x="79" y="20"/>
                      <a:pt x="78" y="19"/>
                    </a:cubicBezTo>
                    <a:cubicBezTo>
                      <a:pt x="77" y="18"/>
                      <a:pt x="77" y="15"/>
                      <a:pt x="77" y="13"/>
                    </a:cubicBezTo>
                    <a:cubicBezTo>
                      <a:pt x="77" y="10"/>
                      <a:pt x="75" y="12"/>
                      <a:pt x="71" y="12"/>
                    </a:cubicBezTo>
                    <a:cubicBezTo>
                      <a:pt x="68" y="12"/>
                      <a:pt x="67" y="10"/>
                      <a:pt x="67" y="10"/>
                    </a:cubicBezTo>
                    <a:cubicBezTo>
                      <a:pt x="67" y="10"/>
                      <a:pt x="63" y="9"/>
                      <a:pt x="61" y="10"/>
                    </a:cubicBezTo>
                    <a:cubicBezTo>
                      <a:pt x="59" y="11"/>
                      <a:pt x="59" y="17"/>
                      <a:pt x="58" y="17"/>
                    </a:cubicBezTo>
                    <a:cubicBezTo>
                      <a:pt x="56" y="17"/>
                      <a:pt x="52" y="17"/>
                      <a:pt x="48" y="18"/>
                    </a:cubicBezTo>
                    <a:cubicBezTo>
                      <a:pt x="45" y="19"/>
                      <a:pt x="43" y="18"/>
                      <a:pt x="42" y="13"/>
                    </a:cubicBezTo>
                    <a:cubicBezTo>
                      <a:pt x="40" y="9"/>
                      <a:pt x="38" y="10"/>
                      <a:pt x="38" y="7"/>
                    </a:cubicBezTo>
                    <a:cubicBezTo>
                      <a:pt x="39" y="4"/>
                      <a:pt x="37" y="1"/>
                      <a:pt x="37" y="1"/>
                    </a:cubicBezTo>
                    <a:cubicBezTo>
                      <a:pt x="37" y="1"/>
                      <a:pt x="13" y="0"/>
                      <a:pt x="11" y="1"/>
                    </a:cubicBezTo>
                    <a:cubicBezTo>
                      <a:pt x="10" y="1"/>
                      <a:pt x="8" y="2"/>
                      <a:pt x="6" y="3"/>
                    </a:cubicBezTo>
                    <a:cubicBezTo>
                      <a:pt x="8" y="8"/>
                      <a:pt x="12" y="18"/>
                      <a:pt x="13" y="20"/>
                    </a:cubicBezTo>
                    <a:cubicBezTo>
                      <a:pt x="15" y="22"/>
                      <a:pt x="12" y="24"/>
                      <a:pt x="12" y="28"/>
                    </a:cubicBezTo>
                    <a:cubicBezTo>
                      <a:pt x="12" y="32"/>
                      <a:pt x="17" y="40"/>
                      <a:pt x="17" y="45"/>
                    </a:cubicBezTo>
                    <a:cubicBezTo>
                      <a:pt x="18" y="50"/>
                      <a:pt x="14" y="53"/>
                      <a:pt x="11" y="57"/>
                    </a:cubicBezTo>
                    <a:cubicBezTo>
                      <a:pt x="9" y="60"/>
                      <a:pt x="6" y="68"/>
                      <a:pt x="6" y="72"/>
                    </a:cubicBezTo>
                    <a:cubicBezTo>
                      <a:pt x="6" y="77"/>
                      <a:pt x="1" y="81"/>
                      <a:pt x="1" y="83"/>
                    </a:cubicBezTo>
                    <a:cubicBezTo>
                      <a:pt x="2" y="86"/>
                      <a:pt x="1" y="92"/>
                      <a:pt x="0" y="94"/>
                    </a:cubicBezTo>
                    <a:cubicBezTo>
                      <a:pt x="0" y="94"/>
                      <a:pt x="0" y="95"/>
                      <a:pt x="0" y="95"/>
                    </a:cubicBezTo>
                    <a:cubicBezTo>
                      <a:pt x="3" y="94"/>
                      <a:pt x="3" y="94"/>
                      <a:pt x="3" y="94"/>
                    </a:cubicBezTo>
                    <a:cubicBezTo>
                      <a:pt x="3" y="94"/>
                      <a:pt x="4" y="92"/>
                      <a:pt x="6" y="9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6" name="Freeform 12">
                <a:extLst>
                  <a:ext uri="{FF2B5EF4-FFF2-40B4-BE49-F238E27FC236}">
                    <a16:creationId xmlns:a16="http://schemas.microsoft.com/office/drawing/2014/main" id="{0A37CE45-017D-42DB-B62E-4BDC5504EB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9972" y="4240365"/>
                <a:ext cx="213303" cy="189464"/>
              </a:xfrm>
              <a:custGeom>
                <a:avLst/>
                <a:gdLst>
                  <a:gd name="T0" fmla="*/ 71 w 93"/>
                  <a:gd name="T1" fmla="*/ 3 h 82"/>
                  <a:gd name="T2" fmla="*/ 65 w 93"/>
                  <a:gd name="T3" fmla="*/ 0 h 82"/>
                  <a:gd name="T4" fmla="*/ 56 w 93"/>
                  <a:gd name="T5" fmla="*/ 1 h 82"/>
                  <a:gd name="T6" fmla="*/ 54 w 93"/>
                  <a:gd name="T7" fmla="*/ 7 h 82"/>
                  <a:gd name="T8" fmla="*/ 52 w 93"/>
                  <a:gd name="T9" fmla="*/ 11 h 82"/>
                  <a:gd name="T10" fmla="*/ 52 w 93"/>
                  <a:gd name="T11" fmla="*/ 20 h 82"/>
                  <a:gd name="T12" fmla="*/ 50 w 93"/>
                  <a:gd name="T13" fmla="*/ 28 h 82"/>
                  <a:gd name="T14" fmla="*/ 56 w 93"/>
                  <a:gd name="T15" fmla="*/ 34 h 82"/>
                  <a:gd name="T16" fmla="*/ 61 w 93"/>
                  <a:gd name="T17" fmla="*/ 32 h 82"/>
                  <a:gd name="T18" fmla="*/ 62 w 93"/>
                  <a:gd name="T19" fmla="*/ 38 h 82"/>
                  <a:gd name="T20" fmla="*/ 61 w 93"/>
                  <a:gd name="T21" fmla="*/ 41 h 82"/>
                  <a:gd name="T22" fmla="*/ 55 w 93"/>
                  <a:gd name="T23" fmla="*/ 41 h 82"/>
                  <a:gd name="T24" fmla="*/ 52 w 93"/>
                  <a:gd name="T25" fmla="*/ 35 h 82"/>
                  <a:gd name="T26" fmla="*/ 46 w 93"/>
                  <a:gd name="T27" fmla="*/ 33 h 82"/>
                  <a:gd name="T28" fmla="*/ 41 w 93"/>
                  <a:gd name="T29" fmla="*/ 29 h 82"/>
                  <a:gd name="T30" fmla="*/ 39 w 93"/>
                  <a:gd name="T31" fmla="*/ 30 h 82"/>
                  <a:gd name="T32" fmla="*/ 35 w 93"/>
                  <a:gd name="T33" fmla="*/ 31 h 82"/>
                  <a:gd name="T34" fmla="*/ 28 w 93"/>
                  <a:gd name="T35" fmla="*/ 29 h 82"/>
                  <a:gd name="T36" fmla="*/ 26 w 93"/>
                  <a:gd name="T37" fmla="*/ 25 h 82"/>
                  <a:gd name="T38" fmla="*/ 21 w 93"/>
                  <a:gd name="T39" fmla="*/ 25 h 82"/>
                  <a:gd name="T40" fmla="*/ 19 w 93"/>
                  <a:gd name="T41" fmla="*/ 24 h 82"/>
                  <a:gd name="T42" fmla="*/ 16 w 93"/>
                  <a:gd name="T43" fmla="*/ 22 h 82"/>
                  <a:gd name="T44" fmla="*/ 15 w 93"/>
                  <a:gd name="T45" fmla="*/ 38 h 82"/>
                  <a:gd name="T46" fmla="*/ 13 w 93"/>
                  <a:gd name="T47" fmla="*/ 40 h 82"/>
                  <a:gd name="T48" fmla="*/ 1 w 93"/>
                  <a:gd name="T49" fmla="*/ 39 h 82"/>
                  <a:gd name="T50" fmla="*/ 0 w 93"/>
                  <a:gd name="T51" fmla="*/ 66 h 82"/>
                  <a:gd name="T52" fmla="*/ 9 w 93"/>
                  <a:gd name="T53" fmla="*/ 78 h 82"/>
                  <a:gd name="T54" fmla="*/ 24 w 93"/>
                  <a:gd name="T55" fmla="*/ 78 h 82"/>
                  <a:gd name="T56" fmla="*/ 24 w 93"/>
                  <a:gd name="T57" fmla="*/ 80 h 82"/>
                  <a:gd name="T58" fmla="*/ 29 w 93"/>
                  <a:gd name="T59" fmla="*/ 79 h 82"/>
                  <a:gd name="T60" fmla="*/ 39 w 93"/>
                  <a:gd name="T61" fmla="*/ 81 h 82"/>
                  <a:gd name="T62" fmla="*/ 47 w 93"/>
                  <a:gd name="T63" fmla="*/ 72 h 82"/>
                  <a:gd name="T64" fmla="*/ 55 w 93"/>
                  <a:gd name="T65" fmla="*/ 66 h 82"/>
                  <a:gd name="T66" fmla="*/ 59 w 93"/>
                  <a:gd name="T67" fmla="*/ 62 h 82"/>
                  <a:gd name="T68" fmla="*/ 66 w 93"/>
                  <a:gd name="T69" fmla="*/ 62 h 82"/>
                  <a:gd name="T70" fmla="*/ 66 w 93"/>
                  <a:gd name="T71" fmla="*/ 62 h 82"/>
                  <a:gd name="T72" fmla="*/ 65 w 93"/>
                  <a:gd name="T73" fmla="*/ 56 h 82"/>
                  <a:gd name="T74" fmla="*/ 87 w 93"/>
                  <a:gd name="T75" fmla="*/ 48 h 82"/>
                  <a:gd name="T76" fmla="*/ 86 w 93"/>
                  <a:gd name="T77" fmla="*/ 44 h 82"/>
                  <a:gd name="T78" fmla="*/ 87 w 93"/>
                  <a:gd name="T79" fmla="*/ 36 h 82"/>
                  <a:gd name="T80" fmla="*/ 90 w 93"/>
                  <a:gd name="T81" fmla="*/ 34 h 82"/>
                  <a:gd name="T82" fmla="*/ 90 w 93"/>
                  <a:gd name="T83" fmla="*/ 21 h 82"/>
                  <a:gd name="T84" fmla="*/ 93 w 93"/>
                  <a:gd name="T85" fmla="*/ 19 h 82"/>
                  <a:gd name="T86" fmla="*/ 89 w 93"/>
                  <a:gd name="T87" fmla="*/ 11 h 82"/>
                  <a:gd name="T88" fmla="*/ 79 w 93"/>
                  <a:gd name="T89" fmla="*/ 6 h 82"/>
                  <a:gd name="T90" fmla="*/ 71 w 93"/>
                  <a:gd name="T91" fmla="*/ 3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93" h="82">
                    <a:moveTo>
                      <a:pt x="71" y="3"/>
                    </a:moveTo>
                    <a:cubicBezTo>
                      <a:pt x="70" y="3"/>
                      <a:pt x="68" y="2"/>
                      <a:pt x="65" y="0"/>
                    </a:cubicBezTo>
                    <a:cubicBezTo>
                      <a:pt x="64" y="2"/>
                      <a:pt x="58" y="1"/>
                      <a:pt x="56" y="1"/>
                    </a:cubicBezTo>
                    <a:cubicBezTo>
                      <a:pt x="53" y="1"/>
                      <a:pt x="55" y="5"/>
                      <a:pt x="54" y="7"/>
                    </a:cubicBezTo>
                    <a:cubicBezTo>
                      <a:pt x="52" y="8"/>
                      <a:pt x="51" y="10"/>
                      <a:pt x="52" y="11"/>
                    </a:cubicBezTo>
                    <a:cubicBezTo>
                      <a:pt x="54" y="12"/>
                      <a:pt x="52" y="18"/>
                      <a:pt x="52" y="20"/>
                    </a:cubicBezTo>
                    <a:cubicBezTo>
                      <a:pt x="52" y="22"/>
                      <a:pt x="49" y="27"/>
                      <a:pt x="50" y="28"/>
                    </a:cubicBezTo>
                    <a:cubicBezTo>
                      <a:pt x="51" y="28"/>
                      <a:pt x="53" y="33"/>
                      <a:pt x="56" y="34"/>
                    </a:cubicBezTo>
                    <a:cubicBezTo>
                      <a:pt x="58" y="35"/>
                      <a:pt x="60" y="32"/>
                      <a:pt x="61" y="32"/>
                    </a:cubicBezTo>
                    <a:cubicBezTo>
                      <a:pt x="62" y="32"/>
                      <a:pt x="62" y="35"/>
                      <a:pt x="62" y="38"/>
                    </a:cubicBezTo>
                    <a:cubicBezTo>
                      <a:pt x="62" y="40"/>
                      <a:pt x="61" y="41"/>
                      <a:pt x="61" y="41"/>
                    </a:cubicBezTo>
                    <a:cubicBezTo>
                      <a:pt x="61" y="41"/>
                      <a:pt x="57" y="43"/>
                      <a:pt x="55" y="41"/>
                    </a:cubicBezTo>
                    <a:cubicBezTo>
                      <a:pt x="53" y="40"/>
                      <a:pt x="52" y="36"/>
                      <a:pt x="52" y="35"/>
                    </a:cubicBezTo>
                    <a:cubicBezTo>
                      <a:pt x="52" y="33"/>
                      <a:pt x="47" y="33"/>
                      <a:pt x="46" y="33"/>
                    </a:cubicBezTo>
                    <a:cubicBezTo>
                      <a:pt x="44" y="33"/>
                      <a:pt x="42" y="30"/>
                      <a:pt x="41" y="29"/>
                    </a:cubicBezTo>
                    <a:cubicBezTo>
                      <a:pt x="41" y="27"/>
                      <a:pt x="39" y="29"/>
                      <a:pt x="39" y="30"/>
                    </a:cubicBezTo>
                    <a:cubicBezTo>
                      <a:pt x="39" y="31"/>
                      <a:pt x="37" y="31"/>
                      <a:pt x="35" y="31"/>
                    </a:cubicBezTo>
                    <a:cubicBezTo>
                      <a:pt x="33" y="31"/>
                      <a:pt x="30" y="28"/>
                      <a:pt x="28" y="29"/>
                    </a:cubicBezTo>
                    <a:cubicBezTo>
                      <a:pt x="27" y="30"/>
                      <a:pt x="25" y="26"/>
                      <a:pt x="26" y="25"/>
                    </a:cubicBezTo>
                    <a:cubicBezTo>
                      <a:pt x="26" y="24"/>
                      <a:pt x="22" y="25"/>
                      <a:pt x="21" y="25"/>
                    </a:cubicBezTo>
                    <a:cubicBezTo>
                      <a:pt x="19" y="26"/>
                      <a:pt x="19" y="24"/>
                      <a:pt x="19" y="24"/>
                    </a:cubicBezTo>
                    <a:cubicBezTo>
                      <a:pt x="19" y="24"/>
                      <a:pt x="18" y="22"/>
                      <a:pt x="16" y="22"/>
                    </a:cubicBezTo>
                    <a:cubicBezTo>
                      <a:pt x="15" y="38"/>
                      <a:pt x="15" y="38"/>
                      <a:pt x="15" y="38"/>
                    </a:cubicBezTo>
                    <a:cubicBezTo>
                      <a:pt x="13" y="40"/>
                      <a:pt x="13" y="40"/>
                      <a:pt x="13" y="40"/>
                    </a:cubicBezTo>
                    <a:cubicBezTo>
                      <a:pt x="1" y="39"/>
                      <a:pt x="1" y="39"/>
                      <a:pt x="1" y="39"/>
                    </a:cubicBezTo>
                    <a:cubicBezTo>
                      <a:pt x="0" y="66"/>
                      <a:pt x="0" y="66"/>
                      <a:pt x="0" y="66"/>
                    </a:cubicBezTo>
                    <a:cubicBezTo>
                      <a:pt x="9" y="78"/>
                      <a:pt x="9" y="78"/>
                      <a:pt x="9" y="78"/>
                    </a:cubicBezTo>
                    <a:cubicBezTo>
                      <a:pt x="14" y="77"/>
                      <a:pt x="24" y="76"/>
                      <a:pt x="24" y="78"/>
                    </a:cubicBezTo>
                    <a:cubicBezTo>
                      <a:pt x="24" y="78"/>
                      <a:pt x="24" y="79"/>
                      <a:pt x="24" y="80"/>
                    </a:cubicBezTo>
                    <a:cubicBezTo>
                      <a:pt x="26" y="79"/>
                      <a:pt x="28" y="79"/>
                      <a:pt x="29" y="79"/>
                    </a:cubicBezTo>
                    <a:cubicBezTo>
                      <a:pt x="30" y="79"/>
                      <a:pt x="37" y="82"/>
                      <a:pt x="39" y="81"/>
                    </a:cubicBezTo>
                    <a:cubicBezTo>
                      <a:pt x="41" y="80"/>
                      <a:pt x="44" y="73"/>
                      <a:pt x="47" y="72"/>
                    </a:cubicBezTo>
                    <a:cubicBezTo>
                      <a:pt x="50" y="71"/>
                      <a:pt x="55" y="67"/>
                      <a:pt x="55" y="66"/>
                    </a:cubicBezTo>
                    <a:cubicBezTo>
                      <a:pt x="55" y="64"/>
                      <a:pt x="55" y="63"/>
                      <a:pt x="59" y="62"/>
                    </a:cubicBezTo>
                    <a:cubicBezTo>
                      <a:pt x="66" y="62"/>
                      <a:pt x="66" y="62"/>
                      <a:pt x="66" y="62"/>
                    </a:cubicBezTo>
                    <a:cubicBezTo>
                      <a:pt x="66" y="62"/>
                      <a:pt x="66" y="62"/>
                      <a:pt x="66" y="62"/>
                    </a:cubicBezTo>
                    <a:cubicBezTo>
                      <a:pt x="65" y="56"/>
                      <a:pt x="65" y="56"/>
                      <a:pt x="65" y="56"/>
                    </a:cubicBezTo>
                    <a:cubicBezTo>
                      <a:pt x="65" y="56"/>
                      <a:pt x="86" y="48"/>
                      <a:pt x="87" y="48"/>
                    </a:cubicBezTo>
                    <a:cubicBezTo>
                      <a:pt x="86" y="46"/>
                      <a:pt x="85" y="44"/>
                      <a:pt x="86" y="44"/>
                    </a:cubicBezTo>
                    <a:cubicBezTo>
                      <a:pt x="86" y="44"/>
                      <a:pt x="87" y="38"/>
                      <a:pt x="87" y="36"/>
                    </a:cubicBezTo>
                    <a:cubicBezTo>
                      <a:pt x="87" y="35"/>
                      <a:pt x="92" y="36"/>
                      <a:pt x="90" y="34"/>
                    </a:cubicBezTo>
                    <a:cubicBezTo>
                      <a:pt x="88" y="33"/>
                      <a:pt x="89" y="23"/>
                      <a:pt x="90" y="21"/>
                    </a:cubicBezTo>
                    <a:cubicBezTo>
                      <a:pt x="91" y="19"/>
                      <a:pt x="93" y="21"/>
                      <a:pt x="93" y="19"/>
                    </a:cubicBezTo>
                    <a:cubicBezTo>
                      <a:pt x="93" y="18"/>
                      <a:pt x="90" y="12"/>
                      <a:pt x="89" y="11"/>
                    </a:cubicBezTo>
                    <a:cubicBezTo>
                      <a:pt x="88" y="10"/>
                      <a:pt x="81" y="7"/>
                      <a:pt x="79" y="6"/>
                    </a:cubicBezTo>
                    <a:cubicBezTo>
                      <a:pt x="77" y="6"/>
                      <a:pt x="73" y="3"/>
                      <a:pt x="71" y="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7" name="Freeform 13">
                <a:extLst>
                  <a:ext uri="{FF2B5EF4-FFF2-40B4-BE49-F238E27FC236}">
                    <a16:creationId xmlns:a16="http://schemas.microsoft.com/office/drawing/2014/main" id="{B558557B-871C-467C-9ECB-FC9F291A5C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6699" y="4107364"/>
                <a:ext cx="36387" cy="32623"/>
              </a:xfrm>
              <a:custGeom>
                <a:avLst/>
                <a:gdLst>
                  <a:gd name="T0" fmla="*/ 13 w 16"/>
                  <a:gd name="T1" fmla="*/ 0 h 14"/>
                  <a:gd name="T2" fmla="*/ 8 w 16"/>
                  <a:gd name="T3" fmla="*/ 2 h 14"/>
                  <a:gd name="T4" fmla="*/ 4 w 16"/>
                  <a:gd name="T5" fmla="*/ 2 h 14"/>
                  <a:gd name="T6" fmla="*/ 3 w 16"/>
                  <a:gd name="T7" fmla="*/ 3 h 14"/>
                  <a:gd name="T8" fmla="*/ 2 w 16"/>
                  <a:gd name="T9" fmla="*/ 8 h 14"/>
                  <a:gd name="T10" fmla="*/ 0 w 16"/>
                  <a:gd name="T11" fmla="*/ 11 h 14"/>
                  <a:gd name="T12" fmla="*/ 2 w 16"/>
                  <a:gd name="T13" fmla="*/ 13 h 14"/>
                  <a:gd name="T14" fmla="*/ 4 w 16"/>
                  <a:gd name="T15" fmla="*/ 13 h 14"/>
                  <a:gd name="T16" fmla="*/ 8 w 16"/>
                  <a:gd name="T17" fmla="*/ 11 h 14"/>
                  <a:gd name="T18" fmla="*/ 15 w 16"/>
                  <a:gd name="T19" fmla="*/ 9 h 14"/>
                  <a:gd name="T20" fmla="*/ 14 w 16"/>
                  <a:gd name="T21" fmla="*/ 4 h 14"/>
                  <a:gd name="T22" fmla="*/ 13 w 16"/>
                  <a:gd name="T23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6" h="14">
                    <a:moveTo>
                      <a:pt x="13" y="0"/>
                    </a:moveTo>
                    <a:cubicBezTo>
                      <a:pt x="11" y="1"/>
                      <a:pt x="9" y="1"/>
                      <a:pt x="8" y="2"/>
                    </a:cubicBezTo>
                    <a:cubicBezTo>
                      <a:pt x="7" y="2"/>
                      <a:pt x="7" y="3"/>
                      <a:pt x="4" y="2"/>
                    </a:cubicBezTo>
                    <a:cubicBezTo>
                      <a:pt x="4" y="3"/>
                      <a:pt x="4" y="3"/>
                      <a:pt x="3" y="3"/>
                    </a:cubicBezTo>
                    <a:cubicBezTo>
                      <a:pt x="1" y="4"/>
                      <a:pt x="2" y="8"/>
                      <a:pt x="2" y="8"/>
                    </a:cubicBezTo>
                    <a:cubicBezTo>
                      <a:pt x="2" y="8"/>
                      <a:pt x="0" y="8"/>
                      <a:pt x="0" y="11"/>
                    </a:cubicBezTo>
                    <a:cubicBezTo>
                      <a:pt x="0" y="12"/>
                      <a:pt x="1" y="13"/>
                      <a:pt x="2" y="13"/>
                    </a:cubicBezTo>
                    <a:cubicBezTo>
                      <a:pt x="3" y="13"/>
                      <a:pt x="4" y="13"/>
                      <a:pt x="4" y="13"/>
                    </a:cubicBezTo>
                    <a:cubicBezTo>
                      <a:pt x="9" y="14"/>
                      <a:pt x="8" y="11"/>
                      <a:pt x="8" y="11"/>
                    </a:cubicBezTo>
                    <a:cubicBezTo>
                      <a:pt x="8" y="11"/>
                      <a:pt x="15" y="11"/>
                      <a:pt x="15" y="9"/>
                    </a:cubicBezTo>
                    <a:cubicBezTo>
                      <a:pt x="16" y="7"/>
                      <a:pt x="14" y="4"/>
                      <a:pt x="14" y="4"/>
                    </a:cubicBezTo>
                    <a:lnTo>
                      <a:pt x="13" y="0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8" name="Freeform 14">
                <a:extLst>
                  <a:ext uri="{FF2B5EF4-FFF2-40B4-BE49-F238E27FC236}">
                    <a16:creationId xmlns:a16="http://schemas.microsoft.com/office/drawing/2014/main" id="{D15AE1B2-A2E5-4BDD-97B9-8E3F8F6B6C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0041" y="3857674"/>
                <a:ext cx="190718" cy="258473"/>
              </a:xfrm>
              <a:custGeom>
                <a:avLst/>
                <a:gdLst>
                  <a:gd name="T0" fmla="*/ 19 w 83"/>
                  <a:gd name="T1" fmla="*/ 21 h 112"/>
                  <a:gd name="T2" fmla="*/ 25 w 83"/>
                  <a:gd name="T3" fmla="*/ 26 h 112"/>
                  <a:gd name="T4" fmla="*/ 41 w 83"/>
                  <a:gd name="T5" fmla="*/ 32 h 112"/>
                  <a:gd name="T6" fmla="*/ 52 w 83"/>
                  <a:gd name="T7" fmla="*/ 34 h 112"/>
                  <a:gd name="T8" fmla="*/ 55 w 83"/>
                  <a:gd name="T9" fmla="*/ 36 h 112"/>
                  <a:gd name="T10" fmla="*/ 33 w 83"/>
                  <a:gd name="T11" fmla="*/ 58 h 112"/>
                  <a:gd name="T12" fmla="*/ 24 w 83"/>
                  <a:gd name="T13" fmla="*/ 59 h 112"/>
                  <a:gd name="T14" fmla="*/ 14 w 83"/>
                  <a:gd name="T15" fmla="*/ 65 h 112"/>
                  <a:gd name="T16" fmla="*/ 7 w 83"/>
                  <a:gd name="T17" fmla="*/ 66 h 112"/>
                  <a:gd name="T18" fmla="*/ 4 w 83"/>
                  <a:gd name="T19" fmla="*/ 71 h 112"/>
                  <a:gd name="T20" fmla="*/ 0 w 83"/>
                  <a:gd name="T21" fmla="*/ 77 h 112"/>
                  <a:gd name="T22" fmla="*/ 0 w 83"/>
                  <a:gd name="T23" fmla="*/ 106 h 112"/>
                  <a:gd name="T24" fmla="*/ 4 w 83"/>
                  <a:gd name="T25" fmla="*/ 112 h 112"/>
                  <a:gd name="T26" fmla="*/ 22 w 83"/>
                  <a:gd name="T27" fmla="*/ 93 h 112"/>
                  <a:gd name="T28" fmla="*/ 36 w 83"/>
                  <a:gd name="T29" fmla="*/ 83 h 112"/>
                  <a:gd name="T30" fmla="*/ 56 w 83"/>
                  <a:gd name="T31" fmla="*/ 63 h 112"/>
                  <a:gd name="T32" fmla="*/ 65 w 83"/>
                  <a:gd name="T33" fmla="*/ 48 h 112"/>
                  <a:gd name="T34" fmla="*/ 73 w 83"/>
                  <a:gd name="T35" fmla="*/ 36 h 112"/>
                  <a:gd name="T36" fmla="*/ 80 w 83"/>
                  <a:gd name="T37" fmla="*/ 20 h 112"/>
                  <a:gd name="T38" fmla="*/ 83 w 83"/>
                  <a:gd name="T39" fmla="*/ 6 h 112"/>
                  <a:gd name="T40" fmla="*/ 78 w 83"/>
                  <a:gd name="T41" fmla="*/ 3 h 112"/>
                  <a:gd name="T42" fmla="*/ 60 w 83"/>
                  <a:gd name="T43" fmla="*/ 8 h 112"/>
                  <a:gd name="T44" fmla="*/ 47 w 83"/>
                  <a:gd name="T45" fmla="*/ 11 h 112"/>
                  <a:gd name="T46" fmla="*/ 36 w 83"/>
                  <a:gd name="T47" fmla="*/ 13 h 112"/>
                  <a:gd name="T48" fmla="*/ 23 w 83"/>
                  <a:gd name="T49" fmla="*/ 12 h 112"/>
                  <a:gd name="T50" fmla="*/ 19 w 83"/>
                  <a:gd name="T51" fmla="*/ 7 h 112"/>
                  <a:gd name="T52" fmla="*/ 14 w 83"/>
                  <a:gd name="T53" fmla="*/ 14 h 112"/>
                  <a:gd name="T54" fmla="*/ 19 w 83"/>
                  <a:gd name="T55" fmla="*/ 21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83" h="112">
                    <a:moveTo>
                      <a:pt x="19" y="21"/>
                    </a:moveTo>
                    <a:cubicBezTo>
                      <a:pt x="21" y="22"/>
                      <a:pt x="23" y="26"/>
                      <a:pt x="25" y="26"/>
                    </a:cubicBezTo>
                    <a:cubicBezTo>
                      <a:pt x="26" y="27"/>
                      <a:pt x="35" y="30"/>
                      <a:pt x="41" y="32"/>
                    </a:cubicBezTo>
                    <a:cubicBezTo>
                      <a:pt x="47" y="34"/>
                      <a:pt x="50" y="34"/>
                      <a:pt x="52" y="34"/>
                    </a:cubicBezTo>
                    <a:cubicBezTo>
                      <a:pt x="54" y="34"/>
                      <a:pt x="56" y="35"/>
                      <a:pt x="55" y="36"/>
                    </a:cubicBezTo>
                    <a:cubicBezTo>
                      <a:pt x="53" y="37"/>
                      <a:pt x="36" y="55"/>
                      <a:pt x="33" y="58"/>
                    </a:cubicBezTo>
                    <a:cubicBezTo>
                      <a:pt x="31" y="60"/>
                      <a:pt x="30" y="59"/>
                      <a:pt x="24" y="59"/>
                    </a:cubicBezTo>
                    <a:cubicBezTo>
                      <a:pt x="19" y="59"/>
                      <a:pt x="15" y="65"/>
                      <a:pt x="14" y="65"/>
                    </a:cubicBezTo>
                    <a:cubicBezTo>
                      <a:pt x="13" y="65"/>
                      <a:pt x="10" y="65"/>
                      <a:pt x="7" y="66"/>
                    </a:cubicBezTo>
                    <a:cubicBezTo>
                      <a:pt x="4" y="71"/>
                      <a:pt x="4" y="71"/>
                      <a:pt x="4" y="71"/>
                    </a:cubicBezTo>
                    <a:cubicBezTo>
                      <a:pt x="0" y="77"/>
                      <a:pt x="0" y="77"/>
                      <a:pt x="0" y="77"/>
                    </a:cubicBezTo>
                    <a:cubicBezTo>
                      <a:pt x="0" y="106"/>
                      <a:pt x="0" y="106"/>
                      <a:pt x="0" y="106"/>
                    </a:cubicBezTo>
                    <a:cubicBezTo>
                      <a:pt x="4" y="112"/>
                      <a:pt x="4" y="112"/>
                      <a:pt x="4" y="112"/>
                    </a:cubicBezTo>
                    <a:cubicBezTo>
                      <a:pt x="7" y="108"/>
                      <a:pt x="16" y="100"/>
                      <a:pt x="22" y="93"/>
                    </a:cubicBezTo>
                    <a:cubicBezTo>
                      <a:pt x="29" y="86"/>
                      <a:pt x="32" y="85"/>
                      <a:pt x="36" y="83"/>
                    </a:cubicBezTo>
                    <a:cubicBezTo>
                      <a:pt x="40" y="81"/>
                      <a:pt x="50" y="71"/>
                      <a:pt x="56" y="63"/>
                    </a:cubicBezTo>
                    <a:cubicBezTo>
                      <a:pt x="60" y="58"/>
                      <a:pt x="65" y="52"/>
                      <a:pt x="65" y="48"/>
                    </a:cubicBezTo>
                    <a:cubicBezTo>
                      <a:pt x="66" y="44"/>
                      <a:pt x="70" y="39"/>
                      <a:pt x="73" y="36"/>
                    </a:cubicBezTo>
                    <a:cubicBezTo>
                      <a:pt x="75" y="32"/>
                      <a:pt x="80" y="23"/>
                      <a:pt x="80" y="20"/>
                    </a:cubicBezTo>
                    <a:cubicBezTo>
                      <a:pt x="80" y="17"/>
                      <a:pt x="83" y="11"/>
                      <a:pt x="83" y="6"/>
                    </a:cubicBezTo>
                    <a:cubicBezTo>
                      <a:pt x="83" y="1"/>
                      <a:pt x="79" y="0"/>
                      <a:pt x="78" y="3"/>
                    </a:cubicBezTo>
                    <a:cubicBezTo>
                      <a:pt x="76" y="6"/>
                      <a:pt x="66" y="8"/>
                      <a:pt x="60" y="8"/>
                    </a:cubicBezTo>
                    <a:cubicBezTo>
                      <a:pt x="53" y="8"/>
                      <a:pt x="49" y="9"/>
                      <a:pt x="47" y="11"/>
                    </a:cubicBezTo>
                    <a:cubicBezTo>
                      <a:pt x="44" y="13"/>
                      <a:pt x="38" y="10"/>
                      <a:pt x="36" y="13"/>
                    </a:cubicBezTo>
                    <a:cubicBezTo>
                      <a:pt x="34" y="15"/>
                      <a:pt x="26" y="17"/>
                      <a:pt x="23" y="12"/>
                    </a:cubicBezTo>
                    <a:cubicBezTo>
                      <a:pt x="22" y="9"/>
                      <a:pt x="20" y="8"/>
                      <a:pt x="19" y="7"/>
                    </a:cubicBezTo>
                    <a:cubicBezTo>
                      <a:pt x="17" y="9"/>
                      <a:pt x="14" y="13"/>
                      <a:pt x="14" y="14"/>
                    </a:cubicBezTo>
                    <a:cubicBezTo>
                      <a:pt x="15" y="16"/>
                      <a:pt x="18" y="21"/>
                      <a:pt x="19" y="2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9" name="Freeform 15">
                <a:extLst>
                  <a:ext uri="{FF2B5EF4-FFF2-40B4-BE49-F238E27FC236}">
                    <a16:creationId xmlns:a16="http://schemas.microsoft.com/office/drawing/2014/main" id="{D1D4A05E-89F8-4735-8323-CF681D6459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78807" y="3385897"/>
                <a:ext cx="223341" cy="179426"/>
              </a:xfrm>
              <a:custGeom>
                <a:avLst/>
                <a:gdLst>
                  <a:gd name="T0" fmla="*/ 36 w 97"/>
                  <a:gd name="T1" fmla="*/ 78 h 78"/>
                  <a:gd name="T2" fmla="*/ 36 w 97"/>
                  <a:gd name="T3" fmla="*/ 67 h 78"/>
                  <a:gd name="T4" fmla="*/ 49 w 97"/>
                  <a:gd name="T5" fmla="*/ 58 h 78"/>
                  <a:gd name="T6" fmla="*/ 54 w 97"/>
                  <a:gd name="T7" fmla="*/ 57 h 78"/>
                  <a:gd name="T8" fmla="*/ 61 w 97"/>
                  <a:gd name="T9" fmla="*/ 55 h 78"/>
                  <a:gd name="T10" fmla="*/ 65 w 97"/>
                  <a:gd name="T11" fmla="*/ 50 h 78"/>
                  <a:gd name="T12" fmla="*/ 71 w 97"/>
                  <a:gd name="T13" fmla="*/ 48 h 78"/>
                  <a:gd name="T14" fmla="*/ 75 w 97"/>
                  <a:gd name="T15" fmla="*/ 46 h 78"/>
                  <a:gd name="T16" fmla="*/ 76 w 97"/>
                  <a:gd name="T17" fmla="*/ 41 h 78"/>
                  <a:gd name="T18" fmla="*/ 78 w 97"/>
                  <a:gd name="T19" fmla="*/ 39 h 78"/>
                  <a:gd name="T20" fmla="*/ 83 w 97"/>
                  <a:gd name="T21" fmla="*/ 36 h 78"/>
                  <a:gd name="T22" fmla="*/ 95 w 97"/>
                  <a:gd name="T23" fmla="*/ 35 h 78"/>
                  <a:gd name="T24" fmla="*/ 97 w 97"/>
                  <a:gd name="T25" fmla="*/ 32 h 78"/>
                  <a:gd name="T26" fmla="*/ 94 w 97"/>
                  <a:gd name="T27" fmla="*/ 27 h 78"/>
                  <a:gd name="T28" fmla="*/ 93 w 97"/>
                  <a:gd name="T29" fmla="*/ 19 h 78"/>
                  <a:gd name="T30" fmla="*/ 91 w 97"/>
                  <a:gd name="T31" fmla="*/ 11 h 78"/>
                  <a:gd name="T32" fmla="*/ 89 w 97"/>
                  <a:gd name="T33" fmla="*/ 9 h 78"/>
                  <a:gd name="T34" fmla="*/ 80 w 97"/>
                  <a:gd name="T35" fmla="*/ 6 h 78"/>
                  <a:gd name="T36" fmla="*/ 66 w 97"/>
                  <a:gd name="T37" fmla="*/ 5 h 78"/>
                  <a:gd name="T38" fmla="*/ 59 w 97"/>
                  <a:gd name="T39" fmla="*/ 2 h 78"/>
                  <a:gd name="T40" fmla="*/ 50 w 97"/>
                  <a:gd name="T41" fmla="*/ 18 h 78"/>
                  <a:gd name="T42" fmla="*/ 38 w 97"/>
                  <a:gd name="T43" fmla="*/ 24 h 78"/>
                  <a:gd name="T44" fmla="*/ 32 w 97"/>
                  <a:gd name="T45" fmla="*/ 31 h 78"/>
                  <a:gd name="T46" fmla="*/ 27 w 97"/>
                  <a:gd name="T47" fmla="*/ 38 h 78"/>
                  <a:gd name="T48" fmla="*/ 27 w 97"/>
                  <a:gd name="T49" fmla="*/ 51 h 78"/>
                  <a:gd name="T50" fmla="*/ 18 w 97"/>
                  <a:gd name="T51" fmla="*/ 64 h 78"/>
                  <a:gd name="T52" fmla="*/ 6 w 97"/>
                  <a:gd name="T53" fmla="*/ 72 h 78"/>
                  <a:gd name="T54" fmla="*/ 0 w 97"/>
                  <a:gd name="T55" fmla="*/ 75 h 78"/>
                  <a:gd name="T56" fmla="*/ 30 w 97"/>
                  <a:gd name="T57" fmla="*/ 75 h 78"/>
                  <a:gd name="T58" fmla="*/ 36 w 97"/>
                  <a:gd name="T59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97" h="78">
                    <a:moveTo>
                      <a:pt x="36" y="78"/>
                    </a:moveTo>
                    <a:cubicBezTo>
                      <a:pt x="36" y="72"/>
                      <a:pt x="36" y="67"/>
                      <a:pt x="36" y="67"/>
                    </a:cubicBezTo>
                    <a:cubicBezTo>
                      <a:pt x="36" y="66"/>
                      <a:pt x="47" y="59"/>
                      <a:pt x="49" y="58"/>
                    </a:cubicBezTo>
                    <a:cubicBezTo>
                      <a:pt x="50" y="57"/>
                      <a:pt x="54" y="59"/>
                      <a:pt x="54" y="57"/>
                    </a:cubicBezTo>
                    <a:cubicBezTo>
                      <a:pt x="54" y="55"/>
                      <a:pt x="58" y="56"/>
                      <a:pt x="61" y="55"/>
                    </a:cubicBezTo>
                    <a:cubicBezTo>
                      <a:pt x="63" y="55"/>
                      <a:pt x="65" y="53"/>
                      <a:pt x="65" y="50"/>
                    </a:cubicBezTo>
                    <a:cubicBezTo>
                      <a:pt x="65" y="48"/>
                      <a:pt x="69" y="49"/>
                      <a:pt x="71" y="48"/>
                    </a:cubicBezTo>
                    <a:cubicBezTo>
                      <a:pt x="73" y="48"/>
                      <a:pt x="73" y="46"/>
                      <a:pt x="75" y="46"/>
                    </a:cubicBezTo>
                    <a:cubicBezTo>
                      <a:pt x="76" y="46"/>
                      <a:pt x="76" y="44"/>
                      <a:pt x="76" y="41"/>
                    </a:cubicBezTo>
                    <a:cubicBezTo>
                      <a:pt x="76" y="38"/>
                      <a:pt x="76" y="39"/>
                      <a:pt x="78" y="39"/>
                    </a:cubicBezTo>
                    <a:cubicBezTo>
                      <a:pt x="81" y="39"/>
                      <a:pt x="83" y="38"/>
                      <a:pt x="83" y="36"/>
                    </a:cubicBezTo>
                    <a:cubicBezTo>
                      <a:pt x="83" y="34"/>
                      <a:pt x="93" y="35"/>
                      <a:pt x="95" y="35"/>
                    </a:cubicBezTo>
                    <a:cubicBezTo>
                      <a:pt x="97" y="35"/>
                      <a:pt x="97" y="34"/>
                      <a:pt x="97" y="32"/>
                    </a:cubicBezTo>
                    <a:cubicBezTo>
                      <a:pt x="97" y="31"/>
                      <a:pt x="95" y="27"/>
                      <a:pt x="94" y="27"/>
                    </a:cubicBezTo>
                    <a:cubicBezTo>
                      <a:pt x="92" y="27"/>
                      <a:pt x="93" y="23"/>
                      <a:pt x="93" y="19"/>
                    </a:cubicBezTo>
                    <a:cubicBezTo>
                      <a:pt x="93" y="16"/>
                      <a:pt x="93" y="13"/>
                      <a:pt x="91" y="11"/>
                    </a:cubicBezTo>
                    <a:cubicBezTo>
                      <a:pt x="90" y="11"/>
                      <a:pt x="90" y="10"/>
                      <a:pt x="89" y="9"/>
                    </a:cubicBezTo>
                    <a:cubicBezTo>
                      <a:pt x="87" y="9"/>
                      <a:pt x="83" y="6"/>
                      <a:pt x="80" y="6"/>
                    </a:cubicBezTo>
                    <a:cubicBezTo>
                      <a:pt x="76" y="6"/>
                      <a:pt x="69" y="8"/>
                      <a:pt x="66" y="5"/>
                    </a:cubicBezTo>
                    <a:cubicBezTo>
                      <a:pt x="63" y="2"/>
                      <a:pt x="61" y="0"/>
                      <a:pt x="59" y="2"/>
                    </a:cubicBezTo>
                    <a:cubicBezTo>
                      <a:pt x="57" y="3"/>
                      <a:pt x="53" y="14"/>
                      <a:pt x="50" y="18"/>
                    </a:cubicBezTo>
                    <a:cubicBezTo>
                      <a:pt x="48" y="21"/>
                      <a:pt x="41" y="24"/>
                      <a:pt x="38" y="24"/>
                    </a:cubicBezTo>
                    <a:cubicBezTo>
                      <a:pt x="35" y="24"/>
                      <a:pt x="34" y="29"/>
                      <a:pt x="32" y="31"/>
                    </a:cubicBezTo>
                    <a:cubicBezTo>
                      <a:pt x="29" y="33"/>
                      <a:pt x="30" y="36"/>
                      <a:pt x="27" y="38"/>
                    </a:cubicBezTo>
                    <a:cubicBezTo>
                      <a:pt x="24" y="41"/>
                      <a:pt x="26" y="48"/>
                      <a:pt x="27" y="51"/>
                    </a:cubicBezTo>
                    <a:cubicBezTo>
                      <a:pt x="29" y="53"/>
                      <a:pt x="22" y="61"/>
                      <a:pt x="18" y="64"/>
                    </a:cubicBezTo>
                    <a:cubicBezTo>
                      <a:pt x="14" y="66"/>
                      <a:pt x="12" y="71"/>
                      <a:pt x="6" y="72"/>
                    </a:cubicBezTo>
                    <a:cubicBezTo>
                      <a:pt x="4" y="72"/>
                      <a:pt x="2" y="73"/>
                      <a:pt x="0" y="75"/>
                    </a:cubicBezTo>
                    <a:cubicBezTo>
                      <a:pt x="10" y="75"/>
                      <a:pt x="25" y="75"/>
                      <a:pt x="30" y="75"/>
                    </a:cubicBezTo>
                    <a:cubicBezTo>
                      <a:pt x="36" y="75"/>
                      <a:pt x="35" y="76"/>
                      <a:pt x="36" y="78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0" name="Freeform 16">
                <a:extLst>
                  <a:ext uri="{FF2B5EF4-FFF2-40B4-BE49-F238E27FC236}">
                    <a16:creationId xmlns:a16="http://schemas.microsoft.com/office/drawing/2014/main" id="{C20E01FC-2900-482D-8CCA-BE89728DCD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8989" y="3355784"/>
                <a:ext cx="80302" cy="149312"/>
              </a:xfrm>
              <a:custGeom>
                <a:avLst/>
                <a:gdLst>
                  <a:gd name="T0" fmla="*/ 10 w 35"/>
                  <a:gd name="T1" fmla="*/ 16 h 65"/>
                  <a:gd name="T2" fmla="*/ 7 w 35"/>
                  <a:gd name="T3" fmla="*/ 25 h 65"/>
                  <a:gd name="T4" fmla="*/ 2 w 35"/>
                  <a:gd name="T5" fmla="*/ 30 h 65"/>
                  <a:gd name="T6" fmla="*/ 5 w 35"/>
                  <a:gd name="T7" fmla="*/ 39 h 65"/>
                  <a:gd name="T8" fmla="*/ 9 w 35"/>
                  <a:gd name="T9" fmla="*/ 44 h 65"/>
                  <a:gd name="T10" fmla="*/ 15 w 35"/>
                  <a:gd name="T11" fmla="*/ 49 h 65"/>
                  <a:gd name="T12" fmla="*/ 19 w 35"/>
                  <a:gd name="T13" fmla="*/ 63 h 65"/>
                  <a:gd name="T14" fmla="*/ 19 w 35"/>
                  <a:gd name="T15" fmla="*/ 65 h 65"/>
                  <a:gd name="T16" fmla="*/ 23 w 35"/>
                  <a:gd name="T17" fmla="*/ 62 h 65"/>
                  <a:gd name="T18" fmla="*/ 24 w 35"/>
                  <a:gd name="T19" fmla="*/ 56 h 65"/>
                  <a:gd name="T20" fmla="*/ 25 w 35"/>
                  <a:gd name="T21" fmla="*/ 52 h 65"/>
                  <a:gd name="T22" fmla="*/ 31 w 35"/>
                  <a:gd name="T23" fmla="*/ 46 h 65"/>
                  <a:gd name="T24" fmla="*/ 34 w 35"/>
                  <a:gd name="T25" fmla="*/ 44 h 65"/>
                  <a:gd name="T26" fmla="*/ 35 w 35"/>
                  <a:gd name="T27" fmla="*/ 39 h 65"/>
                  <a:gd name="T28" fmla="*/ 32 w 35"/>
                  <a:gd name="T29" fmla="*/ 36 h 65"/>
                  <a:gd name="T30" fmla="*/ 28 w 35"/>
                  <a:gd name="T31" fmla="*/ 33 h 65"/>
                  <a:gd name="T32" fmla="*/ 22 w 35"/>
                  <a:gd name="T33" fmla="*/ 31 h 65"/>
                  <a:gd name="T34" fmla="*/ 28 w 35"/>
                  <a:gd name="T35" fmla="*/ 25 h 65"/>
                  <a:gd name="T36" fmla="*/ 29 w 35"/>
                  <a:gd name="T37" fmla="*/ 14 h 65"/>
                  <a:gd name="T38" fmla="*/ 30 w 35"/>
                  <a:gd name="T39" fmla="*/ 7 h 65"/>
                  <a:gd name="T40" fmla="*/ 29 w 35"/>
                  <a:gd name="T41" fmla="*/ 4 h 65"/>
                  <a:gd name="T42" fmla="*/ 25 w 35"/>
                  <a:gd name="T43" fmla="*/ 3 h 65"/>
                  <a:gd name="T44" fmla="*/ 14 w 35"/>
                  <a:gd name="T45" fmla="*/ 2 h 65"/>
                  <a:gd name="T46" fmla="*/ 10 w 35"/>
                  <a:gd name="T47" fmla="*/ 4 h 65"/>
                  <a:gd name="T48" fmla="*/ 10 w 35"/>
                  <a:gd name="T49" fmla="*/ 16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35" h="65">
                    <a:moveTo>
                      <a:pt x="10" y="16"/>
                    </a:moveTo>
                    <a:cubicBezTo>
                      <a:pt x="12" y="19"/>
                      <a:pt x="9" y="24"/>
                      <a:pt x="7" y="25"/>
                    </a:cubicBezTo>
                    <a:cubicBezTo>
                      <a:pt x="5" y="26"/>
                      <a:pt x="4" y="30"/>
                      <a:pt x="2" y="30"/>
                    </a:cubicBezTo>
                    <a:cubicBezTo>
                      <a:pt x="0" y="30"/>
                      <a:pt x="2" y="37"/>
                      <a:pt x="5" y="39"/>
                    </a:cubicBezTo>
                    <a:cubicBezTo>
                      <a:pt x="9" y="40"/>
                      <a:pt x="9" y="42"/>
                      <a:pt x="9" y="44"/>
                    </a:cubicBezTo>
                    <a:cubicBezTo>
                      <a:pt x="9" y="45"/>
                      <a:pt x="13" y="47"/>
                      <a:pt x="15" y="49"/>
                    </a:cubicBezTo>
                    <a:cubicBezTo>
                      <a:pt x="16" y="50"/>
                      <a:pt x="19" y="59"/>
                      <a:pt x="19" y="63"/>
                    </a:cubicBezTo>
                    <a:cubicBezTo>
                      <a:pt x="19" y="64"/>
                      <a:pt x="19" y="64"/>
                      <a:pt x="19" y="65"/>
                    </a:cubicBezTo>
                    <a:cubicBezTo>
                      <a:pt x="21" y="64"/>
                      <a:pt x="22" y="63"/>
                      <a:pt x="23" y="62"/>
                    </a:cubicBezTo>
                    <a:cubicBezTo>
                      <a:pt x="24" y="60"/>
                      <a:pt x="25" y="56"/>
                      <a:pt x="24" y="56"/>
                    </a:cubicBezTo>
                    <a:cubicBezTo>
                      <a:pt x="24" y="55"/>
                      <a:pt x="24" y="53"/>
                      <a:pt x="25" y="52"/>
                    </a:cubicBezTo>
                    <a:cubicBezTo>
                      <a:pt x="26" y="51"/>
                      <a:pt x="30" y="47"/>
                      <a:pt x="31" y="46"/>
                    </a:cubicBezTo>
                    <a:cubicBezTo>
                      <a:pt x="32" y="46"/>
                      <a:pt x="35" y="46"/>
                      <a:pt x="34" y="44"/>
                    </a:cubicBezTo>
                    <a:cubicBezTo>
                      <a:pt x="34" y="43"/>
                      <a:pt x="35" y="41"/>
                      <a:pt x="35" y="39"/>
                    </a:cubicBezTo>
                    <a:cubicBezTo>
                      <a:pt x="33" y="38"/>
                      <a:pt x="32" y="37"/>
                      <a:pt x="32" y="36"/>
                    </a:cubicBezTo>
                    <a:cubicBezTo>
                      <a:pt x="32" y="35"/>
                      <a:pt x="29" y="32"/>
                      <a:pt x="28" y="33"/>
                    </a:cubicBezTo>
                    <a:cubicBezTo>
                      <a:pt x="27" y="35"/>
                      <a:pt x="23" y="34"/>
                      <a:pt x="22" y="31"/>
                    </a:cubicBezTo>
                    <a:cubicBezTo>
                      <a:pt x="21" y="28"/>
                      <a:pt x="25" y="28"/>
                      <a:pt x="28" y="25"/>
                    </a:cubicBezTo>
                    <a:cubicBezTo>
                      <a:pt x="32" y="22"/>
                      <a:pt x="32" y="17"/>
                      <a:pt x="29" y="14"/>
                    </a:cubicBezTo>
                    <a:cubicBezTo>
                      <a:pt x="25" y="11"/>
                      <a:pt x="27" y="10"/>
                      <a:pt x="30" y="7"/>
                    </a:cubicBezTo>
                    <a:cubicBezTo>
                      <a:pt x="32" y="5"/>
                      <a:pt x="30" y="3"/>
                      <a:pt x="29" y="4"/>
                    </a:cubicBezTo>
                    <a:cubicBezTo>
                      <a:pt x="28" y="5"/>
                      <a:pt x="25" y="6"/>
                      <a:pt x="25" y="3"/>
                    </a:cubicBezTo>
                    <a:cubicBezTo>
                      <a:pt x="25" y="0"/>
                      <a:pt x="17" y="0"/>
                      <a:pt x="14" y="2"/>
                    </a:cubicBezTo>
                    <a:cubicBezTo>
                      <a:pt x="13" y="3"/>
                      <a:pt x="11" y="4"/>
                      <a:pt x="10" y="4"/>
                    </a:cubicBezTo>
                    <a:cubicBezTo>
                      <a:pt x="9" y="8"/>
                      <a:pt x="8" y="14"/>
                      <a:pt x="10" y="16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1" name="Freeform 17">
                <a:extLst>
                  <a:ext uri="{FF2B5EF4-FFF2-40B4-BE49-F238E27FC236}">
                    <a16:creationId xmlns:a16="http://schemas.microsoft.com/office/drawing/2014/main" id="{571FE884-4A1E-403B-B184-759F9539A0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61619" y="3360803"/>
                <a:ext cx="385201" cy="370144"/>
              </a:xfrm>
              <a:custGeom>
                <a:avLst/>
                <a:gdLst>
                  <a:gd name="T0" fmla="*/ 57 w 167"/>
                  <a:gd name="T1" fmla="*/ 30 h 161"/>
                  <a:gd name="T2" fmla="*/ 58 w 167"/>
                  <a:gd name="T3" fmla="*/ 38 h 161"/>
                  <a:gd name="T4" fmla="*/ 61 w 167"/>
                  <a:gd name="T5" fmla="*/ 43 h 161"/>
                  <a:gd name="T6" fmla="*/ 59 w 167"/>
                  <a:gd name="T7" fmla="*/ 46 h 161"/>
                  <a:gd name="T8" fmla="*/ 47 w 167"/>
                  <a:gd name="T9" fmla="*/ 47 h 161"/>
                  <a:gd name="T10" fmla="*/ 42 w 167"/>
                  <a:gd name="T11" fmla="*/ 50 h 161"/>
                  <a:gd name="T12" fmla="*/ 40 w 167"/>
                  <a:gd name="T13" fmla="*/ 52 h 161"/>
                  <a:gd name="T14" fmla="*/ 39 w 167"/>
                  <a:gd name="T15" fmla="*/ 57 h 161"/>
                  <a:gd name="T16" fmla="*/ 35 w 167"/>
                  <a:gd name="T17" fmla="*/ 59 h 161"/>
                  <a:gd name="T18" fmla="*/ 29 w 167"/>
                  <a:gd name="T19" fmla="*/ 61 h 161"/>
                  <a:gd name="T20" fmla="*/ 25 w 167"/>
                  <a:gd name="T21" fmla="*/ 66 h 161"/>
                  <a:gd name="T22" fmla="*/ 18 w 167"/>
                  <a:gd name="T23" fmla="*/ 68 h 161"/>
                  <a:gd name="T24" fmla="*/ 13 w 167"/>
                  <a:gd name="T25" fmla="*/ 69 h 161"/>
                  <a:gd name="T26" fmla="*/ 0 w 167"/>
                  <a:gd name="T27" fmla="*/ 78 h 161"/>
                  <a:gd name="T28" fmla="*/ 0 w 167"/>
                  <a:gd name="T29" fmla="*/ 89 h 161"/>
                  <a:gd name="T30" fmla="*/ 1 w 167"/>
                  <a:gd name="T31" fmla="*/ 90 h 161"/>
                  <a:gd name="T32" fmla="*/ 79 w 167"/>
                  <a:gd name="T33" fmla="*/ 142 h 161"/>
                  <a:gd name="T34" fmla="*/ 85 w 167"/>
                  <a:gd name="T35" fmla="*/ 149 h 161"/>
                  <a:gd name="T36" fmla="*/ 94 w 167"/>
                  <a:gd name="T37" fmla="*/ 152 h 161"/>
                  <a:gd name="T38" fmla="*/ 98 w 167"/>
                  <a:gd name="T39" fmla="*/ 161 h 161"/>
                  <a:gd name="T40" fmla="*/ 105 w 167"/>
                  <a:gd name="T41" fmla="*/ 159 h 161"/>
                  <a:gd name="T42" fmla="*/ 118 w 167"/>
                  <a:gd name="T43" fmla="*/ 155 h 161"/>
                  <a:gd name="T44" fmla="*/ 133 w 167"/>
                  <a:gd name="T45" fmla="*/ 143 h 161"/>
                  <a:gd name="T46" fmla="*/ 167 w 167"/>
                  <a:gd name="T47" fmla="*/ 122 h 161"/>
                  <a:gd name="T48" fmla="*/ 167 w 167"/>
                  <a:gd name="T49" fmla="*/ 122 h 161"/>
                  <a:gd name="T50" fmla="*/ 163 w 167"/>
                  <a:gd name="T51" fmla="*/ 115 h 161"/>
                  <a:gd name="T52" fmla="*/ 157 w 167"/>
                  <a:gd name="T53" fmla="*/ 113 h 161"/>
                  <a:gd name="T54" fmla="*/ 152 w 167"/>
                  <a:gd name="T55" fmla="*/ 110 h 161"/>
                  <a:gd name="T56" fmla="*/ 151 w 167"/>
                  <a:gd name="T57" fmla="*/ 104 h 161"/>
                  <a:gd name="T58" fmla="*/ 147 w 167"/>
                  <a:gd name="T59" fmla="*/ 99 h 161"/>
                  <a:gd name="T60" fmla="*/ 151 w 167"/>
                  <a:gd name="T61" fmla="*/ 95 h 161"/>
                  <a:gd name="T62" fmla="*/ 149 w 167"/>
                  <a:gd name="T63" fmla="*/ 91 h 161"/>
                  <a:gd name="T64" fmla="*/ 149 w 167"/>
                  <a:gd name="T65" fmla="*/ 86 h 161"/>
                  <a:gd name="T66" fmla="*/ 150 w 167"/>
                  <a:gd name="T67" fmla="*/ 80 h 161"/>
                  <a:gd name="T68" fmla="*/ 150 w 167"/>
                  <a:gd name="T69" fmla="*/ 72 h 161"/>
                  <a:gd name="T70" fmla="*/ 147 w 167"/>
                  <a:gd name="T71" fmla="*/ 65 h 161"/>
                  <a:gd name="T72" fmla="*/ 148 w 167"/>
                  <a:gd name="T73" fmla="*/ 63 h 161"/>
                  <a:gd name="T74" fmla="*/ 148 w 167"/>
                  <a:gd name="T75" fmla="*/ 61 h 161"/>
                  <a:gd name="T76" fmla="*/ 144 w 167"/>
                  <a:gd name="T77" fmla="*/ 47 h 161"/>
                  <a:gd name="T78" fmla="*/ 138 w 167"/>
                  <a:gd name="T79" fmla="*/ 42 h 161"/>
                  <a:gd name="T80" fmla="*/ 134 w 167"/>
                  <a:gd name="T81" fmla="*/ 37 h 161"/>
                  <a:gd name="T82" fmla="*/ 131 w 167"/>
                  <a:gd name="T83" fmla="*/ 28 h 161"/>
                  <a:gd name="T84" fmla="*/ 136 w 167"/>
                  <a:gd name="T85" fmla="*/ 23 h 161"/>
                  <a:gd name="T86" fmla="*/ 139 w 167"/>
                  <a:gd name="T87" fmla="*/ 14 h 161"/>
                  <a:gd name="T88" fmla="*/ 139 w 167"/>
                  <a:gd name="T89" fmla="*/ 2 h 161"/>
                  <a:gd name="T90" fmla="*/ 131 w 167"/>
                  <a:gd name="T91" fmla="*/ 0 h 161"/>
                  <a:gd name="T92" fmla="*/ 123 w 167"/>
                  <a:gd name="T93" fmla="*/ 1 h 161"/>
                  <a:gd name="T94" fmla="*/ 112 w 167"/>
                  <a:gd name="T95" fmla="*/ 3 h 161"/>
                  <a:gd name="T96" fmla="*/ 82 w 167"/>
                  <a:gd name="T97" fmla="*/ 5 h 161"/>
                  <a:gd name="T98" fmla="*/ 69 w 167"/>
                  <a:gd name="T99" fmla="*/ 12 h 161"/>
                  <a:gd name="T100" fmla="*/ 56 w 167"/>
                  <a:gd name="T101" fmla="*/ 18 h 161"/>
                  <a:gd name="T102" fmla="*/ 53 w 167"/>
                  <a:gd name="T103" fmla="*/ 20 h 161"/>
                  <a:gd name="T104" fmla="*/ 55 w 167"/>
                  <a:gd name="T105" fmla="*/ 22 h 161"/>
                  <a:gd name="T106" fmla="*/ 57 w 167"/>
                  <a:gd name="T107" fmla="*/ 30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67" h="161">
                    <a:moveTo>
                      <a:pt x="57" y="30"/>
                    </a:moveTo>
                    <a:cubicBezTo>
                      <a:pt x="57" y="34"/>
                      <a:pt x="56" y="38"/>
                      <a:pt x="58" y="38"/>
                    </a:cubicBezTo>
                    <a:cubicBezTo>
                      <a:pt x="59" y="38"/>
                      <a:pt x="61" y="42"/>
                      <a:pt x="61" y="43"/>
                    </a:cubicBezTo>
                    <a:cubicBezTo>
                      <a:pt x="61" y="45"/>
                      <a:pt x="61" y="46"/>
                      <a:pt x="59" y="46"/>
                    </a:cubicBezTo>
                    <a:cubicBezTo>
                      <a:pt x="57" y="46"/>
                      <a:pt x="47" y="45"/>
                      <a:pt x="47" y="47"/>
                    </a:cubicBezTo>
                    <a:cubicBezTo>
                      <a:pt x="47" y="49"/>
                      <a:pt x="45" y="50"/>
                      <a:pt x="42" y="50"/>
                    </a:cubicBezTo>
                    <a:cubicBezTo>
                      <a:pt x="40" y="50"/>
                      <a:pt x="40" y="49"/>
                      <a:pt x="40" y="52"/>
                    </a:cubicBezTo>
                    <a:cubicBezTo>
                      <a:pt x="40" y="55"/>
                      <a:pt x="40" y="57"/>
                      <a:pt x="39" y="57"/>
                    </a:cubicBezTo>
                    <a:cubicBezTo>
                      <a:pt x="37" y="57"/>
                      <a:pt x="37" y="59"/>
                      <a:pt x="35" y="59"/>
                    </a:cubicBezTo>
                    <a:cubicBezTo>
                      <a:pt x="33" y="60"/>
                      <a:pt x="29" y="59"/>
                      <a:pt x="29" y="61"/>
                    </a:cubicBezTo>
                    <a:cubicBezTo>
                      <a:pt x="29" y="64"/>
                      <a:pt x="27" y="66"/>
                      <a:pt x="25" y="66"/>
                    </a:cubicBezTo>
                    <a:cubicBezTo>
                      <a:pt x="22" y="67"/>
                      <a:pt x="18" y="66"/>
                      <a:pt x="18" y="68"/>
                    </a:cubicBezTo>
                    <a:cubicBezTo>
                      <a:pt x="18" y="70"/>
                      <a:pt x="14" y="68"/>
                      <a:pt x="13" y="69"/>
                    </a:cubicBezTo>
                    <a:cubicBezTo>
                      <a:pt x="11" y="70"/>
                      <a:pt x="0" y="77"/>
                      <a:pt x="0" y="78"/>
                    </a:cubicBezTo>
                    <a:cubicBezTo>
                      <a:pt x="0" y="78"/>
                      <a:pt x="0" y="83"/>
                      <a:pt x="0" y="89"/>
                    </a:cubicBezTo>
                    <a:cubicBezTo>
                      <a:pt x="0" y="89"/>
                      <a:pt x="1" y="90"/>
                      <a:pt x="1" y="90"/>
                    </a:cubicBezTo>
                    <a:cubicBezTo>
                      <a:pt x="5" y="92"/>
                      <a:pt x="77" y="140"/>
                      <a:pt x="79" y="142"/>
                    </a:cubicBezTo>
                    <a:cubicBezTo>
                      <a:pt x="82" y="144"/>
                      <a:pt x="85" y="149"/>
                      <a:pt x="85" y="149"/>
                    </a:cubicBezTo>
                    <a:cubicBezTo>
                      <a:pt x="85" y="149"/>
                      <a:pt x="90" y="150"/>
                      <a:pt x="94" y="152"/>
                    </a:cubicBezTo>
                    <a:cubicBezTo>
                      <a:pt x="98" y="155"/>
                      <a:pt x="98" y="161"/>
                      <a:pt x="98" y="161"/>
                    </a:cubicBezTo>
                    <a:cubicBezTo>
                      <a:pt x="98" y="161"/>
                      <a:pt x="103" y="160"/>
                      <a:pt x="105" y="159"/>
                    </a:cubicBezTo>
                    <a:cubicBezTo>
                      <a:pt x="108" y="158"/>
                      <a:pt x="118" y="155"/>
                      <a:pt x="118" y="155"/>
                    </a:cubicBezTo>
                    <a:cubicBezTo>
                      <a:pt x="133" y="143"/>
                      <a:pt x="133" y="143"/>
                      <a:pt x="133" y="143"/>
                    </a:cubicBezTo>
                    <a:cubicBezTo>
                      <a:pt x="167" y="122"/>
                      <a:pt x="167" y="122"/>
                      <a:pt x="167" y="122"/>
                    </a:cubicBezTo>
                    <a:cubicBezTo>
                      <a:pt x="167" y="122"/>
                      <a:pt x="167" y="122"/>
                      <a:pt x="167" y="122"/>
                    </a:cubicBezTo>
                    <a:cubicBezTo>
                      <a:pt x="166" y="118"/>
                      <a:pt x="165" y="115"/>
                      <a:pt x="163" y="115"/>
                    </a:cubicBezTo>
                    <a:cubicBezTo>
                      <a:pt x="161" y="115"/>
                      <a:pt x="160" y="113"/>
                      <a:pt x="157" y="113"/>
                    </a:cubicBezTo>
                    <a:cubicBezTo>
                      <a:pt x="155" y="113"/>
                      <a:pt x="152" y="112"/>
                      <a:pt x="152" y="110"/>
                    </a:cubicBezTo>
                    <a:cubicBezTo>
                      <a:pt x="151" y="108"/>
                      <a:pt x="152" y="106"/>
                      <a:pt x="151" y="104"/>
                    </a:cubicBezTo>
                    <a:cubicBezTo>
                      <a:pt x="149" y="101"/>
                      <a:pt x="147" y="100"/>
                      <a:pt x="147" y="99"/>
                    </a:cubicBezTo>
                    <a:cubicBezTo>
                      <a:pt x="147" y="97"/>
                      <a:pt x="150" y="95"/>
                      <a:pt x="151" y="95"/>
                    </a:cubicBezTo>
                    <a:cubicBezTo>
                      <a:pt x="151" y="94"/>
                      <a:pt x="149" y="92"/>
                      <a:pt x="149" y="91"/>
                    </a:cubicBezTo>
                    <a:cubicBezTo>
                      <a:pt x="149" y="90"/>
                      <a:pt x="148" y="87"/>
                      <a:pt x="149" y="86"/>
                    </a:cubicBezTo>
                    <a:cubicBezTo>
                      <a:pt x="151" y="84"/>
                      <a:pt x="151" y="83"/>
                      <a:pt x="150" y="80"/>
                    </a:cubicBezTo>
                    <a:cubicBezTo>
                      <a:pt x="149" y="78"/>
                      <a:pt x="152" y="75"/>
                      <a:pt x="150" y="72"/>
                    </a:cubicBezTo>
                    <a:cubicBezTo>
                      <a:pt x="149" y="69"/>
                      <a:pt x="146" y="66"/>
                      <a:pt x="147" y="65"/>
                    </a:cubicBezTo>
                    <a:cubicBezTo>
                      <a:pt x="147" y="64"/>
                      <a:pt x="147" y="64"/>
                      <a:pt x="148" y="63"/>
                    </a:cubicBezTo>
                    <a:cubicBezTo>
                      <a:pt x="148" y="62"/>
                      <a:pt x="148" y="62"/>
                      <a:pt x="148" y="61"/>
                    </a:cubicBezTo>
                    <a:cubicBezTo>
                      <a:pt x="148" y="57"/>
                      <a:pt x="145" y="48"/>
                      <a:pt x="144" y="47"/>
                    </a:cubicBezTo>
                    <a:cubicBezTo>
                      <a:pt x="142" y="45"/>
                      <a:pt x="138" y="43"/>
                      <a:pt x="138" y="42"/>
                    </a:cubicBezTo>
                    <a:cubicBezTo>
                      <a:pt x="138" y="40"/>
                      <a:pt x="138" y="38"/>
                      <a:pt x="134" y="37"/>
                    </a:cubicBezTo>
                    <a:cubicBezTo>
                      <a:pt x="131" y="35"/>
                      <a:pt x="129" y="28"/>
                      <a:pt x="131" y="28"/>
                    </a:cubicBezTo>
                    <a:cubicBezTo>
                      <a:pt x="133" y="28"/>
                      <a:pt x="134" y="24"/>
                      <a:pt x="136" y="23"/>
                    </a:cubicBezTo>
                    <a:cubicBezTo>
                      <a:pt x="138" y="22"/>
                      <a:pt x="141" y="17"/>
                      <a:pt x="139" y="14"/>
                    </a:cubicBezTo>
                    <a:cubicBezTo>
                      <a:pt x="137" y="12"/>
                      <a:pt x="138" y="6"/>
                      <a:pt x="139" y="2"/>
                    </a:cubicBezTo>
                    <a:cubicBezTo>
                      <a:pt x="136" y="2"/>
                      <a:pt x="132" y="0"/>
                      <a:pt x="131" y="0"/>
                    </a:cubicBezTo>
                    <a:cubicBezTo>
                      <a:pt x="130" y="0"/>
                      <a:pt x="126" y="1"/>
                      <a:pt x="123" y="1"/>
                    </a:cubicBezTo>
                    <a:cubicBezTo>
                      <a:pt x="120" y="1"/>
                      <a:pt x="114" y="5"/>
                      <a:pt x="112" y="3"/>
                    </a:cubicBezTo>
                    <a:cubicBezTo>
                      <a:pt x="110" y="1"/>
                      <a:pt x="88" y="5"/>
                      <a:pt x="82" y="5"/>
                    </a:cubicBezTo>
                    <a:cubicBezTo>
                      <a:pt x="75" y="5"/>
                      <a:pt x="73" y="12"/>
                      <a:pt x="69" y="12"/>
                    </a:cubicBezTo>
                    <a:cubicBezTo>
                      <a:pt x="65" y="12"/>
                      <a:pt x="60" y="15"/>
                      <a:pt x="56" y="18"/>
                    </a:cubicBezTo>
                    <a:cubicBezTo>
                      <a:pt x="56" y="19"/>
                      <a:pt x="55" y="20"/>
                      <a:pt x="53" y="20"/>
                    </a:cubicBezTo>
                    <a:cubicBezTo>
                      <a:pt x="54" y="21"/>
                      <a:pt x="54" y="22"/>
                      <a:pt x="55" y="22"/>
                    </a:cubicBezTo>
                    <a:cubicBezTo>
                      <a:pt x="57" y="24"/>
                      <a:pt x="57" y="27"/>
                      <a:pt x="57" y="3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2" name="Freeform 18">
                <a:extLst>
                  <a:ext uri="{FF2B5EF4-FFF2-40B4-BE49-F238E27FC236}">
                    <a16:creationId xmlns:a16="http://schemas.microsoft.com/office/drawing/2014/main" id="{D03776E1-C0F0-4B1C-B8D0-6EEE18F6D9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97886" y="3446124"/>
                <a:ext cx="283568" cy="271021"/>
              </a:xfrm>
              <a:custGeom>
                <a:avLst/>
                <a:gdLst>
                  <a:gd name="T0" fmla="*/ 14 w 123"/>
                  <a:gd name="T1" fmla="*/ 7 h 118"/>
                  <a:gd name="T2" fmla="*/ 8 w 123"/>
                  <a:gd name="T3" fmla="*/ 13 h 118"/>
                  <a:gd name="T4" fmla="*/ 7 w 123"/>
                  <a:gd name="T5" fmla="*/ 17 h 118"/>
                  <a:gd name="T6" fmla="*/ 6 w 123"/>
                  <a:gd name="T7" fmla="*/ 23 h 118"/>
                  <a:gd name="T8" fmla="*/ 1 w 123"/>
                  <a:gd name="T9" fmla="*/ 28 h 118"/>
                  <a:gd name="T10" fmla="*/ 4 w 123"/>
                  <a:gd name="T11" fmla="*/ 35 h 118"/>
                  <a:gd name="T12" fmla="*/ 4 w 123"/>
                  <a:gd name="T13" fmla="*/ 43 h 118"/>
                  <a:gd name="T14" fmla="*/ 3 w 123"/>
                  <a:gd name="T15" fmla="*/ 49 h 118"/>
                  <a:gd name="T16" fmla="*/ 3 w 123"/>
                  <a:gd name="T17" fmla="*/ 54 h 118"/>
                  <a:gd name="T18" fmla="*/ 5 w 123"/>
                  <a:gd name="T19" fmla="*/ 58 h 118"/>
                  <a:gd name="T20" fmla="*/ 1 w 123"/>
                  <a:gd name="T21" fmla="*/ 62 h 118"/>
                  <a:gd name="T22" fmla="*/ 5 w 123"/>
                  <a:gd name="T23" fmla="*/ 67 h 118"/>
                  <a:gd name="T24" fmla="*/ 6 w 123"/>
                  <a:gd name="T25" fmla="*/ 73 h 118"/>
                  <a:gd name="T26" fmla="*/ 11 w 123"/>
                  <a:gd name="T27" fmla="*/ 76 h 118"/>
                  <a:gd name="T28" fmla="*/ 17 w 123"/>
                  <a:gd name="T29" fmla="*/ 78 h 118"/>
                  <a:gd name="T30" fmla="*/ 21 w 123"/>
                  <a:gd name="T31" fmla="*/ 85 h 118"/>
                  <a:gd name="T32" fmla="*/ 33 w 123"/>
                  <a:gd name="T33" fmla="*/ 87 h 118"/>
                  <a:gd name="T34" fmla="*/ 38 w 123"/>
                  <a:gd name="T35" fmla="*/ 92 h 118"/>
                  <a:gd name="T36" fmla="*/ 52 w 123"/>
                  <a:gd name="T37" fmla="*/ 85 h 118"/>
                  <a:gd name="T38" fmla="*/ 113 w 123"/>
                  <a:gd name="T39" fmla="*/ 118 h 118"/>
                  <a:gd name="T40" fmla="*/ 113 w 123"/>
                  <a:gd name="T41" fmla="*/ 113 h 118"/>
                  <a:gd name="T42" fmla="*/ 120 w 123"/>
                  <a:gd name="T43" fmla="*/ 113 h 118"/>
                  <a:gd name="T44" fmla="*/ 120 w 123"/>
                  <a:gd name="T45" fmla="*/ 35 h 118"/>
                  <a:gd name="T46" fmla="*/ 120 w 123"/>
                  <a:gd name="T47" fmla="*/ 23 h 118"/>
                  <a:gd name="T48" fmla="*/ 121 w 123"/>
                  <a:gd name="T49" fmla="*/ 13 h 118"/>
                  <a:gd name="T50" fmla="*/ 122 w 123"/>
                  <a:gd name="T51" fmla="*/ 11 h 118"/>
                  <a:gd name="T52" fmla="*/ 122 w 123"/>
                  <a:gd name="T53" fmla="*/ 10 h 118"/>
                  <a:gd name="T54" fmla="*/ 111 w 123"/>
                  <a:gd name="T55" fmla="*/ 8 h 118"/>
                  <a:gd name="T56" fmla="*/ 99 w 123"/>
                  <a:gd name="T57" fmla="*/ 1 h 118"/>
                  <a:gd name="T58" fmla="*/ 81 w 123"/>
                  <a:gd name="T59" fmla="*/ 10 h 118"/>
                  <a:gd name="T60" fmla="*/ 82 w 123"/>
                  <a:gd name="T61" fmla="*/ 21 h 118"/>
                  <a:gd name="T62" fmla="*/ 70 w 123"/>
                  <a:gd name="T63" fmla="*/ 21 h 118"/>
                  <a:gd name="T64" fmla="*/ 55 w 123"/>
                  <a:gd name="T65" fmla="*/ 16 h 118"/>
                  <a:gd name="T66" fmla="*/ 47 w 123"/>
                  <a:gd name="T67" fmla="*/ 10 h 118"/>
                  <a:gd name="T68" fmla="*/ 42 w 123"/>
                  <a:gd name="T69" fmla="*/ 5 h 118"/>
                  <a:gd name="T70" fmla="*/ 27 w 123"/>
                  <a:gd name="T71" fmla="*/ 2 h 118"/>
                  <a:gd name="T72" fmla="*/ 18 w 123"/>
                  <a:gd name="T73" fmla="*/ 0 h 118"/>
                  <a:gd name="T74" fmla="*/ 17 w 123"/>
                  <a:gd name="T75" fmla="*/ 5 h 118"/>
                  <a:gd name="T76" fmla="*/ 14 w 123"/>
                  <a:gd name="T77" fmla="*/ 7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23" h="118">
                    <a:moveTo>
                      <a:pt x="14" y="7"/>
                    </a:moveTo>
                    <a:cubicBezTo>
                      <a:pt x="13" y="8"/>
                      <a:pt x="9" y="12"/>
                      <a:pt x="8" y="13"/>
                    </a:cubicBezTo>
                    <a:cubicBezTo>
                      <a:pt x="7" y="14"/>
                      <a:pt x="7" y="16"/>
                      <a:pt x="7" y="17"/>
                    </a:cubicBezTo>
                    <a:cubicBezTo>
                      <a:pt x="8" y="17"/>
                      <a:pt x="7" y="21"/>
                      <a:pt x="6" y="23"/>
                    </a:cubicBezTo>
                    <a:cubicBezTo>
                      <a:pt x="5" y="25"/>
                      <a:pt x="1" y="26"/>
                      <a:pt x="1" y="28"/>
                    </a:cubicBezTo>
                    <a:cubicBezTo>
                      <a:pt x="0" y="29"/>
                      <a:pt x="3" y="32"/>
                      <a:pt x="4" y="35"/>
                    </a:cubicBezTo>
                    <a:cubicBezTo>
                      <a:pt x="6" y="38"/>
                      <a:pt x="3" y="41"/>
                      <a:pt x="4" y="43"/>
                    </a:cubicBezTo>
                    <a:cubicBezTo>
                      <a:pt x="5" y="46"/>
                      <a:pt x="5" y="47"/>
                      <a:pt x="3" y="49"/>
                    </a:cubicBezTo>
                    <a:cubicBezTo>
                      <a:pt x="2" y="50"/>
                      <a:pt x="3" y="53"/>
                      <a:pt x="3" y="54"/>
                    </a:cubicBezTo>
                    <a:cubicBezTo>
                      <a:pt x="3" y="55"/>
                      <a:pt x="5" y="57"/>
                      <a:pt x="5" y="58"/>
                    </a:cubicBezTo>
                    <a:cubicBezTo>
                      <a:pt x="4" y="58"/>
                      <a:pt x="1" y="60"/>
                      <a:pt x="1" y="62"/>
                    </a:cubicBezTo>
                    <a:cubicBezTo>
                      <a:pt x="1" y="63"/>
                      <a:pt x="3" y="64"/>
                      <a:pt x="5" y="67"/>
                    </a:cubicBezTo>
                    <a:cubicBezTo>
                      <a:pt x="6" y="69"/>
                      <a:pt x="5" y="71"/>
                      <a:pt x="6" y="73"/>
                    </a:cubicBezTo>
                    <a:cubicBezTo>
                      <a:pt x="6" y="75"/>
                      <a:pt x="9" y="76"/>
                      <a:pt x="11" y="76"/>
                    </a:cubicBezTo>
                    <a:cubicBezTo>
                      <a:pt x="14" y="76"/>
                      <a:pt x="15" y="78"/>
                      <a:pt x="17" y="78"/>
                    </a:cubicBezTo>
                    <a:cubicBezTo>
                      <a:pt x="19" y="78"/>
                      <a:pt x="20" y="81"/>
                      <a:pt x="21" y="85"/>
                    </a:cubicBezTo>
                    <a:cubicBezTo>
                      <a:pt x="22" y="85"/>
                      <a:pt x="30" y="85"/>
                      <a:pt x="33" y="87"/>
                    </a:cubicBezTo>
                    <a:cubicBezTo>
                      <a:pt x="36" y="89"/>
                      <a:pt x="38" y="92"/>
                      <a:pt x="38" y="92"/>
                    </a:cubicBezTo>
                    <a:cubicBezTo>
                      <a:pt x="52" y="85"/>
                      <a:pt x="52" y="85"/>
                      <a:pt x="52" y="85"/>
                    </a:cubicBezTo>
                    <a:cubicBezTo>
                      <a:pt x="113" y="118"/>
                      <a:pt x="113" y="118"/>
                      <a:pt x="113" y="118"/>
                    </a:cubicBezTo>
                    <a:cubicBezTo>
                      <a:pt x="113" y="113"/>
                      <a:pt x="113" y="113"/>
                      <a:pt x="113" y="113"/>
                    </a:cubicBezTo>
                    <a:cubicBezTo>
                      <a:pt x="120" y="113"/>
                      <a:pt x="120" y="113"/>
                      <a:pt x="120" y="113"/>
                    </a:cubicBezTo>
                    <a:cubicBezTo>
                      <a:pt x="120" y="113"/>
                      <a:pt x="120" y="40"/>
                      <a:pt x="120" y="35"/>
                    </a:cubicBezTo>
                    <a:cubicBezTo>
                      <a:pt x="120" y="29"/>
                      <a:pt x="118" y="26"/>
                      <a:pt x="120" y="23"/>
                    </a:cubicBezTo>
                    <a:cubicBezTo>
                      <a:pt x="123" y="20"/>
                      <a:pt x="119" y="18"/>
                      <a:pt x="121" y="13"/>
                    </a:cubicBezTo>
                    <a:cubicBezTo>
                      <a:pt x="122" y="12"/>
                      <a:pt x="122" y="11"/>
                      <a:pt x="122" y="11"/>
                    </a:cubicBezTo>
                    <a:cubicBezTo>
                      <a:pt x="122" y="11"/>
                      <a:pt x="122" y="11"/>
                      <a:pt x="122" y="10"/>
                    </a:cubicBezTo>
                    <a:cubicBezTo>
                      <a:pt x="121" y="9"/>
                      <a:pt x="118" y="9"/>
                      <a:pt x="111" y="8"/>
                    </a:cubicBezTo>
                    <a:cubicBezTo>
                      <a:pt x="104" y="7"/>
                      <a:pt x="107" y="2"/>
                      <a:pt x="99" y="1"/>
                    </a:cubicBezTo>
                    <a:cubicBezTo>
                      <a:pt x="91" y="1"/>
                      <a:pt x="81" y="7"/>
                      <a:pt x="81" y="10"/>
                    </a:cubicBezTo>
                    <a:cubicBezTo>
                      <a:pt x="81" y="14"/>
                      <a:pt x="85" y="17"/>
                      <a:pt x="82" y="21"/>
                    </a:cubicBezTo>
                    <a:cubicBezTo>
                      <a:pt x="79" y="24"/>
                      <a:pt x="74" y="25"/>
                      <a:pt x="70" y="21"/>
                    </a:cubicBezTo>
                    <a:cubicBezTo>
                      <a:pt x="66" y="17"/>
                      <a:pt x="60" y="16"/>
                      <a:pt x="55" y="16"/>
                    </a:cubicBezTo>
                    <a:cubicBezTo>
                      <a:pt x="50" y="16"/>
                      <a:pt x="46" y="13"/>
                      <a:pt x="47" y="10"/>
                    </a:cubicBezTo>
                    <a:cubicBezTo>
                      <a:pt x="47" y="7"/>
                      <a:pt x="46" y="6"/>
                      <a:pt x="42" y="5"/>
                    </a:cubicBezTo>
                    <a:cubicBezTo>
                      <a:pt x="38" y="5"/>
                      <a:pt x="34" y="1"/>
                      <a:pt x="27" y="2"/>
                    </a:cubicBezTo>
                    <a:cubicBezTo>
                      <a:pt x="23" y="3"/>
                      <a:pt x="20" y="2"/>
                      <a:pt x="18" y="0"/>
                    </a:cubicBezTo>
                    <a:cubicBezTo>
                      <a:pt x="18" y="2"/>
                      <a:pt x="17" y="4"/>
                      <a:pt x="17" y="5"/>
                    </a:cubicBezTo>
                    <a:cubicBezTo>
                      <a:pt x="18" y="7"/>
                      <a:pt x="15" y="7"/>
                      <a:pt x="14" y="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3" name="Freeform 19">
                <a:extLst>
                  <a:ext uri="{FF2B5EF4-FFF2-40B4-BE49-F238E27FC236}">
                    <a16:creationId xmlns:a16="http://schemas.microsoft.com/office/drawing/2014/main" id="{A3EB4280-7A5D-4341-B873-31506CAF54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12307" y="3823796"/>
                <a:ext cx="55208" cy="18821"/>
              </a:xfrm>
              <a:custGeom>
                <a:avLst/>
                <a:gdLst>
                  <a:gd name="T0" fmla="*/ 12 w 24"/>
                  <a:gd name="T1" fmla="*/ 5 h 8"/>
                  <a:gd name="T2" fmla="*/ 19 w 24"/>
                  <a:gd name="T3" fmla="*/ 7 h 8"/>
                  <a:gd name="T4" fmla="*/ 24 w 24"/>
                  <a:gd name="T5" fmla="*/ 6 h 8"/>
                  <a:gd name="T6" fmla="*/ 19 w 24"/>
                  <a:gd name="T7" fmla="*/ 5 h 8"/>
                  <a:gd name="T8" fmla="*/ 12 w 24"/>
                  <a:gd name="T9" fmla="*/ 2 h 8"/>
                  <a:gd name="T10" fmla="*/ 1 w 24"/>
                  <a:gd name="T11" fmla="*/ 4 h 8"/>
                  <a:gd name="T12" fmla="*/ 0 w 24"/>
                  <a:gd name="T13" fmla="*/ 8 h 8"/>
                  <a:gd name="T14" fmla="*/ 3 w 24"/>
                  <a:gd name="T15" fmla="*/ 8 h 8"/>
                  <a:gd name="T16" fmla="*/ 12 w 24"/>
                  <a:gd name="T17" fmla="*/ 5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" h="8">
                    <a:moveTo>
                      <a:pt x="12" y="5"/>
                    </a:moveTo>
                    <a:cubicBezTo>
                      <a:pt x="14" y="4"/>
                      <a:pt x="16" y="7"/>
                      <a:pt x="19" y="7"/>
                    </a:cubicBezTo>
                    <a:cubicBezTo>
                      <a:pt x="21" y="7"/>
                      <a:pt x="24" y="6"/>
                      <a:pt x="24" y="6"/>
                    </a:cubicBezTo>
                    <a:cubicBezTo>
                      <a:pt x="24" y="6"/>
                      <a:pt x="23" y="5"/>
                      <a:pt x="19" y="5"/>
                    </a:cubicBezTo>
                    <a:cubicBezTo>
                      <a:pt x="15" y="5"/>
                      <a:pt x="15" y="0"/>
                      <a:pt x="12" y="2"/>
                    </a:cubicBezTo>
                    <a:cubicBezTo>
                      <a:pt x="8" y="4"/>
                      <a:pt x="6" y="4"/>
                      <a:pt x="1" y="4"/>
                    </a:cubicBezTo>
                    <a:cubicBezTo>
                      <a:pt x="1" y="5"/>
                      <a:pt x="1" y="7"/>
                      <a:pt x="0" y="8"/>
                    </a:cubicBezTo>
                    <a:cubicBezTo>
                      <a:pt x="2" y="8"/>
                      <a:pt x="2" y="8"/>
                      <a:pt x="3" y="8"/>
                    </a:cubicBezTo>
                    <a:cubicBezTo>
                      <a:pt x="5" y="8"/>
                      <a:pt x="10" y="7"/>
                      <a:pt x="12" y="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4" name="Freeform 20">
                <a:extLst>
                  <a:ext uri="{FF2B5EF4-FFF2-40B4-BE49-F238E27FC236}">
                    <a16:creationId xmlns:a16="http://schemas.microsoft.com/office/drawing/2014/main" id="{7ACB97B2-81D6-49C3-AE4E-BEE2BCAE24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99759" y="3772353"/>
                <a:ext cx="111671" cy="87831"/>
              </a:xfrm>
              <a:custGeom>
                <a:avLst/>
                <a:gdLst>
                  <a:gd name="T0" fmla="*/ 11 w 48"/>
                  <a:gd name="T1" fmla="*/ 36 h 38"/>
                  <a:gd name="T2" fmla="*/ 16 w 48"/>
                  <a:gd name="T3" fmla="*/ 34 h 38"/>
                  <a:gd name="T4" fmla="*/ 27 w 48"/>
                  <a:gd name="T5" fmla="*/ 33 h 38"/>
                  <a:gd name="T6" fmla="*/ 30 w 48"/>
                  <a:gd name="T7" fmla="*/ 34 h 38"/>
                  <a:gd name="T8" fmla="*/ 30 w 48"/>
                  <a:gd name="T9" fmla="*/ 33 h 38"/>
                  <a:gd name="T10" fmla="*/ 35 w 48"/>
                  <a:gd name="T11" fmla="*/ 36 h 38"/>
                  <a:gd name="T12" fmla="*/ 47 w 48"/>
                  <a:gd name="T13" fmla="*/ 36 h 38"/>
                  <a:gd name="T14" fmla="*/ 48 w 48"/>
                  <a:gd name="T15" fmla="*/ 36 h 38"/>
                  <a:gd name="T16" fmla="*/ 48 w 48"/>
                  <a:gd name="T17" fmla="*/ 31 h 38"/>
                  <a:gd name="T18" fmla="*/ 44 w 48"/>
                  <a:gd name="T19" fmla="*/ 26 h 38"/>
                  <a:gd name="T20" fmla="*/ 42 w 48"/>
                  <a:gd name="T21" fmla="*/ 21 h 38"/>
                  <a:gd name="T22" fmla="*/ 41 w 48"/>
                  <a:gd name="T23" fmla="*/ 18 h 38"/>
                  <a:gd name="T24" fmla="*/ 36 w 48"/>
                  <a:gd name="T25" fmla="*/ 13 h 38"/>
                  <a:gd name="T26" fmla="*/ 31 w 48"/>
                  <a:gd name="T27" fmla="*/ 5 h 38"/>
                  <a:gd name="T28" fmla="*/ 28 w 48"/>
                  <a:gd name="T29" fmla="*/ 5 h 38"/>
                  <a:gd name="T30" fmla="*/ 23 w 48"/>
                  <a:gd name="T31" fmla="*/ 2 h 38"/>
                  <a:gd name="T32" fmla="*/ 17 w 48"/>
                  <a:gd name="T33" fmla="*/ 2 h 38"/>
                  <a:gd name="T34" fmla="*/ 10 w 48"/>
                  <a:gd name="T35" fmla="*/ 2 h 38"/>
                  <a:gd name="T36" fmla="*/ 5 w 48"/>
                  <a:gd name="T37" fmla="*/ 6 h 38"/>
                  <a:gd name="T38" fmla="*/ 5 w 48"/>
                  <a:gd name="T39" fmla="*/ 6 h 38"/>
                  <a:gd name="T40" fmla="*/ 3 w 48"/>
                  <a:gd name="T41" fmla="*/ 13 h 38"/>
                  <a:gd name="T42" fmla="*/ 6 w 48"/>
                  <a:gd name="T43" fmla="*/ 24 h 38"/>
                  <a:gd name="T44" fmla="*/ 6 w 48"/>
                  <a:gd name="T45" fmla="*/ 26 h 38"/>
                  <a:gd name="T46" fmla="*/ 17 w 48"/>
                  <a:gd name="T47" fmla="*/ 24 h 38"/>
                  <a:gd name="T48" fmla="*/ 24 w 48"/>
                  <a:gd name="T49" fmla="*/ 27 h 38"/>
                  <a:gd name="T50" fmla="*/ 29 w 48"/>
                  <a:gd name="T51" fmla="*/ 28 h 38"/>
                  <a:gd name="T52" fmla="*/ 24 w 48"/>
                  <a:gd name="T53" fmla="*/ 29 h 38"/>
                  <a:gd name="T54" fmla="*/ 17 w 48"/>
                  <a:gd name="T55" fmla="*/ 27 h 38"/>
                  <a:gd name="T56" fmla="*/ 8 w 48"/>
                  <a:gd name="T57" fmla="*/ 30 h 38"/>
                  <a:gd name="T58" fmla="*/ 5 w 48"/>
                  <a:gd name="T59" fmla="*/ 30 h 38"/>
                  <a:gd name="T60" fmla="*/ 6 w 48"/>
                  <a:gd name="T61" fmla="*/ 34 h 38"/>
                  <a:gd name="T62" fmla="*/ 7 w 48"/>
                  <a:gd name="T63" fmla="*/ 35 h 38"/>
                  <a:gd name="T64" fmla="*/ 11 w 48"/>
                  <a:gd name="T65" fmla="*/ 36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8" h="38">
                    <a:moveTo>
                      <a:pt x="11" y="36"/>
                    </a:moveTo>
                    <a:cubicBezTo>
                      <a:pt x="13" y="36"/>
                      <a:pt x="16" y="34"/>
                      <a:pt x="16" y="34"/>
                    </a:cubicBezTo>
                    <a:cubicBezTo>
                      <a:pt x="16" y="34"/>
                      <a:pt x="26" y="34"/>
                      <a:pt x="27" y="33"/>
                    </a:cubicBezTo>
                    <a:cubicBezTo>
                      <a:pt x="28" y="33"/>
                      <a:pt x="29" y="34"/>
                      <a:pt x="30" y="34"/>
                    </a:cubicBezTo>
                    <a:cubicBezTo>
                      <a:pt x="30" y="34"/>
                      <a:pt x="30" y="33"/>
                      <a:pt x="30" y="33"/>
                    </a:cubicBezTo>
                    <a:cubicBezTo>
                      <a:pt x="30" y="33"/>
                      <a:pt x="35" y="34"/>
                      <a:pt x="35" y="36"/>
                    </a:cubicBezTo>
                    <a:cubicBezTo>
                      <a:pt x="36" y="37"/>
                      <a:pt x="43" y="38"/>
                      <a:pt x="47" y="36"/>
                    </a:cubicBezTo>
                    <a:cubicBezTo>
                      <a:pt x="47" y="36"/>
                      <a:pt x="48" y="36"/>
                      <a:pt x="48" y="36"/>
                    </a:cubicBezTo>
                    <a:cubicBezTo>
                      <a:pt x="48" y="34"/>
                      <a:pt x="48" y="32"/>
                      <a:pt x="48" y="31"/>
                    </a:cubicBezTo>
                    <a:cubicBezTo>
                      <a:pt x="48" y="30"/>
                      <a:pt x="45" y="27"/>
                      <a:pt x="44" y="26"/>
                    </a:cubicBezTo>
                    <a:cubicBezTo>
                      <a:pt x="42" y="24"/>
                      <a:pt x="42" y="21"/>
                      <a:pt x="42" y="21"/>
                    </a:cubicBezTo>
                    <a:cubicBezTo>
                      <a:pt x="41" y="18"/>
                      <a:pt x="41" y="18"/>
                      <a:pt x="41" y="18"/>
                    </a:cubicBezTo>
                    <a:cubicBezTo>
                      <a:pt x="41" y="18"/>
                      <a:pt x="40" y="14"/>
                      <a:pt x="36" y="13"/>
                    </a:cubicBezTo>
                    <a:cubicBezTo>
                      <a:pt x="33" y="12"/>
                      <a:pt x="31" y="5"/>
                      <a:pt x="31" y="5"/>
                    </a:cubicBezTo>
                    <a:cubicBezTo>
                      <a:pt x="28" y="5"/>
                      <a:pt x="28" y="5"/>
                      <a:pt x="28" y="5"/>
                    </a:cubicBezTo>
                    <a:cubicBezTo>
                      <a:pt x="28" y="5"/>
                      <a:pt x="26" y="3"/>
                      <a:pt x="23" y="2"/>
                    </a:cubicBezTo>
                    <a:cubicBezTo>
                      <a:pt x="21" y="0"/>
                      <a:pt x="17" y="2"/>
                      <a:pt x="17" y="2"/>
                    </a:cubicBezTo>
                    <a:cubicBezTo>
                      <a:pt x="17" y="2"/>
                      <a:pt x="13" y="3"/>
                      <a:pt x="10" y="2"/>
                    </a:cubicBezTo>
                    <a:cubicBezTo>
                      <a:pt x="7" y="2"/>
                      <a:pt x="8" y="5"/>
                      <a:pt x="5" y="6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8"/>
                      <a:pt x="4" y="11"/>
                      <a:pt x="3" y="13"/>
                    </a:cubicBezTo>
                    <a:cubicBezTo>
                      <a:pt x="0" y="17"/>
                      <a:pt x="4" y="22"/>
                      <a:pt x="6" y="24"/>
                    </a:cubicBezTo>
                    <a:cubicBezTo>
                      <a:pt x="6" y="24"/>
                      <a:pt x="7" y="25"/>
                      <a:pt x="6" y="26"/>
                    </a:cubicBezTo>
                    <a:cubicBezTo>
                      <a:pt x="11" y="26"/>
                      <a:pt x="13" y="26"/>
                      <a:pt x="17" y="24"/>
                    </a:cubicBezTo>
                    <a:cubicBezTo>
                      <a:pt x="20" y="22"/>
                      <a:pt x="20" y="27"/>
                      <a:pt x="24" y="27"/>
                    </a:cubicBezTo>
                    <a:cubicBezTo>
                      <a:pt x="28" y="27"/>
                      <a:pt x="29" y="28"/>
                      <a:pt x="29" y="28"/>
                    </a:cubicBezTo>
                    <a:cubicBezTo>
                      <a:pt x="29" y="28"/>
                      <a:pt x="26" y="29"/>
                      <a:pt x="24" y="29"/>
                    </a:cubicBezTo>
                    <a:cubicBezTo>
                      <a:pt x="21" y="29"/>
                      <a:pt x="19" y="26"/>
                      <a:pt x="17" y="27"/>
                    </a:cubicBezTo>
                    <a:cubicBezTo>
                      <a:pt x="15" y="29"/>
                      <a:pt x="10" y="30"/>
                      <a:pt x="8" y="30"/>
                    </a:cubicBezTo>
                    <a:cubicBezTo>
                      <a:pt x="7" y="30"/>
                      <a:pt x="7" y="30"/>
                      <a:pt x="5" y="30"/>
                    </a:cubicBezTo>
                    <a:cubicBezTo>
                      <a:pt x="5" y="32"/>
                      <a:pt x="5" y="33"/>
                      <a:pt x="6" y="34"/>
                    </a:cubicBezTo>
                    <a:cubicBezTo>
                      <a:pt x="7" y="34"/>
                      <a:pt x="7" y="35"/>
                      <a:pt x="7" y="35"/>
                    </a:cubicBezTo>
                    <a:cubicBezTo>
                      <a:pt x="11" y="34"/>
                      <a:pt x="10" y="36"/>
                      <a:pt x="11" y="36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5" name="Freeform 21">
                <a:extLst>
                  <a:ext uri="{FF2B5EF4-FFF2-40B4-BE49-F238E27FC236}">
                    <a16:creationId xmlns:a16="http://schemas.microsoft.com/office/drawing/2014/main" id="{6E767A31-D2EC-4C31-8A0F-FCA2A8034D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16071" y="3848891"/>
                <a:ext cx="52698" cy="32623"/>
              </a:xfrm>
              <a:custGeom>
                <a:avLst/>
                <a:gdLst>
                  <a:gd name="T0" fmla="*/ 12 w 23"/>
                  <a:gd name="T1" fmla="*/ 13 h 14"/>
                  <a:gd name="T2" fmla="*/ 18 w 23"/>
                  <a:gd name="T3" fmla="*/ 9 h 14"/>
                  <a:gd name="T4" fmla="*/ 21 w 23"/>
                  <a:gd name="T5" fmla="*/ 8 h 14"/>
                  <a:gd name="T6" fmla="*/ 21 w 23"/>
                  <a:gd name="T7" fmla="*/ 4 h 14"/>
                  <a:gd name="T8" fmla="*/ 23 w 23"/>
                  <a:gd name="T9" fmla="*/ 1 h 14"/>
                  <a:gd name="T10" fmla="*/ 20 w 23"/>
                  <a:gd name="T11" fmla="*/ 0 h 14"/>
                  <a:gd name="T12" fmla="*/ 9 w 23"/>
                  <a:gd name="T13" fmla="*/ 1 h 14"/>
                  <a:gd name="T14" fmla="*/ 4 w 23"/>
                  <a:gd name="T15" fmla="*/ 3 h 14"/>
                  <a:gd name="T16" fmla="*/ 0 w 23"/>
                  <a:gd name="T17" fmla="*/ 2 h 14"/>
                  <a:gd name="T18" fmla="*/ 7 w 23"/>
                  <a:gd name="T19" fmla="*/ 7 h 14"/>
                  <a:gd name="T20" fmla="*/ 10 w 23"/>
                  <a:gd name="T21" fmla="*/ 13 h 14"/>
                  <a:gd name="T22" fmla="*/ 11 w 23"/>
                  <a:gd name="T23" fmla="*/ 14 h 14"/>
                  <a:gd name="T24" fmla="*/ 12 w 23"/>
                  <a:gd name="T25" fmla="*/ 13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3" h="14">
                    <a:moveTo>
                      <a:pt x="12" y="13"/>
                    </a:moveTo>
                    <a:cubicBezTo>
                      <a:pt x="14" y="12"/>
                      <a:pt x="17" y="8"/>
                      <a:pt x="18" y="9"/>
                    </a:cubicBezTo>
                    <a:cubicBezTo>
                      <a:pt x="20" y="10"/>
                      <a:pt x="21" y="8"/>
                      <a:pt x="21" y="8"/>
                    </a:cubicBezTo>
                    <a:cubicBezTo>
                      <a:pt x="21" y="7"/>
                      <a:pt x="19" y="5"/>
                      <a:pt x="21" y="4"/>
                    </a:cubicBezTo>
                    <a:cubicBezTo>
                      <a:pt x="22" y="4"/>
                      <a:pt x="22" y="2"/>
                      <a:pt x="23" y="1"/>
                    </a:cubicBezTo>
                    <a:cubicBezTo>
                      <a:pt x="22" y="1"/>
                      <a:pt x="21" y="0"/>
                      <a:pt x="20" y="0"/>
                    </a:cubicBezTo>
                    <a:cubicBezTo>
                      <a:pt x="19" y="1"/>
                      <a:pt x="9" y="1"/>
                      <a:pt x="9" y="1"/>
                    </a:cubicBezTo>
                    <a:cubicBezTo>
                      <a:pt x="9" y="1"/>
                      <a:pt x="6" y="3"/>
                      <a:pt x="4" y="3"/>
                    </a:cubicBezTo>
                    <a:cubicBezTo>
                      <a:pt x="3" y="3"/>
                      <a:pt x="4" y="1"/>
                      <a:pt x="0" y="2"/>
                    </a:cubicBezTo>
                    <a:cubicBezTo>
                      <a:pt x="2" y="5"/>
                      <a:pt x="2" y="6"/>
                      <a:pt x="7" y="7"/>
                    </a:cubicBezTo>
                    <a:cubicBezTo>
                      <a:pt x="11" y="8"/>
                      <a:pt x="6" y="11"/>
                      <a:pt x="10" y="13"/>
                    </a:cubicBezTo>
                    <a:cubicBezTo>
                      <a:pt x="10" y="13"/>
                      <a:pt x="11" y="14"/>
                      <a:pt x="11" y="14"/>
                    </a:cubicBezTo>
                    <a:cubicBezTo>
                      <a:pt x="11" y="13"/>
                      <a:pt x="12" y="13"/>
                      <a:pt x="12" y="1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6" name="Freeform 22">
                <a:extLst>
                  <a:ext uri="{FF2B5EF4-FFF2-40B4-BE49-F238E27FC236}">
                    <a16:creationId xmlns:a16="http://schemas.microsoft.com/office/drawing/2014/main" id="{D22E562F-F50A-4B34-8D0A-49DB668C5F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0735" y="3876495"/>
                <a:ext cx="228360" cy="161860"/>
              </a:xfrm>
              <a:custGeom>
                <a:avLst/>
                <a:gdLst>
                  <a:gd name="T0" fmla="*/ 91 w 99"/>
                  <a:gd name="T1" fmla="*/ 40 h 70"/>
                  <a:gd name="T2" fmla="*/ 88 w 99"/>
                  <a:gd name="T3" fmla="*/ 35 h 70"/>
                  <a:gd name="T4" fmla="*/ 83 w 99"/>
                  <a:gd name="T5" fmla="*/ 30 h 70"/>
                  <a:gd name="T6" fmla="*/ 80 w 99"/>
                  <a:gd name="T7" fmla="*/ 25 h 70"/>
                  <a:gd name="T8" fmla="*/ 74 w 99"/>
                  <a:gd name="T9" fmla="*/ 22 h 70"/>
                  <a:gd name="T10" fmla="*/ 73 w 99"/>
                  <a:gd name="T11" fmla="*/ 20 h 70"/>
                  <a:gd name="T12" fmla="*/ 69 w 99"/>
                  <a:gd name="T13" fmla="*/ 19 h 70"/>
                  <a:gd name="T14" fmla="*/ 70 w 99"/>
                  <a:gd name="T15" fmla="*/ 16 h 70"/>
                  <a:gd name="T16" fmla="*/ 70 w 99"/>
                  <a:gd name="T17" fmla="*/ 9 h 70"/>
                  <a:gd name="T18" fmla="*/ 64 w 99"/>
                  <a:gd name="T19" fmla="*/ 2 h 70"/>
                  <a:gd name="T20" fmla="*/ 62 w 99"/>
                  <a:gd name="T21" fmla="*/ 1 h 70"/>
                  <a:gd name="T22" fmla="*/ 56 w 99"/>
                  <a:gd name="T23" fmla="*/ 4 h 70"/>
                  <a:gd name="T24" fmla="*/ 54 w 99"/>
                  <a:gd name="T25" fmla="*/ 8 h 70"/>
                  <a:gd name="T26" fmla="*/ 46 w 99"/>
                  <a:gd name="T27" fmla="*/ 16 h 70"/>
                  <a:gd name="T28" fmla="*/ 35 w 99"/>
                  <a:gd name="T29" fmla="*/ 18 h 70"/>
                  <a:gd name="T30" fmla="*/ 34 w 99"/>
                  <a:gd name="T31" fmla="*/ 23 h 70"/>
                  <a:gd name="T32" fmla="*/ 27 w 99"/>
                  <a:gd name="T33" fmla="*/ 26 h 70"/>
                  <a:gd name="T34" fmla="*/ 18 w 99"/>
                  <a:gd name="T35" fmla="*/ 29 h 70"/>
                  <a:gd name="T36" fmla="*/ 13 w 99"/>
                  <a:gd name="T37" fmla="*/ 29 h 70"/>
                  <a:gd name="T38" fmla="*/ 9 w 99"/>
                  <a:gd name="T39" fmla="*/ 31 h 70"/>
                  <a:gd name="T40" fmla="*/ 8 w 99"/>
                  <a:gd name="T41" fmla="*/ 30 h 70"/>
                  <a:gd name="T42" fmla="*/ 4 w 99"/>
                  <a:gd name="T43" fmla="*/ 35 h 70"/>
                  <a:gd name="T44" fmla="*/ 0 w 99"/>
                  <a:gd name="T45" fmla="*/ 43 h 70"/>
                  <a:gd name="T46" fmla="*/ 1 w 99"/>
                  <a:gd name="T47" fmla="*/ 50 h 70"/>
                  <a:gd name="T48" fmla="*/ 3 w 99"/>
                  <a:gd name="T49" fmla="*/ 56 h 70"/>
                  <a:gd name="T50" fmla="*/ 5 w 99"/>
                  <a:gd name="T51" fmla="*/ 61 h 70"/>
                  <a:gd name="T52" fmla="*/ 6 w 99"/>
                  <a:gd name="T53" fmla="*/ 64 h 70"/>
                  <a:gd name="T54" fmla="*/ 12 w 99"/>
                  <a:gd name="T55" fmla="*/ 69 h 70"/>
                  <a:gd name="T56" fmla="*/ 13 w 99"/>
                  <a:gd name="T57" fmla="*/ 70 h 70"/>
                  <a:gd name="T58" fmla="*/ 14 w 99"/>
                  <a:gd name="T59" fmla="*/ 69 h 70"/>
                  <a:gd name="T60" fmla="*/ 15 w 99"/>
                  <a:gd name="T61" fmla="*/ 63 h 70"/>
                  <a:gd name="T62" fmla="*/ 19 w 99"/>
                  <a:gd name="T63" fmla="*/ 62 h 70"/>
                  <a:gd name="T64" fmla="*/ 23 w 99"/>
                  <a:gd name="T65" fmla="*/ 61 h 70"/>
                  <a:gd name="T66" fmla="*/ 30 w 99"/>
                  <a:gd name="T67" fmla="*/ 62 h 70"/>
                  <a:gd name="T68" fmla="*/ 30 w 99"/>
                  <a:gd name="T69" fmla="*/ 57 h 70"/>
                  <a:gd name="T70" fmla="*/ 38 w 99"/>
                  <a:gd name="T71" fmla="*/ 50 h 70"/>
                  <a:gd name="T72" fmla="*/ 45 w 99"/>
                  <a:gd name="T73" fmla="*/ 55 h 70"/>
                  <a:gd name="T74" fmla="*/ 60 w 99"/>
                  <a:gd name="T75" fmla="*/ 58 h 70"/>
                  <a:gd name="T76" fmla="*/ 63 w 99"/>
                  <a:gd name="T77" fmla="*/ 52 h 70"/>
                  <a:gd name="T78" fmla="*/ 69 w 99"/>
                  <a:gd name="T79" fmla="*/ 52 h 70"/>
                  <a:gd name="T80" fmla="*/ 77 w 99"/>
                  <a:gd name="T81" fmla="*/ 50 h 70"/>
                  <a:gd name="T82" fmla="*/ 84 w 99"/>
                  <a:gd name="T83" fmla="*/ 49 h 70"/>
                  <a:gd name="T84" fmla="*/ 93 w 99"/>
                  <a:gd name="T85" fmla="*/ 50 h 70"/>
                  <a:gd name="T86" fmla="*/ 99 w 99"/>
                  <a:gd name="T87" fmla="*/ 49 h 70"/>
                  <a:gd name="T88" fmla="*/ 97 w 99"/>
                  <a:gd name="T89" fmla="*/ 44 h 70"/>
                  <a:gd name="T90" fmla="*/ 91 w 99"/>
                  <a:gd name="T91" fmla="*/ 4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99" h="70">
                    <a:moveTo>
                      <a:pt x="91" y="40"/>
                    </a:moveTo>
                    <a:cubicBezTo>
                      <a:pt x="91" y="39"/>
                      <a:pt x="91" y="37"/>
                      <a:pt x="88" y="35"/>
                    </a:cubicBezTo>
                    <a:cubicBezTo>
                      <a:pt x="85" y="32"/>
                      <a:pt x="83" y="32"/>
                      <a:pt x="83" y="30"/>
                    </a:cubicBezTo>
                    <a:cubicBezTo>
                      <a:pt x="83" y="29"/>
                      <a:pt x="82" y="28"/>
                      <a:pt x="80" y="25"/>
                    </a:cubicBezTo>
                    <a:cubicBezTo>
                      <a:pt x="77" y="22"/>
                      <a:pt x="74" y="22"/>
                      <a:pt x="74" y="22"/>
                    </a:cubicBezTo>
                    <a:cubicBezTo>
                      <a:pt x="73" y="20"/>
                      <a:pt x="73" y="20"/>
                      <a:pt x="73" y="20"/>
                    </a:cubicBezTo>
                    <a:cubicBezTo>
                      <a:pt x="69" y="19"/>
                      <a:pt x="69" y="19"/>
                      <a:pt x="69" y="19"/>
                    </a:cubicBezTo>
                    <a:cubicBezTo>
                      <a:pt x="69" y="19"/>
                      <a:pt x="67" y="18"/>
                      <a:pt x="70" y="16"/>
                    </a:cubicBezTo>
                    <a:cubicBezTo>
                      <a:pt x="73" y="15"/>
                      <a:pt x="70" y="11"/>
                      <a:pt x="70" y="9"/>
                    </a:cubicBezTo>
                    <a:cubicBezTo>
                      <a:pt x="69" y="8"/>
                      <a:pt x="65" y="3"/>
                      <a:pt x="64" y="2"/>
                    </a:cubicBezTo>
                    <a:cubicBezTo>
                      <a:pt x="63" y="2"/>
                      <a:pt x="63" y="2"/>
                      <a:pt x="62" y="1"/>
                    </a:cubicBezTo>
                    <a:cubicBezTo>
                      <a:pt x="61" y="0"/>
                      <a:pt x="57" y="2"/>
                      <a:pt x="56" y="4"/>
                    </a:cubicBezTo>
                    <a:cubicBezTo>
                      <a:pt x="54" y="6"/>
                      <a:pt x="55" y="7"/>
                      <a:pt x="54" y="8"/>
                    </a:cubicBezTo>
                    <a:cubicBezTo>
                      <a:pt x="53" y="9"/>
                      <a:pt x="49" y="13"/>
                      <a:pt x="46" y="16"/>
                    </a:cubicBezTo>
                    <a:cubicBezTo>
                      <a:pt x="44" y="19"/>
                      <a:pt x="37" y="17"/>
                      <a:pt x="35" y="18"/>
                    </a:cubicBezTo>
                    <a:cubicBezTo>
                      <a:pt x="33" y="19"/>
                      <a:pt x="36" y="21"/>
                      <a:pt x="34" y="23"/>
                    </a:cubicBezTo>
                    <a:cubicBezTo>
                      <a:pt x="33" y="24"/>
                      <a:pt x="29" y="26"/>
                      <a:pt x="27" y="26"/>
                    </a:cubicBezTo>
                    <a:cubicBezTo>
                      <a:pt x="26" y="27"/>
                      <a:pt x="20" y="27"/>
                      <a:pt x="18" y="29"/>
                    </a:cubicBezTo>
                    <a:cubicBezTo>
                      <a:pt x="17" y="31"/>
                      <a:pt x="15" y="27"/>
                      <a:pt x="13" y="29"/>
                    </a:cubicBezTo>
                    <a:cubicBezTo>
                      <a:pt x="12" y="31"/>
                      <a:pt x="10" y="32"/>
                      <a:pt x="9" y="31"/>
                    </a:cubicBezTo>
                    <a:cubicBezTo>
                      <a:pt x="8" y="31"/>
                      <a:pt x="8" y="30"/>
                      <a:pt x="8" y="30"/>
                    </a:cubicBezTo>
                    <a:cubicBezTo>
                      <a:pt x="6" y="31"/>
                      <a:pt x="5" y="33"/>
                      <a:pt x="4" y="35"/>
                    </a:cubicBezTo>
                    <a:cubicBezTo>
                      <a:pt x="3" y="38"/>
                      <a:pt x="0" y="41"/>
                      <a:pt x="0" y="43"/>
                    </a:cubicBezTo>
                    <a:cubicBezTo>
                      <a:pt x="0" y="45"/>
                      <a:pt x="1" y="47"/>
                      <a:pt x="1" y="50"/>
                    </a:cubicBezTo>
                    <a:cubicBezTo>
                      <a:pt x="1" y="52"/>
                      <a:pt x="2" y="54"/>
                      <a:pt x="3" y="56"/>
                    </a:cubicBezTo>
                    <a:cubicBezTo>
                      <a:pt x="5" y="58"/>
                      <a:pt x="5" y="61"/>
                      <a:pt x="5" y="61"/>
                    </a:cubicBezTo>
                    <a:cubicBezTo>
                      <a:pt x="5" y="61"/>
                      <a:pt x="5" y="62"/>
                      <a:pt x="6" y="64"/>
                    </a:cubicBezTo>
                    <a:cubicBezTo>
                      <a:pt x="8" y="65"/>
                      <a:pt x="11" y="67"/>
                      <a:pt x="12" y="69"/>
                    </a:cubicBezTo>
                    <a:cubicBezTo>
                      <a:pt x="12" y="69"/>
                      <a:pt x="12" y="70"/>
                      <a:pt x="13" y="70"/>
                    </a:cubicBezTo>
                    <a:cubicBezTo>
                      <a:pt x="13" y="70"/>
                      <a:pt x="13" y="70"/>
                      <a:pt x="14" y="69"/>
                    </a:cubicBezTo>
                    <a:cubicBezTo>
                      <a:pt x="15" y="67"/>
                      <a:pt x="15" y="63"/>
                      <a:pt x="15" y="63"/>
                    </a:cubicBezTo>
                    <a:cubicBezTo>
                      <a:pt x="19" y="62"/>
                      <a:pt x="19" y="62"/>
                      <a:pt x="19" y="62"/>
                    </a:cubicBezTo>
                    <a:cubicBezTo>
                      <a:pt x="23" y="61"/>
                      <a:pt x="23" y="61"/>
                      <a:pt x="23" y="61"/>
                    </a:cubicBezTo>
                    <a:cubicBezTo>
                      <a:pt x="30" y="62"/>
                      <a:pt x="30" y="62"/>
                      <a:pt x="30" y="62"/>
                    </a:cubicBezTo>
                    <a:cubicBezTo>
                      <a:pt x="30" y="57"/>
                      <a:pt x="30" y="57"/>
                      <a:pt x="30" y="57"/>
                    </a:cubicBezTo>
                    <a:cubicBezTo>
                      <a:pt x="30" y="57"/>
                      <a:pt x="35" y="50"/>
                      <a:pt x="38" y="50"/>
                    </a:cubicBezTo>
                    <a:cubicBezTo>
                      <a:pt x="42" y="50"/>
                      <a:pt x="45" y="55"/>
                      <a:pt x="45" y="55"/>
                    </a:cubicBezTo>
                    <a:cubicBezTo>
                      <a:pt x="60" y="58"/>
                      <a:pt x="60" y="58"/>
                      <a:pt x="60" y="58"/>
                    </a:cubicBezTo>
                    <a:cubicBezTo>
                      <a:pt x="60" y="58"/>
                      <a:pt x="61" y="53"/>
                      <a:pt x="63" y="52"/>
                    </a:cubicBezTo>
                    <a:cubicBezTo>
                      <a:pt x="64" y="51"/>
                      <a:pt x="67" y="53"/>
                      <a:pt x="69" y="52"/>
                    </a:cubicBezTo>
                    <a:cubicBezTo>
                      <a:pt x="71" y="51"/>
                      <a:pt x="74" y="50"/>
                      <a:pt x="77" y="50"/>
                    </a:cubicBezTo>
                    <a:cubicBezTo>
                      <a:pt x="81" y="50"/>
                      <a:pt x="82" y="52"/>
                      <a:pt x="84" y="49"/>
                    </a:cubicBezTo>
                    <a:cubicBezTo>
                      <a:pt x="85" y="46"/>
                      <a:pt x="93" y="50"/>
                      <a:pt x="93" y="50"/>
                    </a:cubicBezTo>
                    <a:cubicBezTo>
                      <a:pt x="99" y="49"/>
                      <a:pt x="99" y="49"/>
                      <a:pt x="99" y="49"/>
                    </a:cubicBezTo>
                    <a:cubicBezTo>
                      <a:pt x="97" y="44"/>
                      <a:pt x="97" y="44"/>
                      <a:pt x="97" y="44"/>
                    </a:cubicBezTo>
                    <a:cubicBezTo>
                      <a:pt x="97" y="44"/>
                      <a:pt x="91" y="42"/>
                      <a:pt x="91" y="4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7" name="Freeform 23">
                <a:extLst>
                  <a:ext uri="{FF2B5EF4-FFF2-40B4-BE49-F238E27FC236}">
                    <a16:creationId xmlns:a16="http://schemas.microsoft.com/office/drawing/2014/main" id="{E6613EBA-CBB4-407C-8806-B431A84066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73668" y="3826306"/>
                <a:ext cx="220832" cy="181935"/>
              </a:xfrm>
              <a:custGeom>
                <a:avLst/>
                <a:gdLst>
                  <a:gd name="T0" fmla="*/ 59 w 96"/>
                  <a:gd name="T1" fmla="*/ 58 h 79"/>
                  <a:gd name="T2" fmla="*/ 64 w 96"/>
                  <a:gd name="T3" fmla="*/ 57 h 79"/>
                  <a:gd name="T4" fmla="*/ 69 w 96"/>
                  <a:gd name="T5" fmla="*/ 61 h 79"/>
                  <a:gd name="T6" fmla="*/ 73 w 96"/>
                  <a:gd name="T7" fmla="*/ 57 h 79"/>
                  <a:gd name="T8" fmla="*/ 79 w 96"/>
                  <a:gd name="T9" fmla="*/ 45 h 79"/>
                  <a:gd name="T10" fmla="*/ 83 w 96"/>
                  <a:gd name="T11" fmla="*/ 40 h 79"/>
                  <a:gd name="T12" fmla="*/ 83 w 96"/>
                  <a:gd name="T13" fmla="*/ 36 h 79"/>
                  <a:gd name="T14" fmla="*/ 85 w 96"/>
                  <a:gd name="T15" fmla="*/ 31 h 79"/>
                  <a:gd name="T16" fmla="*/ 90 w 96"/>
                  <a:gd name="T17" fmla="*/ 22 h 79"/>
                  <a:gd name="T18" fmla="*/ 95 w 96"/>
                  <a:gd name="T19" fmla="*/ 19 h 79"/>
                  <a:gd name="T20" fmla="*/ 94 w 96"/>
                  <a:gd name="T21" fmla="*/ 14 h 79"/>
                  <a:gd name="T22" fmla="*/ 91 w 96"/>
                  <a:gd name="T23" fmla="*/ 11 h 79"/>
                  <a:gd name="T24" fmla="*/ 92 w 96"/>
                  <a:gd name="T25" fmla="*/ 7 h 79"/>
                  <a:gd name="T26" fmla="*/ 88 w 96"/>
                  <a:gd name="T27" fmla="*/ 3 h 79"/>
                  <a:gd name="T28" fmla="*/ 86 w 96"/>
                  <a:gd name="T29" fmla="*/ 2 h 79"/>
                  <a:gd name="T30" fmla="*/ 80 w 96"/>
                  <a:gd name="T31" fmla="*/ 7 h 79"/>
                  <a:gd name="T32" fmla="*/ 73 w 96"/>
                  <a:gd name="T33" fmla="*/ 5 h 79"/>
                  <a:gd name="T34" fmla="*/ 63 w 96"/>
                  <a:gd name="T35" fmla="*/ 5 h 79"/>
                  <a:gd name="T36" fmla="*/ 57 w 96"/>
                  <a:gd name="T37" fmla="*/ 9 h 79"/>
                  <a:gd name="T38" fmla="*/ 49 w 96"/>
                  <a:gd name="T39" fmla="*/ 9 h 79"/>
                  <a:gd name="T40" fmla="*/ 43 w 96"/>
                  <a:gd name="T41" fmla="*/ 6 h 79"/>
                  <a:gd name="T42" fmla="*/ 36 w 96"/>
                  <a:gd name="T43" fmla="*/ 7 h 79"/>
                  <a:gd name="T44" fmla="*/ 32 w 96"/>
                  <a:gd name="T45" fmla="*/ 3 h 79"/>
                  <a:gd name="T46" fmla="*/ 25 w 96"/>
                  <a:gd name="T47" fmla="*/ 1 h 79"/>
                  <a:gd name="T48" fmla="*/ 21 w 96"/>
                  <a:gd name="T49" fmla="*/ 3 h 79"/>
                  <a:gd name="T50" fmla="*/ 13 w 96"/>
                  <a:gd name="T51" fmla="*/ 3 h 79"/>
                  <a:gd name="T52" fmla="*/ 11 w 96"/>
                  <a:gd name="T53" fmla="*/ 9 h 79"/>
                  <a:gd name="T54" fmla="*/ 8 w 96"/>
                  <a:gd name="T55" fmla="*/ 15 h 79"/>
                  <a:gd name="T56" fmla="*/ 7 w 96"/>
                  <a:gd name="T57" fmla="*/ 17 h 79"/>
                  <a:gd name="T58" fmla="*/ 8 w 96"/>
                  <a:gd name="T59" fmla="*/ 22 h 79"/>
                  <a:gd name="T60" fmla="*/ 7 w 96"/>
                  <a:gd name="T61" fmla="*/ 33 h 79"/>
                  <a:gd name="T62" fmla="*/ 4 w 96"/>
                  <a:gd name="T63" fmla="*/ 38 h 79"/>
                  <a:gd name="T64" fmla="*/ 1 w 96"/>
                  <a:gd name="T65" fmla="*/ 44 h 79"/>
                  <a:gd name="T66" fmla="*/ 1 w 96"/>
                  <a:gd name="T67" fmla="*/ 53 h 79"/>
                  <a:gd name="T68" fmla="*/ 3 w 96"/>
                  <a:gd name="T69" fmla="*/ 60 h 79"/>
                  <a:gd name="T70" fmla="*/ 3 w 96"/>
                  <a:gd name="T71" fmla="*/ 60 h 79"/>
                  <a:gd name="T72" fmla="*/ 15 w 96"/>
                  <a:gd name="T73" fmla="*/ 63 h 79"/>
                  <a:gd name="T74" fmla="*/ 23 w 96"/>
                  <a:gd name="T75" fmla="*/ 71 h 79"/>
                  <a:gd name="T76" fmla="*/ 27 w 96"/>
                  <a:gd name="T77" fmla="*/ 78 h 79"/>
                  <a:gd name="T78" fmla="*/ 35 w 96"/>
                  <a:gd name="T79" fmla="*/ 76 h 79"/>
                  <a:gd name="T80" fmla="*/ 46 w 96"/>
                  <a:gd name="T81" fmla="*/ 75 h 79"/>
                  <a:gd name="T82" fmla="*/ 47 w 96"/>
                  <a:gd name="T83" fmla="*/ 75 h 79"/>
                  <a:gd name="T84" fmla="*/ 50 w 96"/>
                  <a:gd name="T85" fmla="*/ 66 h 79"/>
                  <a:gd name="T86" fmla="*/ 59 w 96"/>
                  <a:gd name="T87" fmla="*/ 58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96" h="79">
                    <a:moveTo>
                      <a:pt x="59" y="58"/>
                    </a:moveTo>
                    <a:cubicBezTo>
                      <a:pt x="60" y="57"/>
                      <a:pt x="62" y="58"/>
                      <a:pt x="64" y="57"/>
                    </a:cubicBezTo>
                    <a:cubicBezTo>
                      <a:pt x="65" y="56"/>
                      <a:pt x="69" y="59"/>
                      <a:pt x="69" y="61"/>
                    </a:cubicBezTo>
                    <a:cubicBezTo>
                      <a:pt x="70" y="63"/>
                      <a:pt x="71" y="60"/>
                      <a:pt x="73" y="57"/>
                    </a:cubicBezTo>
                    <a:cubicBezTo>
                      <a:pt x="74" y="55"/>
                      <a:pt x="79" y="47"/>
                      <a:pt x="79" y="45"/>
                    </a:cubicBezTo>
                    <a:cubicBezTo>
                      <a:pt x="79" y="43"/>
                      <a:pt x="83" y="41"/>
                      <a:pt x="83" y="40"/>
                    </a:cubicBezTo>
                    <a:cubicBezTo>
                      <a:pt x="83" y="39"/>
                      <a:pt x="82" y="36"/>
                      <a:pt x="83" y="36"/>
                    </a:cubicBezTo>
                    <a:cubicBezTo>
                      <a:pt x="85" y="35"/>
                      <a:pt x="86" y="32"/>
                      <a:pt x="85" y="31"/>
                    </a:cubicBezTo>
                    <a:cubicBezTo>
                      <a:pt x="85" y="30"/>
                      <a:pt x="89" y="23"/>
                      <a:pt x="90" y="22"/>
                    </a:cubicBezTo>
                    <a:cubicBezTo>
                      <a:pt x="91" y="21"/>
                      <a:pt x="95" y="21"/>
                      <a:pt x="95" y="19"/>
                    </a:cubicBezTo>
                    <a:cubicBezTo>
                      <a:pt x="95" y="17"/>
                      <a:pt x="96" y="15"/>
                      <a:pt x="94" y="14"/>
                    </a:cubicBezTo>
                    <a:cubicBezTo>
                      <a:pt x="93" y="14"/>
                      <a:pt x="91" y="12"/>
                      <a:pt x="91" y="11"/>
                    </a:cubicBezTo>
                    <a:cubicBezTo>
                      <a:pt x="91" y="10"/>
                      <a:pt x="91" y="8"/>
                      <a:pt x="92" y="7"/>
                    </a:cubicBezTo>
                    <a:cubicBezTo>
                      <a:pt x="90" y="6"/>
                      <a:pt x="90" y="4"/>
                      <a:pt x="88" y="3"/>
                    </a:cubicBezTo>
                    <a:cubicBezTo>
                      <a:pt x="87" y="2"/>
                      <a:pt x="87" y="1"/>
                      <a:pt x="86" y="2"/>
                    </a:cubicBezTo>
                    <a:cubicBezTo>
                      <a:pt x="84" y="2"/>
                      <a:pt x="82" y="6"/>
                      <a:pt x="80" y="7"/>
                    </a:cubicBezTo>
                    <a:cubicBezTo>
                      <a:pt x="78" y="8"/>
                      <a:pt x="75" y="6"/>
                      <a:pt x="73" y="5"/>
                    </a:cubicBezTo>
                    <a:cubicBezTo>
                      <a:pt x="72" y="5"/>
                      <a:pt x="65" y="5"/>
                      <a:pt x="63" y="5"/>
                    </a:cubicBezTo>
                    <a:cubicBezTo>
                      <a:pt x="61" y="5"/>
                      <a:pt x="59" y="8"/>
                      <a:pt x="57" y="9"/>
                    </a:cubicBezTo>
                    <a:cubicBezTo>
                      <a:pt x="55" y="10"/>
                      <a:pt x="51" y="9"/>
                      <a:pt x="49" y="9"/>
                    </a:cubicBezTo>
                    <a:cubicBezTo>
                      <a:pt x="48" y="8"/>
                      <a:pt x="44" y="6"/>
                      <a:pt x="43" y="6"/>
                    </a:cubicBezTo>
                    <a:cubicBezTo>
                      <a:pt x="42" y="6"/>
                      <a:pt x="39" y="6"/>
                      <a:pt x="36" y="7"/>
                    </a:cubicBezTo>
                    <a:cubicBezTo>
                      <a:pt x="34" y="9"/>
                      <a:pt x="33" y="5"/>
                      <a:pt x="32" y="3"/>
                    </a:cubicBezTo>
                    <a:cubicBezTo>
                      <a:pt x="30" y="1"/>
                      <a:pt x="27" y="3"/>
                      <a:pt x="25" y="1"/>
                    </a:cubicBezTo>
                    <a:cubicBezTo>
                      <a:pt x="24" y="0"/>
                      <a:pt x="22" y="3"/>
                      <a:pt x="21" y="3"/>
                    </a:cubicBezTo>
                    <a:cubicBezTo>
                      <a:pt x="19" y="3"/>
                      <a:pt x="15" y="2"/>
                      <a:pt x="13" y="3"/>
                    </a:cubicBezTo>
                    <a:cubicBezTo>
                      <a:pt x="12" y="4"/>
                      <a:pt x="12" y="9"/>
                      <a:pt x="11" y="9"/>
                    </a:cubicBezTo>
                    <a:cubicBezTo>
                      <a:pt x="11" y="10"/>
                      <a:pt x="8" y="13"/>
                      <a:pt x="8" y="15"/>
                    </a:cubicBezTo>
                    <a:cubicBezTo>
                      <a:pt x="8" y="16"/>
                      <a:pt x="8" y="16"/>
                      <a:pt x="7" y="17"/>
                    </a:cubicBezTo>
                    <a:cubicBezTo>
                      <a:pt x="7" y="19"/>
                      <a:pt x="8" y="21"/>
                      <a:pt x="8" y="22"/>
                    </a:cubicBezTo>
                    <a:cubicBezTo>
                      <a:pt x="8" y="24"/>
                      <a:pt x="9" y="32"/>
                      <a:pt x="7" y="33"/>
                    </a:cubicBezTo>
                    <a:cubicBezTo>
                      <a:pt x="5" y="35"/>
                      <a:pt x="4" y="38"/>
                      <a:pt x="4" y="38"/>
                    </a:cubicBezTo>
                    <a:cubicBezTo>
                      <a:pt x="4" y="38"/>
                      <a:pt x="1" y="40"/>
                      <a:pt x="1" y="44"/>
                    </a:cubicBezTo>
                    <a:cubicBezTo>
                      <a:pt x="0" y="48"/>
                      <a:pt x="1" y="50"/>
                      <a:pt x="1" y="53"/>
                    </a:cubicBezTo>
                    <a:cubicBezTo>
                      <a:pt x="1" y="56"/>
                      <a:pt x="2" y="57"/>
                      <a:pt x="3" y="60"/>
                    </a:cubicBezTo>
                    <a:cubicBezTo>
                      <a:pt x="3" y="60"/>
                      <a:pt x="3" y="60"/>
                      <a:pt x="3" y="60"/>
                    </a:cubicBezTo>
                    <a:cubicBezTo>
                      <a:pt x="5" y="62"/>
                      <a:pt x="12" y="62"/>
                      <a:pt x="15" y="63"/>
                    </a:cubicBezTo>
                    <a:cubicBezTo>
                      <a:pt x="19" y="64"/>
                      <a:pt x="23" y="69"/>
                      <a:pt x="23" y="71"/>
                    </a:cubicBezTo>
                    <a:cubicBezTo>
                      <a:pt x="23" y="73"/>
                      <a:pt x="25" y="77"/>
                      <a:pt x="27" y="78"/>
                    </a:cubicBezTo>
                    <a:cubicBezTo>
                      <a:pt x="29" y="79"/>
                      <a:pt x="33" y="76"/>
                      <a:pt x="35" y="76"/>
                    </a:cubicBezTo>
                    <a:cubicBezTo>
                      <a:pt x="37" y="76"/>
                      <a:pt x="45" y="76"/>
                      <a:pt x="46" y="75"/>
                    </a:cubicBezTo>
                    <a:cubicBezTo>
                      <a:pt x="47" y="75"/>
                      <a:pt x="47" y="75"/>
                      <a:pt x="47" y="75"/>
                    </a:cubicBezTo>
                    <a:cubicBezTo>
                      <a:pt x="49" y="70"/>
                      <a:pt x="50" y="66"/>
                      <a:pt x="50" y="66"/>
                    </a:cubicBezTo>
                    <a:cubicBezTo>
                      <a:pt x="50" y="66"/>
                      <a:pt x="58" y="58"/>
                      <a:pt x="59" y="58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8" name="Freeform 24">
                <a:extLst>
                  <a:ext uri="{FF2B5EF4-FFF2-40B4-BE49-F238E27FC236}">
                    <a16:creationId xmlns:a16="http://schemas.microsoft.com/office/drawing/2014/main" id="{9B7E9B4C-FC9E-4A3C-B375-BA3B89EF82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37281" y="3853910"/>
                <a:ext cx="56463" cy="115435"/>
              </a:xfrm>
              <a:custGeom>
                <a:avLst/>
                <a:gdLst>
                  <a:gd name="T0" fmla="*/ 17 w 25"/>
                  <a:gd name="T1" fmla="*/ 32 h 50"/>
                  <a:gd name="T2" fmla="*/ 20 w 25"/>
                  <a:gd name="T3" fmla="*/ 26 h 50"/>
                  <a:gd name="T4" fmla="*/ 23 w 25"/>
                  <a:gd name="T5" fmla="*/ 21 h 50"/>
                  <a:gd name="T6" fmla="*/ 24 w 25"/>
                  <a:gd name="T7" fmla="*/ 10 h 50"/>
                  <a:gd name="T8" fmla="*/ 23 w 25"/>
                  <a:gd name="T9" fmla="*/ 5 h 50"/>
                  <a:gd name="T10" fmla="*/ 21 w 25"/>
                  <a:gd name="T11" fmla="*/ 4 h 50"/>
                  <a:gd name="T12" fmla="*/ 18 w 25"/>
                  <a:gd name="T13" fmla="*/ 1 h 50"/>
                  <a:gd name="T14" fmla="*/ 15 w 25"/>
                  <a:gd name="T15" fmla="*/ 4 h 50"/>
                  <a:gd name="T16" fmla="*/ 13 w 25"/>
                  <a:gd name="T17" fmla="*/ 8 h 50"/>
                  <a:gd name="T18" fmla="*/ 6 w 25"/>
                  <a:gd name="T19" fmla="*/ 9 h 50"/>
                  <a:gd name="T20" fmla="*/ 2 w 25"/>
                  <a:gd name="T21" fmla="*/ 12 h 50"/>
                  <a:gd name="T22" fmla="*/ 0 w 25"/>
                  <a:gd name="T23" fmla="*/ 12 h 50"/>
                  <a:gd name="T24" fmla="*/ 5 w 25"/>
                  <a:gd name="T25" fmla="*/ 20 h 50"/>
                  <a:gd name="T26" fmla="*/ 6 w 25"/>
                  <a:gd name="T27" fmla="*/ 26 h 50"/>
                  <a:gd name="T28" fmla="*/ 8 w 25"/>
                  <a:gd name="T29" fmla="*/ 35 h 50"/>
                  <a:gd name="T30" fmla="*/ 8 w 25"/>
                  <a:gd name="T31" fmla="*/ 50 h 50"/>
                  <a:gd name="T32" fmla="*/ 14 w 25"/>
                  <a:gd name="T33" fmla="*/ 50 h 50"/>
                  <a:gd name="T34" fmla="*/ 19 w 25"/>
                  <a:gd name="T35" fmla="*/ 48 h 50"/>
                  <a:gd name="T36" fmla="*/ 17 w 25"/>
                  <a:gd name="T37" fmla="*/ 41 h 50"/>
                  <a:gd name="T38" fmla="*/ 17 w 25"/>
                  <a:gd name="T39" fmla="*/ 32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5" h="50">
                    <a:moveTo>
                      <a:pt x="17" y="32"/>
                    </a:moveTo>
                    <a:cubicBezTo>
                      <a:pt x="17" y="28"/>
                      <a:pt x="20" y="26"/>
                      <a:pt x="20" y="26"/>
                    </a:cubicBezTo>
                    <a:cubicBezTo>
                      <a:pt x="20" y="26"/>
                      <a:pt x="21" y="23"/>
                      <a:pt x="23" y="21"/>
                    </a:cubicBezTo>
                    <a:cubicBezTo>
                      <a:pt x="25" y="20"/>
                      <a:pt x="24" y="12"/>
                      <a:pt x="24" y="10"/>
                    </a:cubicBezTo>
                    <a:cubicBezTo>
                      <a:pt x="24" y="9"/>
                      <a:pt x="23" y="7"/>
                      <a:pt x="23" y="5"/>
                    </a:cubicBezTo>
                    <a:cubicBezTo>
                      <a:pt x="23" y="5"/>
                      <a:pt x="22" y="5"/>
                      <a:pt x="21" y="4"/>
                    </a:cubicBezTo>
                    <a:cubicBezTo>
                      <a:pt x="18" y="4"/>
                      <a:pt x="20" y="1"/>
                      <a:pt x="18" y="1"/>
                    </a:cubicBezTo>
                    <a:cubicBezTo>
                      <a:pt x="16" y="0"/>
                      <a:pt x="15" y="3"/>
                      <a:pt x="15" y="4"/>
                    </a:cubicBezTo>
                    <a:cubicBezTo>
                      <a:pt x="16" y="6"/>
                      <a:pt x="14" y="6"/>
                      <a:pt x="13" y="8"/>
                    </a:cubicBezTo>
                    <a:cubicBezTo>
                      <a:pt x="12" y="9"/>
                      <a:pt x="8" y="9"/>
                      <a:pt x="6" y="9"/>
                    </a:cubicBezTo>
                    <a:cubicBezTo>
                      <a:pt x="5" y="9"/>
                      <a:pt x="3" y="12"/>
                      <a:pt x="2" y="12"/>
                    </a:cubicBezTo>
                    <a:cubicBezTo>
                      <a:pt x="1" y="12"/>
                      <a:pt x="1" y="12"/>
                      <a:pt x="0" y="12"/>
                    </a:cubicBezTo>
                    <a:cubicBezTo>
                      <a:pt x="1" y="18"/>
                      <a:pt x="2" y="18"/>
                      <a:pt x="5" y="20"/>
                    </a:cubicBezTo>
                    <a:cubicBezTo>
                      <a:pt x="8" y="22"/>
                      <a:pt x="5" y="24"/>
                      <a:pt x="6" y="26"/>
                    </a:cubicBezTo>
                    <a:cubicBezTo>
                      <a:pt x="8" y="27"/>
                      <a:pt x="7" y="31"/>
                      <a:pt x="8" y="35"/>
                    </a:cubicBezTo>
                    <a:cubicBezTo>
                      <a:pt x="8" y="38"/>
                      <a:pt x="8" y="45"/>
                      <a:pt x="8" y="50"/>
                    </a:cubicBezTo>
                    <a:cubicBezTo>
                      <a:pt x="10" y="50"/>
                      <a:pt x="12" y="50"/>
                      <a:pt x="14" y="50"/>
                    </a:cubicBezTo>
                    <a:cubicBezTo>
                      <a:pt x="16" y="50"/>
                      <a:pt x="18" y="46"/>
                      <a:pt x="19" y="48"/>
                    </a:cubicBezTo>
                    <a:cubicBezTo>
                      <a:pt x="18" y="45"/>
                      <a:pt x="17" y="44"/>
                      <a:pt x="17" y="41"/>
                    </a:cubicBezTo>
                    <a:cubicBezTo>
                      <a:pt x="17" y="38"/>
                      <a:pt x="16" y="36"/>
                      <a:pt x="17" y="3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9" name="Freeform 25">
                <a:extLst>
                  <a:ext uri="{FF2B5EF4-FFF2-40B4-BE49-F238E27FC236}">
                    <a16:creationId xmlns:a16="http://schemas.microsoft.com/office/drawing/2014/main" id="{B226C2BC-3080-4FC1-8129-4F10D69BDB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20969" y="3879004"/>
                <a:ext cx="33878" cy="96614"/>
              </a:xfrm>
              <a:custGeom>
                <a:avLst/>
                <a:gdLst>
                  <a:gd name="T0" fmla="*/ 13 w 15"/>
                  <a:gd name="T1" fmla="*/ 15 h 42"/>
                  <a:gd name="T2" fmla="*/ 12 w 15"/>
                  <a:gd name="T3" fmla="*/ 9 h 42"/>
                  <a:gd name="T4" fmla="*/ 7 w 15"/>
                  <a:gd name="T5" fmla="*/ 1 h 42"/>
                  <a:gd name="T6" fmla="*/ 1 w 15"/>
                  <a:gd name="T7" fmla="*/ 0 h 42"/>
                  <a:gd name="T8" fmla="*/ 0 w 15"/>
                  <a:gd name="T9" fmla="*/ 0 h 42"/>
                  <a:gd name="T10" fmla="*/ 2 w 15"/>
                  <a:gd name="T11" fmla="*/ 5 h 42"/>
                  <a:gd name="T12" fmla="*/ 4 w 15"/>
                  <a:gd name="T13" fmla="*/ 10 h 42"/>
                  <a:gd name="T14" fmla="*/ 4 w 15"/>
                  <a:gd name="T15" fmla="*/ 22 h 42"/>
                  <a:gd name="T16" fmla="*/ 6 w 15"/>
                  <a:gd name="T17" fmla="*/ 33 h 42"/>
                  <a:gd name="T18" fmla="*/ 9 w 15"/>
                  <a:gd name="T19" fmla="*/ 42 h 42"/>
                  <a:gd name="T20" fmla="*/ 11 w 15"/>
                  <a:gd name="T21" fmla="*/ 41 h 42"/>
                  <a:gd name="T22" fmla="*/ 15 w 15"/>
                  <a:gd name="T23" fmla="*/ 39 h 42"/>
                  <a:gd name="T24" fmla="*/ 15 w 15"/>
                  <a:gd name="T25" fmla="*/ 24 h 42"/>
                  <a:gd name="T26" fmla="*/ 13 w 15"/>
                  <a:gd name="T27" fmla="*/ 15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5" h="42">
                    <a:moveTo>
                      <a:pt x="13" y="15"/>
                    </a:moveTo>
                    <a:cubicBezTo>
                      <a:pt x="12" y="13"/>
                      <a:pt x="15" y="11"/>
                      <a:pt x="12" y="9"/>
                    </a:cubicBezTo>
                    <a:cubicBezTo>
                      <a:pt x="9" y="7"/>
                      <a:pt x="8" y="7"/>
                      <a:pt x="7" y="1"/>
                    </a:cubicBezTo>
                    <a:cubicBezTo>
                      <a:pt x="6" y="1"/>
                      <a:pt x="3" y="0"/>
                      <a:pt x="1" y="0"/>
                    </a:cubicBezTo>
                    <a:cubicBezTo>
                      <a:pt x="1" y="0"/>
                      <a:pt x="1" y="0"/>
                      <a:pt x="0" y="0"/>
                    </a:cubicBezTo>
                    <a:cubicBezTo>
                      <a:pt x="1" y="3"/>
                      <a:pt x="1" y="5"/>
                      <a:pt x="2" y="5"/>
                    </a:cubicBezTo>
                    <a:cubicBezTo>
                      <a:pt x="3" y="6"/>
                      <a:pt x="4" y="8"/>
                      <a:pt x="4" y="10"/>
                    </a:cubicBezTo>
                    <a:cubicBezTo>
                      <a:pt x="4" y="13"/>
                      <a:pt x="3" y="19"/>
                      <a:pt x="4" y="22"/>
                    </a:cubicBezTo>
                    <a:cubicBezTo>
                      <a:pt x="5" y="24"/>
                      <a:pt x="6" y="28"/>
                      <a:pt x="6" y="33"/>
                    </a:cubicBezTo>
                    <a:cubicBezTo>
                      <a:pt x="6" y="35"/>
                      <a:pt x="8" y="39"/>
                      <a:pt x="9" y="42"/>
                    </a:cubicBezTo>
                    <a:cubicBezTo>
                      <a:pt x="10" y="41"/>
                      <a:pt x="10" y="41"/>
                      <a:pt x="11" y="41"/>
                    </a:cubicBezTo>
                    <a:cubicBezTo>
                      <a:pt x="12" y="40"/>
                      <a:pt x="14" y="39"/>
                      <a:pt x="15" y="39"/>
                    </a:cubicBezTo>
                    <a:cubicBezTo>
                      <a:pt x="15" y="34"/>
                      <a:pt x="15" y="27"/>
                      <a:pt x="15" y="24"/>
                    </a:cubicBezTo>
                    <a:cubicBezTo>
                      <a:pt x="14" y="20"/>
                      <a:pt x="15" y="16"/>
                      <a:pt x="13" y="1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0" name="Freeform 26">
                <a:extLst>
                  <a:ext uri="{FF2B5EF4-FFF2-40B4-BE49-F238E27FC236}">
                    <a16:creationId xmlns:a16="http://schemas.microsoft.com/office/drawing/2014/main" id="{D3C41865-341D-493A-8B9E-31A51B5698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1574" y="3842617"/>
                <a:ext cx="139275" cy="212049"/>
              </a:xfrm>
              <a:custGeom>
                <a:avLst/>
                <a:gdLst>
                  <a:gd name="T0" fmla="*/ 25 w 60"/>
                  <a:gd name="T1" fmla="*/ 88 h 92"/>
                  <a:gd name="T2" fmla="*/ 47 w 60"/>
                  <a:gd name="T3" fmla="*/ 88 h 92"/>
                  <a:gd name="T4" fmla="*/ 58 w 60"/>
                  <a:gd name="T5" fmla="*/ 92 h 92"/>
                  <a:gd name="T6" fmla="*/ 60 w 60"/>
                  <a:gd name="T7" fmla="*/ 85 h 92"/>
                  <a:gd name="T8" fmla="*/ 59 w 60"/>
                  <a:gd name="T9" fmla="*/ 84 h 92"/>
                  <a:gd name="T10" fmla="*/ 53 w 60"/>
                  <a:gd name="T11" fmla="*/ 79 h 92"/>
                  <a:gd name="T12" fmla="*/ 52 w 60"/>
                  <a:gd name="T13" fmla="*/ 76 h 92"/>
                  <a:gd name="T14" fmla="*/ 50 w 60"/>
                  <a:gd name="T15" fmla="*/ 71 h 92"/>
                  <a:gd name="T16" fmla="*/ 48 w 60"/>
                  <a:gd name="T17" fmla="*/ 65 h 92"/>
                  <a:gd name="T18" fmla="*/ 47 w 60"/>
                  <a:gd name="T19" fmla="*/ 58 h 92"/>
                  <a:gd name="T20" fmla="*/ 51 w 60"/>
                  <a:gd name="T21" fmla="*/ 50 h 92"/>
                  <a:gd name="T22" fmla="*/ 55 w 60"/>
                  <a:gd name="T23" fmla="*/ 45 h 92"/>
                  <a:gd name="T24" fmla="*/ 53 w 60"/>
                  <a:gd name="T25" fmla="*/ 39 h 92"/>
                  <a:gd name="T26" fmla="*/ 46 w 60"/>
                  <a:gd name="T27" fmla="*/ 32 h 92"/>
                  <a:gd name="T28" fmla="*/ 44 w 60"/>
                  <a:gd name="T29" fmla="*/ 27 h 92"/>
                  <a:gd name="T30" fmla="*/ 51 w 60"/>
                  <a:gd name="T31" fmla="*/ 26 h 92"/>
                  <a:gd name="T32" fmla="*/ 54 w 60"/>
                  <a:gd name="T33" fmla="*/ 24 h 92"/>
                  <a:gd name="T34" fmla="*/ 51 w 60"/>
                  <a:gd name="T35" fmla="*/ 14 h 92"/>
                  <a:gd name="T36" fmla="*/ 50 w 60"/>
                  <a:gd name="T37" fmla="*/ 7 h 92"/>
                  <a:gd name="T38" fmla="*/ 45 w 60"/>
                  <a:gd name="T39" fmla="*/ 0 h 92"/>
                  <a:gd name="T40" fmla="*/ 45 w 60"/>
                  <a:gd name="T41" fmla="*/ 0 h 92"/>
                  <a:gd name="T42" fmla="*/ 44 w 60"/>
                  <a:gd name="T43" fmla="*/ 4 h 92"/>
                  <a:gd name="T44" fmla="*/ 47 w 60"/>
                  <a:gd name="T45" fmla="*/ 7 h 92"/>
                  <a:gd name="T46" fmla="*/ 48 w 60"/>
                  <a:gd name="T47" fmla="*/ 12 h 92"/>
                  <a:gd name="T48" fmla="*/ 43 w 60"/>
                  <a:gd name="T49" fmla="*/ 15 h 92"/>
                  <a:gd name="T50" fmla="*/ 38 w 60"/>
                  <a:gd name="T51" fmla="*/ 24 h 92"/>
                  <a:gd name="T52" fmla="*/ 36 w 60"/>
                  <a:gd name="T53" fmla="*/ 29 h 92"/>
                  <a:gd name="T54" fmla="*/ 36 w 60"/>
                  <a:gd name="T55" fmla="*/ 33 h 92"/>
                  <a:gd name="T56" fmla="*/ 32 w 60"/>
                  <a:gd name="T57" fmla="*/ 38 h 92"/>
                  <a:gd name="T58" fmla="*/ 26 w 60"/>
                  <a:gd name="T59" fmla="*/ 50 h 92"/>
                  <a:gd name="T60" fmla="*/ 22 w 60"/>
                  <a:gd name="T61" fmla="*/ 54 h 92"/>
                  <a:gd name="T62" fmla="*/ 17 w 60"/>
                  <a:gd name="T63" fmla="*/ 50 h 92"/>
                  <a:gd name="T64" fmla="*/ 12 w 60"/>
                  <a:gd name="T65" fmla="*/ 51 h 92"/>
                  <a:gd name="T66" fmla="*/ 3 w 60"/>
                  <a:gd name="T67" fmla="*/ 59 h 92"/>
                  <a:gd name="T68" fmla="*/ 0 w 60"/>
                  <a:gd name="T69" fmla="*/ 68 h 92"/>
                  <a:gd name="T70" fmla="*/ 4 w 60"/>
                  <a:gd name="T71" fmla="*/ 72 h 92"/>
                  <a:gd name="T72" fmla="*/ 10 w 60"/>
                  <a:gd name="T73" fmla="*/ 74 h 92"/>
                  <a:gd name="T74" fmla="*/ 12 w 60"/>
                  <a:gd name="T75" fmla="*/ 82 h 92"/>
                  <a:gd name="T76" fmla="*/ 11 w 60"/>
                  <a:gd name="T77" fmla="*/ 89 h 92"/>
                  <a:gd name="T78" fmla="*/ 22 w 60"/>
                  <a:gd name="T79" fmla="*/ 89 h 92"/>
                  <a:gd name="T80" fmla="*/ 25 w 60"/>
                  <a:gd name="T81" fmla="*/ 88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60" h="92">
                    <a:moveTo>
                      <a:pt x="25" y="88"/>
                    </a:moveTo>
                    <a:cubicBezTo>
                      <a:pt x="25" y="88"/>
                      <a:pt x="44" y="89"/>
                      <a:pt x="47" y="88"/>
                    </a:cubicBezTo>
                    <a:cubicBezTo>
                      <a:pt x="49" y="88"/>
                      <a:pt x="58" y="92"/>
                      <a:pt x="58" y="92"/>
                    </a:cubicBezTo>
                    <a:cubicBezTo>
                      <a:pt x="58" y="92"/>
                      <a:pt x="58" y="88"/>
                      <a:pt x="60" y="85"/>
                    </a:cubicBezTo>
                    <a:cubicBezTo>
                      <a:pt x="59" y="85"/>
                      <a:pt x="59" y="84"/>
                      <a:pt x="59" y="84"/>
                    </a:cubicBezTo>
                    <a:cubicBezTo>
                      <a:pt x="58" y="82"/>
                      <a:pt x="55" y="80"/>
                      <a:pt x="53" y="79"/>
                    </a:cubicBezTo>
                    <a:cubicBezTo>
                      <a:pt x="52" y="77"/>
                      <a:pt x="52" y="76"/>
                      <a:pt x="52" y="76"/>
                    </a:cubicBezTo>
                    <a:cubicBezTo>
                      <a:pt x="52" y="76"/>
                      <a:pt x="52" y="73"/>
                      <a:pt x="50" y="71"/>
                    </a:cubicBezTo>
                    <a:cubicBezTo>
                      <a:pt x="49" y="69"/>
                      <a:pt x="48" y="67"/>
                      <a:pt x="48" y="65"/>
                    </a:cubicBezTo>
                    <a:cubicBezTo>
                      <a:pt x="48" y="62"/>
                      <a:pt x="47" y="60"/>
                      <a:pt x="47" y="58"/>
                    </a:cubicBezTo>
                    <a:cubicBezTo>
                      <a:pt x="47" y="56"/>
                      <a:pt x="50" y="53"/>
                      <a:pt x="51" y="50"/>
                    </a:cubicBezTo>
                    <a:cubicBezTo>
                      <a:pt x="52" y="48"/>
                      <a:pt x="53" y="46"/>
                      <a:pt x="55" y="45"/>
                    </a:cubicBezTo>
                    <a:cubicBezTo>
                      <a:pt x="54" y="44"/>
                      <a:pt x="53" y="42"/>
                      <a:pt x="53" y="39"/>
                    </a:cubicBezTo>
                    <a:cubicBezTo>
                      <a:pt x="52" y="36"/>
                      <a:pt x="49" y="35"/>
                      <a:pt x="46" y="32"/>
                    </a:cubicBezTo>
                    <a:cubicBezTo>
                      <a:pt x="43" y="29"/>
                      <a:pt x="44" y="28"/>
                      <a:pt x="44" y="27"/>
                    </a:cubicBezTo>
                    <a:cubicBezTo>
                      <a:pt x="44" y="25"/>
                      <a:pt x="48" y="25"/>
                      <a:pt x="51" y="26"/>
                    </a:cubicBezTo>
                    <a:cubicBezTo>
                      <a:pt x="54" y="26"/>
                      <a:pt x="55" y="25"/>
                      <a:pt x="54" y="24"/>
                    </a:cubicBezTo>
                    <a:cubicBezTo>
                      <a:pt x="53" y="24"/>
                      <a:pt x="51" y="18"/>
                      <a:pt x="51" y="14"/>
                    </a:cubicBezTo>
                    <a:cubicBezTo>
                      <a:pt x="51" y="11"/>
                      <a:pt x="50" y="9"/>
                      <a:pt x="50" y="7"/>
                    </a:cubicBezTo>
                    <a:cubicBezTo>
                      <a:pt x="50" y="5"/>
                      <a:pt x="47" y="0"/>
                      <a:pt x="45" y="0"/>
                    </a:cubicBezTo>
                    <a:cubicBezTo>
                      <a:pt x="45" y="0"/>
                      <a:pt x="45" y="0"/>
                      <a:pt x="45" y="0"/>
                    </a:cubicBezTo>
                    <a:cubicBezTo>
                      <a:pt x="44" y="1"/>
                      <a:pt x="44" y="3"/>
                      <a:pt x="44" y="4"/>
                    </a:cubicBezTo>
                    <a:cubicBezTo>
                      <a:pt x="44" y="5"/>
                      <a:pt x="46" y="7"/>
                      <a:pt x="47" y="7"/>
                    </a:cubicBezTo>
                    <a:cubicBezTo>
                      <a:pt x="49" y="8"/>
                      <a:pt x="48" y="10"/>
                      <a:pt x="48" y="12"/>
                    </a:cubicBezTo>
                    <a:cubicBezTo>
                      <a:pt x="48" y="14"/>
                      <a:pt x="44" y="14"/>
                      <a:pt x="43" y="15"/>
                    </a:cubicBezTo>
                    <a:cubicBezTo>
                      <a:pt x="42" y="16"/>
                      <a:pt x="38" y="23"/>
                      <a:pt x="38" y="24"/>
                    </a:cubicBezTo>
                    <a:cubicBezTo>
                      <a:pt x="39" y="25"/>
                      <a:pt x="38" y="28"/>
                      <a:pt x="36" y="29"/>
                    </a:cubicBezTo>
                    <a:cubicBezTo>
                      <a:pt x="35" y="29"/>
                      <a:pt x="36" y="32"/>
                      <a:pt x="36" y="33"/>
                    </a:cubicBezTo>
                    <a:cubicBezTo>
                      <a:pt x="36" y="34"/>
                      <a:pt x="32" y="36"/>
                      <a:pt x="32" y="38"/>
                    </a:cubicBezTo>
                    <a:cubicBezTo>
                      <a:pt x="32" y="40"/>
                      <a:pt x="27" y="48"/>
                      <a:pt x="26" y="50"/>
                    </a:cubicBezTo>
                    <a:cubicBezTo>
                      <a:pt x="24" y="53"/>
                      <a:pt x="23" y="56"/>
                      <a:pt x="22" y="54"/>
                    </a:cubicBezTo>
                    <a:cubicBezTo>
                      <a:pt x="22" y="52"/>
                      <a:pt x="18" y="49"/>
                      <a:pt x="17" y="50"/>
                    </a:cubicBezTo>
                    <a:cubicBezTo>
                      <a:pt x="15" y="51"/>
                      <a:pt x="13" y="50"/>
                      <a:pt x="12" y="51"/>
                    </a:cubicBezTo>
                    <a:cubicBezTo>
                      <a:pt x="11" y="51"/>
                      <a:pt x="3" y="59"/>
                      <a:pt x="3" y="59"/>
                    </a:cubicBezTo>
                    <a:cubicBezTo>
                      <a:pt x="3" y="59"/>
                      <a:pt x="2" y="63"/>
                      <a:pt x="0" y="68"/>
                    </a:cubicBezTo>
                    <a:cubicBezTo>
                      <a:pt x="1" y="69"/>
                      <a:pt x="3" y="71"/>
                      <a:pt x="4" y="72"/>
                    </a:cubicBezTo>
                    <a:cubicBezTo>
                      <a:pt x="5" y="75"/>
                      <a:pt x="9" y="73"/>
                      <a:pt x="10" y="74"/>
                    </a:cubicBezTo>
                    <a:cubicBezTo>
                      <a:pt x="11" y="74"/>
                      <a:pt x="13" y="80"/>
                      <a:pt x="12" y="82"/>
                    </a:cubicBezTo>
                    <a:cubicBezTo>
                      <a:pt x="12" y="83"/>
                      <a:pt x="10" y="87"/>
                      <a:pt x="11" y="89"/>
                    </a:cubicBezTo>
                    <a:cubicBezTo>
                      <a:pt x="22" y="89"/>
                      <a:pt x="22" y="89"/>
                      <a:pt x="22" y="89"/>
                    </a:cubicBezTo>
                    <a:lnTo>
                      <a:pt x="25" y="88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1" name="Freeform 27">
                <a:extLst>
                  <a:ext uri="{FF2B5EF4-FFF2-40B4-BE49-F238E27FC236}">
                    <a16:creationId xmlns:a16="http://schemas.microsoft.com/office/drawing/2014/main" id="{C0C25430-6E1D-49CD-9B8B-2D00733641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61619" y="3886533"/>
                <a:ext cx="115435" cy="116689"/>
              </a:xfrm>
              <a:custGeom>
                <a:avLst/>
                <a:gdLst>
                  <a:gd name="T0" fmla="*/ 47 w 50"/>
                  <a:gd name="T1" fmla="*/ 43 h 51"/>
                  <a:gd name="T2" fmla="*/ 44 w 50"/>
                  <a:gd name="T3" fmla="*/ 34 h 51"/>
                  <a:gd name="T4" fmla="*/ 47 w 50"/>
                  <a:gd name="T5" fmla="*/ 26 h 51"/>
                  <a:gd name="T6" fmla="*/ 50 w 50"/>
                  <a:gd name="T7" fmla="*/ 21 h 51"/>
                  <a:gd name="T8" fmla="*/ 47 w 50"/>
                  <a:gd name="T9" fmla="*/ 8 h 51"/>
                  <a:gd name="T10" fmla="*/ 46 w 50"/>
                  <a:gd name="T11" fmla="*/ 8 h 51"/>
                  <a:gd name="T12" fmla="*/ 36 w 50"/>
                  <a:gd name="T13" fmla="*/ 9 h 51"/>
                  <a:gd name="T14" fmla="*/ 29 w 50"/>
                  <a:gd name="T15" fmla="*/ 5 h 51"/>
                  <a:gd name="T16" fmla="*/ 23 w 50"/>
                  <a:gd name="T17" fmla="*/ 3 h 51"/>
                  <a:gd name="T18" fmla="*/ 20 w 50"/>
                  <a:gd name="T19" fmla="*/ 2 h 51"/>
                  <a:gd name="T20" fmla="*/ 16 w 50"/>
                  <a:gd name="T21" fmla="*/ 3 h 51"/>
                  <a:gd name="T22" fmla="*/ 12 w 50"/>
                  <a:gd name="T23" fmla="*/ 5 h 51"/>
                  <a:gd name="T24" fmla="*/ 8 w 50"/>
                  <a:gd name="T25" fmla="*/ 4 h 51"/>
                  <a:gd name="T26" fmla="*/ 5 w 50"/>
                  <a:gd name="T27" fmla="*/ 4 h 51"/>
                  <a:gd name="T28" fmla="*/ 5 w 50"/>
                  <a:gd name="T29" fmla="*/ 11 h 51"/>
                  <a:gd name="T30" fmla="*/ 6 w 50"/>
                  <a:gd name="T31" fmla="*/ 15 h 51"/>
                  <a:gd name="T32" fmla="*/ 8 w 50"/>
                  <a:gd name="T33" fmla="*/ 20 h 51"/>
                  <a:gd name="T34" fmla="*/ 4 w 50"/>
                  <a:gd name="T35" fmla="*/ 20 h 51"/>
                  <a:gd name="T36" fmla="*/ 5 w 50"/>
                  <a:gd name="T37" fmla="*/ 25 h 51"/>
                  <a:gd name="T38" fmla="*/ 2 w 50"/>
                  <a:gd name="T39" fmla="*/ 29 h 51"/>
                  <a:gd name="T40" fmla="*/ 1 w 50"/>
                  <a:gd name="T41" fmla="*/ 35 h 51"/>
                  <a:gd name="T42" fmla="*/ 4 w 50"/>
                  <a:gd name="T43" fmla="*/ 38 h 51"/>
                  <a:gd name="T44" fmla="*/ 10 w 50"/>
                  <a:gd name="T45" fmla="*/ 44 h 51"/>
                  <a:gd name="T46" fmla="*/ 8 w 50"/>
                  <a:gd name="T47" fmla="*/ 51 h 51"/>
                  <a:gd name="T48" fmla="*/ 32 w 50"/>
                  <a:gd name="T49" fmla="*/ 46 h 51"/>
                  <a:gd name="T50" fmla="*/ 47 w 50"/>
                  <a:gd name="T51" fmla="*/ 47 h 51"/>
                  <a:gd name="T52" fmla="*/ 47 w 50"/>
                  <a:gd name="T53" fmla="*/ 43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50" h="51">
                    <a:moveTo>
                      <a:pt x="47" y="43"/>
                    </a:moveTo>
                    <a:cubicBezTo>
                      <a:pt x="46" y="42"/>
                      <a:pt x="44" y="35"/>
                      <a:pt x="44" y="34"/>
                    </a:cubicBezTo>
                    <a:cubicBezTo>
                      <a:pt x="44" y="33"/>
                      <a:pt x="47" y="28"/>
                      <a:pt x="47" y="26"/>
                    </a:cubicBezTo>
                    <a:cubicBezTo>
                      <a:pt x="47" y="24"/>
                      <a:pt x="50" y="23"/>
                      <a:pt x="50" y="21"/>
                    </a:cubicBezTo>
                    <a:cubicBezTo>
                      <a:pt x="50" y="19"/>
                      <a:pt x="49" y="13"/>
                      <a:pt x="47" y="8"/>
                    </a:cubicBezTo>
                    <a:cubicBezTo>
                      <a:pt x="47" y="8"/>
                      <a:pt x="46" y="8"/>
                      <a:pt x="46" y="8"/>
                    </a:cubicBezTo>
                    <a:cubicBezTo>
                      <a:pt x="44" y="6"/>
                      <a:pt x="38" y="6"/>
                      <a:pt x="36" y="9"/>
                    </a:cubicBezTo>
                    <a:cubicBezTo>
                      <a:pt x="34" y="11"/>
                      <a:pt x="30" y="7"/>
                      <a:pt x="29" y="5"/>
                    </a:cubicBezTo>
                    <a:cubicBezTo>
                      <a:pt x="29" y="4"/>
                      <a:pt x="25" y="2"/>
                      <a:pt x="23" y="3"/>
                    </a:cubicBezTo>
                    <a:cubicBezTo>
                      <a:pt x="21" y="5"/>
                      <a:pt x="20" y="4"/>
                      <a:pt x="20" y="2"/>
                    </a:cubicBezTo>
                    <a:cubicBezTo>
                      <a:pt x="20" y="0"/>
                      <a:pt x="17" y="1"/>
                      <a:pt x="16" y="3"/>
                    </a:cubicBezTo>
                    <a:cubicBezTo>
                      <a:pt x="16" y="5"/>
                      <a:pt x="13" y="6"/>
                      <a:pt x="12" y="5"/>
                    </a:cubicBezTo>
                    <a:cubicBezTo>
                      <a:pt x="11" y="4"/>
                      <a:pt x="9" y="2"/>
                      <a:pt x="8" y="4"/>
                    </a:cubicBezTo>
                    <a:cubicBezTo>
                      <a:pt x="7" y="5"/>
                      <a:pt x="6" y="5"/>
                      <a:pt x="5" y="4"/>
                    </a:cubicBezTo>
                    <a:cubicBezTo>
                      <a:pt x="4" y="7"/>
                      <a:pt x="4" y="10"/>
                      <a:pt x="5" y="11"/>
                    </a:cubicBezTo>
                    <a:cubicBezTo>
                      <a:pt x="6" y="12"/>
                      <a:pt x="7" y="14"/>
                      <a:pt x="6" y="15"/>
                    </a:cubicBezTo>
                    <a:cubicBezTo>
                      <a:pt x="6" y="16"/>
                      <a:pt x="9" y="18"/>
                      <a:pt x="8" y="20"/>
                    </a:cubicBezTo>
                    <a:cubicBezTo>
                      <a:pt x="6" y="21"/>
                      <a:pt x="5" y="18"/>
                      <a:pt x="4" y="20"/>
                    </a:cubicBezTo>
                    <a:cubicBezTo>
                      <a:pt x="3" y="22"/>
                      <a:pt x="6" y="24"/>
                      <a:pt x="5" y="25"/>
                    </a:cubicBezTo>
                    <a:cubicBezTo>
                      <a:pt x="4" y="26"/>
                      <a:pt x="2" y="27"/>
                      <a:pt x="2" y="29"/>
                    </a:cubicBezTo>
                    <a:cubicBezTo>
                      <a:pt x="3" y="32"/>
                      <a:pt x="3" y="34"/>
                      <a:pt x="1" y="35"/>
                    </a:cubicBezTo>
                    <a:cubicBezTo>
                      <a:pt x="0" y="36"/>
                      <a:pt x="2" y="36"/>
                      <a:pt x="4" y="38"/>
                    </a:cubicBezTo>
                    <a:cubicBezTo>
                      <a:pt x="7" y="39"/>
                      <a:pt x="11" y="41"/>
                      <a:pt x="10" y="44"/>
                    </a:cubicBezTo>
                    <a:cubicBezTo>
                      <a:pt x="10" y="46"/>
                      <a:pt x="9" y="47"/>
                      <a:pt x="8" y="51"/>
                    </a:cubicBezTo>
                    <a:cubicBezTo>
                      <a:pt x="13" y="51"/>
                      <a:pt x="22" y="48"/>
                      <a:pt x="32" y="46"/>
                    </a:cubicBezTo>
                    <a:cubicBezTo>
                      <a:pt x="38" y="45"/>
                      <a:pt x="43" y="46"/>
                      <a:pt x="47" y="47"/>
                    </a:cubicBezTo>
                    <a:cubicBezTo>
                      <a:pt x="48" y="45"/>
                      <a:pt x="48" y="44"/>
                      <a:pt x="47" y="4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2" name="Freeform 28">
                <a:extLst>
                  <a:ext uri="{FF2B5EF4-FFF2-40B4-BE49-F238E27FC236}">
                    <a16:creationId xmlns:a16="http://schemas.microsoft.com/office/drawing/2014/main" id="{BC0F3890-7774-4285-B53B-4370ACD070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63252" y="3879004"/>
                <a:ext cx="77793" cy="120454"/>
              </a:xfrm>
              <a:custGeom>
                <a:avLst/>
                <a:gdLst>
                  <a:gd name="T0" fmla="*/ 29 w 34"/>
                  <a:gd name="T1" fmla="*/ 22 h 52"/>
                  <a:gd name="T2" fmla="*/ 29 w 34"/>
                  <a:gd name="T3" fmla="*/ 10 h 52"/>
                  <a:gd name="T4" fmla="*/ 27 w 34"/>
                  <a:gd name="T5" fmla="*/ 5 h 52"/>
                  <a:gd name="T6" fmla="*/ 25 w 34"/>
                  <a:gd name="T7" fmla="*/ 0 h 52"/>
                  <a:gd name="T8" fmla="*/ 23 w 34"/>
                  <a:gd name="T9" fmla="*/ 2 h 52"/>
                  <a:gd name="T10" fmla="*/ 3 w 34"/>
                  <a:gd name="T11" fmla="*/ 2 h 52"/>
                  <a:gd name="T12" fmla="*/ 4 w 34"/>
                  <a:gd name="T13" fmla="*/ 10 h 52"/>
                  <a:gd name="T14" fmla="*/ 3 w 34"/>
                  <a:gd name="T15" fmla="*/ 11 h 52"/>
                  <a:gd name="T16" fmla="*/ 6 w 34"/>
                  <a:gd name="T17" fmla="*/ 24 h 52"/>
                  <a:gd name="T18" fmla="*/ 3 w 34"/>
                  <a:gd name="T19" fmla="*/ 29 h 52"/>
                  <a:gd name="T20" fmla="*/ 0 w 34"/>
                  <a:gd name="T21" fmla="*/ 37 h 52"/>
                  <a:gd name="T22" fmla="*/ 3 w 34"/>
                  <a:gd name="T23" fmla="*/ 46 h 52"/>
                  <a:gd name="T24" fmla="*/ 3 w 34"/>
                  <a:gd name="T25" fmla="*/ 50 h 52"/>
                  <a:gd name="T26" fmla="*/ 9 w 34"/>
                  <a:gd name="T27" fmla="*/ 52 h 52"/>
                  <a:gd name="T28" fmla="*/ 25 w 34"/>
                  <a:gd name="T29" fmla="*/ 46 h 52"/>
                  <a:gd name="T30" fmla="*/ 34 w 34"/>
                  <a:gd name="T31" fmla="*/ 42 h 52"/>
                  <a:gd name="T32" fmla="*/ 31 w 34"/>
                  <a:gd name="T33" fmla="*/ 33 h 52"/>
                  <a:gd name="T34" fmla="*/ 29 w 34"/>
                  <a:gd name="T35" fmla="*/ 2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4" h="52">
                    <a:moveTo>
                      <a:pt x="29" y="22"/>
                    </a:moveTo>
                    <a:cubicBezTo>
                      <a:pt x="28" y="19"/>
                      <a:pt x="29" y="13"/>
                      <a:pt x="29" y="10"/>
                    </a:cubicBezTo>
                    <a:cubicBezTo>
                      <a:pt x="29" y="8"/>
                      <a:pt x="28" y="6"/>
                      <a:pt x="27" y="5"/>
                    </a:cubicBezTo>
                    <a:cubicBezTo>
                      <a:pt x="26" y="5"/>
                      <a:pt x="26" y="3"/>
                      <a:pt x="25" y="0"/>
                    </a:cubicBezTo>
                    <a:cubicBezTo>
                      <a:pt x="24" y="1"/>
                      <a:pt x="24" y="3"/>
                      <a:pt x="23" y="2"/>
                    </a:cubicBezTo>
                    <a:cubicBezTo>
                      <a:pt x="23" y="1"/>
                      <a:pt x="4" y="0"/>
                      <a:pt x="3" y="2"/>
                    </a:cubicBezTo>
                    <a:cubicBezTo>
                      <a:pt x="2" y="3"/>
                      <a:pt x="5" y="8"/>
                      <a:pt x="4" y="10"/>
                    </a:cubicBezTo>
                    <a:cubicBezTo>
                      <a:pt x="4" y="11"/>
                      <a:pt x="4" y="11"/>
                      <a:pt x="3" y="11"/>
                    </a:cubicBezTo>
                    <a:cubicBezTo>
                      <a:pt x="5" y="16"/>
                      <a:pt x="6" y="22"/>
                      <a:pt x="6" y="24"/>
                    </a:cubicBezTo>
                    <a:cubicBezTo>
                      <a:pt x="6" y="26"/>
                      <a:pt x="3" y="27"/>
                      <a:pt x="3" y="29"/>
                    </a:cubicBezTo>
                    <a:cubicBezTo>
                      <a:pt x="3" y="31"/>
                      <a:pt x="0" y="36"/>
                      <a:pt x="0" y="37"/>
                    </a:cubicBezTo>
                    <a:cubicBezTo>
                      <a:pt x="0" y="38"/>
                      <a:pt x="2" y="45"/>
                      <a:pt x="3" y="46"/>
                    </a:cubicBezTo>
                    <a:cubicBezTo>
                      <a:pt x="4" y="47"/>
                      <a:pt x="4" y="48"/>
                      <a:pt x="3" y="50"/>
                    </a:cubicBezTo>
                    <a:cubicBezTo>
                      <a:pt x="7" y="51"/>
                      <a:pt x="9" y="52"/>
                      <a:pt x="9" y="52"/>
                    </a:cubicBezTo>
                    <a:cubicBezTo>
                      <a:pt x="11" y="52"/>
                      <a:pt x="21" y="48"/>
                      <a:pt x="25" y="46"/>
                    </a:cubicBezTo>
                    <a:cubicBezTo>
                      <a:pt x="28" y="44"/>
                      <a:pt x="32" y="43"/>
                      <a:pt x="34" y="42"/>
                    </a:cubicBezTo>
                    <a:cubicBezTo>
                      <a:pt x="33" y="39"/>
                      <a:pt x="31" y="35"/>
                      <a:pt x="31" y="33"/>
                    </a:cubicBezTo>
                    <a:cubicBezTo>
                      <a:pt x="31" y="28"/>
                      <a:pt x="30" y="24"/>
                      <a:pt x="29" y="2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3" name="Freeform 29">
                <a:extLst>
                  <a:ext uri="{FF2B5EF4-FFF2-40B4-BE49-F238E27FC236}">
                    <a16:creationId xmlns:a16="http://schemas.microsoft.com/office/drawing/2014/main" id="{575CECD2-8A40-4478-9071-E8AC630159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41165" y="3848891"/>
                <a:ext cx="140529" cy="106652"/>
              </a:xfrm>
              <a:custGeom>
                <a:avLst/>
                <a:gdLst>
                  <a:gd name="T0" fmla="*/ 20 w 61"/>
                  <a:gd name="T1" fmla="*/ 25 h 46"/>
                  <a:gd name="T2" fmla="*/ 24 w 61"/>
                  <a:gd name="T3" fmla="*/ 24 h 46"/>
                  <a:gd name="T4" fmla="*/ 30 w 61"/>
                  <a:gd name="T5" fmla="*/ 23 h 46"/>
                  <a:gd name="T6" fmla="*/ 37 w 61"/>
                  <a:gd name="T7" fmla="*/ 31 h 46"/>
                  <a:gd name="T8" fmla="*/ 38 w 61"/>
                  <a:gd name="T9" fmla="*/ 35 h 46"/>
                  <a:gd name="T10" fmla="*/ 38 w 61"/>
                  <a:gd name="T11" fmla="*/ 36 h 46"/>
                  <a:gd name="T12" fmla="*/ 44 w 61"/>
                  <a:gd name="T13" fmla="*/ 35 h 46"/>
                  <a:gd name="T14" fmla="*/ 46 w 61"/>
                  <a:gd name="T15" fmla="*/ 42 h 46"/>
                  <a:gd name="T16" fmla="*/ 50 w 61"/>
                  <a:gd name="T17" fmla="*/ 45 h 46"/>
                  <a:gd name="T18" fmla="*/ 53 w 61"/>
                  <a:gd name="T19" fmla="*/ 42 h 46"/>
                  <a:gd name="T20" fmla="*/ 55 w 61"/>
                  <a:gd name="T21" fmla="*/ 43 h 46"/>
                  <a:gd name="T22" fmla="*/ 57 w 61"/>
                  <a:gd name="T23" fmla="*/ 41 h 46"/>
                  <a:gd name="T24" fmla="*/ 56 w 61"/>
                  <a:gd name="T25" fmla="*/ 36 h 46"/>
                  <a:gd name="T26" fmla="*/ 60 w 61"/>
                  <a:gd name="T27" fmla="*/ 36 h 46"/>
                  <a:gd name="T28" fmla="*/ 58 w 61"/>
                  <a:gd name="T29" fmla="*/ 31 h 46"/>
                  <a:gd name="T30" fmla="*/ 57 w 61"/>
                  <a:gd name="T31" fmla="*/ 27 h 46"/>
                  <a:gd name="T32" fmla="*/ 57 w 61"/>
                  <a:gd name="T33" fmla="*/ 20 h 46"/>
                  <a:gd name="T34" fmla="*/ 56 w 61"/>
                  <a:gd name="T35" fmla="*/ 19 h 46"/>
                  <a:gd name="T36" fmla="*/ 54 w 61"/>
                  <a:gd name="T37" fmla="*/ 15 h 46"/>
                  <a:gd name="T38" fmla="*/ 54 w 61"/>
                  <a:gd name="T39" fmla="*/ 12 h 46"/>
                  <a:gd name="T40" fmla="*/ 51 w 61"/>
                  <a:gd name="T41" fmla="*/ 8 h 46"/>
                  <a:gd name="T42" fmla="*/ 48 w 61"/>
                  <a:gd name="T43" fmla="*/ 2 h 46"/>
                  <a:gd name="T44" fmla="*/ 42 w 61"/>
                  <a:gd name="T45" fmla="*/ 6 h 46"/>
                  <a:gd name="T46" fmla="*/ 37 w 61"/>
                  <a:gd name="T47" fmla="*/ 6 h 46"/>
                  <a:gd name="T48" fmla="*/ 32 w 61"/>
                  <a:gd name="T49" fmla="*/ 6 h 46"/>
                  <a:gd name="T50" fmla="*/ 30 w 61"/>
                  <a:gd name="T51" fmla="*/ 4 h 46"/>
                  <a:gd name="T52" fmla="*/ 30 w 61"/>
                  <a:gd name="T53" fmla="*/ 3 h 46"/>
                  <a:gd name="T54" fmla="*/ 29 w 61"/>
                  <a:gd name="T55" fmla="*/ 3 h 46"/>
                  <a:gd name="T56" fmla="*/ 17 w 61"/>
                  <a:gd name="T57" fmla="*/ 3 h 46"/>
                  <a:gd name="T58" fmla="*/ 12 w 61"/>
                  <a:gd name="T59" fmla="*/ 0 h 46"/>
                  <a:gd name="T60" fmla="*/ 10 w 61"/>
                  <a:gd name="T61" fmla="*/ 4 h 46"/>
                  <a:gd name="T62" fmla="*/ 10 w 61"/>
                  <a:gd name="T63" fmla="*/ 8 h 46"/>
                  <a:gd name="T64" fmla="*/ 7 w 61"/>
                  <a:gd name="T65" fmla="*/ 9 h 46"/>
                  <a:gd name="T66" fmla="*/ 1 w 61"/>
                  <a:gd name="T67" fmla="*/ 13 h 46"/>
                  <a:gd name="T68" fmla="*/ 0 w 61"/>
                  <a:gd name="T69" fmla="*/ 14 h 46"/>
                  <a:gd name="T70" fmla="*/ 6 w 61"/>
                  <a:gd name="T71" fmla="*/ 21 h 46"/>
                  <a:gd name="T72" fmla="*/ 15 w 61"/>
                  <a:gd name="T73" fmla="*/ 31 h 46"/>
                  <a:gd name="T74" fmla="*/ 20 w 61"/>
                  <a:gd name="T75" fmla="*/ 25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61" h="46">
                    <a:moveTo>
                      <a:pt x="20" y="25"/>
                    </a:moveTo>
                    <a:cubicBezTo>
                      <a:pt x="20" y="23"/>
                      <a:pt x="22" y="23"/>
                      <a:pt x="24" y="24"/>
                    </a:cubicBezTo>
                    <a:cubicBezTo>
                      <a:pt x="26" y="24"/>
                      <a:pt x="28" y="23"/>
                      <a:pt x="30" y="23"/>
                    </a:cubicBezTo>
                    <a:cubicBezTo>
                      <a:pt x="32" y="23"/>
                      <a:pt x="37" y="29"/>
                      <a:pt x="37" y="31"/>
                    </a:cubicBezTo>
                    <a:cubicBezTo>
                      <a:pt x="37" y="32"/>
                      <a:pt x="37" y="34"/>
                      <a:pt x="38" y="35"/>
                    </a:cubicBezTo>
                    <a:cubicBezTo>
                      <a:pt x="38" y="36"/>
                      <a:pt x="38" y="36"/>
                      <a:pt x="38" y="36"/>
                    </a:cubicBezTo>
                    <a:cubicBezTo>
                      <a:pt x="41" y="35"/>
                      <a:pt x="43" y="35"/>
                      <a:pt x="44" y="35"/>
                    </a:cubicBezTo>
                    <a:cubicBezTo>
                      <a:pt x="45" y="35"/>
                      <a:pt x="46" y="39"/>
                      <a:pt x="46" y="42"/>
                    </a:cubicBezTo>
                    <a:cubicBezTo>
                      <a:pt x="46" y="44"/>
                      <a:pt x="49" y="46"/>
                      <a:pt x="50" y="45"/>
                    </a:cubicBezTo>
                    <a:cubicBezTo>
                      <a:pt x="51" y="43"/>
                      <a:pt x="53" y="41"/>
                      <a:pt x="53" y="42"/>
                    </a:cubicBezTo>
                    <a:cubicBezTo>
                      <a:pt x="53" y="43"/>
                      <a:pt x="54" y="43"/>
                      <a:pt x="55" y="43"/>
                    </a:cubicBezTo>
                    <a:cubicBezTo>
                      <a:pt x="55" y="42"/>
                      <a:pt x="56" y="42"/>
                      <a:pt x="57" y="41"/>
                    </a:cubicBezTo>
                    <a:cubicBezTo>
                      <a:pt x="58" y="40"/>
                      <a:pt x="55" y="38"/>
                      <a:pt x="56" y="36"/>
                    </a:cubicBezTo>
                    <a:cubicBezTo>
                      <a:pt x="57" y="34"/>
                      <a:pt x="58" y="37"/>
                      <a:pt x="60" y="36"/>
                    </a:cubicBezTo>
                    <a:cubicBezTo>
                      <a:pt x="61" y="34"/>
                      <a:pt x="58" y="32"/>
                      <a:pt x="58" y="31"/>
                    </a:cubicBezTo>
                    <a:cubicBezTo>
                      <a:pt x="59" y="30"/>
                      <a:pt x="58" y="28"/>
                      <a:pt x="57" y="27"/>
                    </a:cubicBezTo>
                    <a:cubicBezTo>
                      <a:pt x="56" y="26"/>
                      <a:pt x="56" y="23"/>
                      <a:pt x="57" y="20"/>
                    </a:cubicBezTo>
                    <a:cubicBezTo>
                      <a:pt x="56" y="20"/>
                      <a:pt x="56" y="20"/>
                      <a:pt x="56" y="19"/>
                    </a:cubicBezTo>
                    <a:cubicBezTo>
                      <a:pt x="55" y="18"/>
                      <a:pt x="56" y="15"/>
                      <a:pt x="54" y="15"/>
                    </a:cubicBezTo>
                    <a:cubicBezTo>
                      <a:pt x="52" y="15"/>
                      <a:pt x="52" y="12"/>
                      <a:pt x="54" y="12"/>
                    </a:cubicBezTo>
                    <a:cubicBezTo>
                      <a:pt x="55" y="11"/>
                      <a:pt x="51" y="10"/>
                      <a:pt x="51" y="8"/>
                    </a:cubicBezTo>
                    <a:cubicBezTo>
                      <a:pt x="51" y="6"/>
                      <a:pt x="49" y="2"/>
                      <a:pt x="48" y="2"/>
                    </a:cubicBezTo>
                    <a:cubicBezTo>
                      <a:pt x="47" y="2"/>
                      <a:pt x="44" y="6"/>
                      <a:pt x="42" y="6"/>
                    </a:cubicBezTo>
                    <a:cubicBezTo>
                      <a:pt x="41" y="6"/>
                      <a:pt x="38" y="3"/>
                      <a:pt x="37" y="6"/>
                    </a:cubicBezTo>
                    <a:cubicBezTo>
                      <a:pt x="36" y="8"/>
                      <a:pt x="34" y="5"/>
                      <a:pt x="32" y="6"/>
                    </a:cubicBezTo>
                    <a:cubicBezTo>
                      <a:pt x="31" y="8"/>
                      <a:pt x="30" y="4"/>
                      <a:pt x="30" y="4"/>
                    </a:cubicBezTo>
                    <a:cubicBezTo>
                      <a:pt x="30" y="4"/>
                      <a:pt x="30" y="4"/>
                      <a:pt x="30" y="3"/>
                    </a:cubicBezTo>
                    <a:cubicBezTo>
                      <a:pt x="30" y="3"/>
                      <a:pt x="29" y="3"/>
                      <a:pt x="29" y="3"/>
                    </a:cubicBezTo>
                    <a:cubicBezTo>
                      <a:pt x="25" y="5"/>
                      <a:pt x="18" y="4"/>
                      <a:pt x="17" y="3"/>
                    </a:cubicBezTo>
                    <a:cubicBezTo>
                      <a:pt x="17" y="1"/>
                      <a:pt x="12" y="0"/>
                      <a:pt x="12" y="0"/>
                    </a:cubicBezTo>
                    <a:cubicBezTo>
                      <a:pt x="12" y="0"/>
                      <a:pt x="12" y="3"/>
                      <a:pt x="10" y="4"/>
                    </a:cubicBezTo>
                    <a:cubicBezTo>
                      <a:pt x="8" y="5"/>
                      <a:pt x="10" y="7"/>
                      <a:pt x="10" y="8"/>
                    </a:cubicBezTo>
                    <a:cubicBezTo>
                      <a:pt x="10" y="8"/>
                      <a:pt x="9" y="10"/>
                      <a:pt x="7" y="9"/>
                    </a:cubicBezTo>
                    <a:cubicBezTo>
                      <a:pt x="6" y="8"/>
                      <a:pt x="3" y="12"/>
                      <a:pt x="1" y="13"/>
                    </a:cubicBezTo>
                    <a:cubicBezTo>
                      <a:pt x="1" y="13"/>
                      <a:pt x="0" y="13"/>
                      <a:pt x="0" y="14"/>
                    </a:cubicBezTo>
                    <a:cubicBezTo>
                      <a:pt x="3" y="16"/>
                      <a:pt x="2" y="18"/>
                      <a:pt x="6" y="21"/>
                    </a:cubicBezTo>
                    <a:cubicBezTo>
                      <a:pt x="9" y="23"/>
                      <a:pt x="13" y="26"/>
                      <a:pt x="15" y="31"/>
                    </a:cubicBezTo>
                    <a:cubicBezTo>
                      <a:pt x="17" y="29"/>
                      <a:pt x="20" y="26"/>
                      <a:pt x="20" y="2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4" name="Freeform 30">
                <a:extLst>
                  <a:ext uri="{FF2B5EF4-FFF2-40B4-BE49-F238E27FC236}">
                    <a16:creationId xmlns:a16="http://schemas.microsoft.com/office/drawing/2014/main" id="{780996E7-D27F-4BF3-B82D-7BBE9CF9CD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08920" y="3929193"/>
                <a:ext cx="77793" cy="74029"/>
              </a:xfrm>
              <a:custGeom>
                <a:avLst/>
                <a:gdLst>
                  <a:gd name="T0" fmla="*/ 27 w 34"/>
                  <a:gd name="T1" fmla="*/ 19 h 32"/>
                  <a:gd name="T2" fmla="*/ 24 w 34"/>
                  <a:gd name="T3" fmla="*/ 16 h 32"/>
                  <a:gd name="T4" fmla="*/ 25 w 34"/>
                  <a:gd name="T5" fmla="*/ 10 h 32"/>
                  <a:gd name="T6" fmla="*/ 26 w 34"/>
                  <a:gd name="T7" fmla="*/ 8 h 32"/>
                  <a:gd name="T8" fmla="*/ 24 w 34"/>
                  <a:gd name="T9" fmla="*/ 7 h 32"/>
                  <a:gd name="T10" fmla="*/ 21 w 34"/>
                  <a:gd name="T11" fmla="*/ 10 h 32"/>
                  <a:gd name="T12" fmla="*/ 17 w 34"/>
                  <a:gd name="T13" fmla="*/ 7 h 32"/>
                  <a:gd name="T14" fmla="*/ 15 w 34"/>
                  <a:gd name="T15" fmla="*/ 0 h 32"/>
                  <a:gd name="T16" fmla="*/ 9 w 34"/>
                  <a:gd name="T17" fmla="*/ 1 h 32"/>
                  <a:gd name="T18" fmla="*/ 8 w 34"/>
                  <a:gd name="T19" fmla="*/ 5 h 32"/>
                  <a:gd name="T20" fmla="*/ 2 w 34"/>
                  <a:gd name="T21" fmla="*/ 10 h 32"/>
                  <a:gd name="T22" fmla="*/ 0 w 34"/>
                  <a:gd name="T23" fmla="*/ 13 h 32"/>
                  <a:gd name="T24" fmla="*/ 10 w 34"/>
                  <a:gd name="T25" fmla="*/ 20 h 32"/>
                  <a:gd name="T26" fmla="*/ 29 w 34"/>
                  <a:gd name="T27" fmla="*/ 32 h 32"/>
                  <a:gd name="T28" fmla="*/ 31 w 34"/>
                  <a:gd name="T29" fmla="*/ 32 h 32"/>
                  <a:gd name="T30" fmla="*/ 33 w 34"/>
                  <a:gd name="T31" fmla="*/ 25 h 32"/>
                  <a:gd name="T32" fmla="*/ 27 w 34"/>
                  <a:gd name="T33" fmla="*/ 19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4" h="32">
                    <a:moveTo>
                      <a:pt x="27" y="19"/>
                    </a:moveTo>
                    <a:cubicBezTo>
                      <a:pt x="25" y="17"/>
                      <a:pt x="23" y="17"/>
                      <a:pt x="24" y="16"/>
                    </a:cubicBezTo>
                    <a:cubicBezTo>
                      <a:pt x="26" y="15"/>
                      <a:pt x="26" y="13"/>
                      <a:pt x="25" y="10"/>
                    </a:cubicBezTo>
                    <a:cubicBezTo>
                      <a:pt x="25" y="9"/>
                      <a:pt x="25" y="9"/>
                      <a:pt x="26" y="8"/>
                    </a:cubicBezTo>
                    <a:cubicBezTo>
                      <a:pt x="25" y="8"/>
                      <a:pt x="24" y="8"/>
                      <a:pt x="24" y="7"/>
                    </a:cubicBezTo>
                    <a:cubicBezTo>
                      <a:pt x="24" y="6"/>
                      <a:pt x="22" y="8"/>
                      <a:pt x="21" y="10"/>
                    </a:cubicBezTo>
                    <a:cubicBezTo>
                      <a:pt x="20" y="11"/>
                      <a:pt x="17" y="9"/>
                      <a:pt x="17" y="7"/>
                    </a:cubicBezTo>
                    <a:cubicBezTo>
                      <a:pt x="17" y="4"/>
                      <a:pt x="16" y="0"/>
                      <a:pt x="15" y="0"/>
                    </a:cubicBezTo>
                    <a:cubicBezTo>
                      <a:pt x="14" y="0"/>
                      <a:pt x="12" y="0"/>
                      <a:pt x="9" y="1"/>
                    </a:cubicBezTo>
                    <a:cubicBezTo>
                      <a:pt x="9" y="2"/>
                      <a:pt x="8" y="4"/>
                      <a:pt x="8" y="5"/>
                    </a:cubicBezTo>
                    <a:cubicBezTo>
                      <a:pt x="8" y="7"/>
                      <a:pt x="3" y="9"/>
                      <a:pt x="2" y="10"/>
                    </a:cubicBezTo>
                    <a:cubicBezTo>
                      <a:pt x="1" y="11"/>
                      <a:pt x="0" y="12"/>
                      <a:pt x="0" y="13"/>
                    </a:cubicBezTo>
                    <a:cubicBezTo>
                      <a:pt x="3" y="15"/>
                      <a:pt x="7" y="18"/>
                      <a:pt x="10" y="20"/>
                    </a:cubicBezTo>
                    <a:cubicBezTo>
                      <a:pt x="16" y="24"/>
                      <a:pt x="25" y="30"/>
                      <a:pt x="29" y="32"/>
                    </a:cubicBezTo>
                    <a:cubicBezTo>
                      <a:pt x="30" y="32"/>
                      <a:pt x="30" y="32"/>
                      <a:pt x="31" y="32"/>
                    </a:cubicBezTo>
                    <a:cubicBezTo>
                      <a:pt x="32" y="28"/>
                      <a:pt x="33" y="27"/>
                      <a:pt x="33" y="25"/>
                    </a:cubicBezTo>
                    <a:cubicBezTo>
                      <a:pt x="34" y="22"/>
                      <a:pt x="30" y="20"/>
                      <a:pt x="27" y="1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5" name="Freeform 31">
                <a:extLst>
                  <a:ext uri="{FF2B5EF4-FFF2-40B4-BE49-F238E27FC236}">
                    <a16:creationId xmlns:a16="http://schemas.microsoft.com/office/drawing/2014/main" id="{18725BD7-A584-4D10-8C40-E21BC348F4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76298" y="3901589"/>
                <a:ext cx="52698" cy="57717"/>
              </a:xfrm>
              <a:custGeom>
                <a:avLst/>
                <a:gdLst>
                  <a:gd name="T0" fmla="*/ 22 w 23"/>
                  <a:gd name="T1" fmla="*/ 17 h 25"/>
                  <a:gd name="T2" fmla="*/ 23 w 23"/>
                  <a:gd name="T3" fmla="*/ 12 h 25"/>
                  <a:gd name="T4" fmla="*/ 22 w 23"/>
                  <a:gd name="T5" fmla="*/ 8 h 25"/>
                  <a:gd name="T6" fmla="*/ 15 w 23"/>
                  <a:gd name="T7" fmla="*/ 0 h 25"/>
                  <a:gd name="T8" fmla="*/ 9 w 23"/>
                  <a:gd name="T9" fmla="*/ 1 h 25"/>
                  <a:gd name="T10" fmla="*/ 5 w 23"/>
                  <a:gd name="T11" fmla="*/ 2 h 25"/>
                  <a:gd name="T12" fmla="*/ 0 w 23"/>
                  <a:gd name="T13" fmla="*/ 8 h 25"/>
                  <a:gd name="T14" fmla="*/ 1 w 23"/>
                  <a:gd name="T15" fmla="*/ 11 h 25"/>
                  <a:gd name="T16" fmla="*/ 7 w 23"/>
                  <a:gd name="T17" fmla="*/ 21 h 25"/>
                  <a:gd name="T18" fmla="*/ 14 w 23"/>
                  <a:gd name="T19" fmla="*/ 25 h 25"/>
                  <a:gd name="T20" fmla="*/ 16 w 23"/>
                  <a:gd name="T21" fmla="*/ 22 h 25"/>
                  <a:gd name="T22" fmla="*/ 22 w 23"/>
                  <a:gd name="T23" fmla="*/ 17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3" h="25">
                    <a:moveTo>
                      <a:pt x="22" y="17"/>
                    </a:moveTo>
                    <a:cubicBezTo>
                      <a:pt x="22" y="15"/>
                      <a:pt x="23" y="14"/>
                      <a:pt x="23" y="12"/>
                    </a:cubicBezTo>
                    <a:cubicBezTo>
                      <a:pt x="22" y="11"/>
                      <a:pt x="22" y="9"/>
                      <a:pt x="22" y="8"/>
                    </a:cubicBezTo>
                    <a:cubicBezTo>
                      <a:pt x="22" y="6"/>
                      <a:pt x="17" y="0"/>
                      <a:pt x="15" y="0"/>
                    </a:cubicBezTo>
                    <a:cubicBezTo>
                      <a:pt x="13" y="0"/>
                      <a:pt x="11" y="1"/>
                      <a:pt x="9" y="1"/>
                    </a:cubicBezTo>
                    <a:cubicBezTo>
                      <a:pt x="7" y="0"/>
                      <a:pt x="5" y="0"/>
                      <a:pt x="5" y="2"/>
                    </a:cubicBezTo>
                    <a:cubicBezTo>
                      <a:pt x="5" y="3"/>
                      <a:pt x="2" y="6"/>
                      <a:pt x="0" y="8"/>
                    </a:cubicBezTo>
                    <a:cubicBezTo>
                      <a:pt x="0" y="9"/>
                      <a:pt x="1" y="10"/>
                      <a:pt x="1" y="11"/>
                    </a:cubicBezTo>
                    <a:cubicBezTo>
                      <a:pt x="3" y="17"/>
                      <a:pt x="5" y="19"/>
                      <a:pt x="7" y="21"/>
                    </a:cubicBezTo>
                    <a:cubicBezTo>
                      <a:pt x="9" y="22"/>
                      <a:pt x="11" y="23"/>
                      <a:pt x="14" y="25"/>
                    </a:cubicBezTo>
                    <a:cubicBezTo>
                      <a:pt x="14" y="24"/>
                      <a:pt x="15" y="23"/>
                      <a:pt x="16" y="22"/>
                    </a:cubicBezTo>
                    <a:cubicBezTo>
                      <a:pt x="17" y="21"/>
                      <a:pt x="22" y="19"/>
                      <a:pt x="22" y="1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6" name="Freeform 32">
                <a:extLst>
                  <a:ext uri="{FF2B5EF4-FFF2-40B4-BE49-F238E27FC236}">
                    <a16:creationId xmlns:a16="http://schemas.microsoft.com/office/drawing/2014/main" id="{B5E2B236-82A2-48EF-9BA0-A15705CE01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07288" y="3559049"/>
                <a:ext cx="154331" cy="124218"/>
              </a:xfrm>
              <a:custGeom>
                <a:avLst/>
                <a:gdLst>
                  <a:gd name="T0" fmla="*/ 31 w 67"/>
                  <a:gd name="T1" fmla="*/ 42 h 54"/>
                  <a:gd name="T2" fmla="*/ 40 w 67"/>
                  <a:gd name="T3" fmla="*/ 36 h 54"/>
                  <a:gd name="T4" fmla="*/ 40 w 67"/>
                  <a:gd name="T5" fmla="*/ 14 h 54"/>
                  <a:gd name="T6" fmla="*/ 67 w 67"/>
                  <a:gd name="T7" fmla="*/ 14 h 54"/>
                  <a:gd name="T8" fmla="*/ 67 w 67"/>
                  <a:gd name="T9" fmla="*/ 3 h 54"/>
                  <a:gd name="T10" fmla="*/ 61 w 67"/>
                  <a:gd name="T11" fmla="*/ 0 h 54"/>
                  <a:gd name="T12" fmla="*/ 31 w 67"/>
                  <a:gd name="T13" fmla="*/ 0 h 54"/>
                  <a:gd name="T14" fmla="*/ 27 w 67"/>
                  <a:gd name="T15" fmla="*/ 7 h 54"/>
                  <a:gd name="T16" fmla="*/ 16 w 67"/>
                  <a:gd name="T17" fmla="*/ 22 h 54"/>
                  <a:gd name="T18" fmla="*/ 2 w 67"/>
                  <a:gd name="T19" fmla="*/ 47 h 54"/>
                  <a:gd name="T20" fmla="*/ 0 w 67"/>
                  <a:gd name="T21" fmla="*/ 54 h 54"/>
                  <a:gd name="T22" fmla="*/ 31 w 67"/>
                  <a:gd name="T23" fmla="*/ 54 h 54"/>
                  <a:gd name="T24" fmla="*/ 31 w 67"/>
                  <a:gd name="T25" fmla="*/ 42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7" h="54">
                    <a:moveTo>
                      <a:pt x="31" y="42"/>
                    </a:moveTo>
                    <a:cubicBezTo>
                      <a:pt x="31" y="40"/>
                      <a:pt x="40" y="38"/>
                      <a:pt x="40" y="36"/>
                    </a:cubicBezTo>
                    <a:cubicBezTo>
                      <a:pt x="40" y="34"/>
                      <a:pt x="40" y="14"/>
                      <a:pt x="40" y="14"/>
                    </a:cubicBezTo>
                    <a:cubicBezTo>
                      <a:pt x="40" y="14"/>
                      <a:pt x="66" y="15"/>
                      <a:pt x="67" y="14"/>
                    </a:cubicBezTo>
                    <a:cubicBezTo>
                      <a:pt x="67" y="14"/>
                      <a:pt x="67" y="8"/>
                      <a:pt x="67" y="3"/>
                    </a:cubicBezTo>
                    <a:cubicBezTo>
                      <a:pt x="66" y="1"/>
                      <a:pt x="67" y="0"/>
                      <a:pt x="61" y="0"/>
                    </a:cubicBezTo>
                    <a:cubicBezTo>
                      <a:pt x="56" y="0"/>
                      <a:pt x="41" y="0"/>
                      <a:pt x="31" y="0"/>
                    </a:cubicBezTo>
                    <a:cubicBezTo>
                      <a:pt x="29" y="2"/>
                      <a:pt x="28" y="5"/>
                      <a:pt x="27" y="7"/>
                    </a:cubicBezTo>
                    <a:cubicBezTo>
                      <a:pt x="25" y="11"/>
                      <a:pt x="16" y="16"/>
                      <a:pt x="16" y="22"/>
                    </a:cubicBezTo>
                    <a:cubicBezTo>
                      <a:pt x="16" y="27"/>
                      <a:pt x="7" y="35"/>
                      <a:pt x="2" y="47"/>
                    </a:cubicBezTo>
                    <a:cubicBezTo>
                      <a:pt x="0" y="50"/>
                      <a:pt x="0" y="52"/>
                      <a:pt x="0" y="54"/>
                    </a:cubicBezTo>
                    <a:cubicBezTo>
                      <a:pt x="31" y="54"/>
                      <a:pt x="31" y="54"/>
                      <a:pt x="31" y="54"/>
                    </a:cubicBezTo>
                    <a:cubicBezTo>
                      <a:pt x="31" y="54"/>
                      <a:pt x="31" y="44"/>
                      <a:pt x="31" y="4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7" name="Freeform 33">
                <a:extLst>
                  <a:ext uri="{FF2B5EF4-FFF2-40B4-BE49-F238E27FC236}">
                    <a16:creationId xmlns:a16="http://schemas.microsoft.com/office/drawing/2014/main" id="{F2022576-33F5-4876-93AE-1AE54A6147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04778" y="3565323"/>
                <a:ext cx="225851" cy="247181"/>
              </a:xfrm>
              <a:custGeom>
                <a:avLst/>
                <a:gdLst>
                  <a:gd name="T0" fmla="*/ 8 w 98"/>
                  <a:gd name="T1" fmla="*/ 92 h 107"/>
                  <a:gd name="T2" fmla="*/ 15 w 98"/>
                  <a:gd name="T3" fmla="*/ 92 h 107"/>
                  <a:gd name="T4" fmla="*/ 21 w 98"/>
                  <a:gd name="T5" fmla="*/ 92 h 107"/>
                  <a:gd name="T6" fmla="*/ 26 w 98"/>
                  <a:gd name="T7" fmla="*/ 95 h 107"/>
                  <a:gd name="T8" fmla="*/ 29 w 98"/>
                  <a:gd name="T9" fmla="*/ 95 h 107"/>
                  <a:gd name="T10" fmla="*/ 34 w 98"/>
                  <a:gd name="T11" fmla="*/ 103 h 107"/>
                  <a:gd name="T12" fmla="*/ 38 w 98"/>
                  <a:gd name="T13" fmla="*/ 107 h 107"/>
                  <a:gd name="T14" fmla="*/ 42 w 98"/>
                  <a:gd name="T15" fmla="*/ 104 h 107"/>
                  <a:gd name="T16" fmla="*/ 47 w 98"/>
                  <a:gd name="T17" fmla="*/ 102 h 107"/>
                  <a:gd name="T18" fmla="*/ 52 w 98"/>
                  <a:gd name="T19" fmla="*/ 101 h 107"/>
                  <a:gd name="T20" fmla="*/ 57 w 98"/>
                  <a:gd name="T21" fmla="*/ 102 h 107"/>
                  <a:gd name="T22" fmla="*/ 62 w 98"/>
                  <a:gd name="T23" fmla="*/ 100 h 107"/>
                  <a:gd name="T24" fmla="*/ 93 w 98"/>
                  <a:gd name="T25" fmla="*/ 100 h 107"/>
                  <a:gd name="T26" fmla="*/ 94 w 98"/>
                  <a:gd name="T27" fmla="*/ 93 h 107"/>
                  <a:gd name="T28" fmla="*/ 92 w 98"/>
                  <a:gd name="T29" fmla="*/ 91 h 107"/>
                  <a:gd name="T30" fmla="*/ 84 w 98"/>
                  <a:gd name="T31" fmla="*/ 20 h 107"/>
                  <a:gd name="T32" fmla="*/ 98 w 98"/>
                  <a:gd name="T33" fmla="*/ 20 h 107"/>
                  <a:gd name="T34" fmla="*/ 69 w 98"/>
                  <a:gd name="T35" fmla="*/ 1 h 107"/>
                  <a:gd name="T36" fmla="*/ 68 w 98"/>
                  <a:gd name="T37" fmla="*/ 0 h 107"/>
                  <a:gd name="T38" fmla="*/ 68 w 98"/>
                  <a:gd name="T39" fmla="*/ 11 h 107"/>
                  <a:gd name="T40" fmla="*/ 41 w 98"/>
                  <a:gd name="T41" fmla="*/ 11 h 107"/>
                  <a:gd name="T42" fmla="*/ 41 w 98"/>
                  <a:gd name="T43" fmla="*/ 33 h 107"/>
                  <a:gd name="T44" fmla="*/ 32 w 98"/>
                  <a:gd name="T45" fmla="*/ 39 h 107"/>
                  <a:gd name="T46" fmla="*/ 32 w 98"/>
                  <a:gd name="T47" fmla="*/ 51 h 107"/>
                  <a:gd name="T48" fmla="*/ 1 w 98"/>
                  <a:gd name="T49" fmla="*/ 51 h 107"/>
                  <a:gd name="T50" fmla="*/ 5 w 98"/>
                  <a:gd name="T51" fmla="*/ 60 h 107"/>
                  <a:gd name="T52" fmla="*/ 7 w 98"/>
                  <a:gd name="T53" fmla="*/ 73 h 107"/>
                  <a:gd name="T54" fmla="*/ 4 w 98"/>
                  <a:gd name="T55" fmla="*/ 89 h 107"/>
                  <a:gd name="T56" fmla="*/ 3 w 98"/>
                  <a:gd name="T57" fmla="*/ 96 h 107"/>
                  <a:gd name="T58" fmla="*/ 3 w 98"/>
                  <a:gd name="T59" fmla="*/ 96 h 107"/>
                  <a:gd name="T60" fmla="*/ 8 w 98"/>
                  <a:gd name="T61" fmla="*/ 92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98" h="107">
                    <a:moveTo>
                      <a:pt x="8" y="92"/>
                    </a:moveTo>
                    <a:cubicBezTo>
                      <a:pt x="11" y="93"/>
                      <a:pt x="15" y="92"/>
                      <a:pt x="15" y="92"/>
                    </a:cubicBezTo>
                    <a:cubicBezTo>
                      <a:pt x="15" y="92"/>
                      <a:pt x="19" y="90"/>
                      <a:pt x="21" y="92"/>
                    </a:cubicBezTo>
                    <a:cubicBezTo>
                      <a:pt x="24" y="93"/>
                      <a:pt x="26" y="95"/>
                      <a:pt x="26" y="95"/>
                    </a:cubicBezTo>
                    <a:cubicBezTo>
                      <a:pt x="29" y="95"/>
                      <a:pt x="29" y="95"/>
                      <a:pt x="29" y="95"/>
                    </a:cubicBezTo>
                    <a:cubicBezTo>
                      <a:pt x="29" y="95"/>
                      <a:pt x="31" y="102"/>
                      <a:pt x="34" y="103"/>
                    </a:cubicBezTo>
                    <a:cubicBezTo>
                      <a:pt x="36" y="103"/>
                      <a:pt x="38" y="105"/>
                      <a:pt x="38" y="107"/>
                    </a:cubicBezTo>
                    <a:cubicBezTo>
                      <a:pt x="41" y="107"/>
                      <a:pt x="42" y="106"/>
                      <a:pt x="42" y="104"/>
                    </a:cubicBezTo>
                    <a:cubicBezTo>
                      <a:pt x="42" y="102"/>
                      <a:pt x="44" y="99"/>
                      <a:pt x="47" y="102"/>
                    </a:cubicBezTo>
                    <a:cubicBezTo>
                      <a:pt x="51" y="105"/>
                      <a:pt x="51" y="103"/>
                      <a:pt x="52" y="101"/>
                    </a:cubicBezTo>
                    <a:cubicBezTo>
                      <a:pt x="52" y="100"/>
                      <a:pt x="55" y="102"/>
                      <a:pt x="57" y="102"/>
                    </a:cubicBezTo>
                    <a:cubicBezTo>
                      <a:pt x="59" y="102"/>
                      <a:pt x="62" y="100"/>
                      <a:pt x="62" y="100"/>
                    </a:cubicBezTo>
                    <a:cubicBezTo>
                      <a:pt x="62" y="100"/>
                      <a:pt x="92" y="101"/>
                      <a:pt x="93" y="100"/>
                    </a:cubicBezTo>
                    <a:cubicBezTo>
                      <a:pt x="95" y="99"/>
                      <a:pt x="94" y="93"/>
                      <a:pt x="94" y="93"/>
                    </a:cubicBezTo>
                    <a:cubicBezTo>
                      <a:pt x="92" y="91"/>
                      <a:pt x="92" y="91"/>
                      <a:pt x="92" y="91"/>
                    </a:cubicBezTo>
                    <a:cubicBezTo>
                      <a:pt x="84" y="20"/>
                      <a:pt x="84" y="20"/>
                      <a:pt x="84" y="20"/>
                    </a:cubicBezTo>
                    <a:cubicBezTo>
                      <a:pt x="98" y="20"/>
                      <a:pt x="98" y="20"/>
                      <a:pt x="98" y="20"/>
                    </a:cubicBezTo>
                    <a:cubicBezTo>
                      <a:pt x="83" y="10"/>
                      <a:pt x="71" y="2"/>
                      <a:pt x="69" y="1"/>
                    </a:cubicBezTo>
                    <a:cubicBezTo>
                      <a:pt x="69" y="1"/>
                      <a:pt x="68" y="0"/>
                      <a:pt x="68" y="0"/>
                    </a:cubicBezTo>
                    <a:cubicBezTo>
                      <a:pt x="68" y="5"/>
                      <a:pt x="68" y="11"/>
                      <a:pt x="68" y="11"/>
                    </a:cubicBezTo>
                    <a:cubicBezTo>
                      <a:pt x="67" y="12"/>
                      <a:pt x="41" y="11"/>
                      <a:pt x="41" y="11"/>
                    </a:cubicBezTo>
                    <a:cubicBezTo>
                      <a:pt x="41" y="11"/>
                      <a:pt x="41" y="31"/>
                      <a:pt x="41" y="33"/>
                    </a:cubicBezTo>
                    <a:cubicBezTo>
                      <a:pt x="41" y="35"/>
                      <a:pt x="32" y="37"/>
                      <a:pt x="32" y="39"/>
                    </a:cubicBezTo>
                    <a:cubicBezTo>
                      <a:pt x="32" y="41"/>
                      <a:pt x="32" y="51"/>
                      <a:pt x="32" y="51"/>
                    </a:cubicBezTo>
                    <a:cubicBezTo>
                      <a:pt x="1" y="51"/>
                      <a:pt x="1" y="51"/>
                      <a:pt x="1" y="51"/>
                    </a:cubicBezTo>
                    <a:cubicBezTo>
                      <a:pt x="0" y="56"/>
                      <a:pt x="3" y="58"/>
                      <a:pt x="5" y="60"/>
                    </a:cubicBezTo>
                    <a:cubicBezTo>
                      <a:pt x="8" y="63"/>
                      <a:pt x="3" y="68"/>
                      <a:pt x="7" y="73"/>
                    </a:cubicBezTo>
                    <a:cubicBezTo>
                      <a:pt x="11" y="78"/>
                      <a:pt x="6" y="86"/>
                      <a:pt x="4" y="89"/>
                    </a:cubicBezTo>
                    <a:cubicBezTo>
                      <a:pt x="3" y="91"/>
                      <a:pt x="3" y="93"/>
                      <a:pt x="3" y="96"/>
                    </a:cubicBezTo>
                    <a:cubicBezTo>
                      <a:pt x="3" y="96"/>
                      <a:pt x="3" y="96"/>
                      <a:pt x="3" y="96"/>
                    </a:cubicBezTo>
                    <a:cubicBezTo>
                      <a:pt x="6" y="95"/>
                      <a:pt x="5" y="92"/>
                      <a:pt x="8" y="9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8" name="Freeform 34">
                <a:extLst>
                  <a:ext uri="{FF2B5EF4-FFF2-40B4-BE49-F238E27FC236}">
                    <a16:creationId xmlns:a16="http://schemas.microsoft.com/office/drawing/2014/main" id="{7CCEC966-C8C6-4469-BA47-662FC47867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92609" y="3611748"/>
                <a:ext cx="311172" cy="288587"/>
              </a:xfrm>
              <a:custGeom>
                <a:avLst/>
                <a:gdLst>
                  <a:gd name="T0" fmla="*/ 128 w 135"/>
                  <a:gd name="T1" fmla="*/ 52 h 125"/>
                  <a:gd name="T2" fmla="*/ 124 w 135"/>
                  <a:gd name="T3" fmla="*/ 43 h 125"/>
                  <a:gd name="T4" fmla="*/ 115 w 135"/>
                  <a:gd name="T5" fmla="*/ 40 h 125"/>
                  <a:gd name="T6" fmla="*/ 109 w 135"/>
                  <a:gd name="T7" fmla="*/ 33 h 125"/>
                  <a:gd name="T8" fmla="*/ 60 w 135"/>
                  <a:gd name="T9" fmla="*/ 0 h 125"/>
                  <a:gd name="T10" fmla="*/ 46 w 135"/>
                  <a:gd name="T11" fmla="*/ 0 h 125"/>
                  <a:gd name="T12" fmla="*/ 54 w 135"/>
                  <a:gd name="T13" fmla="*/ 71 h 125"/>
                  <a:gd name="T14" fmla="*/ 56 w 135"/>
                  <a:gd name="T15" fmla="*/ 73 h 125"/>
                  <a:gd name="T16" fmla="*/ 55 w 135"/>
                  <a:gd name="T17" fmla="*/ 80 h 125"/>
                  <a:gd name="T18" fmla="*/ 24 w 135"/>
                  <a:gd name="T19" fmla="*/ 80 h 125"/>
                  <a:gd name="T20" fmla="*/ 19 w 135"/>
                  <a:gd name="T21" fmla="*/ 82 h 125"/>
                  <a:gd name="T22" fmla="*/ 14 w 135"/>
                  <a:gd name="T23" fmla="*/ 81 h 125"/>
                  <a:gd name="T24" fmla="*/ 9 w 135"/>
                  <a:gd name="T25" fmla="*/ 82 h 125"/>
                  <a:gd name="T26" fmla="*/ 4 w 135"/>
                  <a:gd name="T27" fmla="*/ 84 h 125"/>
                  <a:gd name="T28" fmla="*/ 0 w 135"/>
                  <a:gd name="T29" fmla="*/ 87 h 125"/>
                  <a:gd name="T30" fmla="*/ 1 w 135"/>
                  <a:gd name="T31" fmla="*/ 88 h 125"/>
                  <a:gd name="T32" fmla="*/ 2 w 135"/>
                  <a:gd name="T33" fmla="*/ 91 h 125"/>
                  <a:gd name="T34" fmla="*/ 4 w 135"/>
                  <a:gd name="T35" fmla="*/ 96 h 125"/>
                  <a:gd name="T36" fmla="*/ 8 w 135"/>
                  <a:gd name="T37" fmla="*/ 101 h 125"/>
                  <a:gd name="T38" fmla="*/ 8 w 135"/>
                  <a:gd name="T39" fmla="*/ 107 h 125"/>
                  <a:gd name="T40" fmla="*/ 10 w 135"/>
                  <a:gd name="T41" fmla="*/ 109 h 125"/>
                  <a:gd name="T42" fmla="*/ 15 w 135"/>
                  <a:gd name="T43" fmla="*/ 109 h 125"/>
                  <a:gd name="T44" fmla="*/ 20 w 135"/>
                  <a:gd name="T45" fmla="*/ 109 h 125"/>
                  <a:gd name="T46" fmla="*/ 26 w 135"/>
                  <a:gd name="T47" fmla="*/ 105 h 125"/>
                  <a:gd name="T48" fmla="*/ 29 w 135"/>
                  <a:gd name="T49" fmla="*/ 111 h 125"/>
                  <a:gd name="T50" fmla="*/ 32 w 135"/>
                  <a:gd name="T51" fmla="*/ 115 h 125"/>
                  <a:gd name="T52" fmla="*/ 32 w 135"/>
                  <a:gd name="T53" fmla="*/ 118 h 125"/>
                  <a:gd name="T54" fmla="*/ 34 w 135"/>
                  <a:gd name="T55" fmla="*/ 122 h 125"/>
                  <a:gd name="T56" fmla="*/ 38 w 135"/>
                  <a:gd name="T57" fmla="*/ 123 h 125"/>
                  <a:gd name="T58" fmla="*/ 42 w 135"/>
                  <a:gd name="T59" fmla="*/ 124 h 125"/>
                  <a:gd name="T60" fmla="*/ 46 w 135"/>
                  <a:gd name="T61" fmla="*/ 122 h 125"/>
                  <a:gd name="T62" fmla="*/ 50 w 135"/>
                  <a:gd name="T63" fmla="*/ 121 h 125"/>
                  <a:gd name="T64" fmla="*/ 53 w 135"/>
                  <a:gd name="T65" fmla="*/ 122 h 125"/>
                  <a:gd name="T66" fmla="*/ 55 w 135"/>
                  <a:gd name="T67" fmla="*/ 122 h 125"/>
                  <a:gd name="T68" fmla="*/ 58 w 135"/>
                  <a:gd name="T69" fmla="*/ 116 h 125"/>
                  <a:gd name="T70" fmla="*/ 57 w 135"/>
                  <a:gd name="T71" fmla="*/ 110 h 125"/>
                  <a:gd name="T72" fmla="*/ 63 w 135"/>
                  <a:gd name="T73" fmla="*/ 108 h 125"/>
                  <a:gd name="T74" fmla="*/ 66 w 135"/>
                  <a:gd name="T75" fmla="*/ 103 h 125"/>
                  <a:gd name="T76" fmla="*/ 69 w 135"/>
                  <a:gd name="T77" fmla="*/ 97 h 125"/>
                  <a:gd name="T78" fmla="*/ 74 w 135"/>
                  <a:gd name="T79" fmla="*/ 97 h 125"/>
                  <a:gd name="T80" fmla="*/ 77 w 135"/>
                  <a:gd name="T81" fmla="*/ 93 h 125"/>
                  <a:gd name="T82" fmla="*/ 81 w 135"/>
                  <a:gd name="T83" fmla="*/ 91 h 125"/>
                  <a:gd name="T84" fmla="*/ 84 w 135"/>
                  <a:gd name="T85" fmla="*/ 89 h 125"/>
                  <a:gd name="T86" fmla="*/ 91 w 135"/>
                  <a:gd name="T87" fmla="*/ 87 h 125"/>
                  <a:gd name="T88" fmla="*/ 97 w 135"/>
                  <a:gd name="T89" fmla="*/ 84 h 125"/>
                  <a:gd name="T90" fmla="*/ 107 w 135"/>
                  <a:gd name="T91" fmla="*/ 84 h 125"/>
                  <a:gd name="T92" fmla="*/ 114 w 135"/>
                  <a:gd name="T93" fmla="*/ 82 h 125"/>
                  <a:gd name="T94" fmla="*/ 126 w 135"/>
                  <a:gd name="T95" fmla="*/ 81 h 125"/>
                  <a:gd name="T96" fmla="*/ 131 w 135"/>
                  <a:gd name="T97" fmla="*/ 78 h 125"/>
                  <a:gd name="T98" fmla="*/ 134 w 135"/>
                  <a:gd name="T99" fmla="*/ 72 h 125"/>
                  <a:gd name="T100" fmla="*/ 134 w 135"/>
                  <a:gd name="T101" fmla="*/ 50 h 125"/>
                  <a:gd name="T102" fmla="*/ 128 w 135"/>
                  <a:gd name="T103" fmla="*/ 52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35" h="125">
                    <a:moveTo>
                      <a:pt x="128" y="52"/>
                    </a:moveTo>
                    <a:cubicBezTo>
                      <a:pt x="128" y="52"/>
                      <a:pt x="128" y="46"/>
                      <a:pt x="124" y="43"/>
                    </a:cubicBezTo>
                    <a:cubicBezTo>
                      <a:pt x="120" y="41"/>
                      <a:pt x="115" y="40"/>
                      <a:pt x="115" y="40"/>
                    </a:cubicBezTo>
                    <a:cubicBezTo>
                      <a:pt x="115" y="40"/>
                      <a:pt x="112" y="35"/>
                      <a:pt x="109" y="33"/>
                    </a:cubicBezTo>
                    <a:cubicBezTo>
                      <a:pt x="108" y="32"/>
                      <a:pt x="82" y="14"/>
                      <a:pt x="60" y="0"/>
                    </a:cubicBezTo>
                    <a:cubicBezTo>
                      <a:pt x="46" y="0"/>
                      <a:pt x="46" y="0"/>
                      <a:pt x="46" y="0"/>
                    </a:cubicBezTo>
                    <a:cubicBezTo>
                      <a:pt x="54" y="71"/>
                      <a:pt x="54" y="71"/>
                      <a:pt x="54" y="71"/>
                    </a:cubicBezTo>
                    <a:cubicBezTo>
                      <a:pt x="56" y="73"/>
                      <a:pt x="56" y="73"/>
                      <a:pt x="56" y="73"/>
                    </a:cubicBezTo>
                    <a:cubicBezTo>
                      <a:pt x="56" y="73"/>
                      <a:pt x="57" y="79"/>
                      <a:pt x="55" y="80"/>
                    </a:cubicBezTo>
                    <a:cubicBezTo>
                      <a:pt x="54" y="81"/>
                      <a:pt x="24" y="80"/>
                      <a:pt x="24" y="80"/>
                    </a:cubicBezTo>
                    <a:cubicBezTo>
                      <a:pt x="24" y="80"/>
                      <a:pt x="21" y="82"/>
                      <a:pt x="19" y="82"/>
                    </a:cubicBezTo>
                    <a:cubicBezTo>
                      <a:pt x="17" y="82"/>
                      <a:pt x="14" y="80"/>
                      <a:pt x="14" y="81"/>
                    </a:cubicBezTo>
                    <a:cubicBezTo>
                      <a:pt x="13" y="83"/>
                      <a:pt x="13" y="85"/>
                      <a:pt x="9" y="82"/>
                    </a:cubicBezTo>
                    <a:cubicBezTo>
                      <a:pt x="6" y="79"/>
                      <a:pt x="4" y="82"/>
                      <a:pt x="4" y="84"/>
                    </a:cubicBezTo>
                    <a:cubicBezTo>
                      <a:pt x="4" y="86"/>
                      <a:pt x="3" y="87"/>
                      <a:pt x="0" y="87"/>
                    </a:cubicBezTo>
                    <a:cubicBezTo>
                      <a:pt x="1" y="88"/>
                      <a:pt x="1" y="88"/>
                      <a:pt x="1" y="88"/>
                    </a:cubicBezTo>
                    <a:cubicBezTo>
                      <a:pt x="2" y="91"/>
                      <a:pt x="2" y="91"/>
                      <a:pt x="2" y="91"/>
                    </a:cubicBezTo>
                    <a:cubicBezTo>
                      <a:pt x="2" y="91"/>
                      <a:pt x="2" y="94"/>
                      <a:pt x="4" y="96"/>
                    </a:cubicBezTo>
                    <a:cubicBezTo>
                      <a:pt x="5" y="97"/>
                      <a:pt x="8" y="100"/>
                      <a:pt x="8" y="101"/>
                    </a:cubicBezTo>
                    <a:cubicBezTo>
                      <a:pt x="8" y="102"/>
                      <a:pt x="8" y="107"/>
                      <a:pt x="8" y="107"/>
                    </a:cubicBezTo>
                    <a:cubicBezTo>
                      <a:pt x="8" y="107"/>
                      <a:pt x="9" y="111"/>
                      <a:pt x="10" y="109"/>
                    </a:cubicBezTo>
                    <a:cubicBezTo>
                      <a:pt x="12" y="108"/>
                      <a:pt x="14" y="111"/>
                      <a:pt x="15" y="109"/>
                    </a:cubicBezTo>
                    <a:cubicBezTo>
                      <a:pt x="16" y="106"/>
                      <a:pt x="19" y="109"/>
                      <a:pt x="20" y="109"/>
                    </a:cubicBezTo>
                    <a:cubicBezTo>
                      <a:pt x="22" y="109"/>
                      <a:pt x="25" y="105"/>
                      <a:pt x="26" y="105"/>
                    </a:cubicBezTo>
                    <a:cubicBezTo>
                      <a:pt x="27" y="105"/>
                      <a:pt x="29" y="109"/>
                      <a:pt x="29" y="111"/>
                    </a:cubicBezTo>
                    <a:cubicBezTo>
                      <a:pt x="29" y="113"/>
                      <a:pt x="33" y="114"/>
                      <a:pt x="32" y="115"/>
                    </a:cubicBezTo>
                    <a:cubicBezTo>
                      <a:pt x="30" y="115"/>
                      <a:pt x="30" y="118"/>
                      <a:pt x="32" y="118"/>
                    </a:cubicBezTo>
                    <a:cubicBezTo>
                      <a:pt x="34" y="118"/>
                      <a:pt x="33" y="121"/>
                      <a:pt x="34" y="122"/>
                    </a:cubicBezTo>
                    <a:cubicBezTo>
                      <a:pt x="35" y="124"/>
                      <a:pt x="37" y="125"/>
                      <a:pt x="38" y="123"/>
                    </a:cubicBezTo>
                    <a:cubicBezTo>
                      <a:pt x="39" y="121"/>
                      <a:pt x="41" y="123"/>
                      <a:pt x="42" y="124"/>
                    </a:cubicBezTo>
                    <a:cubicBezTo>
                      <a:pt x="43" y="125"/>
                      <a:pt x="46" y="124"/>
                      <a:pt x="46" y="122"/>
                    </a:cubicBezTo>
                    <a:cubicBezTo>
                      <a:pt x="47" y="120"/>
                      <a:pt x="50" y="119"/>
                      <a:pt x="50" y="121"/>
                    </a:cubicBezTo>
                    <a:cubicBezTo>
                      <a:pt x="50" y="123"/>
                      <a:pt x="51" y="124"/>
                      <a:pt x="53" y="122"/>
                    </a:cubicBezTo>
                    <a:cubicBezTo>
                      <a:pt x="54" y="122"/>
                      <a:pt x="55" y="122"/>
                      <a:pt x="55" y="122"/>
                    </a:cubicBezTo>
                    <a:cubicBezTo>
                      <a:pt x="56" y="119"/>
                      <a:pt x="57" y="117"/>
                      <a:pt x="58" y="116"/>
                    </a:cubicBezTo>
                    <a:cubicBezTo>
                      <a:pt x="58" y="114"/>
                      <a:pt x="56" y="111"/>
                      <a:pt x="57" y="110"/>
                    </a:cubicBezTo>
                    <a:cubicBezTo>
                      <a:pt x="58" y="110"/>
                      <a:pt x="62" y="111"/>
                      <a:pt x="63" y="108"/>
                    </a:cubicBezTo>
                    <a:cubicBezTo>
                      <a:pt x="65" y="104"/>
                      <a:pt x="66" y="103"/>
                      <a:pt x="66" y="103"/>
                    </a:cubicBezTo>
                    <a:cubicBezTo>
                      <a:pt x="66" y="103"/>
                      <a:pt x="67" y="95"/>
                      <a:pt x="69" y="97"/>
                    </a:cubicBezTo>
                    <a:cubicBezTo>
                      <a:pt x="71" y="98"/>
                      <a:pt x="73" y="100"/>
                      <a:pt x="74" y="97"/>
                    </a:cubicBezTo>
                    <a:cubicBezTo>
                      <a:pt x="74" y="94"/>
                      <a:pt x="77" y="96"/>
                      <a:pt x="77" y="93"/>
                    </a:cubicBezTo>
                    <a:cubicBezTo>
                      <a:pt x="78" y="90"/>
                      <a:pt x="79" y="91"/>
                      <a:pt x="81" y="91"/>
                    </a:cubicBezTo>
                    <a:cubicBezTo>
                      <a:pt x="83" y="92"/>
                      <a:pt x="84" y="91"/>
                      <a:pt x="84" y="89"/>
                    </a:cubicBezTo>
                    <a:cubicBezTo>
                      <a:pt x="84" y="88"/>
                      <a:pt x="88" y="89"/>
                      <a:pt x="91" y="87"/>
                    </a:cubicBezTo>
                    <a:cubicBezTo>
                      <a:pt x="94" y="84"/>
                      <a:pt x="96" y="83"/>
                      <a:pt x="97" y="84"/>
                    </a:cubicBezTo>
                    <a:cubicBezTo>
                      <a:pt x="98" y="85"/>
                      <a:pt x="106" y="85"/>
                      <a:pt x="107" y="84"/>
                    </a:cubicBezTo>
                    <a:cubicBezTo>
                      <a:pt x="108" y="84"/>
                      <a:pt x="111" y="82"/>
                      <a:pt x="114" y="82"/>
                    </a:cubicBezTo>
                    <a:cubicBezTo>
                      <a:pt x="117" y="83"/>
                      <a:pt x="123" y="81"/>
                      <a:pt x="126" y="81"/>
                    </a:cubicBezTo>
                    <a:cubicBezTo>
                      <a:pt x="129" y="81"/>
                      <a:pt x="130" y="79"/>
                      <a:pt x="131" y="78"/>
                    </a:cubicBezTo>
                    <a:cubicBezTo>
                      <a:pt x="132" y="77"/>
                      <a:pt x="133" y="72"/>
                      <a:pt x="134" y="72"/>
                    </a:cubicBezTo>
                    <a:cubicBezTo>
                      <a:pt x="135" y="71"/>
                      <a:pt x="134" y="56"/>
                      <a:pt x="134" y="50"/>
                    </a:cubicBezTo>
                    <a:cubicBezTo>
                      <a:pt x="132" y="51"/>
                      <a:pt x="128" y="52"/>
                      <a:pt x="128" y="5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9" name="Freeform 35">
                <a:extLst>
                  <a:ext uri="{FF2B5EF4-FFF2-40B4-BE49-F238E27FC236}">
                    <a16:creationId xmlns:a16="http://schemas.microsoft.com/office/drawing/2014/main" id="{4779085A-F5F9-4EF5-87A3-DDB98712AD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19336" y="3802466"/>
                <a:ext cx="154331" cy="109161"/>
              </a:xfrm>
              <a:custGeom>
                <a:avLst/>
                <a:gdLst>
                  <a:gd name="T0" fmla="*/ 66 w 67"/>
                  <a:gd name="T1" fmla="*/ 26 h 47"/>
                  <a:gd name="T2" fmla="*/ 63 w 67"/>
                  <a:gd name="T3" fmla="*/ 25 h 47"/>
                  <a:gd name="T4" fmla="*/ 62 w 67"/>
                  <a:gd name="T5" fmla="*/ 20 h 47"/>
                  <a:gd name="T6" fmla="*/ 58 w 67"/>
                  <a:gd name="T7" fmla="*/ 21 h 47"/>
                  <a:gd name="T8" fmla="*/ 55 w 67"/>
                  <a:gd name="T9" fmla="*/ 18 h 47"/>
                  <a:gd name="T10" fmla="*/ 54 w 67"/>
                  <a:gd name="T11" fmla="*/ 15 h 47"/>
                  <a:gd name="T12" fmla="*/ 50 w 67"/>
                  <a:gd name="T13" fmla="*/ 11 h 47"/>
                  <a:gd name="T14" fmla="*/ 47 w 67"/>
                  <a:gd name="T15" fmla="*/ 6 h 47"/>
                  <a:gd name="T16" fmla="*/ 47 w 67"/>
                  <a:gd name="T17" fmla="*/ 2 h 47"/>
                  <a:gd name="T18" fmla="*/ 42 w 67"/>
                  <a:gd name="T19" fmla="*/ 1 h 47"/>
                  <a:gd name="T20" fmla="*/ 36 w 67"/>
                  <a:gd name="T21" fmla="*/ 4 h 47"/>
                  <a:gd name="T22" fmla="*/ 29 w 67"/>
                  <a:gd name="T23" fmla="*/ 6 h 47"/>
                  <a:gd name="T24" fmla="*/ 26 w 67"/>
                  <a:gd name="T25" fmla="*/ 8 h 47"/>
                  <a:gd name="T26" fmla="*/ 22 w 67"/>
                  <a:gd name="T27" fmla="*/ 10 h 47"/>
                  <a:gd name="T28" fmla="*/ 19 w 67"/>
                  <a:gd name="T29" fmla="*/ 14 h 47"/>
                  <a:gd name="T30" fmla="*/ 14 w 67"/>
                  <a:gd name="T31" fmla="*/ 14 h 47"/>
                  <a:gd name="T32" fmla="*/ 11 w 67"/>
                  <a:gd name="T33" fmla="*/ 20 h 47"/>
                  <a:gd name="T34" fmla="*/ 8 w 67"/>
                  <a:gd name="T35" fmla="*/ 25 h 47"/>
                  <a:gd name="T36" fmla="*/ 2 w 67"/>
                  <a:gd name="T37" fmla="*/ 27 h 47"/>
                  <a:gd name="T38" fmla="*/ 3 w 67"/>
                  <a:gd name="T39" fmla="*/ 33 h 47"/>
                  <a:gd name="T40" fmla="*/ 0 w 67"/>
                  <a:gd name="T41" fmla="*/ 39 h 47"/>
                  <a:gd name="T42" fmla="*/ 4 w 67"/>
                  <a:gd name="T43" fmla="*/ 41 h 47"/>
                  <a:gd name="T44" fmla="*/ 11 w 67"/>
                  <a:gd name="T45" fmla="*/ 45 h 47"/>
                  <a:gd name="T46" fmla="*/ 21 w 67"/>
                  <a:gd name="T47" fmla="*/ 44 h 47"/>
                  <a:gd name="T48" fmla="*/ 23 w 67"/>
                  <a:gd name="T49" fmla="*/ 43 h 47"/>
                  <a:gd name="T50" fmla="*/ 22 w 67"/>
                  <a:gd name="T51" fmla="*/ 35 h 47"/>
                  <a:gd name="T52" fmla="*/ 42 w 67"/>
                  <a:gd name="T53" fmla="*/ 35 h 47"/>
                  <a:gd name="T54" fmla="*/ 45 w 67"/>
                  <a:gd name="T55" fmla="*/ 33 h 47"/>
                  <a:gd name="T56" fmla="*/ 53 w 67"/>
                  <a:gd name="T57" fmla="*/ 34 h 47"/>
                  <a:gd name="T58" fmla="*/ 57 w 67"/>
                  <a:gd name="T59" fmla="*/ 31 h 47"/>
                  <a:gd name="T60" fmla="*/ 64 w 67"/>
                  <a:gd name="T61" fmla="*/ 30 h 47"/>
                  <a:gd name="T62" fmla="*/ 66 w 67"/>
                  <a:gd name="T63" fmla="*/ 26 h 47"/>
                  <a:gd name="T64" fmla="*/ 66 w 67"/>
                  <a:gd name="T65" fmla="*/ 26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67" h="47">
                    <a:moveTo>
                      <a:pt x="66" y="26"/>
                    </a:moveTo>
                    <a:cubicBezTo>
                      <a:pt x="65" y="25"/>
                      <a:pt x="63" y="25"/>
                      <a:pt x="63" y="25"/>
                    </a:cubicBezTo>
                    <a:cubicBezTo>
                      <a:pt x="62" y="25"/>
                      <a:pt x="63" y="21"/>
                      <a:pt x="62" y="20"/>
                    </a:cubicBezTo>
                    <a:cubicBezTo>
                      <a:pt x="62" y="20"/>
                      <a:pt x="60" y="22"/>
                      <a:pt x="58" y="21"/>
                    </a:cubicBezTo>
                    <a:cubicBezTo>
                      <a:pt x="57" y="20"/>
                      <a:pt x="56" y="18"/>
                      <a:pt x="55" y="18"/>
                    </a:cubicBezTo>
                    <a:cubicBezTo>
                      <a:pt x="54" y="18"/>
                      <a:pt x="54" y="17"/>
                      <a:pt x="54" y="15"/>
                    </a:cubicBezTo>
                    <a:cubicBezTo>
                      <a:pt x="54" y="13"/>
                      <a:pt x="51" y="12"/>
                      <a:pt x="50" y="11"/>
                    </a:cubicBezTo>
                    <a:cubicBezTo>
                      <a:pt x="48" y="10"/>
                      <a:pt x="48" y="7"/>
                      <a:pt x="47" y="6"/>
                    </a:cubicBezTo>
                    <a:cubicBezTo>
                      <a:pt x="47" y="6"/>
                      <a:pt x="47" y="4"/>
                      <a:pt x="47" y="2"/>
                    </a:cubicBezTo>
                    <a:cubicBezTo>
                      <a:pt x="45" y="2"/>
                      <a:pt x="43" y="2"/>
                      <a:pt x="42" y="1"/>
                    </a:cubicBezTo>
                    <a:cubicBezTo>
                      <a:pt x="41" y="0"/>
                      <a:pt x="39" y="1"/>
                      <a:pt x="36" y="4"/>
                    </a:cubicBezTo>
                    <a:cubicBezTo>
                      <a:pt x="33" y="6"/>
                      <a:pt x="29" y="5"/>
                      <a:pt x="29" y="6"/>
                    </a:cubicBezTo>
                    <a:cubicBezTo>
                      <a:pt x="29" y="8"/>
                      <a:pt x="28" y="9"/>
                      <a:pt x="26" y="8"/>
                    </a:cubicBezTo>
                    <a:cubicBezTo>
                      <a:pt x="24" y="8"/>
                      <a:pt x="23" y="7"/>
                      <a:pt x="22" y="10"/>
                    </a:cubicBezTo>
                    <a:cubicBezTo>
                      <a:pt x="22" y="13"/>
                      <a:pt x="19" y="11"/>
                      <a:pt x="19" y="14"/>
                    </a:cubicBezTo>
                    <a:cubicBezTo>
                      <a:pt x="18" y="17"/>
                      <a:pt x="16" y="15"/>
                      <a:pt x="14" y="14"/>
                    </a:cubicBezTo>
                    <a:cubicBezTo>
                      <a:pt x="12" y="12"/>
                      <a:pt x="11" y="20"/>
                      <a:pt x="11" y="20"/>
                    </a:cubicBezTo>
                    <a:cubicBezTo>
                      <a:pt x="11" y="20"/>
                      <a:pt x="10" y="21"/>
                      <a:pt x="8" y="25"/>
                    </a:cubicBezTo>
                    <a:cubicBezTo>
                      <a:pt x="7" y="28"/>
                      <a:pt x="3" y="27"/>
                      <a:pt x="2" y="27"/>
                    </a:cubicBezTo>
                    <a:cubicBezTo>
                      <a:pt x="1" y="28"/>
                      <a:pt x="3" y="31"/>
                      <a:pt x="3" y="33"/>
                    </a:cubicBezTo>
                    <a:cubicBezTo>
                      <a:pt x="2" y="34"/>
                      <a:pt x="1" y="36"/>
                      <a:pt x="0" y="39"/>
                    </a:cubicBezTo>
                    <a:cubicBezTo>
                      <a:pt x="2" y="39"/>
                      <a:pt x="4" y="41"/>
                      <a:pt x="4" y="41"/>
                    </a:cubicBezTo>
                    <a:cubicBezTo>
                      <a:pt x="5" y="43"/>
                      <a:pt x="9" y="47"/>
                      <a:pt x="11" y="45"/>
                    </a:cubicBezTo>
                    <a:cubicBezTo>
                      <a:pt x="13" y="42"/>
                      <a:pt x="19" y="42"/>
                      <a:pt x="21" y="44"/>
                    </a:cubicBezTo>
                    <a:cubicBezTo>
                      <a:pt x="22" y="45"/>
                      <a:pt x="23" y="44"/>
                      <a:pt x="23" y="43"/>
                    </a:cubicBezTo>
                    <a:cubicBezTo>
                      <a:pt x="24" y="41"/>
                      <a:pt x="21" y="36"/>
                      <a:pt x="22" y="35"/>
                    </a:cubicBezTo>
                    <a:cubicBezTo>
                      <a:pt x="23" y="33"/>
                      <a:pt x="42" y="34"/>
                      <a:pt x="42" y="35"/>
                    </a:cubicBezTo>
                    <a:cubicBezTo>
                      <a:pt x="43" y="36"/>
                      <a:pt x="43" y="33"/>
                      <a:pt x="45" y="33"/>
                    </a:cubicBezTo>
                    <a:cubicBezTo>
                      <a:pt x="48" y="33"/>
                      <a:pt x="51" y="35"/>
                      <a:pt x="53" y="34"/>
                    </a:cubicBezTo>
                    <a:cubicBezTo>
                      <a:pt x="54" y="34"/>
                      <a:pt x="56" y="31"/>
                      <a:pt x="57" y="31"/>
                    </a:cubicBezTo>
                    <a:cubicBezTo>
                      <a:pt x="59" y="31"/>
                      <a:pt x="63" y="31"/>
                      <a:pt x="64" y="30"/>
                    </a:cubicBezTo>
                    <a:cubicBezTo>
                      <a:pt x="65" y="28"/>
                      <a:pt x="67" y="28"/>
                      <a:pt x="66" y="26"/>
                    </a:cubicBezTo>
                    <a:cubicBezTo>
                      <a:pt x="66" y="26"/>
                      <a:pt x="66" y="26"/>
                      <a:pt x="66" y="26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0" name="Freeform 36">
                <a:extLst>
                  <a:ext uri="{FF2B5EF4-FFF2-40B4-BE49-F238E27FC236}">
                    <a16:creationId xmlns:a16="http://schemas.microsoft.com/office/drawing/2014/main" id="{828F52D2-F599-4452-8D0F-1352385E92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27243" y="3641861"/>
                <a:ext cx="288587" cy="223341"/>
              </a:xfrm>
              <a:custGeom>
                <a:avLst/>
                <a:gdLst>
                  <a:gd name="T0" fmla="*/ 119 w 125"/>
                  <a:gd name="T1" fmla="*/ 14 h 97"/>
                  <a:gd name="T2" fmla="*/ 118 w 125"/>
                  <a:gd name="T3" fmla="*/ 4 h 97"/>
                  <a:gd name="T4" fmla="*/ 112 w 125"/>
                  <a:gd name="T5" fmla="*/ 7 h 97"/>
                  <a:gd name="T6" fmla="*/ 107 w 125"/>
                  <a:gd name="T7" fmla="*/ 2 h 97"/>
                  <a:gd name="T8" fmla="*/ 95 w 125"/>
                  <a:gd name="T9" fmla="*/ 0 h 97"/>
                  <a:gd name="T10" fmla="*/ 61 w 125"/>
                  <a:gd name="T11" fmla="*/ 21 h 97"/>
                  <a:gd name="T12" fmla="*/ 46 w 125"/>
                  <a:gd name="T13" fmla="*/ 33 h 97"/>
                  <a:gd name="T14" fmla="*/ 33 w 125"/>
                  <a:gd name="T15" fmla="*/ 37 h 97"/>
                  <a:gd name="T16" fmla="*/ 32 w 125"/>
                  <a:gd name="T17" fmla="*/ 37 h 97"/>
                  <a:gd name="T18" fmla="*/ 32 w 125"/>
                  <a:gd name="T19" fmla="*/ 59 h 97"/>
                  <a:gd name="T20" fmla="*/ 29 w 125"/>
                  <a:gd name="T21" fmla="*/ 65 h 97"/>
                  <a:gd name="T22" fmla="*/ 24 w 125"/>
                  <a:gd name="T23" fmla="*/ 68 h 97"/>
                  <a:gd name="T24" fmla="*/ 12 w 125"/>
                  <a:gd name="T25" fmla="*/ 69 h 97"/>
                  <a:gd name="T26" fmla="*/ 5 w 125"/>
                  <a:gd name="T27" fmla="*/ 71 h 97"/>
                  <a:gd name="T28" fmla="*/ 0 w 125"/>
                  <a:gd name="T29" fmla="*/ 72 h 97"/>
                  <a:gd name="T30" fmla="*/ 0 w 125"/>
                  <a:gd name="T31" fmla="*/ 76 h 97"/>
                  <a:gd name="T32" fmla="*/ 3 w 125"/>
                  <a:gd name="T33" fmla="*/ 81 h 97"/>
                  <a:gd name="T34" fmla="*/ 7 w 125"/>
                  <a:gd name="T35" fmla="*/ 85 h 97"/>
                  <a:gd name="T36" fmla="*/ 8 w 125"/>
                  <a:gd name="T37" fmla="*/ 88 h 97"/>
                  <a:gd name="T38" fmla="*/ 11 w 125"/>
                  <a:gd name="T39" fmla="*/ 91 h 97"/>
                  <a:gd name="T40" fmla="*/ 15 w 125"/>
                  <a:gd name="T41" fmla="*/ 90 h 97"/>
                  <a:gd name="T42" fmla="*/ 16 w 125"/>
                  <a:gd name="T43" fmla="*/ 95 h 97"/>
                  <a:gd name="T44" fmla="*/ 19 w 125"/>
                  <a:gd name="T45" fmla="*/ 96 h 97"/>
                  <a:gd name="T46" fmla="*/ 22 w 125"/>
                  <a:gd name="T47" fmla="*/ 93 h 97"/>
                  <a:gd name="T48" fmla="*/ 25 w 125"/>
                  <a:gd name="T49" fmla="*/ 96 h 97"/>
                  <a:gd name="T50" fmla="*/ 28 w 125"/>
                  <a:gd name="T51" fmla="*/ 95 h 97"/>
                  <a:gd name="T52" fmla="*/ 31 w 125"/>
                  <a:gd name="T53" fmla="*/ 89 h 97"/>
                  <a:gd name="T54" fmla="*/ 33 w 125"/>
                  <a:gd name="T55" fmla="*/ 83 h 97"/>
                  <a:gd name="T56" fmla="*/ 41 w 125"/>
                  <a:gd name="T57" fmla="*/ 83 h 97"/>
                  <a:gd name="T58" fmla="*/ 45 w 125"/>
                  <a:gd name="T59" fmla="*/ 81 h 97"/>
                  <a:gd name="T60" fmla="*/ 52 w 125"/>
                  <a:gd name="T61" fmla="*/ 83 h 97"/>
                  <a:gd name="T62" fmla="*/ 56 w 125"/>
                  <a:gd name="T63" fmla="*/ 87 h 97"/>
                  <a:gd name="T64" fmla="*/ 63 w 125"/>
                  <a:gd name="T65" fmla="*/ 86 h 97"/>
                  <a:gd name="T66" fmla="*/ 69 w 125"/>
                  <a:gd name="T67" fmla="*/ 89 h 97"/>
                  <a:gd name="T68" fmla="*/ 77 w 125"/>
                  <a:gd name="T69" fmla="*/ 89 h 97"/>
                  <a:gd name="T70" fmla="*/ 83 w 125"/>
                  <a:gd name="T71" fmla="*/ 85 h 97"/>
                  <a:gd name="T72" fmla="*/ 93 w 125"/>
                  <a:gd name="T73" fmla="*/ 85 h 97"/>
                  <a:gd name="T74" fmla="*/ 100 w 125"/>
                  <a:gd name="T75" fmla="*/ 87 h 97"/>
                  <a:gd name="T76" fmla="*/ 106 w 125"/>
                  <a:gd name="T77" fmla="*/ 82 h 97"/>
                  <a:gd name="T78" fmla="*/ 107 w 125"/>
                  <a:gd name="T79" fmla="*/ 82 h 97"/>
                  <a:gd name="T80" fmla="*/ 107 w 125"/>
                  <a:gd name="T81" fmla="*/ 79 h 97"/>
                  <a:gd name="T82" fmla="*/ 108 w 125"/>
                  <a:gd name="T83" fmla="*/ 72 h 97"/>
                  <a:gd name="T84" fmla="*/ 121 w 125"/>
                  <a:gd name="T85" fmla="*/ 56 h 97"/>
                  <a:gd name="T86" fmla="*/ 122 w 125"/>
                  <a:gd name="T87" fmla="*/ 36 h 97"/>
                  <a:gd name="T88" fmla="*/ 124 w 125"/>
                  <a:gd name="T89" fmla="*/ 27 h 97"/>
                  <a:gd name="T90" fmla="*/ 122 w 125"/>
                  <a:gd name="T91" fmla="*/ 21 h 97"/>
                  <a:gd name="T92" fmla="*/ 119 w 125"/>
                  <a:gd name="T93" fmla="*/ 14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25" h="97">
                    <a:moveTo>
                      <a:pt x="119" y="14"/>
                    </a:moveTo>
                    <a:cubicBezTo>
                      <a:pt x="119" y="13"/>
                      <a:pt x="119" y="8"/>
                      <a:pt x="118" y="4"/>
                    </a:cubicBezTo>
                    <a:cubicBezTo>
                      <a:pt x="112" y="7"/>
                      <a:pt x="112" y="7"/>
                      <a:pt x="112" y="7"/>
                    </a:cubicBezTo>
                    <a:cubicBezTo>
                      <a:pt x="112" y="7"/>
                      <a:pt x="110" y="4"/>
                      <a:pt x="107" y="2"/>
                    </a:cubicBezTo>
                    <a:cubicBezTo>
                      <a:pt x="104" y="0"/>
                      <a:pt x="95" y="0"/>
                      <a:pt x="95" y="0"/>
                    </a:cubicBezTo>
                    <a:cubicBezTo>
                      <a:pt x="61" y="21"/>
                      <a:pt x="61" y="21"/>
                      <a:pt x="61" y="21"/>
                    </a:cubicBezTo>
                    <a:cubicBezTo>
                      <a:pt x="46" y="33"/>
                      <a:pt x="46" y="33"/>
                      <a:pt x="46" y="33"/>
                    </a:cubicBezTo>
                    <a:cubicBezTo>
                      <a:pt x="46" y="33"/>
                      <a:pt x="36" y="36"/>
                      <a:pt x="33" y="37"/>
                    </a:cubicBezTo>
                    <a:cubicBezTo>
                      <a:pt x="33" y="37"/>
                      <a:pt x="33" y="37"/>
                      <a:pt x="32" y="37"/>
                    </a:cubicBezTo>
                    <a:cubicBezTo>
                      <a:pt x="32" y="43"/>
                      <a:pt x="33" y="58"/>
                      <a:pt x="32" y="59"/>
                    </a:cubicBezTo>
                    <a:cubicBezTo>
                      <a:pt x="31" y="59"/>
                      <a:pt x="30" y="64"/>
                      <a:pt x="29" y="65"/>
                    </a:cubicBezTo>
                    <a:cubicBezTo>
                      <a:pt x="28" y="66"/>
                      <a:pt x="27" y="68"/>
                      <a:pt x="24" y="68"/>
                    </a:cubicBezTo>
                    <a:cubicBezTo>
                      <a:pt x="21" y="68"/>
                      <a:pt x="15" y="70"/>
                      <a:pt x="12" y="69"/>
                    </a:cubicBezTo>
                    <a:cubicBezTo>
                      <a:pt x="9" y="69"/>
                      <a:pt x="6" y="71"/>
                      <a:pt x="5" y="71"/>
                    </a:cubicBezTo>
                    <a:cubicBezTo>
                      <a:pt x="5" y="72"/>
                      <a:pt x="2" y="72"/>
                      <a:pt x="0" y="72"/>
                    </a:cubicBezTo>
                    <a:cubicBezTo>
                      <a:pt x="0" y="74"/>
                      <a:pt x="0" y="76"/>
                      <a:pt x="0" y="76"/>
                    </a:cubicBezTo>
                    <a:cubicBezTo>
                      <a:pt x="1" y="77"/>
                      <a:pt x="1" y="80"/>
                      <a:pt x="3" y="81"/>
                    </a:cubicBezTo>
                    <a:cubicBezTo>
                      <a:pt x="4" y="82"/>
                      <a:pt x="7" y="83"/>
                      <a:pt x="7" y="85"/>
                    </a:cubicBezTo>
                    <a:cubicBezTo>
                      <a:pt x="7" y="87"/>
                      <a:pt x="7" y="88"/>
                      <a:pt x="8" y="88"/>
                    </a:cubicBezTo>
                    <a:cubicBezTo>
                      <a:pt x="9" y="88"/>
                      <a:pt x="10" y="90"/>
                      <a:pt x="11" y="91"/>
                    </a:cubicBezTo>
                    <a:cubicBezTo>
                      <a:pt x="13" y="92"/>
                      <a:pt x="15" y="90"/>
                      <a:pt x="15" y="90"/>
                    </a:cubicBezTo>
                    <a:cubicBezTo>
                      <a:pt x="16" y="91"/>
                      <a:pt x="15" y="95"/>
                      <a:pt x="16" y="95"/>
                    </a:cubicBezTo>
                    <a:cubicBezTo>
                      <a:pt x="16" y="95"/>
                      <a:pt x="18" y="95"/>
                      <a:pt x="19" y="96"/>
                    </a:cubicBezTo>
                    <a:cubicBezTo>
                      <a:pt x="19" y="94"/>
                      <a:pt x="20" y="92"/>
                      <a:pt x="22" y="93"/>
                    </a:cubicBezTo>
                    <a:cubicBezTo>
                      <a:pt x="24" y="93"/>
                      <a:pt x="22" y="96"/>
                      <a:pt x="25" y="96"/>
                    </a:cubicBezTo>
                    <a:cubicBezTo>
                      <a:pt x="27" y="97"/>
                      <a:pt x="28" y="97"/>
                      <a:pt x="28" y="95"/>
                    </a:cubicBezTo>
                    <a:cubicBezTo>
                      <a:pt x="28" y="93"/>
                      <a:pt x="31" y="90"/>
                      <a:pt x="31" y="89"/>
                    </a:cubicBezTo>
                    <a:cubicBezTo>
                      <a:pt x="32" y="89"/>
                      <a:pt x="32" y="84"/>
                      <a:pt x="33" y="83"/>
                    </a:cubicBezTo>
                    <a:cubicBezTo>
                      <a:pt x="35" y="82"/>
                      <a:pt x="39" y="83"/>
                      <a:pt x="41" y="83"/>
                    </a:cubicBezTo>
                    <a:cubicBezTo>
                      <a:pt x="42" y="83"/>
                      <a:pt x="44" y="80"/>
                      <a:pt x="45" y="81"/>
                    </a:cubicBezTo>
                    <a:cubicBezTo>
                      <a:pt x="47" y="83"/>
                      <a:pt x="50" y="81"/>
                      <a:pt x="52" y="83"/>
                    </a:cubicBezTo>
                    <a:cubicBezTo>
                      <a:pt x="53" y="85"/>
                      <a:pt x="54" y="89"/>
                      <a:pt x="56" y="87"/>
                    </a:cubicBezTo>
                    <a:cubicBezTo>
                      <a:pt x="59" y="86"/>
                      <a:pt x="62" y="86"/>
                      <a:pt x="63" y="86"/>
                    </a:cubicBezTo>
                    <a:cubicBezTo>
                      <a:pt x="64" y="86"/>
                      <a:pt x="68" y="88"/>
                      <a:pt x="69" y="89"/>
                    </a:cubicBezTo>
                    <a:cubicBezTo>
                      <a:pt x="71" y="89"/>
                      <a:pt x="75" y="90"/>
                      <a:pt x="77" y="89"/>
                    </a:cubicBezTo>
                    <a:cubicBezTo>
                      <a:pt x="79" y="88"/>
                      <a:pt x="81" y="85"/>
                      <a:pt x="83" y="85"/>
                    </a:cubicBezTo>
                    <a:cubicBezTo>
                      <a:pt x="85" y="85"/>
                      <a:pt x="92" y="85"/>
                      <a:pt x="93" y="85"/>
                    </a:cubicBezTo>
                    <a:cubicBezTo>
                      <a:pt x="95" y="86"/>
                      <a:pt x="98" y="88"/>
                      <a:pt x="100" y="87"/>
                    </a:cubicBezTo>
                    <a:cubicBezTo>
                      <a:pt x="102" y="86"/>
                      <a:pt x="104" y="82"/>
                      <a:pt x="106" y="82"/>
                    </a:cubicBezTo>
                    <a:cubicBezTo>
                      <a:pt x="106" y="82"/>
                      <a:pt x="106" y="82"/>
                      <a:pt x="107" y="82"/>
                    </a:cubicBezTo>
                    <a:cubicBezTo>
                      <a:pt x="107" y="81"/>
                      <a:pt x="107" y="80"/>
                      <a:pt x="107" y="79"/>
                    </a:cubicBezTo>
                    <a:cubicBezTo>
                      <a:pt x="107" y="75"/>
                      <a:pt x="108" y="76"/>
                      <a:pt x="108" y="72"/>
                    </a:cubicBezTo>
                    <a:cubicBezTo>
                      <a:pt x="109" y="68"/>
                      <a:pt x="120" y="57"/>
                      <a:pt x="121" y="56"/>
                    </a:cubicBezTo>
                    <a:cubicBezTo>
                      <a:pt x="122" y="55"/>
                      <a:pt x="122" y="38"/>
                      <a:pt x="122" y="36"/>
                    </a:cubicBezTo>
                    <a:cubicBezTo>
                      <a:pt x="122" y="34"/>
                      <a:pt x="123" y="31"/>
                      <a:pt x="124" y="27"/>
                    </a:cubicBezTo>
                    <a:cubicBezTo>
                      <a:pt x="125" y="24"/>
                      <a:pt x="122" y="24"/>
                      <a:pt x="122" y="21"/>
                    </a:cubicBezTo>
                    <a:cubicBezTo>
                      <a:pt x="122" y="18"/>
                      <a:pt x="119" y="16"/>
                      <a:pt x="119" y="14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1" name="Freeform 37">
                <a:extLst>
                  <a:ext uri="{FF2B5EF4-FFF2-40B4-BE49-F238E27FC236}">
                    <a16:creationId xmlns:a16="http://schemas.microsoft.com/office/drawing/2014/main" id="{A3EACAFC-2BB1-4FAB-BA1D-D307DBEE4F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4424" y="3641861"/>
                <a:ext cx="186954" cy="308662"/>
              </a:xfrm>
              <a:custGeom>
                <a:avLst/>
                <a:gdLst>
                  <a:gd name="T0" fmla="*/ 80 w 81"/>
                  <a:gd name="T1" fmla="*/ 33 h 134"/>
                  <a:gd name="T2" fmla="*/ 19 w 81"/>
                  <a:gd name="T3" fmla="*/ 0 h 134"/>
                  <a:gd name="T4" fmla="*/ 11 w 81"/>
                  <a:gd name="T5" fmla="*/ 4 h 134"/>
                  <a:gd name="T6" fmla="*/ 12 w 81"/>
                  <a:gd name="T7" fmla="*/ 14 h 134"/>
                  <a:gd name="T8" fmla="*/ 15 w 81"/>
                  <a:gd name="T9" fmla="*/ 21 h 134"/>
                  <a:gd name="T10" fmla="*/ 17 w 81"/>
                  <a:gd name="T11" fmla="*/ 27 h 134"/>
                  <a:gd name="T12" fmla="*/ 15 w 81"/>
                  <a:gd name="T13" fmla="*/ 36 h 134"/>
                  <a:gd name="T14" fmla="*/ 14 w 81"/>
                  <a:gd name="T15" fmla="*/ 56 h 134"/>
                  <a:gd name="T16" fmla="*/ 1 w 81"/>
                  <a:gd name="T17" fmla="*/ 72 h 134"/>
                  <a:gd name="T18" fmla="*/ 0 w 81"/>
                  <a:gd name="T19" fmla="*/ 79 h 134"/>
                  <a:gd name="T20" fmla="*/ 0 w 81"/>
                  <a:gd name="T21" fmla="*/ 82 h 134"/>
                  <a:gd name="T22" fmla="*/ 1 w 81"/>
                  <a:gd name="T23" fmla="*/ 83 h 134"/>
                  <a:gd name="T24" fmla="*/ 5 w 81"/>
                  <a:gd name="T25" fmla="*/ 87 h 134"/>
                  <a:gd name="T26" fmla="*/ 10 w 81"/>
                  <a:gd name="T27" fmla="*/ 94 h 134"/>
                  <a:gd name="T28" fmla="*/ 11 w 81"/>
                  <a:gd name="T29" fmla="*/ 101 h 134"/>
                  <a:gd name="T30" fmla="*/ 14 w 81"/>
                  <a:gd name="T31" fmla="*/ 111 h 134"/>
                  <a:gd name="T32" fmla="*/ 11 w 81"/>
                  <a:gd name="T33" fmla="*/ 113 h 134"/>
                  <a:gd name="T34" fmla="*/ 4 w 81"/>
                  <a:gd name="T35" fmla="*/ 114 h 134"/>
                  <a:gd name="T36" fmla="*/ 6 w 81"/>
                  <a:gd name="T37" fmla="*/ 119 h 134"/>
                  <a:gd name="T38" fmla="*/ 13 w 81"/>
                  <a:gd name="T39" fmla="*/ 126 h 134"/>
                  <a:gd name="T40" fmla="*/ 16 w 81"/>
                  <a:gd name="T41" fmla="*/ 133 h 134"/>
                  <a:gd name="T42" fmla="*/ 20 w 81"/>
                  <a:gd name="T43" fmla="*/ 131 h 134"/>
                  <a:gd name="T44" fmla="*/ 25 w 81"/>
                  <a:gd name="T45" fmla="*/ 131 h 134"/>
                  <a:gd name="T46" fmla="*/ 34 w 81"/>
                  <a:gd name="T47" fmla="*/ 128 h 134"/>
                  <a:gd name="T48" fmla="*/ 41 w 81"/>
                  <a:gd name="T49" fmla="*/ 125 h 134"/>
                  <a:gd name="T50" fmla="*/ 42 w 81"/>
                  <a:gd name="T51" fmla="*/ 120 h 134"/>
                  <a:gd name="T52" fmla="*/ 53 w 81"/>
                  <a:gd name="T53" fmla="*/ 118 h 134"/>
                  <a:gd name="T54" fmla="*/ 61 w 81"/>
                  <a:gd name="T55" fmla="*/ 110 h 134"/>
                  <a:gd name="T56" fmla="*/ 63 w 81"/>
                  <a:gd name="T57" fmla="*/ 106 h 134"/>
                  <a:gd name="T58" fmla="*/ 69 w 81"/>
                  <a:gd name="T59" fmla="*/ 103 h 134"/>
                  <a:gd name="T60" fmla="*/ 71 w 81"/>
                  <a:gd name="T61" fmla="*/ 104 h 134"/>
                  <a:gd name="T62" fmla="*/ 71 w 81"/>
                  <a:gd name="T63" fmla="*/ 103 h 134"/>
                  <a:gd name="T64" fmla="*/ 72 w 81"/>
                  <a:gd name="T65" fmla="*/ 100 h 134"/>
                  <a:gd name="T66" fmla="*/ 68 w 81"/>
                  <a:gd name="T67" fmla="*/ 95 h 134"/>
                  <a:gd name="T68" fmla="*/ 66 w 81"/>
                  <a:gd name="T69" fmla="*/ 89 h 134"/>
                  <a:gd name="T70" fmla="*/ 65 w 81"/>
                  <a:gd name="T71" fmla="*/ 85 h 134"/>
                  <a:gd name="T72" fmla="*/ 66 w 81"/>
                  <a:gd name="T73" fmla="*/ 79 h 134"/>
                  <a:gd name="T74" fmla="*/ 69 w 81"/>
                  <a:gd name="T75" fmla="*/ 73 h 134"/>
                  <a:gd name="T76" fmla="*/ 72 w 81"/>
                  <a:gd name="T77" fmla="*/ 68 h 134"/>
                  <a:gd name="T78" fmla="*/ 79 w 81"/>
                  <a:gd name="T79" fmla="*/ 63 h 134"/>
                  <a:gd name="T80" fmla="*/ 80 w 81"/>
                  <a:gd name="T81" fmla="*/ 55 h 134"/>
                  <a:gd name="T82" fmla="*/ 80 w 81"/>
                  <a:gd name="T83" fmla="*/ 33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81" h="134">
                    <a:moveTo>
                      <a:pt x="80" y="33"/>
                    </a:moveTo>
                    <a:cubicBezTo>
                      <a:pt x="19" y="0"/>
                      <a:pt x="19" y="0"/>
                      <a:pt x="19" y="0"/>
                    </a:cubicBezTo>
                    <a:cubicBezTo>
                      <a:pt x="11" y="4"/>
                      <a:pt x="11" y="4"/>
                      <a:pt x="11" y="4"/>
                    </a:cubicBezTo>
                    <a:cubicBezTo>
                      <a:pt x="12" y="8"/>
                      <a:pt x="12" y="13"/>
                      <a:pt x="12" y="14"/>
                    </a:cubicBezTo>
                    <a:cubicBezTo>
                      <a:pt x="12" y="16"/>
                      <a:pt x="15" y="18"/>
                      <a:pt x="15" y="21"/>
                    </a:cubicBezTo>
                    <a:cubicBezTo>
                      <a:pt x="15" y="24"/>
                      <a:pt x="18" y="24"/>
                      <a:pt x="17" y="27"/>
                    </a:cubicBezTo>
                    <a:cubicBezTo>
                      <a:pt x="16" y="31"/>
                      <a:pt x="15" y="34"/>
                      <a:pt x="15" y="36"/>
                    </a:cubicBezTo>
                    <a:cubicBezTo>
                      <a:pt x="15" y="38"/>
                      <a:pt x="15" y="55"/>
                      <a:pt x="14" y="56"/>
                    </a:cubicBezTo>
                    <a:cubicBezTo>
                      <a:pt x="13" y="57"/>
                      <a:pt x="2" y="68"/>
                      <a:pt x="1" y="72"/>
                    </a:cubicBezTo>
                    <a:cubicBezTo>
                      <a:pt x="1" y="76"/>
                      <a:pt x="0" y="75"/>
                      <a:pt x="0" y="79"/>
                    </a:cubicBezTo>
                    <a:cubicBezTo>
                      <a:pt x="0" y="80"/>
                      <a:pt x="0" y="81"/>
                      <a:pt x="0" y="82"/>
                    </a:cubicBezTo>
                    <a:cubicBezTo>
                      <a:pt x="0" y="82"/>
                      <a:pt x="1" y="83"/>
                      <a:pt x="1" y="83"/>
                    </a:cubicBezTo>
                    <a:cubicBezTo>
                      <a:pt x="3" y="85"/>
                      <a:pt x="3" y="87"/>
                      <a:pt x="5" y="87"/>
                    </a:cubicBezTo>
                    <a:cubicBezTo>
                      <a:pt x="7" y="87"/>
                      <a:pt x="10" y="92"/>
                      <a:pt x="10" y="94"/>
                    </a:cubicBezTo>
                    <a:cubicBezTo>
                      <a:pt x="10" y="96"/>
                      <a:pt x="11" y="98"/>
                      <a:pt x="11" y="101"/>
                    </a:cubicBezTo>
                    <a:cubicBezTo>
                      <a:pt x="11" y="105"/>
                      <a:pt x="13" y="111"/>
                      <a:pt x="14" y="111"/>
                    </a:cubicBezTo>
                    <a:cubicBezTo>
                      <a:pt x="15" y="112"/>
                      <a:pt x="14" y="113"/>
                      <a:pt x="11" y="113"/>
                    </a:cubicBezTo>
                    <a:cubicBezTo>
                      <a:pt x="8" y="112"/>
                      <a:pt x="4" y="112"/>
                      <a:pt x="4" y="114"/>
                    </a:cubicBezTo>
                    <a:cubicBezTo>
                      <a:pt x="4" y="115"/>
                      <a:pt x="3" y="116"/>
                      <a:pt x="6" y="119"/>
                    </a:cubicBezTo>
                    <a:cubicBezTo>
                      <a:pt x="9" y="122"/>
                      <a:pt x="12" y="123"/>
                      <a:pt x="13" y="126"/>
                    </a:cubicBezTo>
                    <a:cubicBezTo>
                      <a:pt x="14" y="129"/>
                      <a:pt x="15" y="132"/>
                      <a:pt x="16" y="133"/>
                    </a:cubicBezTo>
                    <a:cubicBezTo>
                      <a:pt x="17" y="134"/>
                      <a:pt x="19" y="133"/>
                      <a:pt x="20" y="131"/>
                    </a:cubicBezTo>
                    <a:cubicBezTo>
                      <a:pt x="22" y="129"/>
                      <a:pt x="24" y="133"/>
                      <a:pt x="25" y="131"/>
                    </a:cubicBezTo>
                    <a:cubicBezTo>
                      <a:pt x="27" y="129"/>
                      <a:pt x="33" y="129"/>
                      <a:pt x="34" y="128"/>
                    </a:cubicBezTo>
                    <a:cubicBezTo>
                      <a:pt x="36" y="128"/>
                      <a:pt x="40" y="126"/>
                      <a:pt x="41" y="125"/>
                    </a:cubicBezTo>
                    <a:cubicBezTo>
                      <a:pt x="43" y="123"/>
                      <a:pt x="40" y="121"/>
                      <a:pt x="42" y="120"/>
                    </a:cubicBezTo>
                    <a:cubicBezTo>
                      <a:pt x="44" y="119"/>
                      <a:pt x="51" y="121"/>
                      <a:pt x="53" y="118"/>
                    </a:cubicBezTo>
                    <a:cubicBezTo>
                      <a:pt x="56" y="115"/>
                      <a:pt x="60" y="111"/>
                      <a:pt x="61" y="110"/>
                    </a:cubicBezTo>
                    <a:cubicBezTo>
                      <a:pt x="62" y="109"/>
                      <a:pt x="61" y="108"/>
                      <a:pt x="63" y="106"/>
                    </a:cubicBezTo>
                    <a:cubicBezTo>
                      <a:pt x="64" y="104"/>
                      <a:pt x="68" y="102"/>
                      <a:pt x="69" y="103"/>
                    </a:cubicBezTo>
                    <a:cubicBezTo>
                      <a:pt x="70" y="104"/>
                      <a:pt x="70" y="104"/>
                      <a:pt x="71" y="104"/>
                    </a:cubicBezTo>
                    <a:cubicBezTo>
                      <a:pt x="71" y="103"/>
                      <a:pt x="71" y="103"/>
                      <a:pt x="71" y="103"/>
                    </a:cubicBezTo>
                    <a:cubicBezTo>
                      <a:pt x="72" y="100"/>
                      <a:pt x="72" y="100"/>
                      <a:pt x="72" y="100"/>
                    </a:cubicBezTo>
                    <a:cubicBezTo>
                      <a:pt x="72" y="100"/>
                      <a:pt x="68" y="98"/>
                      <a:pt x="68" y="95"/>
                    </a:cubicBezTo>
                    <a:cubicBezTo>
                      <a:pt x="68" y="92"/>
                      <a:pt x="69" y="89"/>
                      <a:pt x="66" y="89"/>
                    </a:cubicBezTo>
                    <a:cubicBezTo>
                      <a:pt x="64" y="89"/>
                      <a:pt x="63" y="86"/>
                      <a:pt x="65" y="85"/>
                    </a:cubicBezTo>
                    <a:cubicBezTo>
                      <a:pt x="67" y="83"/>
                      <a:pt x="62" y="79"/>
                      <a:pt x="66" y="79"/>
                    </a:cubicBezTo>
                    <a:cubicBezTo>
                      <a:pt x="69" y="79"/>
                      <a:pt x="67" y="73"/>
                      <a:pt x="69" y="73"/>
                    </a:cubicBezTo>
                    <a:cubicBezTo>
                      <a:pt x="72" y="72"/>
                      <a:pt x="72" y="70"/>
                      <a:pt x="72" y="68"/>
                    </a:cubicBezTo>
                    <a:cubicBezTo>
                      <a:pt x="72" y="65"/>
                      <a:pt x="78" y="64"/>
                      <a:pt x="79" y="63"/>
                    </a:cubicBezTo>
                    <a:cubicBezTo>
                      <a:pt x="81" y="63"/>
                      <a:pt x="80" y="55"/>
                      <a:pt x="80" y="55"/>
                    </a:cubicBezTo>
                    <a:lnTo>
                      <a:pt x="80" y="33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2" name="Freeform 38">
                <a:extLst>
                  <a:ext uri="{FF2B5EF4-FFF2-40B4-BE49-F238E27FC236}">
                    <a16:creationId xmlns:a16="http://schemas.microsoft.com/office/drawing/2014/main" id="{2F1B6B63-AB0F-4CAF-B189-2A9A310105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0161" y="3471218"/>
                <a:ext cx="203266" cy="200756"/>
              </a:xfrm>
              <a:custGeom>
                <a:avLst/>
                <a:gdLst>
                  <a:gd name="T0" fmla="*/ 82 w 88"/>
                  <a:gd name="T1" fmla="*/ 19 h 87"/>
                  <a:gd name="T2" fmla="*/ 76 w 88"/>
                  <a:gd name="T3" fmla="*/ 5 h 87"/>
                  <a:gd name="T4" fmla="*/ 76 w 88"/>
                  <a:gd name="T5" fmla="*/ 6 h 87"/>
                  <a:gd name="T6" fmla="*/ 67 w 88"/>
                  <a:gd name="T7" fmla="*/ 5 h 87"/>
                  <a:gd name="T8" fmla="*/ 57 w 88"/>
                  <a:gd name="T9" fmla="*/ 3 h 87"/>
                  <a:gd name="T10" fmla="*/ 40 w 88"/>
                  <a:gd name="T11" fmla="*/ 6 h 87"/>
                  <a:gd name="T12" fmla="*/ 31 w 88"/>
                  <a:gd name="T13" fmla="*/ 7 h 87"/>
                  <a:gd name="T14" fmla="*/ 16 w 88"/>
                  <a:gd name="T15" fmla="*/ 3 h 87"/>
                  <a:gd name="T16" fmla="*/ 4 w 88"/>
                  <a:gd name="T17" fmla="*/ 0 h 87"/>
                  <a:gd name="T18" fmla="*/ 3 w 88"/>
                  <a:gd name="T19" fmla="*/ 2 h 87"/>
                  <a:gd name="T20" fmla="*/ 2 w 88"/>
                  <a:gd name="T21" fmla="*/ 12 h 87"/>
                  <a:gd name="T22" fmla="*/ 2 w 88"/>
                  <a:gd name="T23" fmla="*/ 24 h 87"/>
                  <a:gd name="T24" fmla="*/ 2 w 88"/>
                  <a:gd name="T25" fmla="*/ 86 h 87"/>
                  <a:gd name="T26" fmla="*/ 52 w 88"/>
                  <a:gd name="T27" fmla="*/ 86 h 87"/>
                  <a:gd name="T28" fmla="*/ 54 w 88"/>
                  <a:gd name="T29" fmla="*/ 84 h 87"/>
                  <a:gd name="T30" fmla="*/ 58 w 88"/>
                  <a:gd name="T31" fmla="*/ 85 h 87"/>
                  <a:gd name="T32" fmla="*/ 69 w 88"/>
                  <a:gd name="T33" fmla="*/ 85 h 87"/>
                  <a:gd name="T34" fmla="*/ 73 w 88"/>
                  <a:gd name="T35" fmla="*/ 87 h 87"/>
                  <a:gd name="T36" fmla="*/ 78 w 88"/>
                  <a:gd name="T37" fmla="*/ 84 h 87"/>
                  <a:gd name="T38" fmla="*/ 83 w 88"/>
                  <a:gd name="T39" fmla="*/ 78 h 87"/>
                  <a:gd name="T40" fmla="*/ 87 w 88"/>
                  <a:gd name="T41" fmla="*/ 75 h 87"/>
                  <a:gd name="T42" fmla="*/ 87 w 88"/>
                  <a:gd name="T43" fmla="*/ 75 h 87"/>
                  <a:gd name="T44" fmla="*/ 87 w 88"/>
                  <a:gd name="T45" fmla="*/ 72 h 87"/>
                  <a:gd name="T46" fmla="*/ 84 w 88"/>
                  <a:gd name="T47" fmla="*/ 63 h 87"/>
                  <a:gd name="T48" fmla="*/ 75 w 88"/>
                  <a:gd name="T49" fmla="*/ 46 h 87"/>
                  <a:gd name="T50" fmla="*/ 71 w 88"/>
                  <a:gd name="T51" fmla="*/ 38 h 87"/>
                  <a:gd name="T52" fmla="*/ 66 w 88"/>
                  <a:gd name="T53" fmla="*/ 29 h 87"/>
                  <a:gd name="T54" fmla="*/ 62 w 88"/>
                  <a:gd name="T55" fmla="*/ 14 h 87"/>
                  <a:gd name="T56" fmla="*/ 68 w 88"/>
                  <a:gd name="T57" fmla="*/ 25 h 87"/>
                  <a:gd name="T58" fmla="*/ 76 w 88"/>
                  <a:gd name="T59" fmla="*/ 35 h 87"/>
                  <a:gd name="T60" fmla="*/ 81 w 88"/>
                  <a:gd name="T61" fmla="*/ 24 h 87"/>
                  <a:gd name="T62" fmla="*/ 81 w 88"/>
                  <a:gd name="T63" fmla="*/ 24 h 87"/>
                  <a:gd name="T64" fmla="*/ 81 w 88"/>
                  <a:gd name="T65" fmla="*/ 22 h 87"/>
                  <a:gd name="T66" fmla="*/ 82 w 88"/>
                  <a:gd name="T67" fmla="*/ 19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8" h="87">
                    <a:moveTo>
                      <a:pt x="82" y="19"/>
                    </a:moveTo>
                    <a:cubicBezTo>
                      <a:pt x="76" y="5"/>
                      <a:pt x="76" y="5"/>
                      <a:pt x="76" y="5"/>
                    </a:cubicBezTo>
                    <a:cubicBezTo>
                      <a:pt x="76" y="5"/>
                      <a:pt x="76" y="6"/>
                      <a:pt x="76" y="6"/>
                    </a:cubicBezTo>
                    <a:cubicBezTo>
                      <a:pt x="75" y="7"/>
                      <a:pt x="71" y="4"/>
                      <a:pt x="67" y="5"/>
                    </a:cubicBezTo>
                    <a:cubicBezTo>
                      <a:pt x="63" y="6"/>
                      <a:pt x="60" y="5"/>
                      <a:pt x="57" y="3"/>
                    </a:cubicBezTo>
                    <a:cubicBezTo>
                      <a:pt x="53" y="2"/>
                      <a:pt x="42" y="4"/>
                      <a:pt x="40" y="6"/>
                    </a:cubicBezTo>
                    <a:cubicBezTo>
                      <a:pt x="39" y="8"/>
                      <a:pt x="35" y="8"/>
                      <a:pt x="31" y="7"/>
                    </a:cubicBezTo>
                    <a:cubicBezTo>
                      <a:pt x="28" y="5"/>
                      <a:pt x="23" y="3"/>
                      <a:pt x="16" y="3"/>
                    </a:cubicBezTo>
                    <a:cubicBezTo>
                      <a:pt x="10" y="2"/>
                      <a:pt x="5" y="1"/>
                      <a:pt x="4" y="0"/>
                    </a:cubicBezTo>
                    <a:cubicBezTo>
                      <a:pt x="4" y="0"/>
                      <a:pt x="4" y="1"/>
                      <a:pt x="3" y="2"/>
                    </a:cubicBezTo>
                    <a:cubicBezTo>
                      <a:pt x="1" y="7"/>
                      <a:pt x="5" y="9"/>
                      <a:pt x="2" y="12"/>
                    </a:cubicBezTo>
                    <a:cubicBezTo>
                      <a:pt x="0" y="15"/>
                      <a:pt x="2" y="18"/>
                      <a:pt x="2" y="24"/>
                    </a:cubicBezTo>
                    <a:cubicBezTo>
                      <a:pt x="2" y="27"/>
                      <a:pt x="2" y="64"/>
                      <a:pt x="2" y="86"/>
                    </a:cubicBezTo>
                    <a:cubicBezTo>
                      <a:pt x="52" y="86"/>
                      <a:pt x="52" y="86"/>
                      <a:pt x="52" y="86"/>
                    </a:cubicBezTo>
                    <a:cubicBezTo>
                      <a:pt x="52" y="86"/>
                      <a:pt x="53" y="85"/>
                      <a:pt x="54" y="84"/>
                    </a:cubicBezTo>
                    <a:cubicBezTo>
                      <a:pt x="56" y="83"/>
                      <a:pt x="58" y="85"/>
                      <a:pt x="58" y="85"/>
                    </a:cubicBezTo>
                    <a:cubicBezTo>
                      <a:pt x="69" y="85"/>
                      <a:pt x="69" y="85"/>
                      <a:pt x="69" y="85"/>
                    </a:cubicBezTo>
                    <a:cubicBezTo>
                      <a:pt x="69" y="85"/>
                      <a:pt x="71" y="87"/>
                      <a:pt x="73" y="87"/>
                    </a:cubicBezTo>
                    <a:cubicBezTo>
                      <a:pt x="75" y="87"/>
                      <a:pt x="74" y="84"/>
                      <a:pt x="78" y="84"/>
                    </a:cubicBezTo>
                    <a:cubicBezTo>
                      <a:pt x="81" y="84"/>
                      <a:pt x="81" y="78"/>
                      <a:pt x="83" y="78"/>
                    </a:cubicBezTo>
                    <a:cubicBezTo>
                      <a:pt x="85" y="78"/>
                      <a:pt x="85" y="78"/>
                      <a:pt x="87" y="75"/>
                    </a:cubicBezTo>
                    <a:cubicBezTo>
                      <a:pt x="87" y="75"/>
                      <a:pt x="87" y="75"/>
                      <a:pt x="87" y="75"/>
                    </a:cubicBezTo>
                    <a:cubicBezTo>
                      <a:pt x="87" y="74"/>
                      <a:pt x="87" y="73"/>
                      <a:pt x="87" y="72"/>
                    </a:cubicBezTo>
                    <a:cubicBezTo>
                      <a:pt x="88" y="68"/>
                      <a:pt x="85" y="68"/>
                      <a:pt x="84" y="63"/>
                    </a:cubicBezTo>
                    <a:cubicBezTo>
                      <a:pt x="82" y="57"/>
                      <a:pt x="75" y="49"/>
                      <a:pt x="75" y="46"/>
                    </a:cubicBezTo>
                    <a:cubicBezTo>
                      <a:pt x="75" y="43"/>
                      <a:pt x="71" y="41"/>
                      <a:pt x="71" y="38"/>
                    </a:cubicBezTo>
                    <a:cubicBezTo>
                      <a:pt x="71" y="35"/>
                      <a:pt x="70" y="34"/>
                      <a:pt x="66" y="29"/>
                    </a:cubicBezTo>
                    <a:cubicBezTo>
                      <a:pt x="62" y="24"/>
                      <a:pt x="61" y="15"/>
                      <a:pt x="62" y="14"/>
                    </a:cubicBezTo>
                    <a:cubicBezTo>
                      <a:pt x="63" y="14"/>
                      <a:pt x="66" y="22"/>
                      <a:pt x="68" y="25"/>
                    </a:cubicBezTo>
                    <a:cubicBezTo>
                      <a:pt x="69" y="27"/>
                      <a:pt x="73" y="35"/>
                      <a:pt x="76" y="35"/>
                    </a:cubicBezTo>
                    <a:cubicBezTo>
                      <a:pt x="79" y="35"/>
                      <a:pt x="80" y="23"/>
                      <a:pt x="81" y="24"/>
                    </a:cubicBezTo>
                    <a:cubicBezTo>
                      <a:pt x="81" y="24"/>
                      <a:pt x="81" y="24"/>
                      <a:pt x="81" y="24"/>
                    </a:cubicBezTo>
                    <a:cubicBezTo>
                      <a:pt x="81" y="22"/>
                      <a:pt x="81" y="22"/>
                      <a:pt x="81" y="22"/>
                    </a:cubicBezTo>
                    <a:lnTo>
                      <a:pt x="82" y="19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3" name="Freeform 39">
                <a:extLst>
                  <a:ext uri="{FF2B5EF4-FFF2-40B4-BE49-F238E27FC236}">
                    <a16:creationId xmlns:a16="http://schemas.microsoft.com/office/drawing/2014/main" id="{A80F478D-59A4-4753-A337-467FF719E4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6593" y="4044628"/>
                <a:ext cx="104142" cy="115435"/>
              </a:xfrm>
              <a:custGeom>
                <a:avLst/>
                <a:gdLst>
                  <a:gd name="T0" fmla="*/ 22 w 45"/>
                  <a:gd name="T1" fmla="*/ 48 h 50"/>
                  <a:gd name="T2" fmla="*/ 23 w 45"/>
                  <a:gd name="T3" fmla="*/ 41 h 50"/>
                  <a:gd name="T4" fmla="*/ 28 w 45"/>
                  <a:gd name="T5" fmla="*/ 38 h 50"/>
                  <a:gd name="T6" fmla="*/ 32 w 45"/>
                  <a:gd name="T7" fmla="*/ 33 h 50"/>
                  <a:gd name="T8" fmla="*/ 36 w 45"/>
                  <a:gd name="T9" fmla="*/ 38 h 50"/>
                  <a:gd name="T10" fmla="*/ 42 w 45"/>
                  <a:gd name="T11" fmla="*/ 39 h 50"/>
                  <a:gd name="T12" fmla="*/ 45 w 45"/>
                  <a:gd name="T13" fmla="*/ 30 h 50"/>
                  <a:gd name="T14" fmla="*/ 43 w 45"/>
                  <a:gd name="T15" fmla="*/ 21 h 50"/>
                  <a:gd name="T16" fmla="*/ 41 w 45"/>
                  <a:gd name="T17" fmla="*/ 15 h 50"/>
                  <a:gd name="T18" fmla="*/ 42 w 45"/>
                  <a:gd name="T19" fmla="*/ 9 h 50"/>
                  <a:gd name="T20" fmla="*/ 34 w 45"/>
                  <a:gd name="T21" fmla="*/ 9 h 50"/>
                  <a:gd name="T22" fmla="*/ 35 w 45"/>
                  <a:gd name="T23" fmla="*/ 0 h 50"/>
                  <a:gd name="T24" fmla="*/ 23 w 45"/>
                  <a:gd name="T25" fmla="*/ 0 h 50"/>
                  <a:gd name="T26" fmla="*/ 22 w 45"/>
                  <a:gd name="T27" fmla="*/ 0 h 50"/>
                  <a:gd name="T28" fmla="*/ 21 w 45"/>
                  <a:gd name="T29" fmla="*/ 11 h 50"/>
                  <a:gd name="T30" fmla="*/ 11 w 45"/>
                  <a:gd name="T31" fmla="*/ 11 h 50"/>
                  <a:gd name="T32" fmla="*/ 7 w 45"/>
                  <a:gd name="T33" fmla="*/ 12 h 50"/>
                  <a:gd name="T34" fmla="*/ 5 w 45"/>
                  <a:gd name="T35" fmla="*/ 13 h 50"/>
                  <a:gd name="T36" fmla="*/ 9 w 45"/>
                  <a:gd name="T37" fmla="*/ 17 h 50"/>
                  <a:gd name="T38" fmla="*/ 4 w 45"/>
                  <a:gd name="T39" fmla="*/ 21 h 50"/>
                  <a:gd name="T40" fmla="*/ 1 w 45"/>
                  <a:gd name="T41" fmla="*/ 26 h 50"/>
                  <a:gd name="T42" fmla="*/ 5 w 45"/>
                  <a:gd name="T43" fmla="*/ 33 h 50"/>
                  <a:gd name="T44" fmla="*/ 11 w 45"/>
                  <a:gd name="T45" fmla="*/ 40 h 50"/>
                  <a:gd name="T46" fmla="*/ 19 w 45"/>
                  <a:gd name="T47" fmla="*/ 50 h 50"/>
                  <a:gd name="T48" fmla="*/ 22 w 45"/>
                  <a:gd name="T49" fmla="*/ 48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5" h="50">
                    <a:moveTo>
                      <a:pt x="22" y="48"/>
                    </a:moveTo>
                    <a:cubicBezTo>
                      <a:pt x="26" y="48"/>
                      <a:pt x="25" y="45"/>
                      <a:pt x="23" y="41"/>
                    </a:cubicBezTo>
                    <a:cubicBezTo>
                      <a:pt x="22" y="37"/>
                      <a:pt x="26" y="38"/>
                      <a:pt x="28" y="38"/>
                    </a:cubicBezTo>
                    <a:cubicBezTo>
                      <a:pt x="31" y="38"/>
                      <a:pt x="30" y="33"/>
                      <a:pt x="32" y="33"/>
                    </a:cubicBezTo>
                    <a:cubicBezTo>
                      <a:pt x="34" y="33"/>
                      <a:pt x="34" y="39"/>
                      <a:pt x="36" y="38"/>
                    </a:cubicBezTo>
                    <a:cubicBezTo>
                      <a:pt x="38" y="38"/>
                      <a:pt x="40" y="40"/>
                      <a:pt x="42" y="39"/>
                    </a:cubicBezTo>
                    <a:cubicBezTo>
                      <a:pt x="45" y="39"/>
                      <a:pt x="45" y="34"/>
                      <a:pt x="45" y="30"/>
                    </a:cubicBezTo>
                    <a:cubicBezTo>
                      <a:pt x="45" y="26"/>
                      <a:pt x="45" y="23"/>
                      <a:pt x="43" y="21"/>
                    </a:cubicBezTo>
                    <a:cubicBezTo>
                      <a:pt x="40" y="20"/>
                      <a:pt x="38" y="17"/>
                      <a:pt x="41" y="15"/>
                    </a:cubicBezTo>
                    <a:cubicBezTo>
                      <a:pt x="44" y="14"/>
                      <a:pt x="45" y="11"/>
                      <a:pt x="42" y="9"/>
                    </a:cubicBezTo>
                    <a:cubicBezTo>
                      <a:pt x="40" y="7"/>
                      <a:pt x="34" y="11"/>
                      <a:pt x="34" y="9"/>
                    </a:cubicBezTo>
                    <a:cubicBezTo>
                      <a:pt x="34" y="7"/>
                      <a:pt x="35" y="4"/>
                      <a:pt x="35" y="0"/>
                    </a:cubicBezTo>
                    <a:cubicBezTo>
                      <a:pt x="29" y="0"/>
                      <a:pt x="23" y="0"/>
                      <a:pt x="23" y="0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22" y="6"/>
                      <a:pt x="21" y="11"/>
                      <a:pt x="21" y="11"/>
                    </a:cubicBezTo>
                    <a:cubicBezTo>
                      <a:pt x="21" y="11"/>
                      <a:pt x="13" y="11"/>
                      <a:pt x="11" y="11"/>
                    </a:cubicBezTo>
                    <a:cubicBezTo>
                      <a:pt x="10" y="11"/>
                      <a:pt x="9" y="11"/>
                      <a:pt x="7" y="12"/>
                    </a:cubicBezTo>
                    <a:cubicBezTo>
                      <a:pt x="6" y="12"/>
                      <a:pt x="6" y="13"/>
                      <a:pt x="5" y="13"/>
                    </a:cubicBezTo>
                    <a:cubicBezTo>
                      <a:pt x="4" y="14"/>
                      <a:pt x="8" y="16"/>
                      <a:pt x="9" y="17"/>
                    </a:cubicBezTo>
                    <a:cubicBezTo>
                      <a:pt x="9" y="19"/>
                      <a:pt x="4" y="18"/>
                      <a:pt x="4" y="21"/>
                    </a:cubicBezTo>
                    <a:cubicBezTo>
                      <a:pt x="4" y="23"/>
                      <a:pt x="2" y="25"/>
                      <a:pt x="1" y="26"/>
                    </a:cubicBezTo>
                    <a:cubicBezTo>
                      <a:pt x="0" y="27"/>
                      <a:pt x="5" y="31"/>
                      <a:pt x="5" y="33"/>
                    </a:cubicBezTo>
                    <a:cubicBezTo>
                      <a:pt x="5" y="34"/>
                      <a:pt x="6" y="36"/>
                      <a:pt x="11" y="40"/>
                    </a:cubicBezTo>
                    <a:cubicBezTo>
                      <a:pt x="15" y="44"/>
                      <a:pt x="13" y="46"/>
                      <a:pt x="19" y="50"/>
                    </a:cubicBezTo>
                    <a:cubicBezTo>
                      <a:pt x="19" y="49"/>
                      <a:pt x="21" y="48"/>
                      <a:pt x="22" y="48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4" name="Freeform 40">
                <a:extLst>
                  <a:ext uri="{FF2B5EF4-FFF2-40B4-BE49-F238E27FC236}">
                    <a16:creationId xmlns:a16="http://schemas.microsoft.com/office/drawing/2014/main" id="{D5010F8C-02F1-4F49-84B6-4CC769FC45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95376" y="4044628"/>
                <a:ext cx="41406" cy="27604"/>
              </a:xfrm>
              <a:custGeom>
                <a:avLst/>
                <a:gdLst>
                  <a:gd name="T0" fmla="*/ 17 w 18"/>
                  <a:gd name="T1" fmla="*/ 11 h 12"/>
                  <a:gd name="T2" fmla="*/ 18 w 18"/>
                  <a:gd name="T3" fmla="*/ 0 h 12"/>
                  <a:gd name="T4" fmla="*/ 16 w 18"/>
                  <a:gd name="T5" fmla="*/ 1 h 12"/>
                  <a:gd name="T6" fmla="*/ 5 w 18"/>
                  <a:gd name="T7" fmla="*/ 1 h 12"/>
                  <a:gd name="T8" fmla="*/ 5 w 18"/>
                  <a:gd name="T9" fmla="*/ 1 h 12"/>
                  <a:gd name="T10" fmla="*/ 3 w 18"/>
                  <a:gd name="T11" fmla="*/ 6 h 12"/>
                  <a:gd name="T12" fmla="*/ 3 w 18"/>
                  <a:gd name="T13" fmla="*/ 9 h 12"/>
                  <a:gd name="T14" fmla="*/ 3 w 18"/>
                  <a:gd name="T15" fmla="*/ 12 h 12"/>
                  <a:gd name="T16" fmla="*/ 7 w 18"/>
                  <a:gd name="T17" fmla="*/ 11 h 12"/>
                  <a:gd name="T18" fmla="*/ 17 w 18"/>
                  <a:gd name="T19" fmla="*/ 11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12">
                    <a:moveTo>
                      <a:pt x="17" y="11"/>
                    </a:moveTo>
                    <a:cubicBezTo>
                      <a:pt x="17" y="11"/>
                      <a:pt x="18" y="6"/>
                      <a:pt x="18" y="0"/>
                    </a:cubicBezTo>
                    <a:cubicBezTo>
                      <a:pt x="16" y="1"/>
                      <a:pt x="16" y="1"/>
                      <a:pt x="16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6" y="3"/>
                      <a:pt x="5" y="5"/>
                      <a:pt x="3" y="6"/>
                    </a:cubicBezTo>
                    <a:cubicBezTo>
                      <a:pt x="0" y="7"/>
                      <a:pt x="1" y="9"/>
                      <a:pt x="3" y="9"/>
                    </a:cubicBezTo>
                    <a:cubicBezTo>
                      <a:pt x="4" y="10"/>
                      <a:pt x="3" y="11"/>
                      <a:pt x="3" y="12"/>
                    </a:cubicBezTo>
                    <a:cubicBezTo>
                      <a:pt x="5" y="11"/>
                      <a:pt x="6" y="11"/>
                      <a:pt x="7" y="11"/>
                    </a:cubicBezTo>
                    <a:cubicBezTo>
                      <a:pt x="9" y="11"/>
                      <a:pt x="17" y="11"/>
                      <a:pt x="17" y="1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5" name="Freeform 41">
                <a:extLst>
                  <a:ext uri="{FF2B5EF4-FFF2-40B4-BE49-F238E27FC236}">
                    <a16:creationId xmlns:a16="http://schemas.microsoft.com/office/drawing/2014/main" id="{3B206DDF-3670-4A02-98B3-F5FEF43250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0508" y="4017024"/>
                <a:ext cx="129237" cy="164369"/>
              </a:xfrm>
              <a:custGeom>
                <a:avLst/>
                <a:gdLst>
                  <a:gd name="T0" fmla="*/ 15 w 56"/>
                  <a:gd name="T1" fmla="*/ 67 h 71"/>
                  <a:gd name="T2" fmla="*/ 20 w 56"/>
                  <a:gd name="T3" fmla="*/ 68 h 71"/>
                  <a:gd name="T4" fmla="*/ 27 w 56"/>
                  <a:gd name="T5" fmla="*/ 68 h 71"/>
                  <a:gd name="T6" fmla="*/ 30 w 56"/>
                  <a:gd name="T7" fmla="*/ 68 h 71"/>
                  <a:gd name="T8" fmla="*/ 35 w 56"/>
                  <a:gd name="T9" fmla="*/ 63 h 71"/>
                  <a:gd name="T10" fmla="*/ 38 w 56"/>
                  <a:gd name="T11" fmla="*/ 57 h 71"/>
                  <a:gd name="T12" fmla="*/ 39 w 56"/>
                  <a:gd name="T13" fmla="*/ 44 h 71"/>
                  <a:gd name="T14" fmla="*/ 46 w 56"/>
                  <a:gd name="T15" fmla="*/ 35 h 71"/>
                  <a:gd name="T16" fmla="*/ 52 w 56"/>
                  <a:gd name="T17" fmla="*/ 18 h 71"/>
                  <a:gd name="T18" fmla="*/ 55 w 56"/>
                  <a:gd name="T19" fmla="*/ 10 h 71"/>
                  <a:gd name="T20" fmla="*/ 56 w 56"/>
                  <a:gd name="T21" fmla="*/ 1 h 71"/>
                  <a:gd name="T22" fmla="*/ 56 w 56"/>
                  <a:gd name="T23" fmla="*/ 1 h 71"/>
                  <a:gd name="T24" fmla="*/ 49 w 56"/>
                  <a:gd name="T25" fmla="*/ 0 h 71"/>
                  <a:gd name="T26" fmla="*/ 45 w 56"/>
                  <a:gd name="T27" fmla="*/ 1 h 71"/>
                  <a:gd name="T28" fmla="*/ 41 w 56"/>
                  <a:gd name="T29" fmla="*/ 2 h 71"/>
                  <a:gd name="T30" fmla="*/ 40 w 56"/>
                  <a:gd name="T31" fmla="*/ 8 h 71"/>
                  <a:gd name="T32" fmla="*/ 37 w 56"/>
                  <a:gd name="T33" fmla="*/ 16 h 71"/>
                  <a:gd name="T34" fmla="*/ 26 w 56"/>
                  <a:gd name="T35" fmla="*/ 12 h 71"/>
                  <a:gd name="T36" fmla="*/ 16 w 56"/>
                  <a:gd name="T37" fmla="*/ 12 h 71"/>
                  <a:gd name="T38" fmla="*/ 15 w 56"/>
                  <a:gd name="T39" fmla="*/ 21 h 71"/>
                  <a:gd name="T40" fmla="*/ 23 w 56"/>
                  <a:gd name="T41" fmla="*/ 21 h 71"/>
                  <a:gd name="T42" fmla="*/ 22 w 56"/>
                  <a:gd name="T43" fmla="*/ 27 h 71"/>
                  <a:gd name="T44" fmla="*/ 24 w 56"/>
                  <a:gd name="T45" fmla="*/ 33 h 71"/>
                  <a:gd name="T46" fmla="*/ 26 w 56"/>
                  <a:gd name="T47" fmla="*/ 42 h 71"/>
                  <a:gd name="T48" fmla="*/ 23 w 56"/>
                  <a:gd name="T49" fmla="*/ 51 h 71"/>
                  <a:gd name="T50" fmla="*/ 17 w 56"/>
                  <a:gd name="T51" fmla="*/ 50 h 71"/>
                  <a:gd name="T52" fmla="*/ 13 w 56"/>
                  <a:gd name="T53" fmla="*/ 45 h 71"/>
                  <a:gd name="T54" fmla="*/ 9 w 56"/>
                  <a:gd name="T55" fmla="*/ 50 h 71"/>
                  <a:gd name="T56" fmla="*/ 4 w 56"/>
                  <a:gd name="T57" fmla="*/ 53 h 71"/>
                  <a:gd name="T58" fmla="*/ 3 w 56"/>
                  <a:gd name="T59" fmla="*/ 60 h 71"/>
                  <a:gd name="T60" fmla="*/ 0 w 56"/>
                  <a:gd name="T61" fmla="*/ 62 h 71"/>
                  <a:gd name="T62" fmla="*/ 0 w 56"/>
                  <a:gd name="T63" fmla="*/ 63 h 71"/>
                  <a:gd name="T64" fmla="*/ 7 w 56"/>
                  <a:gd name="T65" fmla="*/ 71 h 71"/>
                  <a:gd name="T66" fmla="*/ 15 w 56"/>
                  <a:gd name="T67" fmla="*/ 67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56" h="71">
                    <a:moveTo>
                      <a:pt x="15" y="67"/>
                    </a:moveTo>
                    <a:cubicBezTo>
                      <a:pt x="16" y="68"/>
                      <a:pt x="17" y="70"/>
                      <a:pt x="20" y="68"/>
                    </a:cubicBezTo>
                    <a:cubicBezTo>
                      <a:pt x="23" y="65"/>
                      <a:pt x="27" y="66"/>
                      <a:pt x="27" y="68"/>
                    </a:cubicBezTo>
                    <a:cubicBezTo>
                      <a:pt x="27" y="71"/>
                      <a:pt x="28" y="70"/>
                      <a:pt x="30" y="68"/>
                    </a:cubicBezTo>
                    <a:cubicBezTo>
                      <a:pt x="33" y="65"/>
                      <a:pt x="35" y="68"/>
                      <a:pt x="35" y="63"/>
                    </a:cubicBezTo>
                    <a:cubicBezTo>
                      <a:pt x="35" y="58"/>
                      <a:pt x="38" y="63"/>
                      <a:pt x="38" y="57"/>
                    </a:cubicBezTo>
                    <a:cubicBezTo>
                      <a:pt x="38" y="52"/>
                      <a:pt x="39" y="46"/>
                      <a:pt x="39" y="44"/>
                    </a:cubicBezTo>
                    <a:cubicBezTo>
                      <a:pt x="39" y="41"/>
                      <a:pt x="46" y="39"/>
                      <a:pt x="46" y="35"/>
                    </a:cubicBezTo>
                    <a:cubicBezTo>
                      <a:pt x="46" y="31"/>
                      <a:pt x="52" y="23"/>
                      <a:pt x="52" y="18"/>
                    </a:cubicBezTo>
                    <a:cubicBezTo>
                      <a:pt x="52" y="13"/>
                      <a:pt x="53" y="12"/>
                      <a:pt x="55" y="10"/>
                    </a:cubicBezTo>
                    <a:cubicBezTo>
                      <a:pt x="56" y="8"/>
                      <a:pt x="56" y="5"/>
                      <a:pt x="56" y="1"/>
                    </a:cubicBezTo>
                    <a:cubicBezTo>
                      <a:pt x="56" y="1"/>
                      <a:pt x="56" y="1"/>
                      <a:pt x="56" y="1"/>
                    </a:cubicBezTo>
                    <a:cubicBezTo>
                      <a:pt x="49" y="0"/>
                      <a:pt x="49" y="0"/>
                      <a:pt x="49" y="0"/>
                    </a:cubicBezTo>
                    <a:cubicBezTo>
                      <a:pt x="45" y="1"/>
                      <a:pt x="45" y="1"/>
                      <a:pt x="45" y="1"/>
                    </a:cubicBezTo>
                    <a:cubicBezTo>
                      <a:pt x="41" y="2"/>
                      <a:pt x="41" y="2"/>
                      <a:pt x="41" y="2"/>
                    </a:cubicBezTo>
                    <a:cubicBezTo>
                      <a:pt x="41" y="2"/>
                      <a:pt x="41" y="6"/>
                      <a:pt x="40" y="8"/>
                    </a:cubicBezTo>
                    <a:cubicBezTo>
                      <a:pt x="38" y="11"/>
                      <a:pt x="37" y="16"/>
                      <a:pt x="37" y="16"/>
                    </a:cubicBezTo>
                    <a:cubicBezTo>
                      <a:pt x="37" y="16"/>
                      <a:pt x="28" y="12"/>
                      <a:pt x="26" y="12"/>
                    </a:cubicBezTo>
                    <a:cubicBezTo>
                      <a:pt x="25" y="12"/>
                      <a:pt x="21" y="12"/>
                      <a:pt x="16" y="12"/>
                    </a:cubicBezTo>
                    <a:cubicBezTo>
                      <a:pt x="16" y="16"/>
                      <a:pt x="15" y="19"/>
                      <a:pt x="15" y="21"/>
                    </a:cubicBezTo>
                    <a:cubicBezTo>
                      <a:pt x="15" y="23"/>
                      <a:pt x="21" y="19"/>
                      <a:pt x="23" y="21"/>
                    </a:cubicBezTo>
                    <a:cubicBezTo>
                      <a:pt x="26" y="23"/>
                      <a:pt x="25" y="26"/>
                      <a:pt x="22" y="27"/>
                    </a:cubicBezTo>
                    <a:cubicBezTo>
                      <a:pt x="19" y="29"/>
                      <a:pt x="21" y="32"/>
                      <a:pt x="24" y="33"/>
                    </a:cubicBezTo>
                    <a:cubicBezTo>
                      <a:pt x="26" y="35"/>
                      <a:pt x="26" y="38"/>
                      <a:pt x="26" y="42"/>
                    </a:cubicBezTo>
                    <a:cubicBezTo>
                      <a:pt x="26" y="46"/>
                      <a:pt x="26" y="51"/>
                      <a:pt x="23" y="51"/>
                    </a:cubicBezTo>
                    <a:cubicBezTo>
                      <a:pt x="21" y="52"/>
                      <a:pt x="19" y="50"/>
                      <a:pt x="17" y="50"/>
                    </a:cubicBezTo>
                    <a:cubicBezTo>
                      <a:pt x="15" y="51"/>
                      <a:pt x="15" y="45"/>
                      <a:pt x="13" y="45"/>
                    </a:cubicBezTo>
                    <a:cubicBezTo>
                      <a:pt x="11" y="45"/>
                      <a:pt x="12" y="50"/>
                      <a:pt x="9" y="50"/>
                    </a:cubicBezTo>
                    <a:cubicBezTo>
                      <a:pt x="7" y="50"/>
                      <a:pt x="3" y="49"/>
                      <a:pt x="4" y="53"/>
                    </a:cubicBezTo>
                    <a:cubicBezTo>
                      <a:pt x="6" y="57"/>
                      <a:pt x="7" y="60"/>
                      <a:pt x="3" y="60"/>
                    </a:cubicBezTo>
                    <a:cubicBezTo>
                      <a:pt x="2" y="60"/>
                      <a:pt x="0" y="61"/>
                      <a:pt x="0" y="62"/>
                    </a:cubicBezTo>
                    <a:cubicBezTo>
                      <a:pt x="0" y="62"/>
                      <a:pt x="0" y="63"/>
                      <a:pt x="0" y="63"/>
                    </a:cubicBezTo>
                    <a:cubicBezTo>
                      <a:pt x="4" y="65"/>
                      <a:pt x="6" y="68"/>
                      <a:pt x="7" y="71"/>
                    </a:cubicBezTo>
                    <a:cubicBezTo>
                      <a:pt x="11" y="69"/>
                      <a:pt x="14" y="67"/>
                      <a:pt x="15" y="6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6" name="Freeform 42">
                <a:extLst>
                  <a:ext uri="{FF2B5EF4-FFF2-40B4-BE49-F238E27FC236}">
                    <a16:creationId xmlns:a16="http://schemas.microsoft.com/office/drawing/2014/main" id="{39A9E284-A783-4F82-B2E5-9EF38B6230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7463" y="3644371"/>
                <a:ext cx="308663" cy="377672"/>
              </a:xfrm>
              <a:custGeom>
                <a:avLst/>
                <a:gdLst>
                  <a:gd name="T0" fmla="*/ 101 w 134"/>
                  <a:gd name="T1" fmla="*/ 9 h 164"/>
                  <a:gd name="T2" fmla="*/ 92 w 134"/>
                  <a:gd name="T3" fmla="*/ 10 h 164"/>
                  <a:gd name="T4" fmla="*/ 77 w 134"/>
                  <a:gd name="T5" fmla="*/ 9 h 164"/>
                  <a:gd name="T6" fmla="*/ 25 w 134"/>
                  <a:gd name="T7" fmla="*/ 11 h 164"/>
                  <a:gd name="T8" fmla="*/ 18 w 134"/>
                  <a:gd name="T9" fmla="*/ 27 h 164"/>
                  <a:gd name="T10" fmla="*/ 17 w 134"/>
                  <a:gd name="T11" fmla="*/ 62 h 164"/>
                  <a:gd name="T12" fmla="*/ 7 w 134"/>
                  <a:gd name="T13" fmla="*/ 72 h 164"/>
                  <a:gd name="T14" fmla="*/ 3 w 134"/>
                  <a:gd name="T15" fmla="*/ 84 h 164"/>
                  <a:gd name="T16" fmla="*/ 6 w 134"/>
                  <a:gd name="T17" fmla="*/ 94 h 164"/>
                  <a:gd name="T18" fmla="*/ 9 w 134"/>
                  <a:gd name="T19" fmla="*/ 102 h 164"/>
                  <a:gd name="T20" fmla="*/ 15 w 134"/>
                  <a:gd name="T21" fmla="*/ 117 h 164"/>
                  <a:gd name="T22" fmla="*/ 18 w 134"/>
                  <a:gd name="T23" fmla="*/ 121 h 164"/>
                  <a:gd name="T24" fmla="*/ 25 w 134"/>
                  <a:gd name="T25" fmla="*/ 126 h 164"/>
                  <a:gd name="T26" fmla="*/ 33 w 134"/>
                  <a:gd name="T27" fmla="*/ 136 h 164"/>
                  <a:gd name="T28" fmla="*/ 42 w 134"/>
                  <a:gd name="T29" fmla="*/ 145 h 164"/>
                  <a:gd name="T30" fmla="*/ 46 w 134"/>
                  <a:gd name="T31" fmla="*/ 152 h 164"/>
                  <a:gd name="T32" fmla="*/ 54 w 134"/>
                  <a:gd name="T33" fmla="*/ 156 h 164"/>
                  <a:gd name="T34" fmla="*/ 63 w 134"/>
                  <a:gd name="T35" fmla="*/ 155 h 164"/>
                  <a:gd name="T36" fmla="*/ 78 w 134"/>
                  <a:gd name="T37" fmla="*/ 161 h 164"/>
                  <a:gd name="T38" fmla="*/ 89 w 134"/>
                  <a:gd name="T39" fmla="*/ 161 h 164"/>
                  <a:gd name="T40" fmla="*/ 97 w 134"/>
                  <a:gd name="T41" fmla="*/ 158 h 164"/>
                  <a:gd name="T42" fmla="*/ 104 w 134"/>
                  <a:gd name="T43" fmla="*/ 153 h 164"/>
                  <a:gd name="T44" fmla="*/ 111 w 134"/>
                  <a:gd name="T45" fmla="*/ 154 h 164"/>
                  <a:gd name="T46" fmla="*/ 103 w 134"/>
                  <a:gd name="T47" fmla="*/ 141 h 164"/>
                  <a:gd name="T48" fmla="*/ 89 w 134"/>
                  <a:gd name="T49" fmla="*/ 128 h 164"/>
                  <a:gd name="T50" fmla="*/ 97 w 134"/>
                  <a:gd name="T51" fmla="*/ 122 h 164"/>
                  <a:gd name="T52" fmla="*/ 100 w 134"/>
                  <a:gd name="T53" fmla="*/ 106 h 164"/>
                  <a:gd name="T54" fmla="*/ 106 w 134"/>
                  <a:gd name="T55" fmla="*/ 95 h 164"/>
                  <a:gd name="T56" fmla="*/ 115 w 134"/>
                  <a:gd name="T57" fmla="*/ 85 h 164"/>
                  <a:gd name="T58" fmla="*/ 118 w 134"/>
                  <a:gd name="T59" fmla="*/ 64 h 164"/>
                  <a:gd name="T60" fmla="*/ 126 w 134"/>
                  <a:gd name="T61" fmla="*/ 52 h 164"/>
                  <a:gd name="T62" fmla="*/ 129 w 134"/>
                  <a:gd name="T63" fmla="*/ 40 h 164"/>
                  <a:gd name="T64" fmla="*/ 122 w 134"/>
                  <a:gd name="T65" fmla="*/ 14 h 164"/>
                  <a:gd name="T66" fmla="*/ 110 w 134"/>
                  <a:gd name="T67" fmla="*/ 0 h 164"/>
                  <a:gd name="T68" fmla="*/ 106 w 134"/>
                  <a:gd name="T69" fmla="*/ 3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34" h="164">
                    <a:moveTo>
                      <a:pt x="106" y="3"/>
                    </a:moveTo>
                    <a:cubicBezTo>
                      <a:pt x="104" y="3"/>
                      <a:pt x="104" y="9"/>
                      <a:pt x="101" y="9"/>
                    </a:cubicBezTo>
                    <a:cubicBezTo>
                      <a:pt x="97" y="9"/>
                      <a:pt x="98" y="12"/>
                      <a:pt x="96" y="12"/>
                    </a:cubicBezTo>
                    <a:cubicBezTo>
                      <a:pt x="94" y="12"/>
                      <a:pt x="92" y="10"/>
                      <a:pt x="92" y="10"/>
                    </a:cubicBezTo>
                    <a:cubicBezTo>
                      <a:pt x="81" y="10"/>
                      <a:pt x="81" y="10"/>
                      <a:pt x="81" y="10"/>
                    </a:cubicBezTo>
                    <a:cubicBezTo>
                      <a:pt x="81" y="10"/>
                      <a:pt x="79" y="8"/>
                      <a:pt x="77" y="9"/>
                    </a:cubicBezTo>
                    <a:cubicBezTo>
                      <a:pt x="76" y="10"/>
                      <a:pt x="75" y="11"/>
                      <a:pt x="75" y="11"/>
                    </a:cubicBezTo>
                    <a:cubicBezTo>
                      <a:pt x="25" y="11"/>
                      <a:pt x="25" y="11"/>
                      <a:pt x="25" y="11"/>
                    </a:cubicBezTo>
                    <a:cubicBezTo>
                      <a:pt x="25" y="20"/>
                      <a:pt x="25" y="27"/>
                      <a:pt x="25" y="27"/>
                    </a:cubicBezTo>
                    <a:cubicBezTo>
                      <a:pt x="18" y="27"/>
                      <a:pt x="18" y="27"/>
                      <a:pt x="18" y="27"/>
                    </a:cubicBezTo>
                    <a:cubicBezTo>
                      <a:pt x="18" y="54"/>
                      <a:pt x="18" y="54"/>
                      <a:pt x="18" y="54"/>
                    </a:cubicBezTo>
                    <a:cubicBezTo>
                      <a:pt x="18" y="54"/>
                      <a:pt x="19" y="62"/>
                      <a:pt x="17" y="62"/>
                    </a:cubicBezTo>
                    <a:cubicBezTo>
                      <a:pt x="16" y="63"/>
                      <a:pt x="10" y="64"/>
                      <a:pt x="10" y="67"/>
                    </a:cubicBezTo>
                    <a:cubicBezTo>
                      <a:pt x="10" y="69"/>
                      <a:pt x="10" y="71"/>
                      <a:pt x="7" y="72"/>
                    </a:cubicBezTo>
                    <a:cubicBezTo>
                      <a:pt x="5" y="72"/>
                      <a:pt x="7" y="78"/>
                      <a:pt x="4" y="78"/>
                    </a:cubicBezTo>
                    <a:cubicBezTo>
                      <a:pt x="0" y="78"/>
                      <a:pt x="5" y="82"/>
                      <a:pt x="3" y="84"/>
                    </a:cubicBezTo>
                    <a:cubicBezTo>
                      <a:pt x="1" y="85"/>
                      <a:pt x="2" y="88"/>
                      <a:pt x="4" y="88"/>
                    </a:cubicBezTo>
                    <a:cubicBezTo>
                      <a:pt x="7" y="88"/>
                      <a:pt x="6" y="91"/>
                      <a:pt x="6" y="94"/>
                    </a:cubicBezTo>
                    <a:cubicBezTo>
                      <a:pt x="6" y="97"/>
                      <a:pt x="10" y="99"/>
                      <a:pt x="10" y="99"/>
                    </a:cubicBezTo>
                    <a:cubicBezTo>
                      <a:pt x="9" y="102"/>
                      <a:pt x="9" y="102"/>
                      <a:pt x="9" y="102"/>
                    </a:cubicBezTo>
                    <a:cubicBezTo>
                      <a:pt x="9" y="102"/>
                      <a:pt x="14" y="109"/>
                      <a:pt x="15" y="110"/>
                    </a:cubicBezTo>
                    <a:cubicBezTo>
                      <a:pt x="15" y="112"/>
                      <a:pt x="18" y="116"/>
                      <a:pt x="15" y="117"/>
                    </a:cubicBezTo>
                    <a:cubicBezTo>
                      <a:pt x="12" y="119"/>
                      <a:pt x="14" y="120"/>
                      <a:pt x="14" y="120"/>
                    </a:cubicBezTo>
                    <a:cubicBezTo>
                      <a:pt x="18" y="121"/>
                      <a:pt x="18" y="121"/>
                      <a:pt x="18" y="121"/>
                    </a:cubicBezTo>
                    <a:cubicBezTo>
                      <a:pt x="19" y="123"/>
                      <a:pt x="19" y="123"/>
                      <a:pt x="19" y="123"/>
                    </a:cubicBezTo>
                    <a:cubicBezTo>
                      <a:pt x="19" y="123"/>
                      <a:pt x="22" y="123"/>
                      <a:pt x="25" y="126"/>
                    </a:cubicBezTo>
                    <a:cubicBezTo>
                      <a:pt x="27" y="129"/>
                      <a:pt x="28" y="130"/>
                      <a:pt x="28" y="131"/>
                    </a:cubicBezTo>
                    <a:cubicBezTo>
                      <a:pt x="28" y="133"/>
                      <a:pt x="30" y="133"/>
                      <a:pt x="33" y="136"/>
                    </a:cubicBezTo>
                    <a:cubicBezTo>
                      <a:pt x="36" y="138"/>
                      <a:pt x="36" y="140"/>
                      <a:pt x="36" y="141"/>
                    </a:cubicBezTo>
                    <a:cubicBezTo>
                      <a:pt x="36" y="143"/>
                      <a:pt x="42" y="145"/>
                      <a:pt x="42" y="145"/>
                    </a:cubicBezTo>
                    <a:cubicBezTo>
                      <a:pt x="44" y="150"/>
                      <a:pt x="44" y="150"/>
                      <a:pt x="44" y="150"/>
                    </a:cubicBezTo>
                    <a:cubicBezTo>
                      <a:pt x="45" y="150"/>
                      <a:pt x="45" y="151"/>
                      <a:pt x="46" y="152"/>
                    </a:cubicBezTo>
                    <a:cubicBezTo>
                      <a:pt x="47" y="154"/>
                      <a:pt x="49" y="156"/>
                      <a:pt x="49" y="156"/>
                    </a:cubicBezTo>
                    <a:cubicBezTo>
                      <a:pt x="49" y="156"/>
                      <a:pt x="52" y="158"/>
                      <a:pt x="54" y="156"/>
                    </a:cubicBezTo>
                    <a:cubicBezTo>
                      <a:pt x="56" y="154"/>
                      <a:pt x="59" y="156"/>
                      <a:pt x="59" y="156"/>
                    </a:cubicBezTo>
                    <a:cubicBezTo>
                      <a:pt x="59" y="156"/>
                      <a:pt x="61" y="154"/>
                      <a:pt x="63" y="155"/>
                    </a:cubicBezTo>
                    <a:cubicBezTo>
                      <a:pt x="64" y="156"/>
                      <a:pt x="68" y="160"/>
                      <a:pt x="72" y="163"/>
                    </a:cubicBezTo>
                    <a:cubicBezTo>
                      <a:pt x="73" y="163"/>
                      <a:pt x="76" y="161"/>
                      <a:pt x="78" y="161"/>
                    </a:cubicBezTo>
                    <a:cubicBezTo>
                      <a:pt x="80" y="161"/>
                      <a:pt x="82" y="164"/>
                      <a:pt x="83" y="163"/>
                    </a:cubicBezTo>
                    <a:cubicBezTo>
                      <a:pt x="84" y="162"/>
                      <a:pt x="87" y="160"/>
                      <a:pt x="89" y="161"/>
                    </a:cubicBezTo>
                    <a:cubicBezTo>
                      <a:pt x="90" y="162"/>
                      <a:pt x="94" y="162"/>
                      <a:pt x="94" y="161"/>
                    </a:cubicBezTo>
                    <a:cubicBezTo>
                      <a:pt x="94" y="160"/>
                      <a:pt x="95" y="159"/>
                      <a:pt x="97" y="158"/>
                    </a:cubicBezTo>
                    <a:cubicBezTo>
                      <a:pt x="97" y="158"/>
                      <a:pt x="97" y="157"/>
                      <a:pt x="98" y="157"/>
                    </a:cubicBezTo>
                    <a:cubicBezTo>
                      <a:pt x="98" y="155"/>
                      <a:pt x="102" y="153"/>
                      <a:pt x="104" y="153"/>
                    </a:cubicBezTo>
                    <a:cubicBezTo>
                      <a:pt x="106" y="152"/>
                      <a:pt x="108" y="152"/>
                      <a:pt x="109" y="153"/>
                    </a:cubicBezTo>
                    <a:cubicBezTo>
                      <a:pt x="109" y="154"/>
                      <a:pt x="110" y="154"/>
                      <a:pt x="111" y="154"/>
                    </a:cubicBezTo>
                    <a:cubicBezTo>
                      <a:pt x="111" y="150"/>
                      <a:pt x="112" y="147"/>
                      <a:pt x="111" y="147"/>
                    </a:cubicBezTo>
                    <a:cubicBezTo>
                      <a:pt x="109" y="147"/>
                      <a:pt x="105" y="145"/>
                      <a:pt x="103" y="141"/>
                    </a:cubicBezTo>
                    <a:cubicBezTo>
                      <a:pt x="102" y="137"/>
                      <a:pt x="97" y="135"/>
                      <a:pt x="96" y="132"/>
                    </a:cubicBezTo>
                    <a:cubicBezTo>
                      <a:pt x="95" y="130"/>
                      <a:pt x="90" y="130"/>
                      <a:pt x="89" y="128"/>
                    </a:cubicBezTo>
                    <a:cubicBezTo>
                      <a:pt x="88" y="126"/>
                      <a:pt x="91" y="126"/>
                      <a:pt x="91" y="124"/>
                    </a:cubicBezTo>
                    <a:cubicBezTo>
                      <a:pt x="91" y="121"/>
                      <a:pt x="96" y="123"/>
                      <a:pt x="97" y="122"/>
                    </a:cubicBezTo>
                    <a:cubicBezTo>
                      <a:pt x="97" y="122"/>
                      <a:pt x="98" y="116"/>
                      <a:pt x="98" y="113"/>
                    </a:cubicBezTo>
                    <a:cubicBezTo>
                      <a:pt x="98" y="110"/>
                      <a:pt x="102" y="108"/>
                      <a:pt x="100" y="106"/>
                    </a:cubicBezTo>
                    <a:cubicBezTo>
                      <a:pt x="99" y="105"/>
                      <a:pt x="102" y="104"/>
                      <a:pt x="104" y="103"/>
                    </a:cubicBezTo>
                    <a:cubicBezTo>
                      <a:pt x="106" y="101"/>
                      <a:pt x="104" y="97"/>
                      <a:pt x="106" y="95"/>
                    </a:cubicBezTo>
                    <a:cubicBezTo>
                      <a:pt x="108" y="93"/>
                      <a:pt x="110" y="89"/>
                      <a:pt x="111" y="89"/>
                    </a:cubicBezTo>
                    <a:cubicBezTo>
                      <a:pt x="113" y="89"/>
                      <a:pt x="115" y="87"/>
                      <a:pt x="115" y="85"/>
                    </a:cubicBezTo>
                    <a:cubicBezTo>
                      <a:pt x="115" y="83"/>
                      <a:pt x="118" y="79"/>
                      <a:pt x="118" y="75"/>
                    </a:cubicBezTo>
                    <a:cubicBezTo>
                      <a:pt x="117" y="72"/>
                      <a:pt x="116" y="67"/>
                      <a:pt x="118" y="64"/>
                    </a:cubicBezTo>
                    <a:cubicBezTo>
                      <a:pt x="121" y="61"/>
                      <a:pt x="122" y="59"/>
                      <a:pt x="121" y="56"/>
                    </a:cubicBezTo>
                    <a:cubicBezTo>
                      <a:pt x="121" y="54"/>
                      <a:pt x="124" y="53"/>
                      <a:pt x="126" y="52"/>
                    </a:cubicBezTo>
                    <a:cubicBezTo>
                      <a:pt x="127" y="51"/>
                      <a:pt x="131" y="49"/>
                      <a:pt x="134" y="45"/>
                    </a:cubicBezTo>
                    <a:cubicBezTo>
                      <a:pt x="132" y="42"/>
                      <a:pt x="130" y="41"/>
                      <a:pt x="129" y="40"/>
                    </a:cubicBezTo>
                    <a:cubicBezTo>
                      <a:pt x="126" y="39"/>
                      <a:pt x="124" y="34"/>
                      <a:pt x="124" y="27"/>
                    </a:cubicBezTo>
                    <a:cubicBezTo>
                      <a:pt x="124" y="21"/>
                      <a:pt x="122" y="16"/>
                      <a:pt x="122" y="14"/>
                    </a:cubicBezTo>
                    <a:cubicBezTo>
                      <a:pt x="122" y="12"/>
                      <a:pt x="119" y="8"/>
                      <a:pt x="115" y="6"/>
                    </a:cubicBezTo>
                    <a:cubicBezTo>
                      <a:pt x="112" y="4"/>
                      <a:pt x="111" y="2"/>
                      <a:pt x="110" y="0"/>
                    </a:cubicBezTo>
                    <a:cubicBezTo>
                      <a:pt x="110" y="0"/>
                      <a:pt x="110" y="0"/>
                      <a:pt x="110" y="0"/>
                    </a:cubicBezTo>
                    <a:cubicBezTo>
                      <a:pt x="108" y="3"/>
                      <a:pt x="108" y="3"/>
                      <a:pt x="106" y="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7" name="Freeform 43">
                <a:extLst>
                  <a:ext uri="{FF2B5EF4-FFF2-40B4-BE49-F238E27FC236}">
                    <a16:creationId xmlns:a16="http://schemas.microsoft.com/office/drawing/2014/main" id="{F4D7AA82-BE90-40D2-BDA6-42017DACCE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83843" y="3848891"/>
                <a:ext cx="33878" cy="35132"/>
              </a:xfrm>
              <a:custGeom>
                <a:avLst/>
                <a:gdLst>
                  <a:gd name="T0" fmla="*/ 5 w 15"/>
                  <a:gd name="T1" fmla="*/ 2 h 15"/>
                  <a:gd name="T2" fmla="*/ 1 w 15"/>
                  <a:gd name="T3" fmla="*/ 7 h 15"/>
                  <a:gd name="T4" fmla="*/ 1 w 15"/>
                  <a:gd name="T5" fmla="*/ 14 h 15"/>
                  <a:gd name="T6" fmla="*/ 6 w 15"/>
                  <a:gd name="T7" fmla="*/ 14 h 15"/>
                  <a:gd name="T8" fmla="*/ 9 w 15"/>
                  <a:gd name="T9" fmla="*/ 15 h 15"/>
                  <a:gd name="T10" fmla="*/ 13 w 15"/>
                  <a:gd name="T11" fmla="*/ 11 h 15"/>
                  <a:gd name="T12" fmla="*/ 9 w 15"/>
                  <a:gd name="T13" fmla="*/ 9 h 15"/>
                  <a:gd name="T14" fmla="*/ 13 w 15"/>
                  <a:gd name="T15" fmla="*/ 6 h 15"/>
                  <a:gd name="T16" fmla="*/ 12 w 15"/>
                  <a:gd name="T17" fmla="*/ 1 h 15"/>
                  <a:gd name="T18" fmla="*/ 11 w 15"/>
                  <a:gd name="T19" fmla="*/ 0 h 15"/>
                  <a:gd name="T20" fmla="*/ 9 w 15"/>
                  <a:gd name="T21" fmla="*/ 1 h 15"/>
                  <a:gd name="T22" fmla="*/ 5 w 15"/>
                  <a:gd name="T23" fmla="*/ 2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" h="15">
                    <a:moveTo>
                      <a:pt x="5" y="2"/>
                    </a:moveTo>
                    <a:cubicBezTo>
                      <a:pt x="5" y="2"/>
                      <a:pt x="3" y="6"/>
                      <a:pt x="1" y="7"/>
                    </a:cubicBezTo>
                    <a:cubicBezTo>
                      <a:pt x="0" y="9"/>
                      <a:pt x="1" y="13"/>
                      <a:pt x="1" y="14"/>
                    </a:cubicBezTo>
                    <a:cubicBezTo>
                      <a:pt x="2" y="15"/>
                      <a:pt x="4" y="15"/>
                      <a:pt x="6" y="14"/>
                    </a:cubicBezTo>
                    <a:cubicBezTo>
                      <a:pt x="7" y="13"/>
                      <a:pt x="8" y="13"/>
                      <a:pt x="9" y="15"/>
                    </a:cubicBezTo>
                    <a:cubicBezTo>
                      <a:pt x="10" y="14"/>
                      <a:pt x="12" y="12"/>
                      <a:pt x="13" y="11"/>
                    </a:cubicBezTo>
                    <a:cubicBezTo>
                      <a:pt x="11" y="10"/>
                      <a:pt x="9" y="10"/>
                      <a:pt x="9" y="9"/>
                    </a:cubicBezTo>
                    <a:cubicBezTo>
                      <a:pt x="8" y="8"/>
                      <a:pt x="11" y="6"/>
                      <a:pt x="13" y="6"/>
                    </a:cubicBezTo>
                    <a:cubicBezTo>
                      <a:pt x="15" y="5"/>
                      <a:pt x="14" y="3"/>
                      <a:pt x="12" y="1"/>
                    </a:cubicBezTo>
                    <a:cubicBezTo>
                      <a:pt x="12" y="1"/>
                      <a:pt x="12" y="0"/>
                      <a:pt x="11" y="0"/>
                    </a:cubicBezTo>
                    <a:cubicBezTo>
                      <a:pt x="10" y="1"/>
                      <a:pt x="9" y="1"/>
                      <a:pt x="9" y="1"/>
                    </a:cubicBezTo>
                    <a:cubicBezTo>
                      <a:pt x="9" y="2"/>
                      <a:pt x="7" y="2"/>
                      <a:pt x="5" y="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8" name="Freeform 44">
                <a:extLst>
                  <a:ext uri="{FF2B5EF4-FFF2-40B4-BE49-F238E27FC236}">
                    <a16:creationId xmlns:a16="http://schemas.microsoft.com/office/drawing/2014/main" id="{AAD8FB33-12BF-4E0A-8311-5D3421690A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84719" y="3747258"/>
                <a:ext cx="124218" cy="106652"/>
              </a:xfrm>
              <a:custGeom>
                <a:avLst/>
                <a:gdLst>
                  <a:gd name="T0" fmla="*/ 10 w 54"/>
                  <a:gd name="T1" fmla="*/ 7 h 46"/>
                  <a:gd name="T2" fmla="*/ 5 w 54"/>
                  <a:gd name="T3" fmla="*/ 11 h 46"/>
                  <a:gd name="T4" fmla="*/ 2 w 54"/>
                  <a:gd name="T5" fmla="*/ 19 h 46"/>
                  <a:gd name="T6" fmla="*/ 2 w 54"/>
                  <a:gd name="T7" fmla="*/ 30 h 46"/>
                  <a:gd name="T8" fmla="*/ 9 w 54"/>
                  <a:gd name="T9" fmla="*/ 30 h 46"/>
                  <a:gd name="T10" fmla="*/ 11 w 54"/>
                  <a:gd name="T11" fmla="*/ 28 h 46"/>
                  <a:gd name="T12" fmla="*/ 15 w 54"/>
                  <a:gd name="T13" fmla="*/ 27 h 46"/>
                  <a:gd name="T14" fmla="*/ 20 w 54"/>
                  <a:gd name="T15" fmla="*/ 29 h 46"/>
                  <a:gd name="T16" fmla="*/ 23 w 54"/>
                  <a:gd name="T17" fmla="*/ 29 h 46"/>
                  <a:gd name="T18" fmla="*/ 31 w 54"/>
                  <a:gd name="T19" fmla="*/ 29 h 46"/>
                  <a:gd name="T20" fmla="*/ 48 w 54"/>
                  <a:gd name="T21" fmla="*/ 46 h 46"/>
                  <a:gd name="T22" fmla="*/ 48 w 54"/>
                  <a:gd name="T23" fmla="*/ 46 h 46"/>
                  <a:gd name="T24" fmla="*/ 52 w 54"/>
                  <a:gd name="T25" fmla="*/ 45 h 46"/>
                  <a:gd name="T26" fmla="*/ 54 w 54"/>
                  <a:gd name="T27" fmla="*/ 44 h 46"/>
                  <a:gd name="T28" fmla="*/ 46 w 54"/>
                  <a:gd name="T29" fmla="*/ 34 h 46"/>
                  <a:gd name="T30" fmla="*/ 33 w 54"/>
                  <a:gd name="T31" fmla="*/ 25 h 46"/>
                  <a:gd name="T32" fmla="*/ 28 w 54"/>
                  <a:gd name="T33" fmla="*/ 20 h 46"/>
                  <a:gd name="T34" fmla="*/ 22 w 54"/>
                  <a:gd name="T35" fmla="*/ 9 h 46"/>
                  <a:gd name="T36" fmla="*/ 18 w 54"/>
                  <a:gd name="T37" fmla="*/ 0 h 46"/>
                  <a:gd name="T38" fmla="*/ 10 w 54"/>
                  <a:gd name="T39" fmla="*/ 7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54" h="46">
                    <a:moveTo>
                      <a:pt x="10" y="7"/>
                    </a:moveTo>
                    <a:cubicBezTo>
                      <a:pt x="8" y="8"/>
                      <a:pt x="5" y="9"/>
                      <a:pt x="5" y="11"/>
                    </a:cubicBezTo>
                    <a:cubicBezTo>
                      <a:pt x="6" y="14"/>
                      <a:pt x="5" y="16"/>
                      <a:pt x="2" y="19"/>
                    </a:cubicBezTo>
                    <a:cubicBezTo>
                      <a:pt x="0" y="22"/>
                      <a:pt x="1" y="27"/>
                      <a:pt x="2" y="30"/>
                    </a:cubicBezTo>
                    <a:cubicBezTo>
                      <a:pt x="5" y="30"/>
                      <a:pt x="8" y="30"/>
                      <a:pt x="9" y="30"/>
                    </a:cubicBezTo>
                    <a:cubicBezTo>
                      <a:pt x="10" y="32"/>
                      <a:pt x="10" y="30"/>
                      <a:pt x="11" y="28"/>
                    </a:cubicBezTo>
                    <a:cubicBezTo>
                      <a:pt x="12" y="25"/>
                      <a:pt x="13" y="26"/>
                      <a:pt x="15" y="27"/>
                    </a:cubicBezTo>
                    <a:cubicBezTo>
                      <a:pt x="16" y="28"/>
                      <a:pt x="17" y="30"/>
                      <a:pt x="20" y="29"/>
                    </a:cubicBezTo>
                    <a:cubicBezTo>
                      <a:pt x="22" y="28"/>
                      <a:pt x="22" y="28"/>
                      <a:pt x="23" y="29"/>
                    </a:cubicBezTo>
                    <a:cubicBezTo>
                      <a:pt x="25" y="29"/>
                      <a:pt x="30" y="29"/>
                      <a:pt x="31" y="29"/>
                    </a:cubicBezTo>
                    <a:cubicBezTo>
                      <a:pt x="33" y="29"/>
                      <a:pt x="48" y="46"/>
                      <a:pt x="48" y="46"/>
                    </a:cubicBezTo>
                    <a:cubicBezTo>
                      <a:pt x="48" y="46"/>
                      <a:pt x="48" y="46"/>
                      <a:pt x="48" y="46"/>
                    </a:cubicBezTo>
                    <a:cubicBezTo>
                      <a:pt x="50" y="46"/>
                      <a:pt x="52" y="46"/>
                      <a:pt x="52" y="45"/>
                    </a:cubicBezTo>
                    <a:cubicBezTo>
                      <a:pt x="52" y="45"/>
                      <a:pt x="53" y="45"/>
                      <a:pt x="54" y="44"/>
                    </a:cubicBezTo>
                    <a:cubicBezTo>
                      <a:pt x="52" y="42"/>
                      <a:pt x="50" y="39"/>
                      <a:pt x="46" y="34"/>
                    </a:cubicBezTo>
                    <a:cubicBezTo>
                      <a:pt x="41" y="29"/>
                      <a:pt x="36" y="25"/>
                      <a:pt x="33" y="25"/>
                    </a:cubicBezTo>
                    <a:cubicBezTo>
                      <a:pt x="30" y="25"/>
                      <a:pt x="30" y="21"/>
                      <a:pt x="28" y="20"/>
                    </a:cubicBezTo>
                    <a:cubicBezTo>
                      <a:pt x="26" y="20"/>
                      <a:pt x="22" y="13"/>
                      <a:pt x="22" y="9"/>
                    </a:cubicBezTo>
                    <a:cubicBezTo>
                      <a:pt x="22" y="6"/>
                      <a:pt x="20" y="3"/>
                      <a:pt x="18" y="0"/>
                    </a:cubicBezTo>
                    <a:cubicBezTo>
                      <a:pt x="15" y="4"/>
                      <a:pt x="11" y="6"/>
                      <a:pt x="10" y="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9" name="Freeform 45">
                <a:extLst>
                  <a:ext uri="{FF2B5EF4-FFF2-40B4-BE49-F238E27FC236}">
                    <a16:creationId xmlns:a16="http://schemas.microsoft.com/office/drawing/2014/main" id="{98B96C6B-A698-4715-8B4F-5F313F2DA0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9473" y="3804975"/>
                <a:ext cx="279804" cy="219577"/>
              </a:xfrm>
              <a:custGeom>
                <a:avLst/>
                <a:gdLst>
                  <a:gd name="T0" fmla="*/ 8 w 121"/>
                  <a:gd name="T1" fmla="*/ 62 h 95"/>
                  <a:gd name="T2" fmla="*/ 15 w 121"/>
                  <a:gd name="T3" fmla="*/ 71 h 95"/>
                  <a:gd name="T4" fmla="*/ 23 w 121"/>
                  <a:gd name="T5" fmla="*/ 77 h 95"/>
                  <a:gd name="T6" fmla="*/ 23 w 121"/>
                  <a:gd name="T7" fmla="*/ 84 h 95"/>
                  <a:gd name="T8" fmla="*/ 25 w 121"/>
                  <a:gd name="T9" fmla="*/ 85 h 95"/>
                  <a:gd name="T10" fmla="*/ 34 w 121"/>
                  <a:gd name="T11" fmla="*/ 87 h 95"/>
                  <a:gd name="T12" fmla="*/ 43 w 121"/>
                  <a:gd name="T13" fmla="*/ 92 h 95"/>
                  <a:gd name="T14" fmla="*/ 52 w 121"/>
                  <a:gd name="T15" fmla="*/ 94 h 95"/>
                  <a:gd name="T16" fmla="*/ 58 w 121"/>
                  <a:gd name="T17" fmla="*/ 90 h 95"/>
                  <a:gd name="T18" fmla="*/ 64 w 121"/>
                  <a:gd name="T19" fmla="*/ 88 h 95"/>
                  <a:gd name="T20" fmla="*/ 68 w 121"/>
                  <a:gd name="T21" fmla="*/ 90 h 95"/>
                  <a:gd name="T22" fmla="*/ 72 w 121"/>
                  <a:gd name="T23" fmla="*/ 89 h 95"/>
                  <a:gd name="T24" fmla="*/ 79 w 121"/>
                  <a:gd name="T25" fmla="*/ 88 h 95"/>
                  <a:gd name="T26" fmla="*/ 89 w 121"/>
                  <a:gd name="T27" fmla="*/ 82 h 95"/>
                  <a:gd name="T28" fmla="*/ 98 w 121"/>
                  <a:gd name="T29" fmla="*/ 81 h 95"/>
                  <a:gd name="T30" fmla="*/ 120 w 121"/>
                  <a:gd name="T31" fmla="*/ 59 h 95"/>
                  <a:gd name="T32" fmla="*/ 117 w 121"/>
                  <a:gd name="T33" fmla="*/ 57 h 95"/>
                  <a:gd name="T34" fmla="*/ 106 w 121"/>
                  <a:gd name="T35" fmla="*/ 55 h 95"/>
                  <a:gd name="T36" fmla="*/ 90 w 121"/>
                  <a:gd name="T37" fmla="*/ 49 h 95"/>
                  <a:gd name="T38" fmla="*/ 84 w 121"/>
                  <a:gd name="T39" fmla="*/ 44 h 95"/>
                  <a:gd name="T40" fmla="*/ 79 w 121"/>
                  <a:gd name="T41" fmla="*/ 37 h 95"/>
                  <a:gd name="T42" fmla="*/ 80 w 121"/>
                  <a:gd name="T43" fmla="*/ 34 h 95"/>
                  <a:gd name="T44" fmla="*/ 77 w 121"/>
                  <a:gd name="T45" fmla="*/ 33 h 95"/>
                  <a:gd name="T46" fmla="*/ 72 w 121"/>
                  <a:gd name="T47" fmla="*/ 33 h 95"/>
                  <a:gd name="T48" fmla="*/ 72 w 121"/>
                  <a:gd name="T49" fmla="*/ 26 h 95"/>
                  <a:gd name="T50" fmla="*/ 76 w 121"/>
                  <a:gd name="T51" fmla="*/ 21 h 95"/>
                  <a:gd name="T52" fmla="*/ 59 w 121"/>
                  <a:gd name="T53" fmla="*/ 4 h 95"/>
                  <a:gd name="T54" fmla="*/ 51 w 121"/>
                  <a:gd name="T55" fmla="*/ 4 h 95"/>
                  <a:gd name="T56" fmla="*/ 48 w 121"/>
                  <a:gd name="T57" fmla="*/ 4 h 95"/>
                  <a:gd name="T58" fmla="*/ 43 w 121"/>
                  <a:gd name="T59" fmla="*/ 2 h 95"/>
                  <a:gd name="T60" fmla="*/ 39 w 121"/>
                  <a:gd name="T61" fmla="*/ 3 h 95"/>
                  <a:gd name="T62" fmla="*/ 37 w 121"/>
                  <a:gd name="T63" fmla="*/ 5 h 95"/>
                  <a:gd name="T64" fmla="*/ 30 w 121"/>
                  <a:gd name="T65" fmla="*/ 5 h 95"/>
                  <a:gd name="T66" fmla="*/ 30 w 121"/>
                  <a:gd name="T67" fmla="*/ 5 h 95"/>
                  <a:gd name="T68" fmla="*/ 27 w 121"/>
                  <a:gd name="T69" fmla="*/ 15 h 95"/>
                  <a:gd name="T70" fmla="*/ 23 w 121"/>
                  <a:gd name="T71" fmla="*/ 19 h 95"/>
                  <a:gd name="T72" fmla="*/ 18 w 121"/>
                  <a:gd name="T73" fmla="*/ 25 h 95"/>
                  <a:gd name="T74" fmla="*/ 16 w 121"/>
                  <a:gd name="T75" fmla="*/ 33 h 95"/>
                  <a:gd name="T76" fmla="*/ 12 w 121"/>
                  <a:gd name="T77" fmla="*/ 36 h 95"/>
                  <a:gd name="T78" fmla="*/ 10 w 121"/>
                  <a:gd name="T79" fmla="*/ 43 h 95"/>
                  <a:gd name="T80" fmla="*/ 9 w 121"/>
                  <a:gd name="T81" fmla="*/ 52 h 95"/>
                  <a:gd name="T82" fmla="*/ 3 w 121"/>
                  <a:gd name="T83" fmla="*/ 54 h 95"/>
                  <a:gd name="T84" fmla="*/ 1 w 121"/>
                  <a:gd name="T85" fmla="*/ 58 h 95"/>
                  <a:gd name="T86" fmla="*/ 8 w 121"/>
                  <a:gd name="T87" fmla="*/ 62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21" h="95">
                    <a:moveTo>
                      <a:pt x="8" y="62"/>
                    </a:moveTo>
                    <a:cubicBezTo>
                      <a:pt x="9" y="65"/>
                      <a:pt x="14" y="67"/>
                      <a:pt x="15" y="71"/>
                    </a:cubicBezTo>
                    <a:cubicBezTo>
                      <a:pt x="17" y="75"/>
                      <a:pt x="21" y="77"/>
                      <a:pt x="23" y="77"/>
                    </a:cubicBezTo>
                    <a:cubicBezTo>
                      <a:pt x="24" y="77"/>
                      <a:pt x="23" y="80"/>
                      <a:pt x="23" y="84"/>
                    </a:cubicBezTo>
                    <a:cubicBezTo>
                      <a:pt x="24" y="85"/>
                      <a:pt x="25" y="85"/>
                      <a:pt x="25" y="85"/>
                    </a:cubicBezTo>
                    <a:cubicBezTo>
                      <a:pt x="27" y="86"/>
                      <a:pt x="32" y="85"/>
                      <a:pt x="34" y="87"/>
                    </a:cubicBezTo>
                    <a:cubicBezTo>
                      <a:pt x="35" y="89"/>
                      <a:pt x="41" y="92"/>
                      <a:pt x="43" y="92"/>
                    </a:cubicBezTo>
                    <a:cubicBezTo>
                      <a:pt x="45" y="92"/>
                      <a:pt x="51" y="93"/>
                      <a:pt x="52" y="94"/>
                    </a:cubicBezTo>
                    <a:cubicBezTo>
                      <a:pt x="53" y="95"/>
                      <a:pt x="55" y="91"/>
                      <a:pt x="58" y="90"/>
                    </a:cubicBezTo>
                    <a:cubicBezTo>
                      <a:pt x="60" y="88"/>
                      <a:pt x="64" y="87"/>
                      <a:pt x="64" y="88"/>
                    </a:cubicBezTo>
                    <a:cubicBezTo>
                      <a:pt x="65" y="90"/>
                      <a:pt x="67" y="91"/>
                      <a:pt x="68" y="90"/>
                    </a:cubicBezTo>
                    <a:cubicBezTo>
                      <a:pt x="69" y="90"/>
                      <a:pt x="71" y="89"/>
                      <a:pt x="72" y="89"/>
                    </a:cubicBezTo>
                    <a:cubicBezTo>
                      <a:pt x="75" y="88"/>
                      <a:pt x="78" y="88"/>
                      <a:pt x="79" y="88"/>
                    </a:cubicBezTo>
                    <a:cubicBezTo>
                      <a:pt x="80" y="88"/>
                      <a:pt x="84" y="82"/>
                      <a:pt x="89" y="82"/>
                    </a:cubicBezTo>
                    <a:cubicBezTo>
                      <a:pt x="95" y="82"/>
                      <a:pt x="96" y="83"/>
                      <a:pt x="98" y="81"/>
                    </a:cubicBezTo>
                    <a:cubicBezTo>
                      <a:pt x="101" y="78"/>
                      <a:pt x="118" y="60"/>
                      <a:pt x="120" y="59"/>
                    </a:cubicBezTo>
                    <a:cubicBezTo>
                      <a:pt x="121" y="58"/>
                      <a:pt x="119" y="57"/>
                      <a:pt x="117" y="57"/>
                    </a:cubicBezTo>
                    <a:cubicBezTo>
                      <a:pt x="115" y="57"/>
                      <a:pt x="112" y="57"/>
                      <a:pt x="106" y="55"/>
                    </a:cubicBezTo>
                    <a:cubicBezTo>
                      <a:pt x="100" y="53"/>
                      <a:pt x="91" y="50"/>
                      <a:pt x="90" y="49"/>
                    </a:cubicBezTo>
                    <a:cubicBezTo>
                      <a:pt x="88" y="49"/>
                      <a:pt x="86" y="45"/>
                      <a:pt x="84" y="44"/>
                    </a:cubicBezTo>
                    <a:cubicBezTo>
                      <a:pt x="83" y="44"/>
                      <a:pt x="80" y="39"/>
                      <a:pt x="79" y="37"/>
                    </a:cubicBezTo>
                    <a:cubicBezTo>
                      <a:pt x="79" y="37"/>
                      <a:pt x="80" y="35"/>
                      <a:pt x="80" y="34"/>
                    </a:cubicBezTo>
                    <a:cubicBezTo>
                      <a:pt x="79" y="32"/>
                      <a:pt x="78" y="32"/>
                      <a:pt x="77" y="33"/>
                    </a:cubicBezTo>
                    <a:cubicBezTo>
                      <a:pt x="75" y="34"/>
                      <a:pt x="73" y="34"/>
                      <a:pt x="72" y="33"/>
                    </a:cubicBezTo>
                    <a:cubicBezTo>
                      <a:pt x="72" y="32"/>
                      <a:pt x="71" y="28"/>
                      <a:pt x="72" y="26"/>
                    </a:cubicBezTo>
                    <a:cubicBezTo>
                      <a:pt x="74" y="24"/>
                      <a:pt x="76" y="21"/>
                      <a:pt x="76" y="21"/>
                    </a:cubicBezTo>
                    <a:cubicBezTo>
                      <a:pt x="76" y="21"/>
                      <a:pt x="61" y="4"/>
                      <a:pt x="59" y="4"/>
                    </a:cubicBezTo>
                    <a:cubicBezTo>
                      <a:pt x="58" y="4"/>
                      <a:pt x="53" y="4"/>
                      <a:pt x="51" y="4"/>
                    </a:cubicBezTo>
                    <a:cubicBezTo>
                      <a:pt x="50" y="3"/>
                      <a:pt x="50" y="3"/>
                      <a:pt x="48" y="4"/>
                    </a:cubicBezTo>
                    <a:cubicBezTo>
                      <a:pt x="45" y="5"/>
                      <a:pt x="44" y="3"/>
                      <a:pt x="43" y="2"/>
                    </a:cubicBezTo>
                    <a:cubicBezTo>
                      <a:pt x="41" y="1"/>
                      <a:pt x="40" y="0"/>
                      <a:pt x="39" y="3"/>
                    </a:cubicBezTo>
                    <a:cubicBezTo>
                      <a:pt x="38" y="5"/>
                      <a:pt x="38" y="7"/>
                      <a:pt x="37" y="5"/>
                    </a:cubicBezTo>
                    <a:cubicBezTo>
                      <a:pt x="36" y="5"/>
                      <a:pt x="33" y="5"/>
                      <a:pt x="30" y="5"/>
                    </a:cubicBezTo>
                    <a:cubicBezTo>
                      <a:pt x="30" y="5"/>
                      <a:pt x="30" y="5"/>
                      <a:pt x="30" y="5"/>
                    </a:cubicBezTo>
                    <a:cubicBezTo>
                      <a:pt x="30" y="9"/>
                      <a:pt x="27" y="13"/>
                      <a:pt x="27" y="15"/>
                    </a:cubicBezTo>
                    <a:cubicBezTo>
                      <a:pt x="27" y="17"/>
                      <a:pt x="25" y="19"/>
                      <a:pt x="23" y="19"/>
                    </a:cubicBezTo>
                    <a:cubicBezTo>
                      <a:pt x="22" y="19"/>
                      <a:pt x="20" y="23"/>
                      <a:pt x="18" y="25"/>
                    </a:cubicBezTo>
                    <a:cubicBezTo>
                      <a:pt x="16" y="27"/>
                      <a:pt x="18" y="31"/>
                      <a:pt x="16" y="33"/>
                    </a:cubicBezTo>
                    <a:cubicBezTo>
                      <a:pt x="14" y="34"/>
                      <a:pt x="11" y="35"/>
                      <a:pt x="12" y="36"/>
                    </a:cubicBezTo>
                    <a:cubicBezTo>
                      <a:pt x="14" y="38"/>
                      <a:pt x="10" y="40"/>
                      <a:pt x="10" y="43"/>
                    </a:cubicBezTo>
                    <a:cubicBezTo>
                      <a:pt x="10" y="46"/>
                      <a:pt x="9" y="52"/>
                      <a:pt x="9" y="52"/>
                    </a:cubicBezTo>
                    <a:cubicBezTo>
                      <a:pt x="8" y="53"/>
                      <a:pt x="3" y="51"/>
                      <a:pt x="3" y="54"/>
                    </a:cubicBezTo>
                    <a:cubicBezTo>
                      <a:pt x="3" y="56"/>
                      <a:pt x="0" y="56"/>
                      <a:pt x="1" y="58"/>
                    </a:cubicBezTo>
                    <a:cubicBezTo>
                      <a:pt x="2" y="60"/>
                      <a:pt x="7" y="60"/>
                      <a:pt x="8" y="6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0" name="Freeform 46">
                <a:extLst>
                  <a:ext uri="{FF2B5EF4-FFF2-40B4-BE49-F238E27FC236}">
                    <a16:creationId xmlns:a16="http://schemas.microsoft.com/office/drawing/2014/main" id="{A6090E3A-43AE-4E03-9FB2-A622A4E572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63389" y="3408482"/>
                <a:ext cx="27604" cy="35132"/>
              </a:xfrm>
              <a:custGeom>
                <a:avLst/>
                <a:gdLst>
                  <a:gd name="T0" fmla="*/ 10 w 12"/>
                  <a:gd name="T1" fmla="*/ 7 h 15"/>
                  <a:gd name="T2" fmla="*/ 6 w 12"/>
                  <a:gd name="T3" fmla="*/ 0 h 15"/>
                  <a:gd name="T4" fmla="*/ 6 w 12"/>
                  <a:gd name="T5" fmla="*/ 2 h 15"/>
                  <a:gd name="T6" fmla="*/ 0 w 12"/>
                  <a:gd name="T7" fmla="*/ 14 h 15"/>
                  <a:gd name="T8" fmla="*/ 4 w 12"/>
                  <a:gd name="T9" fmla="*/ 15 h 15"/>
                  <a:gd name="T10" fmla="*/ 10 w 12"/>
                  <a:gd name="T11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" h="15">
                    <a:moveTo>
                      <a:pt x="10" y="7"/>
                    </a:moveTo>
                    <a:cubicBezTo>
                      <a:pt x="12" y="5"/>
                      <a:pt x="12" y="0"/>
                      <a:pt x="6" y="0"/>
                    </a:cubicBezTo>
                    <a:cubicBezTo>
                      <a:pt x="6" y="1"/>
                      <a:pt x="6" y="1"/>
                      <a:pt x="6" y="2"/>
                    </a:cubicBezTo>
                    <a:cubicBezTo>
                      <a:pt x="6" y="4"/>
                      <a:pt x="2" y="9"/>
                      <a:pt x="0" y="14"/>
                    </a:cubicBezTo>
                    <a:cubicBezTo>
                      <a:pt x="4" y="15"/>
                      <a:pt x="4" y="15"/>
                      <a:pt x="4" y="15"/>
                    </a:cubicBezTo>
                    <a:cubicBezTo>
                      <a:pt x="6" y="12"/>
                      <a:pt x="9" y="8"/>
                      <a:pt x="10" y="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1" name="Freeform 47">
                <a:extLst>
                  <a:ext uri="{FF2B5EF4-FFF2-40B4-BE49-F238E27FC236}">
                    <a16:creationId xmlns:a16="http://schemas.microsoft.com/office/drawing/2014/main" id="{7C81DFD2-D99E-4375-944B-7DB815B46D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73427" y="3358293"/>
                <a:ext cx="126727" cy="101633"/>
              </a:xfrm>
              <a:custGeom>
                <a:avLst/>
                <a:gdLst>
                  <a:gd name="T0" fmla="*/ 6 w 55"/>
                  <a:gd name="T1" fmla="*/ 29 h 44"/>
                  <a:gd name="T2" fmla="*/ 0 w 55"/>
                  <a:gd name="T3" fmla="*/ 37 h 44"/>
                  <a:gd name="T4" fmla="*/ 0 w 55"/>
                  <a:gd name="T5" fmla="*/ 37 h 44"/>
                  <a:gd name="T6" fmla="*/ 1 w 55"/>
                  <a:gd name="T7" fmla="*/ 40 h 44"/>
                  <a:gd name="T8" fmla="*/ 8 w 55"/>
                  <a:gd name="T9" fmla="*/ 44 h 44"/>
                  <a:gd name="T10" fmla="*/ 16 w 55"/>
                  <a:gd name="T11" fmla="*/ 40 h 44"/>
                  <a:gd name="T12" fmla="*/ 43 w 55"/>
                  <a:gd name="T13" fmla="*/ 26 h 44"/>
                  <a:gd name="T14" fmla="*/ 45 w 55"/>
                  <a:gd name="T15" fmla="*/ 21 h 44"/>
                  <a:gd name="T16" fmla="*/ 46 w 55"/>
                  <a:gd name="T17" fmla="*/ 15 h 44"/>
                  <a:gd name="T18" fmla="*/ 45 w 55"/>
                  <a:gd name="T19" fmla="*/ 8 h 44"/>
                  <a:gd name="T20" fmla="*/ 50 w 55"/>
                  <a:gd name="T21" fmla="*/ 4 h 44"/>
                  <a:gd name="T22" fmla="*/ 55 w 55"/>
                  <a:gd name="T23" fmla="*/ 1 h 44"/>
                  <a:gd name="T24" fmla="*/ 52 w 55"/>
                  <a:gd name="T25" fmla="*/ 0 h 44"/>
                  <a:gd name="T26" fmla="*/ 43 w 55"/>
                  <a:gd name="T27" fmla="*/ 1 h 44"/>
                  <a:gd name="T28" fmla="*/ 32 w 55"/>
                  <a:gd name="T29" fmla="*/ 4 h 44"/>
                  <a:gd name="T30" fmla="*/ 23 w 55"/>
                  <a:gd name="T31" fmla="*/ 4 h 44"/>
                  <a:gd name="T32" fmla="*/ 18 w 55"/>
                  <a:gd name="T33" fmla="*/ 5 h 44"/>
                  <a:gd name="T34" fmla="*/ 11 w 55"/>
                  <a:gd name="T35" fmla="*/ 5 h 44"/>
                  <a:gd name="T36" fmla="*/ 8 w 55"/>
                  <a:gd name="T37" fmla="*/ 7 h 44"/>
                  <a:gd name="T38" fmla="*/ 3 w 55"/>
                  <a:gd name="T39" fmla="*/ 12 h 44"/>
                  <a:gd name="T40" fmla="*/ 3 w 55"/>
                  <a:gd name="T41" fmla="*/ 16 h 44"/>
                  <a:gd name="T42" fmla="*/ 2 w 55"/>
                  <a:gd name="T43" fmla="*/ 22 h 44"/>
                  <a:gd name="T44" fmla="*/ 6 w 55"/>
                  <a:gd name="T45" fmla="*/ 29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55" h="44">
                    <a:moveTo>
                      <a:pt x="6" y="29"/>
                    </a:moveTo>
                    <a:cubicBezTo>
                      <a:pt x="5" y="30"/>
                      <a:pt x="2" y="34"/>
                      <a:pt x="0" y="37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1" y="40"/>
                      <a:pt x="1" y="40"/>
                      <a:pt x="1" y="40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8" y="44"/>
                      <a:pt x="14" y="40"/>
                      <a:pt x="16" y="40"/>
                    </a:cubicBezTo>
                    <a:cubicBezTo>
                      <a:pt x="18" y="40"/>
                      <a:pt x="43" y="26"/>
                      <a:pt x="43" y="26"/>
                    </a:cubicBezTo>
                    <a:cubicBezTo>
                      <a:pt x="43" y="26"/>
                      <a:pt x="46" y="22"/>
                      <a:pt x="45" y="21"/>
                    </a:cubicBezTo>
                    <a:cubicBezTo>
                      <a:pt x="45" y="20"/>
                      <a:pt x="45" y="16"/>
                      <a:pt x="46" y="15"/>
                    </a:cubicBezTo>
                    <a:cubicBezTo>
                      <a:pt x="47" y="13"/>
                      <a:pt x="44" y="11"/>
                      <a:pt x="45" y="8"/>
                    </a:cubicBezTo>
                    <a:cubicBezTo>
                      <a:pt x="46" y="6"/>
                      <a:pt x="50" y="4"/>
                      <a:pt x="50" y="4"/>
                    </a:cubicBezTo>
                    <a:cubicBezTo>
                      <a:pt x="55" y="1"/>
                      <a:pt x="55" y="1"/>
                      <a:pt x="55" y="1"/>
                    </a:cubicBezTo>
                    <a:cubicBezTo>
                      <a:pt x="52" y="0"/>
                      <a:pt x="52" y="0"/>
                      <a:pt x="52" y="0"/>
                    </a:cubicBezTo>
                    <a:cubicBezTo>
                      <a:pt x="52" y="0"/>
                      <a:pt x="48" y="1"/>
                      <a:pt x="43" y="1"/>
                    </a:cubicBezTo>
                    <a:cubicBezTo>
                      <a:pt x="38" y="1"/>
                      <a:pt x="37" y="4"/>
                      <a:pt x="32" y="4"/>
                    </a:cubicBezTo>
                    <a:cubicBezTo>
                      <a:pt x="27" y="4"/>
                      <a:pt x="24" y="6"/>
                      <a:pt x="23" y="4"/>
                    </a:cubicBezTo>
                    <a:cubicBezTo>
                      <a:pt x="22" y="2"/>
                      <a:pt x="22" y="3"/>
                      <a:pt x="18" y="5"/>
                    </a:cubicBezTo>
                    <a:cubicBezTo>
                      <a:pt x="15" y="7"/>
                      <a:pt x="12" y="6"/>
                      <a:pt x="11" y="5"/>
                    </a:cubicBezTo>
                    <a:cubicBezTo>
                      <a:pt x="9" y="4"/>
                      <a:pt x="8" y="5"/>
                      <a:pt x="8" y="7"/>
                    </a:cubicBezTo>
                    <a:cubicBezTo>
                      <a:pt x="7" y="8"/>
                      <a:pt x="8" y="12"/>
                      <a:pt x="3" y="12"/>
                    </a:cubicBezTo>
                    <a:cubicBezTo>
                      <a:pt x="2" y="14"/>
                      <a:pt x="2" y="15"/>
                      <a:pt x="3" y="16"/>
                    </a:cubicBezTo>
                    <a:cubicBezTo>
                      <a:pt x="4" y="18"/>
                      <a:pt x="3" y="20"/>
                      <a:pt x="2" y="22"/>
                    </a:cubicBezTo>
                    <a:cubicBezTo>
                      <a:pt x="8" y="22"/>
                      <a:pt x="8" y="27"/>
                      <a:pt x="6" y="2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2" name="Freeform 48">
                <a:extLst>
                  <a:ext uri="{FF2B5EF4-FFF2-40B4-BE49-F238E27FC236}">
                    <a16:creationId xmlns:a16="http://schemas.microsoft.com/office/drawing/2014/main" id="{55C546C5-5962-4B14-BDB2-44F92F7B4E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42212" y="3334453"/>
                <a:ext cx="69010" cy="87831"/>
              </a:xfrm>
              <a:custGeom>
                <a:avLst/>
                <a:gdLst>
                  <a:gd name="T0" fmla="*/ 7 w 30"/>
                  <a:gd name="T1" fmla="*/ 3 h 38"/>
                  <a:gd name="T2" fmla="*/ 2 w 30"/>
                  <a:gd name="T3" fmla="*/ 7 h 38"/>
                  <a:gd name="T4" fmla="*/ 5 w 30"/>
                  <a:gd name="T5" fmla="*/ 11 h 38"/>
                  <a:gd name="T6" fmla="*/ 5 w 30"/>
                  <a:gd name="T7" fmla="*/ 14 h 38"/>
                  <a:gd name="T8" fmla="*/ 4 w 30"/>
                  <a:gd name="T9" fmla="*/ 22 h 38"/>
                  <a:gd name="T10" fmla="*/ 2 w 30"/>
                  <a:gd name="T11" fmla="*/ 32 h 38"/>
                  <a:gd name="T12" fmla="*/ 3 w 30"/>
                  <a:gd name="T13" fmla="*/ 37 h 38"/>
                  <a:gd name="T14" fmla="*/ 18 w 30"/>
                  <a:gd name="T15" fmla="*/ 32 h 38"/>
                  <a:gd name="T16" fmla="*/ 26 w 30"/>
                  <a:gd name="T17" fmla="*/ 29 h 38"/>
                  <a:gd name="T18" fmla="*/ 29 w 30"/>
                  <a:gd name="T19" fmla="*/ 25 h 38"/>
                  <a:gd name="T20" fmla="*/ 27 w 30"/>
                  <a:gd name="T21" fmla="*/ 14 h 38"/>
                  <a:gd name="T22" fmla="*/ 19 w 30"/>
                  <a:gd name="T23" fmla="*/ 0 h 38"/>
                  <a:gd name="T24" fmla="*/ 15 w 30"/>
                  <a:gd name="T25" fmla="*/ 2 h 38"/>
                  <a:gd name="T26" fmla="*/ 7 w 30"/>
                  <a:gd name="T27" fmla="*/ 3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0" h="38">
                    <a:moveTo>
                      <a:pt x="7" y="3"/>
                    </a:moveTo>
                    <a:cubicBezTo>
                      <a:pt x="6" y="4"/>
                      <a:pt x="4" y="5"/>
                      <a:pt x="2" y="7"/>
                    </a:cubicBezTo>
                    <a:cubicBezTo>
                      <a:pt x="3" y="8"/>
                      <a:pt x="3" y="11"/>
                      <a:pt x="5" y="11"/>
                    </a:cubicBezTo>
                    <a:cubicBezTo>
                      <a:pt x="7" y="11"/>
                      <a:pt x="7" y="15"/>
                      <a:pt x="5" y="14"/>
                    </a:cubicBezTo>
                    <a:cubicBezTo>
                      <a:pt x="2" y="14"/>
                      <a:pt x="2" y="18"/>
                      <a:pt x="4" y="22"/>
                    </a:cubicBezTo>
                    <a:cubicBezTo>
                      <a:pt x="7" y="26"/>
                      <a:pt x="0" y="30"/>
                      <a:pt x="2" y="32"/>
                    </a:cubicBezTo>
                    <a:cubicBezTo>
                      <a:pt x="3" y="34"/>
                      <a:pt x="2" y="36"/>
                      <a:pt x="3" y="37"/>
                    </a:cubicBezTo>
                    <a:cubicBezTo>
                      <a:pt x="4" y="38"/>
                      <a:pt x="14" y="36"/>
                      <a:pt x="18" y="32"/>
                    </a:cubicBezTo>
                    <a:cubicBezTo>
                      <a:pt x="22" y="27"/>
                      <a:pt x="24" y="28"/>
                      <a:pt x="26" y="29"/>
                    </a:cubicBezTo>
                    <a:cubicBezTo>
                      <a:pt x="28" y="29"/>
                      <a:pt x="30" y="27"/>
                      <a:pt x="29" y="25"/>
                    </a:cubicBezTo>
                    <a:cubicBezTo>
                      <a:pt x="28" y="23"/>
                      <a:pt x="27" y="19"/>
                      <a:pt x="27" y="14"/>
                    </a:cubicBezTo>
                    <a:cubicBezTo>
                      <a:pt x="27" y="10"/>
                      <a:pt x="23" y="5"/>
                      <a:pt x="19" y="0"/>
                    </a:cubicBezTo>
                    <a:cubicBezTo>
                      <a:pt x="17" y="1"/>
                      <a:pt x="16" y="2"/>
                      <a:pt x="15" y="2"/>
                    </a:cubicBezTo>
                    <a:cubicBezTo>
                      <a:pt x="12" y="2"/>
                      <a:pt x="8" y="2"/>
                      <a:pt x="7" y="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3" name="Freeform 49">
                <a:extLst>
                  <a:ext uri="{FF2B5EF4-FFF2-40B4-BE49-F238E27FC236}">
                    <a16:creationId xmlns:a16="http://schemas.microsoft.com/office/drawing/2014/main" id="{13D6A0AA-CB35-43E0-8E21-0BCD410036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43330" y="3584144"/>
                <a:ext cx="82812" cy="107906"/>
              </a:xfrm>
              <a:custGeom>
                <a:avLst/>
                <a:gdLst>
                  <a:gd name="T0" fmla="*/ 36 w 36"/>
                  <a:gd name="T1" fmla="*/ 39 h 47"/>
                  <a:gd name="T2" fmla="*/ 33 w 36"/>
                  <a:gd name="T3" fmla="*/ 24 h 47"/>
                  <a:gd name="T4" fmla="*/ 27 w 36"/>
                  <a:gd name="T5" fmla="*/ 30 h 47"/>
                  <a:gd name="T6" fmla="*/ 27 w 36"/>
                  <a:gd name="T7" fmla="*/ 21 h 47"/>
                  <a:gd name="T8" fmla="*/ 34 w 36"/>
                  <a:gd name="T9" fmla="*/ 13 h 47"/>
                  <a:gd name="T10" fmla="*/ 28 w 36"/>
                  <a:gd name="T11" fmla="*/ 11 h 47"/>
                  <a:gd name="T12" fmla="*/ 19 w 36"/>
                  <a:gd name="T13" fmla="*/ 12 h 47"/>
                  <a:gd name="T14" fmla="*/ 15 w 36"/>
                  <a:gd name="T15" fmla="*/ 8 h 47"/>
                  <a:gd name="T16" fmla="*/ 10 w 36"/>
                  <a:gd name="T17" fmla="*/ 3 h 47"/>
                  <a:gd name="T18" fmla="*/ 3 w 36"/>
                  <a:gd name="T19" fmla="*/ 3 h 47"/>
                  <a:gd name="T20" fmla="*/ 8 w 36"/>
                  <a:gd name="T21" fmla="*/ 10 h 47"/>
                  <a:gd name="T22" fmla="*/ 4 w 36"/>
                  <a:gd name="T23" fmla="*/ 14 h 47"/>
                  <a:gd name="T24" fmla="*/ 6 w 36"/>
                  <a:gd name="T25" fmla="*/ 26 h 47"/>
                  <a:gd name="T26" fmla="*/ 9 w 36"/>
                  <a:gd name="T27" fmla="*/ 40 h 47"/>
                  <a:gd name="T28" fmla="*/ 14 w 36"/>
                  <a:gd name="T29" fmla="*/ 39 h 47"/>
                  <a:gd name="T30" fmla="*/ 20 w 36"/>
                  <a:gd name="T31" fmla="*/ 36 h 47"/>
                  <a:gd name="T32" fmla="*/ 25 w 36"/>
                  <a:gd name="T33" fmla="*/ 32 h 47"/>
                  <a:gd name="T34" fmla="*/ 30 w 36"/>
                  <a:gd name="T35" fmla="*/ 43 h 47"/>
                  <a:gd name="T36" fmla="*/ 31 w 36"/>
                  <a:gd name="T37" fmla="*/ 47 h 47"/>
                  <a:gd name="T38" fmla="*/ 34 w 36"/>
                  <a:gd name="T39" fmla="*/ 44 h 47"/>
                  <a:gd name="T40" fmla="*/ 36 w 36"/>
                  <a:gd name="T41" fmla="*/ 39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6" h="47">
                    <a:moveTo>
                      <a:pt x="36" y="39"/>
                    </a:moveTo>
                    <a:cubicBezTo>
                      <a:pt x="35" y="31"/>
                      <a:pt x="34" y="24"/>
                      <a:pt x="33" y="24"/>
                    </a:cubicBezTo>
                    <a:cubicBezTo>
                      <a:pt x="31" y="24"/>
                      <a:pt x="29" y="30"/>
                      <a:pt x="27" y="30"/>
                    </a:cubicBezTo>
                    <a:cubicBezTo>
                      <a:pt x="25" y="29"/>
                      <a:pt x="25" y="21"/>
                      <a:pt x="27" y="21"/>
                    </a:cubicBezTo>
                    <a:cubicBezTo>
                      <a:pt x="30" y="21"/>
                      <a:pt x="34" y="15"/>
                      <a:pt x="34" y="13"/>
                    </a:cubicBezTo>
                    <a:cubicBezTo>
                      <a:pt x="34" y="11"/>
                      <a:pt x="31" y="11"/>
                      <a:pt x="28" y="11"/>
                    </a:cubicBezTo>
                    <a:cubicBezTo>
                      <a:pt x="25" y="11"/>
                      <a:pt x="19" y="12"/>
                      <a:pt x="19" y="12"/>
                    </a:cubicBezTo>
                    <a:cubicBezTo>
                      <a:pt x="19" y="12"/>
                      <a:pt x="15" y="10"/>
                      <a:pt x="15" y="8"/>
                    </a:cubicBezTo>
                    <a:cubicBezTo>
                      <a:pt x="15" y="5"/>
                      <a:pt x="13" y="3"/>
                      <a:pt x="10" y="3"/>
                    </a:cubicBezTo>
                    <a:cubicBezTo>
                      <a:pt x="6" y="3"/>
                      <a:pt x="6" y="0"/>
                      <a:pt x="3" y="3"/>
                    </a:cubicBezTo>
                    <a:cubicBezTo>
                      <a:pt x="0" y="7"/>
                      <a:pt x="9" y="7"/>
                      <a:pt x="8" y="10"/>
                    </a:cubicBezTo>
                    <a:cubicBezTo>
                      <a:pt x="7" y="13"/>
                      <a:pt x="4" y="11"/>
                      <a:pt x="4" y="14"/>
                    </a:cubicBezTo>
                    <a:cubicBezTo>
                      <a:pt x="3" y="16"/>
                      <a:pt x="4" y="22"/>
                      <a:pt x="6" y="26"/>
                    </a:cubicBezTo>
                    <a:cubicBezTo>
                      <a:pt x="7" y="28"/>
                      <a:pt x="9" y="35"/>
                      <a:pt x="9" y="40"/>
                    </a:cubicBezTo>
                    <a:cubicBezTo>
                      <a:pt x="11" y="40"/>
                      <a:pt x="12" y="39"/>
                      <a:pt x="14" y="39"/>
                    </a:cubicBezTo>
                    <a:cubicBezTo>
                      <a:pt x="17" y="39"/>
                      <a:pt x="20" y="38"/>
                      <a:pt x="20" y="36"/>
                    </a:cubicBezTo>
                    <a:cubicBezTo>
                      <a:pt x="21" y="33"/>
                      <a:pt x="24" y="31"/>
                      <a:pt x="25" y="32"/>
                    </a:cubicBezTo>
                    <a:cubicBezTo>
                      <a:pt x="27" y="33"/>
                      <a:pt x="29" y="39"/>
                      <a:pt x="30" y="43"/>
                    </a:cubicBezTo>
                    <a:cubicBezTo>
                      <a:pt x="30" y="44"/>
                      <a:pt x="30" y="45"/>
                      <a:pt x="31" y="47"/>
                    </a:cubicBezTo>
                    <a:cubicBezTo>
                      <a:pt x="32" y="45"/>
                      <a:pt x="34" y="44"/>
                      <a:pt x="34" y="44"/>
                    </a:cubicBezTo>
                    <a:cubicBezTo>
                      <a:pt x="34" y="44"/>
                      <a:pt x="35" y="41"/>
                      <a:pt x="36" y="3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4" name="Freeform 50">
                <a:extLst>
                  <a:ext uri="{FF2B5EF4-FFF2-40B4-BE49-F238E27FC236}">
                    <a16:creationId xmlns:a16="http://schemas.microsoft.com/office/drawing/2014/main" id="{0B98670D-9916-499F-92AD-70CBDFD68E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88242" y="3397190"/>
                <a:ext cx="516947" cy="545806"/>
              </a:xfrm>
              <a:custGeom>
                <a:avLst/>
                <a:gdLst>
                  <a:gd name="T0" fmla="*/ 158 w 224"/>
                  <a:gd name="T1" fmla="*/ 95 h 237"/>
                  <a:gd name="T2" fmla="*/ 157 w 224"/>
                  <a:gd name="T3" fmla="*/ 84 h 237"/>
                  <a:gd name="T4" fmla="*/ 169 w 224"/>
                  <a:gd name="T5" fmla="*/ 89 h 237"/>
                  <a:gd name="T6" fmla="*/ 182 w 224"/>
                  <a:gd name="T7" fmla="*/ 92 h 237"/>
                  <a:gd name="T8" fmla="*/ 181 w 224"/>
                  <a:gd name="T9" fmla="*/ 102 h 237"/>
                  <a:gd name="T10" fmla="*/ 187 w 224"/>
                  <a:gd name="T11" fmla="*/ 105 h 237"/>
                  <a:gd name="T12" fmla="*/ 191 w 224"/>
                  <a:gd name="T13" fmla="*/ 119 h 237"/>
                  <a:gd name="T14" fmla="*/ 195 w 224"/>
                  <a:gd name="T15" fmla="*/ 103 h 237"/>
                  <a:gd name="T16" fmla="*/ 204 w 224"/>
                  <a:gd name="T17" fmla="*/ 93 h 237"/>
                  <a:gd name="T18" fmla="*/ 212 w 224"/>
                  <a:gd name="T19" fmla="*/ 77 h 237"/>
                  <a:gd name="T20" fmla="*/ 222 w 224"/>
                  <a:gd name="T21" fmla="*/ 74 h 237"/>
                  <a:gd name="T22" fmla="*/ 223 w 224"/>
                  <a:gd name="T23" fmla="*/ 65 h 237"/>
                  <a:gd name="T24" fmla="*/ 215 w 224"/>
                  <a:gd name="T25" fmla="*/ 57 h 237"/>
                  <a:gd name="T26" fmla="*/ 202 w 224"/>
                  <a:gd name="T27" fmla="*/ 58 h 237"/>
                  <a:gd name="T28" fmla="*/ 191 w 224"/>
                  <a:gd name="T29" fmla="*/ 66 h 237"/>
                  <a:gd name="T30" fmla="*/ 184 w 224"/>
                  <a:gd name="T31" fmla="*/ 71 h 237"/>
                  <a:gd name="T32" fmla="*/ 177 w 224"/>
                  <a:gd name="T33" fmla="*/ 79 h 237"/>
                  <a:gd name="T34" fmla="*/ 164 w 224"/>
                  <a:gd name="T35" fmla="*/ 77 h 237"/>
                  <a:gd name="T36" fmla="*/ 158 w 224"/>
                  <a:gd name="T37" fmla="*/ 67 h 237"/>
                  <a:gd name="T38" fmla="*/ 155 w 224"/>
                  <a:gd name="T39" fmla="*/ 79 h 237"/>
                  <a:gd name="T40" fmla="*/ 131 w 224"/>
                  <a:gd name="T41" fmla="*/ 77 h 237"/>
                  <a:gd name="T42" fmla="*/ 118 w 224"/>
                  <a:gd name="T43" fmla="*/ 73 h 237"/>
                  <a:gd name="T44" fmla="*/ 106 w 224"/>
                  <a:gd name="T45" fmla="*/ 66 h 237"/>
                  <a:gd name="T46" fmla="*/ 95 w 224"/>
                  <a:gd name="T47" fmla="*/ 60 h 237"/>
                  <a:gd name="T48" fmla="*/ 100 w 224"/>
                  <a:gd name="T49" fmla="*/ 49 h 237"/>
                  <a:gd name="T50" fmla="*/ 92 w 224"/>
                  <a:gd name="T51" fmla="*/ 41 h 237"/>
                  <a:gd name="T52" fmla="*/ 83 w 224"/>
                  <a:gd name="T53" fmla="*/ 30 h 237"/>
                  <a:gd name="T54" fmla="*/ 89 w 224"/>
                  <a:gd name="T55" fmla="*/ 24 h 237"/>
                  <a:gd name="T56" fmla="*/ 84 w 224"/>
                  <a:gd name="T57" fmla="*/ 9 h 237"/>
                  <a:gd name="T58" fmla="*/ 77 w 224"/>
                  <a:gd name="T59" fmla="*/ 0 h 237"/>
                  <a:gd name="T60" fmla="*/ 70 w 224"/>
                  <a:gd name="T61" fmla="*/ 6 h 237"/>
                  <a:gd name="T62" fmla="*/ 50 w 224"/>
                  <a:gd name="T63" fmla="*/ 7 h 237"/>
                  <a:gd name="T64" fmla="*/ 47 w 224"/>
                  <a:gd name="T65" fmla="*/ 19 h 237"/>
                  <a:gd name="T66" fmla="*/ 56 w 224"/>
                  <a:gd name="T67" fmla="*/ 30 h 237"/>
                  <a:gd name="T68" fmla="*/ 50 w 224"/>
                  <a:gd name="T69" fmla="*/ 42 h 237"/>
                  <a:gd name="T70" fmla="*/ 42 w 224"/>
                  <a:gd name="T71" fmla="*/ 51 h 237"/>
                  <a:gd name="T72" fmla="*/ 32 w 224"/>
                  <a:gd name="T73" fmla="*/ 63 h 237"/>
                  <a:gd name="T74" fmla="*/ 22 w 224"/>
                  <a:gd name="T75" fmla="*/ 70 h 237"/>
                  <a:gd name="T76" fmla="*/ 10 w 224"/>
                  <a:gd name="T77" fmla="*/ 77 h 237"/>
                  <a:gd name="T78" fmla="*/ 18 w 224"/>
                  <a:gd name="T79" fmla="*/ 91 h 237"/>
                  <a:gd name="T80" fmla="*/ 15 w 224"/>
                  <a:gd name="T81" fmla="*/ 99 h 237"/>
                  <a:gd name="T82" fmla="*/ 0 w 224"/>
                  <a:gd name="T83" fmla="*/ 105 h 237"/>
                  <a:gd name="T84" fmla="*/ 7 w 224"/>
                  <a:gd name="T85" fmla="*/ 112 h 237"/>
                  <a:gd name="T86" fmla="*/ 5 w 224"/>
                  <a:gd name="T87" fmla="*/ 116 h 237"/>
                  <a:gd name="T88" fmla="*/ 30 w 224"/>
                  <a:gd name="T89" fmla="*/ 122 h 237"/>
                  <a:gd name="T90" fmla="*/ 35 w 224"/>
                  <a:gd name="T91" fmla="*/ 126 h 237"/>
                  <a:gd name="T92" fmla="*/ 36 w 224"/>
                  <a:gd name="T93" fmla="*/ 147 h 237"/>
                  <a:gd name="T94" fmla="*/ 48 w 224"/>
                  <a:gd name="T95" fmla="*/ 183 h 237"/>
                  <a:gd name="T96" fmla="*/ 63 w 224"/>
                  <a:gd name="T97" fmla="*/ 221 h 237"/>
                  <a:gd name="T98" fmla="*/ 78 w 224"/>
                  <a:gd name="T99" fmla="*/ 230 h 237"/>
                  <a:gd name="T100" fmla="*/ 89 w 224"/>
                  <a:gd name="T101" fmla="*/ 217 h 237"/>
                  <a:gd name="T102" fmla="*/ 94 w 224"/>
                  <a:gd name="T103" fmla="*/ 201 h 237"/>
                  <a:gd name="T104" fmla="*/ 95 w 224"/>
                  <a:gd name="T105" fmla="*/ 178 h 237"/>
                  <a:gd name="T106" fmla="*/ 106 w 224"/>
                  <a:gd name="T107" fmla="*/ 166 h 237"/>
                  <a:gd name="T108" fmla="*/ 131 w 224"/>
                  <a:gd name="T109" fmla="*/ 143 h 237"/>
                  <a:gd name="T110" fmla="*/ 146 w 224"/>
                  <a:gd name="T111" fmla="*/ 126 h 237"/>
                  <a:gd name="T112" fmla="*/ 163 w 224"/>
                  <a:gd name="T113" fmla="*/ 121 h 2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224" h="237">
                    <a:moveTo>
                      <a:pt x="160" y="107"/>
                    </a:moveTo>
                    <a:cubicBezTo>
                      <a:pt x="158" y="103"/>
                      <a:pt x="157" y="97"/>
                      <a:pt x="158" y="95"/>
                    </a:cubicBezTo>
                    <a:cubicBezTo>
                      <a:pt x="158" y="92"/>
                      <a:pt x="161" y="94"/>
                      <a:pt x="162" y="91"/>
                    </a:cubicBezTo>
                    <a:cubicBezTo>
                      <a:pt x="163" y="88"/>
                      <a:pt x="154" y="88"/>
                      <a:pt x="157" y="84"/>
                    </a:cubicBezTo>
                    <a:cubicBezTo>
                      <a:pt x="160" y="81"/>
                      <a:pt x="160" y="84"/>
                      <a:pt x="164" y="84"/>
                    </a:cubicBezTo>
                    <a:cubicBezTo>
                      <a:pt x="167" y="84"/>
                      <a:pt x="169" y="86"/>
                      <a:pt x="169" y="89"/>
                    </a:cubicBezTo>
                    <a:cubicBezTo>
                      <a:pt x="169" y="91"/>
                      <a:pt x="173" y="93"/>
                      <a:pt x="173" y="93"/>
                    </a:cubicBezTo>
                    <a:cubicBezTo>
                      <a:pt x="173" y="93"/>
                      <a:pt x="179" y="92"/>
                      <a:pt x="182" y="92"/>
                    </a:cubicBezTo>
                    <a:cubicBezTo>
                      <a:pt x="185" y="92"/>
                      <a:pt x="188" y="92"/>
                      <a:pt x="188" y="94"/>
                    </a:cubicBezTo>
                    <a:cubicBezTo>
                      <a:pt x="188" y="96"/>
                      <a:pt x="184" y="102"/>
                      <a:pt x="181" y="102"/>
                    </a:cubicBezTo>
                    <a:cubicBezTo>
                      <a:pt x="179" y="102"/>
                      <a:pt x="179" y="110"/>
                      <a:pt x="181" y="111"/>
                    </a:cubicBezTo>
                    <a:cubicBezTo>
                      <a:pt x="183" y="111"/>
                      <a:pt x="185" y="105"/>
                      <a:pt x="187" y="105"/>
                    </a:cubicBezTo>
                    <a:cubicBezTo>
                      <a:pt x="188" y="105"/>
                      <a:pt x="189" y="112"/>
                      <a:pt x="190" y="120"/>
                    </a:cubicBezTo>
                    <a:cubicBezTo>
                      <a:pt x="190" y="120"/>
                      <a:pt x="191" y="119"/>
                      <a:pt x="191" y="119"/>
                    </a:cubicBezTo>
                    <a:cubicBezTo>
                      <a:pt x="193" y="119"/>
                      <a:pt x="192" y="113"/>
                      <a:pt x="193" y="111"/>
                    </a:cubicBezTo>
                    <a:cubicBezTo>
                      <a:pt x="195" y="109"/>
                      <a:pt x="194" y="103"/>
                      <a:pt x="195" y="103"/>
                    </a:cubicBezTo>
                    <a:cubicBezTo>
                      <a:pt x="196" y="103"/>
                      <a:pt x="202" y="105"/>
                      <a:pt x="201" y="103"/>
                    </a:cubicBezTo>
                    <a:cubicBezTo>
                      <a:pt x="201" y="102"/>
                      <a:pt x="205" y="96"/>
                      <a:pt x="204" y="93"/>
                    </a:cubicBezTo>
                    <a:cubicBezTo>
                      <a:pt x="204" y="91"/>
                      <a:pt x="206" y="87"/>
                      <a:pt x="206" y="84"/>
                    </a:cubicBezTo>
                    <a:cubicBezTo>
                      <a:pt x="206" y="80"/>
                      <a:pt x="210" y="79"/>
                      <a:pt x="212" y="77"/>
                    </a:cubicBezTo>
                    <a:cubicBezTo>
                      <a:pt x="214" y="75"/>
                      <a:pt x="218" y="73"/>
                      <a:pt x="218" y="74"/>
                    </a:cubicBezTo>
                    <a:cubicBezTo>
                      <a:pt x="219" y="76"/>
                      <a:pt x="224" y="77"/>
                      <a:pt x="222" y="74"/>
                    </a:cubicBezTo>
                    <a:cubicBezTo>
                      <a:pt x="220" y="71"/>
                      <a:pt x="220" y="70"/>
                      <a:pt x="221" y="69"/>
                    </a:cubicBezTo>
                    <a:cubicBezTo>
                      <a:pt x="223" y="68"/>
                      <a:pt x="223" y="65"/>
                      <a:pt x="223" y="65"/>
                    </a:cubicBezTo>
                    <a:cubicBezTo>
                      <a:pt x="223" y="65"/>
                      <a:pt x="219" y="64"/>
                      <a:pt x="218" y="63"/>
                    </a:cubicBezTo>
                    <a:cubicBezTo>
                      <a:pt x="218" y="61"/>
                      <a:pt x="215" y="59"/>
                      <a:pt x="215" y="57"/>
                    </a:cubicBezTo>
                    <a:cubicBezTo>
                      <a:pt x="215" y="56"/>
                      <a:pt x="213" y="56"/>
                      <a:pt x="211" y="58"/>
                    </a:cubicBezTo>
                    <a:cubicBezTo>
                      <a:pt x="209" y="59"/>
                      <a:pt x="206" y="56"/>
                      <a:pt x="202" y="58"/>
                    </a:cubicBezTo>
                    <a:cubicBezTo>
                      <a:pt x="198" y="60"/>
                      <a:pt x="197" y="63"/>
                      <a:pt x="195" y="63"/>
                    </a:cubicBezTo>
                    <a:cubicBezTo>
                      <a:pt x="193" y="62"/>
                      <a:pt x="193" y="64"/>
                      <a:pt x="191" y="66"/>
                    </a:cubicBezTo>
                    <a:cubicBezTo>
                      <a:pt x="190" y="67"/>
                      <a:pt x="189" y="69"/>
                      <a:pt x="188" y="69"/>
                    </a:cubicBezTo>
                    <a:cubicBezTo>
                      <a:pt x="187" y="69"/>
                      <a:pt x="184" y="71"/>
                      <a:pt x="184" y="71"/>
                    </a:cubicBezTo>
                    <a:cubicBezTo>
                      <a:pt x="184" y="71"/>
                      <a:pt x="186" y="76"/>
                      <a:pt x="184" y="78"/>
                    </a:cubicBezTo>
                    <a:cubicBezTo>
                      <a:pt x="183" y="80"/>
                      <a:pt x="180" y="78"/>
                      <a:pt x="177" y="79"/>
                    </a:cubicBezTo>
                    <a:cubicBezTo>
                      <a:pt x="173" y="80"/>
                      <a:pt x="171" y="78"/>
                      <a:pt x="169" y="78"/>
                    </a:cubicBezTo>
                    <a:cubicBezTo>
                      <a:pt x="166" y="79"/>
                      <a:pt x="165" y="77"/>
                      <a:pt x="164" y="77"/>
                    </a:cubicBezTo>
                    <a:cubicBezTo>
                      <a:pt x="162" y="77"/>
                      <a:pt x="160" y="74"/>
                      <a:pt x="161" y="71"/>
                    </a:cubicBezTo>
                    <a:cubicBezTo>
                      <a:pt x="162" y="69"/>
                      <a:pt x="160" y="65"/>
                      <a:pt x="158" y="67"/>
                    </a:cubicBezTo>
                    <a:cubicBezTo>
                      <a:pt x="157" y="69"/>
                      <a:pt x="155" y="68"/>
                      <a:pt x="155" y="71"/>
                    </a:cubicBezTo>
                    <a:cubicBezTo>
                      <a:pt x="155" y="74"/>
                      <a:pt x="157" y="78"/>
                      <a:pt x="155" y="79"/>
                    </a:cubicBezTo>
                    <a:cubicBezTo>
                      <a:pt x="153" y="81"/>
                      <a:pt x="143" y="82"/>
                      <a:pt x="141" y="81"/>
                    </a:cubicBezTo>
                    <a:cubicBezTo>
                      <a:pt x="139" y="79"/>
                      <a:pt x="131" y="78"/>
                      <a:pt x="131" y="77"/>
                    </a:cubicBezTo>
                    <a:cubicBezTo>
                      <a:pt x="130" y="75"/>
                      <a:pt x="128" y="72"/>
                      <a:pt x="126" y="72"/>
                    </a:cubicBezTo>
                    <a:cubicBezTo>
                      <a:pt x="124" y="72"/>
                      <a:pt x="120" y="74"/>
                      <a:pt x="118" y="73"/>
                    </a:cubicBezTo>
                    <a:cubicBezTo>
                      <a:pt x="117" y="72"/>
                      <a:pt x="114" y="70"/>
                      <a:pt x="112" y="70"/>
                    </a:cubicBezTo>
                    <a:cubicBezTo>
                      <a:pt x="110" y="69"/>
                      <a:pt x="106" y="68"/>
                      <a:pt x="106" y="66"/>
                    </a:cubicBezTo>
                    <a:cubicBezTo>
                      <a:pt x="105" y="65"/>
                      <a:pt x="100" y="64"/>
                      <a:pt x="99" y="63"/>
                    </a:cubicBezTo>
                    <a:cubicBezTo>
                      <a:pt x="98" y="62"/>
                      <a:pt x="95" y="62"/>
                      <a:pt x="95" y="60"/>
                    </a:cubicBezTo>
                    <a:cubicBezTo>
                      <a:pt x="95" y="58"/>
                      <a:pt x="97" y="56"/>
                      <a:pt x="97" y="54"/>
                    </a:cubicBezTo>
                    <a:cubicBezTo>
                      <a:pt x="97" y="52"/>
                      <a:pt x="100" y="50"/>
                      <a:pt x="100" y="49"/>
                    </a:cubicBezTo>
                    <a:cubicBezTo>
                      <a:pt x="100" y="48"/>
                      <a:pt x="97" y="45"/>
                      <a:pt x="97" y="45"/>
                    </a:cubicBezTo>
                    <a:cubicBezTo>
                      <a:pt x="97" y="45"/>
                      <a:pt x="95" y="41"/>
                      <a:pt x="92" y="41"/>
                    </a:cubicBezTo>
                    <a:cubicBezTo>
                      <a:pt x="90" y="41"/>
                      <a:pt x="88" y="37"/>
                      <a:pt x="85" y="37"/>
                    </a:cubicBezTo>
                    <a:cubicBezTo>
                      <a:pt x="83" y="36"/>
                      <a:pt x="84" y="32"/>
                      <a:pt x="83" y="30"/>
                    </a:cubicBezTo>
                    <a:cubicBezTo>
                      <a:pt x="81" y="29"/>
                      <a:pt x="82" y="25"/>
                      <a:pt x="84" y="27"/>
                    </a:cubicBezTo>
                    <a:cubicBezTo>
                      <a:pt x="87" y="29"/>
                      <a:pt x="91" y="27"/>
                      <a:pt x="89" y="24"/>
                    </a:cubicBezTo>
                    <a:cubicBezTo>
                      <a:pt x="88" y="21"/>
                      <a:pt x="85" y="18"/>
                      <a:pt x="85" y="17"/>
                    </a:cubicBezTo>
                    <a:cubicBezTo>
                      <a:pt x="85" y="15"/>
                      <a:pt x="87" y="11"/>
                      <a:pt x="84" y="9"/>
                    </a:cubicBezTo>
                    <a:cubicBezTo>
                      <a:pt x="82" y="8"/>
                      <a:pt x="80" y="6"/>
                      <a:pt x="80" y="4"/>
                    </a:cubicBezTo>
                    <a:cubicBezTo>
                      <a:pt x="79" y="2"/>
                      <a:pt x="77" y="0"/>
                      <a:pt x="77" y="0"/>
                    </a:cubicBezTo>
                    <a:cubicBezTo>
                      <a:pt x="73" y="0"/>
                      <a:pt x="73" y="0"/>
                      <a:pt x="73" y="0"/>
                    </a:cubicBezTo>
                    <a:cubicBezTo>
                      <a:pt x="73" y="0"/>
                      <a:pt x="71" y="5"/>
                      <a:pt x="70" y="6"/>
                    </a:cubicBezTo>
                    <a:cubicBezTo>
                      <a:pt x="69" y="7"/>
                      <a:pt x="64" y="8"/>
                      <a:pt x="62" y="9"/>
                    </a:cubicBezTo>
                    <a:cubicBezTo>
                      <a:pt x="60" y="11"/>
                      <a:pt x="54" y="7"/>
                      <a:pt x="50" y="7"/>
                    </a:cubicBezTo>
                    <a:cubicBezTo>
                      <a:pt x="47" y="7"/>
                      <a:pt x="44" y="11"/>
                      <a:pt x="46" y="11"/>
                    </a:cubicBezTo>
                    <a:cubicBezTo>
                      <a:pt x="48" y="12"/>
                      <a:pt x="47" y="19"/>
                      <a:pt x="47" y="19"/>
                    </a:cubicBezTo>
                    <a:cubicBezTo>
                      <a:pt x="47" y="19"/>
                      <a:pt x="49" y="27"/>
                      <a:pt x="52" y="27"/>
                    </a:cubicBezTo>
                    <a:cubicBezTo>
                      <a:pt x="55" y="26"/>
                      <a:pt x="58" y="30"/>
                      <a:pt x="56" y="30"/>
                    </a:cubicBezTo>
                    <a:cubicBezTo>
                      <a:pt x="53" y="31"/>
                      <a:pt x="52" y="34"/>
                      <a:pt x="52" y="36"/>
                    </a:cubicBezTo>
                    <a:cubicBezTo>
                      <a:pt x="51" y="39"/>
                      <a:pt x="52" y="42"/>
                      <a:pt x="50" y="42"/>
                    </a:cubicBezTo>
                    <a:cubicBezTo>
                      <a:pt x="48" y="43"/>
                      <a:pt x="46" y="43"/>
                      <a:pt x="46" y="47"/>
                    </a:cubicBezTo>
                    <a:cubicBezTo>
                      <a:pt x="46" y="50"/>
                      <a:pt x="42" y="49"/>
                      <a:pt x="42" y="51"/>
                    </a:cubicBezTo>
                    <a:cubicBezTo>
                      <a:pt x="41" y="52"/>
                      <a:pt x="39" y="58"/>
                      <a:pt x="38" y="59"/>
                    </a:cubicBezTo>
                    <a:cubicBezTo>
                      <a:pt x="37" y="60"/>
                      <a:pt x="32" y="60"/>
                      <a:pt x="32" y="63"/>
                    </a:cubicBezTo>
                    <a:cubicBezTo>
                      <a:pt x="31" y="66"/>
                      <a:pt x="29" y="70"/>
                      <a:pt x="27" y="69"/>
                    </a:cubicBezTo>
                    <a:cubicBezTo>
                      <a:pt x="26" y="69"/>
                      <a:pt x="23" y="68"/>
                      <a:pt x="22" y="70"/>
                    </a:cubicBezTo>
                    <a:cubicBezTo>
                      <a:pt x="21" y="71"/>
                      <a:pt x="17" y="68"/>
                      <a:pt x="16" y="69"/>
                    </a:cubicBezTo>
                    <a:cubicBezTo>
                      <a:pt x="15" y="70"/>
                      <a:pt x="10" y="74"/>
                      <a:pt x="10" y="77"/>
                    </a:cubicBezTo>
                    <a:cubicBezTo>
                      <a:pt x="10" y="79"/>
                      <a:pt x="15" y="79"/>
                      <a:pt x="15" y="82"/>
                    </a:cubicBezTo>
                    <a:cubicBezTo>
                      <a:pt x="15" y="85"/>
                      <a:pt x="17" y="89"/>
                      <a:pt x="18" y="91"/>
                    </a:cubicBezTo>
                    <a:cubicBezTo>
                      <a:pt x="20" y="92"/>
                      <a:pt x="23" y="96"/>
                      <a:pt x="21" y="98"/>
                    </a:cubicBezTo>
                    <a:cubicBezTo>
                      <a:pt x="20" y="100"/>
                      <a:pt x="18" y="100"/>
                      <a:pt x="15" y="99"/>
                    </a:cubicBezTo>
                    <a:cubicBezTo>
                      <a:pt x="12" y="99"/>
                      <a:pt x="13" y="101"/>
                      <a:pt x="8" y="100"/>
                    </a:cubicBezTo>
                    <a:cubicBezTo>
                      <a:pt x="3" y="99"/>
                      <a:pt x="2" y="103"/>
                      <a:pt x="0" y="105"/>
                    </a:cubicBezTo>
                    <a:cubicBezTo>
                      <a:pt x="0" y="105"/>
                      <a:pt x="0" y="105"/>
                      <a:pt x="0" y="105"/>
                    </a:cubicBezTo>
                    <a:cubicBezTo>
                      <a:pt x="2" y="107"/>
                      <a:pt x="3" y="111"/>
                      <a:pt x="7" y="112"/>
                    </a:cubicBezTo>
                    <a:cubicBezTo>
                      <a:pt x="12" y="114"/>
                      <a:pt x="16" y="109"/>
                      <a:pt x="16" y="113"/>
                    </a:cubicBezTo>
                    <a:cubicBezTo>
                      <a:pt x="16" y="116"/>
                      <a:pt x="5" y="115"/>
                      <a:pt x="5" y="116"/>
                    </a:cubicBezTo>
                    <a:cubicBezTo>
                      <a:pt x="5" y="118"/>
                      <a:pt x="16" y="131"/>
                      <a:pt x="22" y="130"/>
                    </a:cubicBezTo>
                    <a:cubicBezTo>
                      <a:pt x="28" y="129"/>
                      <a:pt x="32" y="123"/>
                      <a:pt x="30" y="122"/>
                    </a:cubicBezTo>
                    <a:cubicBezTo>
                      <a:pt x="29" y="121"/>
                      <a:pt x="31" y="117"/>
                      <a:pt x="33" y="118"/>
                    </a:cubicBezTo>
                    <a:cubicBezTo>
                      <a:pt x="34" y="119"/>
                      <a:pt x="33" y="125"/>
                      <a:pt x="35" y="126"/>
                    </a:cubicBezTo>
                    <a:cubicBezTo>
                      <a:pt x="37" y="128"/>
                      <a:pt x="36" y="130"/>
                      <a:pt x="35" y="134"/>
                    </a:cubicBezTo>
                    <a:cubicBezTo>
                      <a:pt x="34" y="137"/>
                      <a:pt x="36" y="143"/>
                      <a:pt x="36" y="147"/>
                    </a:cubicBezTo>
                    <a:cubicBezTo>
                      <a:pt x="37" y="151"/>
                      <a:pt x="39" y="156"/>
                      <a:pt x="40" y="162"/>
                    </a:cubicBezTo>
                    <a:cubicBezTo>
                      <a:pt x="41" y="167"/>
                      <a:pt x="44" y="177"/>
                      <a:pt x="48" y="183"/>
                    </a:cubicBezTo>
                    <a:cubicBezTo>
                      <a:pt x="51" y="189"/>
                      <a:pt x="53" y="201"/>
                      <a:pt x="55" y="204"/>
                    </a:cubicBezTo>
                    <a:cubicBezTo>
                      <a:pt x="58" y="207"/>
                      <a:pt x="63" y="216"/>
                      <a:pt x="63" y="221"/>
                    </a:cubicBezTo>
                    <a:cubicBezTo>
                      <a:pt x="63" y="226"/>
                      <a:pt x="69" y="234"/>
                      <a:pt x="71" y="235"/>
                    </a:cubicBezTo>
                    <a:cubicBezTo>
                      <a:pt x="73" y="237"/>
                      <a:pt x="77" y="233"/>
                      <a:pt x="78" y="230"/>
                    </a:cubicBezTo>
                    <a:cubicBezTo>
                      <a:pt x="79" y="227"/>
                      <a:pt x="86" y="226"/>
                      <a:pt x="86" y="223"/>
                    </a:cubicBezTo>
                    <a:cubicBezTo>
                      <a:pt x="86" y="220"/>
                      <a:pt x="87" y="218"/>
                      <a:pt x="89" y="217"/>
                    </a:cubicBezTo>
                    <a:cubicBezTo>
                      <a:pt x="91" y="217"/>
                      <a:pt x="91" y="215"/>
                      <a:pt x="91" y="211"/>
                    </a:cubicBezTo>
                    <a:cubicBezTo>
                      <a:pt x="91" y="208"/>
                      <a:pt x="91" y="204"/>
                      <a:pt x="94" y="201"/>
                    </a:cubicBezTo>
                    <a:cubicBezTo>
                      <a:pt x="96" y="199"/>
                      <a:pt x="96" y="191"/>
                      <a:pt x="95" y="188"/>
                    </a:cubicBezTo>
                    <a:cubicBezTo>
                      <a:pt x="93" y="185"/>
                      <a:pt x="94" y="181"/>
                      <a:pt x="95" y="178"/>
                    </a:cubicBezTo>
                    <a:cubicBezTo>
                      <a:pt x="96" y="175"/>
                      <a:pt x="96" y="172"/>
                      <a:pt x="98" y="171"/>
                    </a:cubicBezTo>
                    <a:cubicBezTo>
                      <a:pt x="101" y="171"/>
                      <a:pt x="104" y="169"/>
                      <a:pt x="106" y="166"/>
                    </a:cubicBezTo>
                    <a:cubicBezTo>
                      <a:pt x="109" y="163"/>
                      <a:pt x="116" y="158"/>
                      <a:pt x="118" y="156"/>
                    </a:cubicBezTo>
                    <a:cubicBezTo>
                      <a:pt x="121" y="154"/>
                      <a:pt x="129" y="147"/>
                      <a:pt x="131" y="143"/>
                    </a:cubicBezTo>
                    <a:cubicBezTo>
                      <a:pt x="134" y="139"/>
                      <a:pt x="141" y="138"/>
                      <a:pt x="144" y="135"/>
                    </a:cubicBezTo>
                    <a:cubicBezTo>
                      <a:pt x="147" y="131"/>
                      <a:pt x="146" y="130"/>
                      <a:pt x="146" y="126"/>
                    </a:cubicBezTo>
                    <a:cubicBezTo>
                      <a:pt x="147" y="123"/>
                      <a:pt x="157" y="121"/>
                      <a:pt x="161" y="121"/>
                    </a:cubicBezTo>
                    <a:cubicBezTo>
                      <a:pt x="161" y="121"/>
                      <a:pt x="162" y="121"/>
                      <a:pt x="163" y="121"/>
                    </a:cubicBezTo>
                    <a:cubicBezTo>
                      <a:pt x="163" y="116"/>
                      <a:pt x="161" y="109"/>
                      <a:pt x="160" y="10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5" name="Freeform 51">
                <a:extLst>
                  <a:ext uri="{FF2B5EF4-FFF2-40B4-BE49-F238E27FC236}">
                    <a16:creationId xmlns:a16="http://schemas.microsoft.com/office/drawing/2014/main" id="{E898C675-070C-43CF-8607-6578E83B80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43330" y="3017008"/>
                <a:ext cx="583448" cy="250945"/>
              </a:xfrm>
              <a:custGeom>
                <a:avLst/>
                <a:gdLst>
                  <a:gd name="T0" fmla="*/ 235 w 253"/>
                  <a:gd name="T1" fmla="*/ 47 h 109"/>
                  <a:gd name="T2" fmla="*/ 219 w 253"/>
                  <a:gd name="T3" fmla="*/ 45 h 109"/>
                  <a:gd name="T4" fmla="*/ 220 w 253"/>
                  <a:gd name="T5" fmla="*/ 37 h 109"/>
                  <a:gd name="T6" fmla="*/ 221 w 253"/>
                  <a:gd name="T7" fmla="*/ 23 h 109"/>
                  <a:gd name="T8" fmla="*/ 204 w 253"/>
                  <a:gd name="T9" fmla="*/ 21 h 109"/>
                  <a:gd name="T10" fmla="*/ 191 w 253"/>
                  <a:gd name="T11" fmla="*/ 28 h 109"/>
                  <a:gd name="T12" fmla="*/ 170 w 253"/>
                  <a:gd name="T13" fmla="*/ 31 h 109"/>
                  <a:gd name="T14" fmla="*/ 156 w 253"/>
                  <a:gd name="T15" fmla="*/ 24 h 109"/>
                  <a:gd name="T16" fmla="*/ 143 w 253"/>
                  <a:gd name="T17" fmla="*/ 20 h 109"/>
                  <a:gd name="T18" fmla="*/ 128 w 253"/>
                  <a:gd name="T19" fmla="*/ 19 h 109"/>
                  <a:gd name="T20" fmla="*/ 115 w 253"/>
                  <a:gd name="T21" fmla="*/ 20 h 109"/>
                  <a:gd name="T22" fmla="*/ 109 w 253"/>
                  <a:gd name="T23" fmla="*/ 9 h 109"/>
                  <a:gd name="T24" fmla="*/ 95 w 253"/>
                  <a:gd name="T25" fmla="*/ 4 h 109"/>
                  <a:gd name="T26" fmla="*/ 84 w 253"/>
                  <a:gd name="T27" fmla="*/ 1 h 109"/>
                  <a:gd name="T28" fmla="*/ 77 w 253"/>
                  <a:gd name="T29" fmla="*/ 6 h 109"/>
                  <a:gd name="T30" fmla="*/ 77 w 253"/>
                  <a:gd name="T31" fmla="*/ 17 h 109"/>
                  <a:gd name="T32" fmla="*/ 70 w 253"/>
                  <a:gd name="T33" fmla="*/ 25 h 109"/>
                  <a:gd name="T34" fmla="*/ 58 w 253"/>
                  <a:gd name="T35" fmla="*/ 24 h 109"/>
                  <a:gd name="T36" fmla="*/ 49 w 253"/>
                  <a:gd name="T37" fmla="*/ 16 h 109"/>
                  <a:gd name="T38" fmla="*/ 32 w 253"/>
                  <a:gd name="T39" fmla="*/ 16 h 109"/>
                  <a:gd name="T40" fmla="*/ 21 w 253"/>
                  <a:gd name="T41" fmla="*/ 21 h 109"/>
                  <a:gd name="T42" fmla="*/ 7 w 253"/>
                  <a:gd name="T43" fmla="*/ 28 h 109"/>
                  <a:gd name="T44" fmla="*/ 0 w 253"/>
                  <a:gd name="T45" fmla="*/ 31 h 109"/>
                  <a:gd name="T46" fmla="*/ 7 w 253"/>
                  <a:gd name="T47" fmla="*/ 39 h 109"/>
                  <a:gd name="T48" fmla="*/ 21 w 253"/>
                  <a:gd name="T49" fmla="*/ 49 h 109"/>
                  <a:gd name="T50" fmla="*/ 24 w 253"/>
                  <a:gd name="T51" fmla="*/ 63 h 109"/>
                  <a:gd name="T52" fmla="*/ 41 w 253"/>
                  <a:gd name="T53" fmla="*/ 74 h 109"/>
                  <a:gd name="T54" fmla="*/ 52 w 253"/>
                  <a:gd name="T55" fmla="*/ 81 h 109"/>
                  <a:gd name="T56" fmla="*/ 63 w 253"/>
                  <a:gd name="T57" fmla="*/ 96 h 109"/>
                  <a:gd name="T58" fmla="*/ 92 w 253"/>
                  <a:gd name="T59" fmla="*/ 98 h 109"/>
                  <a:gd name="T60" fmla="*/ 116 w 253"/>
                  <a:gd name="T61" fmla="*/ 103 h 109"/>
                  <a:gd name="T62" fmla="*/ 130 w 253"/>
                  <a:gd name="T63" fmla="*/ 108 h 109"/>
                  <a:gd name="T64" fmla="*/ 162 w 253"/>
                  <a:gd name="T65" fmla="*/ 101 h 109"/>
                  <a:gd name="T66" fmla="*/ 187 w 253"/>
                  <a:gd name="T67" fmla="*/ 87 h 109"/>
                  <a:gd name="T68" fmla="*/ 192 w 253"/>
                  <a:gd name="T69" fmla="*/ 75 h 109"/>
                  <a:gd name="T70" fmla="*/ 217 w 253"/>
                  <a:gd name="T71" fmla="*/ 70 h 109"/>
                  <a:gd name="T72" fmla="*/ 234 w 253"/>
                  <a:gd name="T73" fmla="*/ 60 h 109"/>
                  <a:gd name="T74" fmla="*/ 253 w 253"/>
                  <a:gd name="T75" fmla="*/ 56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253" h="109">
                    <a:moveTo>
                      <a:pt x="243" y="46"/>
                    </a:moveTo>
                    <a:cubicBezTo>
                      <a:pt x="240" y="42"/>
                      <a:pt x="236" y="44"/>
                      <a:pt x="235" y="47"/>
                    </a:cubicBezTo>
                    <a:cubicBezTo>
                      <a:pt x="234" y="49"/>
                      <a:pt x="232" y="46"/>
                      <a:pt x="227" y="46"/>
                    </a:cubicBezTo>
                    <a:cubicBezTo>
                      <a:pt x="222" y="46"/>
                      <a:pt x="222" y="48"/>
                      <a:pt x="219" y="45"/>
                    </a:cubicBezTo>
                    <a:cubicBezTo>
                      <a:pt x="216" y="42"/>
                      <a:pt x="220" y="41"/>
                      <a:pt x="220" y="41"/>
                    </a:cubicBezTo>
                    <a:cubicBezTo>
                      <a:pt x="220" y="37"/>
                      <a:pt x="220" y="37"/>
                      <a:pt x="220" y="37"/>
                    </a:cubicBezTo>
                    <a:cubicBezTo>
                      <a:pt x="227" y="24"/>
                      <a:pt x="227" y="24"/>
                      <a:pt x="227" y="24"/>
                    </a:cubicBezTo>
                    <a:cubicBezTo>
                      <a:pt x="225" y="23"/>
                      <a:pt x="222" y="23"/>
                      <a:pt x="221" y="23"/>
                    </a:cubicBezTo>
                    <a:cubicBezTo>
                      <a:pt x="219" y="24"/>
                      <a:pt x="215" y="24"/>
                      <a:pt x="214" y="22"/>
                    </a:cubicBezTo>
                    <a:cubicBezTo>
                      <a:pt x="214" y="20"/>
                      <a:pt x="206" y="20"/>
                      <a:pt x="204" y="21"/>
                    </a:cubicBezTo>
                    <a:cubicBezTo>
                      <a:pt x="202" y="23"/>
                      <a:pt x="198" y="24"/>
                      <a:pt x="198" y="26"/>
                    </a:cubicBezTo>
                    <a:cubicBezTo>
                      <a:pt x="197" y="27"/>
                      <a:pt x="193" y="27"/>
                      <a:pt x="191" y="28"/>
                    </a:cubicBezTo>
                    <a:cubicBezTo>
                      <a:pt x="190" y="29"/>
                      <a:pt x="181" y="30"/>
                      <a:pt x="181" y="31"/>
                    </a:cubicBezTo>
                    <a:cubicBezTo>
                      <a:pt x="181" y="32"/>
                      <a:pt x="171" y="32"/>
                      <a:pt x="170" y="31"/>
                    </a:cubicBezTo>
                    <a:cubicBezTo>
                      <a:pt x="169" y="30"/>
                      <a:pt x="161" y="31"/>
                      <a:pt x="160" y="29"/>
                    </a:cubicBezTo>
                    <a:cubicBezTo>
                      <a:pt x="159" y="27"/>
                      <a:pt x="156" y="26"/>
                      <a:pt x="156" y="24"/>
                    </a:cubicBezTo>
                    <a:cubicBezTo>
                      <a:pt x="156" y="23"/>
                      <a:pt x="150" y="23"/>
                      <a:pt x="149" y="21"/>
                    </a:cubicBezTo>
                    <a:cubicBezTo>
                      <a:pt x="148" y="20"/>
                      <a:pt x="143" y="19"/>
                      <a:pt x="143" y="20"/>
                    </a:cubicBezTo>
                    <a:cubicBezTo>
                      <a:pt x="142" y="20"/>
                      <a:pt x="137" y="18"/>
                      <a:pt x="135" y="18"/>
                    </a:cubicBezTo>
                    <a:cubicBezTo>
                      <a:pt x="134" y="18"/>
                      <a:pt x="129" y="19"/>
                      <a:pt x="128" y="19"/>
                    </a:cubicBezTo>
                    <a:cubicBezTo>
                      <a:pt x="127" y="19"/>
                      <a:pt x="124" y="21"/>
                      <a:pt x="122" y="22"/>
                    </a:cubicBezTo>
                    <a:cubicBezTo>
                      <a:pt x="121" y="22"/>
                      <a:pt x="116" y="19"/>
                      <a:pt x="115" y="20"/>
                    </a:cubicBezTo>
                    <a:cubicBezTo>
                      <a:pt x="114" y="20"/>
                      <a:pt x="111" y="17"/>
                      <a:pt x="110" y="16"/>
                    </a:cubicBezTo>
                    <a:cubicBezTo>
                      <a:pt x="109" y="14"/>
                      <a:pt x="110" y="10"/>
                      <a:pt x="109" y="9"/>
                    </a:cubicBezTo>
                    <a:cubicBezTo>
                      <a:pt x="108" y="7"/>
                      <a:pt x="103" y="7"/>
                      <a:pt x="101" y="6"/>
                    </a:cubicBezTo>
                    <a:cubicBezTo>
                      <a:pt x="100" y="6"/>
                      <a:pt x="97" y="4"/>
                      <a:pt x="95" y="4"/>
                    </a:cubicBezTo>
                    <a:cubicBezTo>
                      <a:pt x="94" y="4"/>
                      <a:pt x="91" y="4"/>
                      <a:pt x="90" y="3"/>
                    </a:cubicBezTo>
                    <a:cubicBezTo>
                      <a:pt x="90" y="2"/>
                      <a:pt x="86" y="1"/>
                      <a:pt x="84" y="1"/>
                    </a:cubicBezTo>
                    <a:cubicBezTo>
                      <a:pt x="83" y="0"/>
                      <a:pt x="83" y="2"/>
                      <a:pt x="82" y="3"/>
                    </a:cubicBezTo>
                    <a:cubicBezTo>
                      <a:pt x="81" y="4"/>
                      <a:pt x="78" y="4"/>
                      <a:pt x="77" y="6"/>
                    </a:cubicBezTo>
                    <a:cubicBezTo>
                      <a:pt x="77" y="8"/>
                      <a:pt x="74" y="8"/>
                      <a:pt x="74" y="10"/>
                    </a:cubicBezTo>
                    <a:cubicBezTo>
                      <a:pt x="74" y="12"/>
                      <a:pt x="76" y="16"/>
                      <a:pt x="77" y="17"/>
                    </a:cubicBezTo>
                    <a:cubicBezTo>
                      <a:pt x="78" y="18"/>
                      <a:pt x="77" y="21"/>
                      <a:pt x="77" y="21"/>
                    </a:cubicBezTo>
                    <a:cubicBezTo>
                      <a:pt x="76" y="22"/>
                      <a:pt x="71" y="23"/>
                      <a:pt x="70" y="25"/>
                    </a:cubicBezTo>
                    <a:cubicBezTo>
                      <a:pt x="69" y="26"/>
                      <a:pt x="67" y="25"/>
                      <a:pt x="64" y="23"/>
                    </a:cubicBezTo>
                    <a:cubicBezTo>
                      <a:pt x="62" y="22"/>
                      <a:pt x="59" y="23"/>
                      <a:pt x="58" y="24"/>
                    </a:cubicBezTo>
                    <a:cubicBezTo>
                      <a:pt x="57" y="25"/>
                      <a:pt x="52" y="21"/>
                      <a:pt x="51" y="21"/>
                    </a:cubicBezTo>
                    <a:cubicBezTo>
                      <a:pt x="50" y="21"/>
                      <a:pt x="50" y="16"/>
                      <a:pt x="49" y="16"/>
                    </a:cubicBezTo>
                    <a:cubicBezTo>
                      <a:pt x="47" y="17"/>
                      <a:pt x="39" y="15"/>
                      <a:pt x="37" y="15"/>
                    </a:cubicBezTo>
                    <a:cubicBezTo>
                      <a:pt x="36" y="14"/>
                      <a:pt x="32" y="14"/>
                      <a:pt x="32" y="16"/>
                    </a:cubicBezTo>
                    <a:cubicBezTo>
                      <a:pt x="31" y="17"/>
                      <a:pt x="27" y="16"/>
                      <a:pt x="26" y="18"/>
                    </a:cubicBezTo>
                    <a:cubicBezTo>
                      <a:pt x="25" y="19"/>
                      <a:pt x="22" y="20"/>
                      <a:pt x="21" y="21"/>
                    </a:cubicBezTo>
                    <a:cubicBezTo>
                      <a:pt x="20" y="23"/>
                      <a:pt x="16" y="23"/>
                      <a:pt x="15" y="25"/>
                    </a:cubicBezTo>
                    <a:cubicBezTo>
                      <a:pt x="14" y="27"/>
                      <a:pt x="9" y="28"/>
                      <a:pt x="7" y="28"/>
                    </a:cubicBezTo>
                    <a:cubicBezTo>
                      <a:pt x="6" y="29"/>
                      <a:pt x="2" y="29"/>
                      <a:pt x="2" y="30"/>
                    </a:cubicBezTo>
                    <a:cubicBezTo>
                      <a:pt x="2" y="31"/>
                      <a:pt x="1" y="31"/>
                      <a:pt x="0" y="31"/>
                    </a:cubicBezTo>
                    <a:cubicBezTo>
                      <a:pt x="1" y="31"/>
                      <a:pt x="1" y="32"/>
                      <a:pt x="1" y="32"/>
                    </a:cubicBezTo>
                    <a:cubicBezTo>
                      <a:pt x="2" y="37"/>
                      <a:pt x="4" y="37"/>
                      <a:pt x="7" y="39"/>
                    </a:cubicBezTo>
                    <a:cubicBezTo>
                      <a:pt x="9" y="41"/>
                      <a:pt x="11" y="43"/>
                      <a:pt x="14" y="43"/>
                    </a:cubicBezTo>
                    <a:cubicBezTo>
                      <a:pt x="16" y="43"/>
                      <a:pt x="20" y="47"/>
                      <a:pt x="21" y="49"/>
                    </a:cubicBezTo>
                    <a:cubicBezTo>
                      <a:pt x="21" y="51"/>
                      <a:pt x="23" y="54"/>
                      <a:pt x="25" y="55"/>
                    </a:cubicBezTo>
                    <a:cubicBezTo>
                      <a:pt x="26" y="56"/>
                      <a:pt x="24" y="60"/>
                      <a:pt x="24" y="63"/>
                    </a:cubicBezTo>
                    <a:cubicBezTo>
                      <a:pt x="24" y="66"/>
                      <a:pt x="21" y="67"/>
                      <a:pt x="23" y="70"/>
                    </a:cubicBezTo>
                    <a:cubicBezTo>
                      <a:pt x="24" y="73"/>
                      <a:pt x="37" y="74"/>
                      <a:pt x="41" y="74"/>
                    </a:cubicBezTo>
                    <a:cubicBezTo>
                      <a:pt x="44" y="74"/>
                      <a:pt x="46" y="78"/>
                      <a:pt x="47" y="78"/>
                    </a:cubicBezTo>
                    <a:cubicBezTo>
                      <a:pt x="49" y="78"/>
                      <a:pt x="49" y="81"/>
                      <a:pt x="52" y="81"/>
                    </a:cubicBezTo>
                    <a:cubicBezTo>
                      <a:pt x="55" y="82"/>
                      <a:pt x="57" y="83"/>
                      <a:pt x="58" y="88"/>
                    </a:cubicBezTo>
                    <a:cubicBezTo>
                      <a:pt x="59" y="93"/>
                      <a:pt x="62" y="94"/>
                      <a:pt x="63" y="96"/>
                    </a:cubicBezTo>
                    <a:cubicBezTo>
                      <a:pt x="63" y="98"/>
                      <a:pt x="69" y="97"/>
                      <a:pt x="73" y="97"/>
                    </a:cubicBezTo>
                    <a:cubicBezTo>
                      <a:pt x="77" y="98"/>
                      <a:pt x="89" y="97"/>
                      <a:pt x="92" y="98"/>
                    </a:cubicBezTo>
                    <a:cubicBezTo>
                      <a:pt x="95" y="98"/>
                      <a:pt x="103" y="98"/>
                      <a:pt x="107" y="101"/>
                    </a:cubicBezTo>
                    <a:cubicBezTo>
                      <a:pt x="111" y="104"/>
                      <a:pt x="113" y="102"/>
                      <a:pt x="116" y="103"/>
                    </a:cubicBezTo>
                    <a:cubicBezTo>
                      <a:pt x="118" y="105"/>
                      <a:pt x="120" y="106"/>
                      <a:pt x="124" y="105"/>
                    </a:cubicBezTo>
                    <a:cubicBezTo>
                      <a:pt x="128" y="105"/>
                      <a:pt x="128" y="108"/>
                      <a:pt x="130" y="108"/>
                    </a:cubicBezTo>
                    <a:cubicBezTo>
                      <a:pt x="133" y="109"/>
                      <a:pt x="137" y="104"/>
                      <a:pt x="144" y="101"/>
                    </a:cubicBezTo>
                    <a:cubicBezTo>
                      <a:pt x="151" y="98"/>
                      <a:pt x="159" y="100"/>
                      <a:pt x="162" y="101"/>
                    </a:cubicBezTo>
                    <a:cubicBezTo>
                      <a:pt x="166" y="101"/>
                      <a:pt x="173" y="99"/>
                      <a:pt x="177" y="94"/>
                    </a:cubicBezTo>
                    <a:cubicBezTo>
                      <a:pt x="181" y="90"/>
                      <a:pt x="186" y="91"/>
                      <a:pt x="187" y="87"/>
                    </a:cubicBezTo>
                    <a:cubicBezTo>
                      <a:pt x="187" y="82"/>
                      <a:pt x="183" y="81"/>
                      <a:pt x="185" y="77"/>
                    </a:cubicBezTo>
                    <a:cubicBezTo>
                      <a:pt x="187" y="74"/>
                      <a:pt x="190" y="74"/>
                      <a:pt x="192" y="75"/>
                    </a:cubicBezTo>
                    <a:cubicBezTo>
                      <a:pt x="194" y="76"/>
                      <a:pt x="200" y="78"/>
                      <a:pt x="205" y="74"/>
                    </a:cubicBezTo>
                    <a:cubicBezTo>
                      <a:pt x="210" y="70"/>
                      <a:pt x="213" y="71"/>
                      <a:pt x="217" y="70"/>
                    </a:cubicBezTo>
                    <a:cubicBezTo>
                      <a:pt x="222" y="70"/>
                      <a:pt x="221" y="67"/>
                      <a:pt x="224" y="64"/>
                    </a:cubicBezTo>
                    <a:cubicBezTo>
                      <a:pt x="228" y="61"/>
                      <a:pt x="231" y="60"/>
                      <a:pt x="234" y="60"/>
                    </a:cubicBezTo>
                    <a:cubicBezTo>
                      <a:pt x="237" y="60"/>
                      <a:pt x="242" y="56"/>
                      <a:pt x="245" y="58"/>
                    </a:cubicBezTo>
                    <a:cubicBezTo>
                      <a:pt x="248" y="59"/>
                      <a:pt x="252" y="59"/>
                      <a:pt x="253" y="56"/>
                    </a:cubicBezTo>
                    <a:cubicBezTo>
                      <a:pt x="253" y="54"/>
                      <a:pt x="245" y="49"/>
                      <a:pt x="243" y="46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6" name="Freeform 52">
                <a:extLst>
                  <a:ext uri="{FF2B5EF4-FFF2-40B4-BE49-F238E27FC236}">
                    <a16:creationId xmlns:a16="http://schemas.microsoft.com/office/drawing/2014/main" id="{E4DCD4BC-3A75-4B90-9281-A1D0DB1FD1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60879" y="3457416"/>
                <a:ext cx="10038" cy="25095"/>
              </a:xfrm>
              <a:custGeom>
                <a:avLst/>
                <a:gdLst>
                  <a:gd name="T0" fmla="*/ 2 w 4"/>
                  <a:gd name="T1" fmla="*/ 0 h 11"/>
                  <a:gd name="T2" fmla="*/ 0 w 4"/>
                  <a:gd name="T3" fmla="*/ 6 h 11"/>
                  <a:gd name="T4" fmla="*/ 3 w 4"/>
                  <a:gd name="T5" fmla="*/ 11 h 11"/>
                  <a:gd name="T6" fmla="*/ 4 w 4"/>
                  <a:gd name="T7" fmla="*/ 1 h 11"/>
                  <a:gd name="T8" fmla="*/ 4 w 4"/>
                  <a:gd name="T9" fmla="*/ 0 h 11"/>
                  <a:gd name="T10" fmla="*/ 2 w 4"/>
                  <a:gd name="T11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11">
                    <a:moveTo>
                      <a:pt x="2" y="0"/>
                    </a:moveTo>
                    <a:cubicBezTo>
                      <a:pt x="1" y="0"/>
                      <a:pt x="0" y="5"/>
                      <a:pt x="0" y="6"/>
                    </a:cubicBezTo>
                    <a:cubicBezTo>
                      <a:pt x="0" y="6"/>
                      <a:pt x="1" y="8"/>
                      <a:pt x="3" y="11"/>
                    </a:cubicBezTo>
                    <a:cubicBezTo>
                      <a:pt x="4" y="7"/>
                      <a:pt x="4" y="2"/>
                      <a:pt x="4" y="1"/>
                    </a:cubicBezTo>
                    <a:cubicBezTo>
                      <a:pt x="4" y="1"/>
                      <a:pt x="4" y="0"/>
                      <a:pt x="4" y="0"/>
                    </a:cubicBezTo>
                    <a:cubicBezTo>
                      <a:pt x="3" y="0"/>
                      <a:pt x="2" y="0"/>
                      <a:pt x="2" y="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7" name="Freeform 53">
                <a:extLst>
                  <a:ext uri="{FF2B5EF4-FFF2-40B4-BE49-F238E27FC236}">
                    <a16:creationId xmlns:a16="http://schemas.microsoft.com/office/drawing/2014/main" id="{43057A79-9A5B-4FDA-B309-765AB68A86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45823" y="3441105"/>
                <a:ext cx="27604" cy="75284"/>
              </a:xfrm>
              <a:custGeom>
                <a:avLst/>
                <a:gdLst>
                  <a:gd name="T0" fmla="*/ 6 w 12"/>
                  <a:gd name="T1" fmla="*/ 33 h 33"/>
                  <a:gd name="T2" fmla="*/ 7 w 12"/>
                  <a:gd name="T3" fmla="*/ 33 h 33"/>
                  <a:gd name="T4" fmla="*/ 9 w 12"/>
                  <a:gd name="T5" fmla="*/ 22 h 33"/>
                  <a:gd name="T6" fmla="*/ 10 w 12"/>
                  <a:gd name="T7" fmla="*/ 18 h 33"/>
                  <a:gd name="T8" fmla="*/ 7 w 12"/>
                  <a:gd name="T9" fmla="*/ 13 h 33"/>
                  <a:gd name="T10" fmla="*/ 9 w 12"/>
                  <a:gd name="T11" fmla="*/ 7 h 33"/>
                  <a:gd name="T12" fmla="*/ 11 w 12"/>
                  <a:gd name="T13" fmla="*/ 7 h 33"/>
                  <a:gd name="T14" fmla="*/ 12 w 12"/>
                  <a:gd name="T15" fmla="*/ 1 h 33"/>
                  <a:gd name="T16" fmla="*/ 8 w 12"/>
                  <a:gd name="T17" fmla="*/ 0 h 33"/>
                  <a:gd name="T18" fmla="*/ 7 w 12"/>
                  <a:gd name="T19" fmla="*/ 3 h 33"/>
                  <a:gd name="T20" fmla="*/ 0 w 12"/>
                  <a:gd name="T21" fmla="*/ 18 h 33"/>
                  <a:gd name="T22" fmla="*/ 6 w 12"/>
                  <a:gd name="T23" fmla="*/ 32 h 33"/>
                  <a:gd name="T24" fmla="*/ 6 w 12"/>
                  <a:gd name="T25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" h="33">
                    <a:moveTo>
                      <a:pt x="6" y="33"/>
                    </a:moveTo>
                    <a:cubicBezTo>
                      <a:pt x="6" y="33"/>
                      <a:pt x="6" y="33"/>
                      <a:pt x="7" y="33"/>
                    </a:cubicBezTo>
                    <a:cubicBezTo>
                      <a:pt x="7" y="28"/>
                      <a:pt x="8" y="23"/>
                      <a:pt x="9" y="22"/>
                    </a:cubicBezTo>
                    <a:cubicBezTo>
                      <a:pt x="10" y="21"/>
                      <a:pt x="10" y="19"/>
                      <a:pt x="10" y="18"/>
                    </a:cubicBezTo>
                    <a:cubicBezTo>
                      <a:pt x="8" y="15"/>
                      <a:pt x="7" y="13"/>
                      <a:pt x="7" y="13"/>
                    </a:cubicBezTo>
                    <a:cubicBezTo>
                      <a:pt x="7" y="12"/>
                      <a:pt x="8" y="7"/>
                      <a:pt x="9" y="7"/>
                    </a:cubicBezTo>
                    <a:cubicBezTo>
                      <a:pt x="9" y="7"/>
                      <a:pt x="10" y="7"/>
                      <a:pt x="11" y="7"/>
                    </a:cubicBezTo>
                    <a:cubicBezTo>
                      <a:pt x="12" y="5"/>
                      <a:pt x="12" y="3"/>
                      <a:pt x="12" y="1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1"/>
                      <a:pt x="7" y="2"/>
                      <a:pt x="7" y="3"/>
                    </a:cubicBezTo>
                    <a:cubicBezTo>
                      <a:pt x="6" y="8"/>
                      <a:pt x="2" y="15"/>
                      <a:pt x="0" y="18"/>
                    </a:cubicBezTo>
                    <a:cubicBezTo>
                      <a:pt x="6" y="32"/>
                      <a:pt x="6" y="32"/>
                      <a:pt x="6" y="32"/>
                    </a:cubicBezTo>
                    <a:lnTo>
                      <a:pt x="6" y="33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8" name="Freeform 54">
                <a:extLst>
                  <a:ext uri="{FF2B5EF4-FFF2-40B4-BE49-F238E27FC236}">
                    <a16:creationId xmlns:a16="http://schemas.microsoft.com/office/drawing/2014/main" id="{20BABA54-239B-42B8-BA6A-A96F6921FA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60879" y="3438596"/>
                <a:ext cx="79048" cy="87831"/>
              </a:xfrm>
              <a:custGeom>
                <a:avLst/>
                <a:gdLst>
                  <a:gd name="T0" fmla="*/ 31 w 34"/>
                  <a:gd name="T1" fmla="*/ 0 h 38"/>
                  <a:gd name="T2" fmla="*/ 21 w 34"/>
                  <a:gd name="T3" fmla="*/ 5 h 38"/>
                  <a:gd name="T4" fmla="*/ 13 w 34"/>
                  <a:gd name="T5" fmla="*/ 9 h 38"/>
                  <a:gd name="T6" fmla="*/ 6 w 34"/>
                  <a:gd name="T7" fmla="*/ 5 h 38"/>
                  <a:gd name="T8" fmla="*/ 5 w 34"/>
                  <a:gd name="T9" fmla="*/ 2 h 38"/>
                  <a:gd name="T10" fmla="*/ 5 w 34"/>
                  <a:gd name="T11" fmla="*/ 2 h 38"/>
                  <a:gd name="T12" fmla="*/ 4 w 34"/>
                  <a:gd name="T13" fmla="*/ 9 h 38"/>
                  <a:gd name="T14" fmla="*/ 2 w 34"/>
                  <a:gd name="T15" fmla="*/ 23 h 38"/>
                  <a:gd name="T16" fmla="*/ 0 w 34"/>
                  <a:gd name="T17" fmla="*/ 34 h 38"/>
                  <a:gd name="T18" fmla="*/ 7 w 34"/>
                  <a:gd name="T19" fmla="*/ 37 h 38"/>
                  <a:gd name="T20" fmla="*/ 13 w 34"/>
                  <a:gd name="T21" fmla="*/ 33 h 38"/>
                  <a:gd name="T22" fmla="*/ 18 w 34"/>
                  <a:gd name="T23" fmla="*/ 30 h 38"/>
                  <a:gd name="T24" fmla="*/ 23 w 34"/>
                  <a:gd name="T25" fmla="*/ 26 h 38"/>
                  <a:gd name="T26" fmla="*/ 17 w 34"/>
                  <a:gd name="T27" fmla="*/ 19 h 38"/>
                  <a:gd name="T28" fmla="*/ 25 w 34"/>
                  <a:gd name="T29" fmla="*/ 14 h 38"/>
                  <a:gd name="T30" fmla="*/ 33 w 34"/>
                  <a:gd name="T31" fmla="*/ 12 h 38"/>
                  <a:gd name="T32" fmla="*/ 34 w 34"/>
                  <a:gd name="T33" fmla="*/ 12 h 38"/>
                  <a:gd name="T34" fmla="*/ 32 w 34"/>
                  <a:gd name="T35" fmla="*/ 4 h 38"/>
                  <a:gd name="T36" fmla="*/ 31 w 34"/>
                  <a:gd name="T37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4" h="38">
                    <a:moveTo>
                      <a:pt x="31" y="0"/>
                    </a:moveTo>
                    <a:cubicBezTo>
                      <a:pt x="26" y="3"/>
                      <a:pt x="22" y="5"/>
                      <a:pt x="21" y="5"/>
                    </a:cubicBezTo>
                    <a:cubicBezTo>
                      <a:pt x="19" y="5"/>
                      <a:pt x="13" y="9"/>
                      <a:pt x="13" y="9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5"/>
                      <a:pt x="4" y="8"/>
                      <a:pt x="4" y="9"/>
                    </a:cubicBezTo>
                    <a:cubicBezTo>
                      <a:pt x="4" y="11"/>
                      <a:pt x="4" y="21"/>
                      <a:pt x="2" y="23"/>
                    </a:cubicBezTo>
                    <a:cubicBezTo>
                      <a:pt x="1" y="24"/>
                      <a:pt x="0" y="29"/>
                      <a:pt x="0" y="34"/>
                    </a:cubicBezTo>
                    <a:cubicBezTo>
                      <a:pt x="2" y="36"/>
                      <a:pt x="5" y="37"/>
                      <a:pt x="7" y="37"/>
                    </a:cubicBezTo>
                    <a:cubicBezTo>
                      <a:pt x="10" y="38"/>
                      <a:pt x="13" y="34"/>
                      <a:pt x="13" y="33"/>
                    </a:cubicBezTo>
                    <a:cubicBezTo>
                      <a:pt x="13" y="31"/>
                      <a:pt x="16" y="30"/>
                      <a:pt x="18" y="30"/>
                    </a:cubicBezTo>
                    <a:cubicBezTo>
                      <a:pt x="21" y="30"/>
                      <a:pt x="21" y="27"/>
                      <a:pt x="23" y="26"/>
                    </a:cubicBezTo>
                    <a:cubicBezTo>
                      <a:pt x="25" y="26"/>
                      <a:pt x="19" y="20"/>
                      <a:pt x="17" y="19"/>
                    </a:cubicBezTo>
                    <a:cubicBezTo>
                      <a:pt x="15" y="19"/>
                      <a:pt x="19" y="15"/>
                      <a:pt x="25" y="14"/>
                    </a:cubicBezTo>
                    <a:cubicBezTo>
                      <a:pt x="31" y="14"/>
                      <a:pt x="30" y="12"/>
                      <a:pt x="33" y="12"/>
                    </a:cubicBezTo>
                    <a:cubicBezTo>
                      <a:pt x="33" y="12"/>
                      <a:pt x="34" y="12"/>
                      <a:pt x="34" y="12"/>
                    </a:cubicBezTo>
                    <a:cubicBezTo>
                      <a:pt x="33" y="9"/>
                      <a:pt x="32" y="6"/>
                      <a:pt x="32" y="4"/>
                    </a:cubicBezTo>
                    <a:cubicBezTo>
                      <a:pt x="31" y="3"/>
                      <a:pt x="31" y="1"/>
                      <a:pt x="31" y="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9" name="Freeform 55">
                <a:extLst>
                  <a:ext uri="{FF2B5EF4-FFF2-40B4-BE49-F238E27FC236}">
                    <a16:creationId xmlns:a16="http://schemas.microsoft.com/office/drawing/2014/main" id="{0CF4CECE-1445-4497-9D66-595B14CACB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9573" y="3226547"/>
                <a:ext cx="202011" cy="87831"/>
              </a:xfrm>
              <a:custGeom>
                <a:avLst/>
                <a:gdLst>
                  <a:gd name="T0" fmla="*/ 81 w 88"/>
                  <a:gd name="T1" fmla="*/ 8 h 38"/>
                  <a:gd name="T2" fmla="*/ 73 w 88"/>
                  <a:gd name="T3" fmla="*/ 5 h 38"/>
                  <a:gd name="T4" fmla="*/ 53 w 88"/>
                  <a:gd name="T5" fmla="*/ 4 h 38"/>
                  <a:gd name="T6" fmla="*/ 42 w 88"/>
                  <a:gd name="T7" fmla="*/ 1 h 38"/>
                  <a:gd name="T8" fmla="*/ 34 w 88"/>
                  <a:gd name="T9" fmla="*/ 4 h 38"/>
                  <a:gd name="T10" fmla="*/ 26 w 88"/>
                  <a:gd name="T11" fmla="*/ 6 h 38"/>
                  <a:gd name="T12" fmla="*/ 15 w 88"/>
                  <a:gd name="T13" fmla="*/ 6 h 38"/>
                  <a:gd name="T14" fmla="*/ 10 w 88"/>
                  <a:gd name="T15" fmla="*/ 11 h 38"/>
                  <a:gd name="T16" fmla="*/ 8 w 88"/>
                  <a:gd name="T17" fmla="*/ 16 h 38"/>
                  <a:gd name="T18" fmla="*/ 11 w 88"/>
                  <a:gd name="T19" fmla="*/ 18 h 38"/>
                  <a:gd name="T20" fmla="*/ 17 w 88"/>
                  <a:gd name="T21" fmla="*/ 18 h 38"/>
                  <a:gd name="T22" fmla="*/ 28 w 88"/>
                  <a:gd name="T23" fmla="*/ 23 h 38"/>
                  <a:gd name="T24" fmla="*/ 25 w 88"/>
                  <a:gd name="T25" fmla="*/ 27 h 38"/>
                  <a:gd name="T26" fmla="*/ 17 w 88"/>
                  <a:gd name="T27" fmla="*/ 29 h 38"/>
                  <a:gd name="T28" fmla="*/ 6 w 88"/>
                  <a:gd name="T29" fmla="*/ 30 h 38"/>
                  <a:gd name="T30" fmla="*/ 0 w 88"/>
                  <a:gd name="T31" fmla="*/ 35 h 38"/>
                  <a:gd name="T32" fmla="*/ 11 w 88"/>
                  <a:gd name="T33" fmla="*/ 36 h 38"/>
                  <a:gd name="T34" fmla="*/ 19 w 88"/>
                  <a:gd name="T35" fmla="*/ 36 h 38"/>
                  <a:gd name="T36" fmla="*/ 25 w 88"/>
                  <a:gd name="T37" fmla="*/ 38 h 38"/>
                  <a:gd name="T38" fmla="*/ 36 w 88"/>
                  <a:gd name="T39" fmla="*/ 37 h 38"/>
                  <a:gd name="T40" fmla="*/ 37 w 88"/>
                  <a:gd name="T41" fmla="*/ 33 h 38"/>
                  <a:gd name="T42" fmla="*/ 41 w 88"/>
                  <a:gd name="T43" fmla="*/ 31 h 38"/>
                  <a:gd name="T44" fmla="*/ 45 w 88"/>
                  <a:gd name="T45" fmla="*/ 28 h 38"/>
                  <a:gd name="T46" fmla="*/ 50 w 88"/>
                  <a:gd name="T47" fmla="*/ 26 h 38"/>
                  <a:gd name="T48" fmla="*/ 55 w 88"/>
                  <a:gd name="T49" fmla="*/ 28 h 38"/>
                  <a:gd name="T50" fmla="*/ 60 w 88"/>
                  <a:gd name="T51" fmla="*/ 25 h 38"/>
                  <a:gd name="T52" fmla="*/ 67 w 88"/>
                  <a:gd name="T53" fmla="*/ 23 h 38"/>
                  <a:gd name="T54" fmla="*/ 73 w 88"/>
                  <a:gd name="T55" fmla="*/ 19 h 38"/>
                  <a:gd name="T56" fmla="*/ 80 w 88"/>
                  <a:gd name="T57" fmla="*/ 15 h 38"/>
                  <a:gd name="T58" fmla="*/ 87 w 88"/>
                  <a:gd name="T59" fmla="*/ 12 h 38"/>
                  <a:gd name="T60" fmla="*/ 88 w 88"/>
                  <a:gd name="T61" fmla="*/ 10 h 38"/>
                  <a:gd name="T62" fmla="*/ 81 w 88"/>
                  <a:gd name="T63" fmla="*/ 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88" h="38">
                    <a:moveTo>
                      <a:pt x="81" y="8"/>
                    </a:moveTo>
                    <a:cubicBezTo>
                      <a:pt x="78" y="4"/>
                      <a:pt x="77" y="6"/>
                      <a:pt x="73" y="5"/>
                    </a:cubicBezTo>
                    <a:cubicBezTo>
                      <a:pt x="70" y="4"/>
                      <a:pt x="55" y="3"/>
                      <a:pt x="53" y="4"/>
                    </a:cubicBezTo>
                    <a:cubicBezTo>
                      <a:pt x="50" y="5"/>
                      <a:pt x="44" y="2"/>
                      <a:pt x="42" y="1"/>
                    </a:cubicBezTo>
                    <a:cubicBezTo>
                      <a:pt x="40" y="0"/>
                      <a:pt x="34" y="1"/>
                      <a:pt x="34" y="4"/>
                    </a:cubicBezTo>
                    <a:cubicBezTo>
                      <a:pt x="33" y="8"/>
                      <a:pt x="31" y="8"/>
                      <a:pt x="26" y="6"/>
                    </a:cubicBezTo>
                    <a:cubicBezTo>
                      <a:pt x="22" y="3"/>
                      <a:pt x="16" y="3"/>
                      <a:pt x="15" y="6"/>
                    </a:cubicBezTo>
                    <a:cubicBezTo>
                      <a:pt x="15" y="8"/>
                      <a:pt x="12" y="11"/>
                      <a:pt x="10" y="11"/>
                    </a:cubicBezTo>
                    <a:cubicBezTo>
                      <a:pt x="10" y="12"/>
                      <a:pt x="9" y="14"/>
                      <a:pt x="8" y="16"/>
                    </a:cubicBezTo>
                    <a:cubicBezTo>
                      <a:pt x="9" y="16"/>
                      <a:pt x="10" y="17"/>
                      <a:pt x="11" y="18"/>
                    </a:cubicBezTo>
                    <a:cubicBezTo>
                      <a:pt x="13" y="20"/>
                      <a:pt x="17" y="20"/>
                      <a:pt x="17" y="18"/>
                    </a:cubicBezTo>
                    <a:cubicBezTo>
                      <a:pt x="18" y="16"/>
                      <a:pt x="25" y="20"/>
                      <a:pt x="28" y="23"/>
                    </a:cubicBezTo>
                    <a:cubicBezTo>
                      <a:pt x="32" y="26"/>
                      <a:pt x="27" y="24"/>
                      <a:pt x="25" y="27"/>
                    </a:cubicBezTo>
                    <a:cubicBezTo>
                      <a:pt x="23" y="31"/>
                      <a:pt x="19" y="27"/>
                      <a:pt x="17" y="29"/>
                    </a:cubicBezTo>
                    <a:cubicBezTo>
                      <a:pt x="16" y="30"/>
                      <a:pt x="8" y="31"/>
                      <a:pt x="6" y="30"/>
                    </a:cubicBezTo>
                    <a:cubicBezTo>
                      <a:pt x="3" y="30"/>
                      <a:pt x="0" y="33"/>
                      <a:pt x="0" y="35"/>
                    </a:cubicBezTo>
                    <a:cubicBezTo>
                      <a:pt x="0" y="37"/>
                      <a:pt x="8" y="34"/>
                      <a:pt x="11" y="36"/>
                    </a:cubicBezTo>
                    <a:cubicBezTo>
                      <a:pt x="14" y="38"/>
                      <a:pt x="17" y="34"/>
                      <a:pt x="19" y="36"/>
                    </a:cubicBezTo>
                    <a:cubicBezTo>
                      <a:pt x="20" y="38"/>
                      <a:pt x="24" y="37"/>
                      <a:pt x="25" y="38"/>
                    </a:cubicBezTo>
                    <a:cubicBezTo>
                      <a:pt x="27" y="38"/>
                      <a:pt x="36" y="37"/>
                      <a:pt x="36" y="37"/>
                    </a:cubicBezTo>
                    <a:cubicBezTo>
                      <a:pt x="37" y="36"/>
                      <a:pt x="37" y="34"/>
                      <a:pt x="37" y="33"/>
                    </a:cubicBezTo>
                    <a:cubicBezTo>
                      <a:pt x="37" y="31"/>
                      <a:pt x="39" y="31"/>
                      <a:pt x="41" y="31"/>
                    </a:cubicBezTo>
                    <a:cubicBezTo>
                      <a:pt x="42" y="30"/>
                      <a:pt x="44" y="28"/>
                      <a:pt x="45" y="28"/>
                    </a:cubicBezTo>
                    <a:cubicBezTo>
                      <a:pt x="47" y="28"/>
                      <a:pt x="48" y="26"/>
                      <a:pt x="50" y="26"/>
                    </a:cubicBezTo>
                    <a:cubicBezTo>
                      <a:pt x="51" y="27"/>
                      <a:pt x="53" y="29"/>
                      <a:pt x="55" y="28"/>
                    </a:cubicBezTo>
                    <a:cubicBezTo>
                      <a:pt x="57" y="26"/>
                      <a:pt x="57" y="28"/>
                      <a:pt x="60" y="25"/>
                    </a:cubicBezTo>
                    <a:cubicBezTo>
                      <a:pt x="62" y="22"/>
                      <a:pt x="64" y="22"/>
                      <a:pt x="67" y="23"/>
                    </a:cubicBezTo>
                    <a:cubicBezTo>
                      <a:pt x="71" y="23"/>
                      <a:pt x="72" y="21"/>
                      <a:pt x="73" y="19"/>
                    </a:cubicBezTo>
                    <a:cubicBezTo>
                      <a:pt x="75" y="17"/>
                      <a:pt x="78" y="17"/>
                      <a:pt x="80" y="15"/>
                    </a:cubicBezTo>
                    <a:cubicBezTo>
                      <a:pt x="82" y="14"/>
                      <a:pt x="86" y="12"/>
                      <a:pt x="87" y="12"/>
                    </a:cubicBezTo>
                    <a:cubicBezTo>
                      <a:pt x="87" y="12"/>
                      <a:pt x="88" y="11"/>
                      <a:pt x="88" y="10"/>
                    </a:cubicBezTo>
                    <a:cubicBezTo>
                      <a:pt x="85" y="8"/>
                      <a:pt x="83" y="11"/>
                      <a:pt x="81" y="8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0" name="Freeform 56">
                <a:extLst>
                  <a:ext uri="{FF2B5EF4-FFF2-40B4-BE49-F238E27FC236}">
                    <a16:creationId xmlns:a16="http://schemas.microsoft.com/office/drawing/2014/main" id="{167C9983-CE57-4F8C-A492-E713F060F6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53729" y="3217764"/>
                <a:ext cx="129237" cy="57717"/>
              </a:xfrm>
              <a:custGeom>
                <a:avLst/>
                <a:gdLst>
                  <a:gd name="T0" fmla="*/ 22 w 56"/>
                  <a:gd name="T1" fmla="*/ 19 h 25"/>
                  <a:gd name="T2" fmla="*/ 27 w 56"/>
                  <a:gd name="T3" fmla="*/ 24 h 25"/>
                  <a:gd name="T4" fmla="*/ 28 w 56"/>
                  <a:gd name="T5" fmla="*/ 24 h 25"/>
                  <a:gd name="T6" fmla="*/ 36 w 56"/>
                  <a:gd name="T7" fmla="*/ 23 h 25"/>
                  <a:gd name="T8" fmla="*/ 43 w 56"/>
                  <a:gd name="T9" fmla="*/ 23 h 25"/>
                  <a:gd name="T10" fmla="*/ 43 w 56"/>
                  <a:gd name="T11" fmla="*/ 21 h 25"/>
                  <a:gd name="T12" fmla="*/ 48 w 56"/>
                  <a:gd name="T13" fmla="*/ 23 h 25"/>
                  <a:gd name="T14" fmla="*/ 54 w 56"/>
                  <a:gd name="T15" fmla="*/ 24 h 25"/>
                  <a:gd name="T16" fmla="*/ 52 w 56"/>
                  <a:gd name="T17" fmla="*/ 20 h 25"/>
                  <a:gd name="T18" fmla="*/ 53 w 56"/>
                  <a:gd name="T19" fmla="*/ 17 h 25"/>
                  <a:gd name="T20" fmla="*/ 48 w 56"/>
                  <a:gd name="T21" fmla="*/ 15 h 25"/>
                  <a:gd name="T22" fmla="*/ 46 w 56"/>
                  <a:gd name="T23" fmla="*/ 10 h 25"/>
                  <a:gd name="T24" fmla="*/ 43 w 56"/>
                  <a:gd name="T25" fmla="*/ 9 h 25"/>
                  <a:gd name="T26" fmla="*/ 35 w 56"/>
                  <a:gd name="T27" fmla="*/ 10 h 25"/>
                  <a:gd name="T28" fmla="*/ 30 w 56"/>
                  <a:gd name="T29" fmla="*/ 7 h 25"/>
                  <a:gd name="T30" fmla="*/ 25 w 56"/>
                  <a:gd name="T31" fmla="*/ 4 h 25"/>
                  <a:gd name="T32" fmla="*/ 12 w 56"/>
                  <a:gd name="T33" fmla="*/ 3 h 25"/>
                  <a:gd name="T34" fmla="*/ 3 w 56"/>
                  <a:gd name="T35" fmla="*/ 0 h 25"/>
                  <a:gd name="T36" fmla="*/ 0 w 56"/>
                  <a:gd name="T37" fmla="*/ 1 h 25"/>
                  <a:gd name="T38" fmla="*/ 12 w 56"/>
                  <a:gd name="T39" fmla="*/ 8 h 25"/>
                  <a:gd name="T40" fmla="*/ 15 w 56"/>
                  <a:gd name="T41" fmla="*/ 17 h 25"/>
                  <a:gd name="T42" fmla="*/ 13 w 56"/>
                  <a:gd name="T43" fmla="*/ 19 h 25"/>
                  <a:gd name="T44" fmla="*/ 22 w 56"/>
                  <a:gd name="T45" fmla="*/ 19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56" h="25">
                    <a:moveTo>
                      <a:pt x="22" y="19"/>
                    </a:moveTo>
                    <a:cubicBezTo>
                      <a:pt x="24" y="18"/>
                      <a:pt x="25" y="21"/>
                      <a:pt x="27" y="24"/>
                    </a:cubicBezTo>
                    <a:cubicBezTo>
                      <a:pt x="28" y="24"/>
                      <a:pt x="28" y="24"/>
                      <a:pt x="28" y="24"/>
                    </a:cubicBezTo>
                    <a:cubicBezTo>
                      <a:pt x="31" y="24"/>
                      <a:pt x="33" y="23"/>
                      <a:pt x="36" y="23"/>
                    </a:cubicBezTo>
                    <a:cubicBezTo>
                      <a:pt x="38" y="22"/>
                      <a:pt x="41" y="23"/>
                      <a:pt x="43" y="23"/>
                    </a:cubicBezTo>
                    <a:cubicBezTo>
                      <a:pt x="43" y="23"/>
                      <a:pt x="42" y="22"/>
                      <a:pt x="43" y="21"/>
                    </a:cubicBezTo>
                    <a:cubicBezTo>
                      <a:pt x="43" y="20"/>
                      <a:pt x="47" y="22"/>
                      <a:pt x="48" y="23"/>
                    </a:cubicBezTo>
                    <a:cubicBezTo>
                      <a:pt x="49" y="24"/>
                      <a:pt x="53" y="25"/>
                      <a:pt x="54" y="24"/>
                    </a:cubicBezTo>
                    <a:cubicBezTo>
                      <a:pt x="56" y="22"/>
                      <a:pt x="52" y="21"/>
                      <a:pt x="52" y="20"/>
                    </a:cubicBezTo>
                    <a:cubicBezTo>
                      <a:pt x="51" y="19"/>
                      <a:pt x="52" y="18"/>
                      <a:pt x="53" y="17"/>
                    </a:cubicBezTo>
                    <a:cubicBezTo>
                      <a:pt x="51" y="16"/>
                      <a:pt x="49" y="14"/>
                      <a:pt x="48" y="15"/>
                    </a:cubicBezTo>
                    <a:cubicBezTo>
                      <a:pt x="47" y="15"/>
                      <a:pt x="47" y="10"/>
                      <a:pt x="46" y="10"/>
                    </a:cubicBezTo>
                    <a:cubicBezTo>
                      <a:pt x="44" y="10"/>
                      <a:pt x="44" y="9"/>
                      <a:pt x="43" y="9"/>
                    </a:cubicBezTo>
                    <a:cubicBezTo>
                      <a:pt x="42" y="9"/>
                      <a:pt x="36" y="9"/>
                      <a:pt x="35" y="10"/>
                    </a:cubicBezTo>
                    <a:cubicBezTo>
                      <a:pt x="33" y="11"/>
                      <a:pt x="32" y="7"/>
                      <a:pt x="30" y="7"/>
                    </a:cubicBezTo>
                    <a:cubicBezTo>
                      <a:pt x="28" y="7"/>
                      <a:pt x="26" y="5"/>
                      <a:pt x="25" y="4"/>
                    </a:cubicBezTo>
                    <a:cubicBezTo>
                      <a:pt x="24" y="2"/>
                      <a:pt x="15" y="5"/>
                      <a:pt x="12" y="3"/>
                    </a:cubicBezTo>
                    <a:cubicBezTo>
                      <a:pt x="10" y="1"/>
                      <a:pt x="5" y="0"/>
                      <a:pt x="3" y="0"/>
                    </a:cubicBezTo>
                    <a:cubicBezTo>
                      <a:pt x="2" y="0"/>
                      <a:pt x="1" y="1"/>
                      <a:pt x="0" y="1"/>
                    </a:cubicBezTo>
                    <a:cubicBezTo>
                      <a:pt x="4" y="4"/>
                      <a:pt x="11" y="3"/>
                      <a:pt x="12" y="8"/>
                    </a:cubicBezTo>
                    <a:cubicBezTo>
                      <a:pt x="13" y="14"/>
                      <a:pt x="16" y="12"/>
                      <a:pt x="15" y="17"/>
                    </a:cubicBezTo>
                    <a:cubicBezTo>
                      <a:pt x="15" y="18"/>
                      <a:pt x="14" y="19"/>
                      <a:pt x="13" y="19"/>
                    </a:cubicBezTo>
                    <a:cubicBezTo>
                      <a:pt x="17" y="20"/>
                      <a:pt x="21" y="20"/>
                      <a:pt x="22" y="1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1" name="Freeform 57">
                <a:extLst>
                  <a:ext uri="{FF2B5EF4-FFF2-40B4-BE49-F238E27FC236}">
                    <a16:creationId xmlns:a16="http://schemas.microsoft.com/office/drawing/2014/main" id="{1FEF9A44-D5E5-4FCD-B0EA-25B748A2A1C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95256" y="3249132"/>
                <a:ext cx="350069" cy="136765"/>
              </a:xfrm>
              <a:custGeom>
                <a:avLst/>
                <a:gdLst>
                  <a:gd name="T0" fmla="*/ 147 w 152"/>
                  <a:gd name="T1" fmla="*/ 41 h 59"/>
                  <a:gd name="T2" fmla="*/ 147 w 152"/>
                  <a:gd name="T3" fmla="*/ 33 h 59"/>
                  <a:gd name="T4" fmla="*/ 147 w 152"/>
                  <a:gd name="T5" fmla="*/ 26 h 59"/>
                  <a:gd name="T6" fmla="*/ 149 w 152"/>
                  <a:gd name="T7" fmla="*/ 22 h 59"/>
                  <a:gd name="T8" fmla="*/ 148 w 152"/>
                  <a:gd name="T9" fmla="*/ 19 h 59"/>
                  <a:gd name="T10" fmla="*/ 142 w 152"/>
                  <a:gd name="T11" fmla="*/ 17 h 59"/>
                  <a:gd name="T12" fmla="*/ 139 w 152"/>
                  <a:gd name="T13" fmla="*/ 10 h 59"/>
                  <a:gd name="T14" fmla="*/ 134 w 152"/>
                  <a:gd name="T15" fmla="*/ 5 h 59"/>
                  <a:gd name="T16" fmla="*/ 125 w 152"/>
                  <a:gd name="T17" fmla="*/ 5 h 59"/>
                  <a:gd name="T18" fmla="*/ 110 w 152"/>
                  <a:gd name="T19" fmla="*/ 10 h 59"/>
                  <a:gd name="T20" fmla="*/ 96 w 152"/>
                  <a:gd name="T21" fmla="*/ 11 h 59"/>
                  <a:gd name="T22" fmla="*/ 87 w 152"/>
                  <a:gd name="T23" fmla="*/ 8 h 59"/>
                  <a:gd name="T24" fmla="*/ 80 w 152"/>
                  <a:gd name="T25" fmla="*/ 4 h 59"/>
                  <a:gd name="T26" fmla="*/ 68 w 152"/>
                  <a:gd name="T27" fmla="*/ 1 h 59"/>
                  <a:gd name="T28" fmla="*/ 43 w 152"/>
                  <a:gd name="T29" fmla="*/ 9 h 59"/>
                  <a:gd name="T30" fmla="*/ 26 w 152"/>
                  <a:gd name="T31" fmla="*/ 10 h 59"/>
                  <a:gd name="T32" fmla="*/ 22 w 152"/>
                  <a:gd name="T33" fmla="*/ 16 h 59"/>
                  <a:gd name="T34" fmla="*/ 5 w 152"/>
                  <a:gd name="T35" fmla="*/ 17 h 59"/>
                  <a:gd name="T36" fmla="*/ 3 w 152"/>
                  <a:gd name="T37" fmla="*/ 23 h 59"/>
                  <a:gd name="T38" fmla="*/ 7 w 152"/>
                  <a:gd name="T39" fmla="*/ 25 h 59"/>
                  <a:gd name="T40" fmla="*/ 7 w 152"/>
                  <a:gd name="T41" fmla="*/ 31 h 59"/>
                  <a:gd name="T42" fmla="*/ 7 w 152"/>
                  <a:gd name="T43" fmla="*/ 37 h 59"/>
                  <a:gd name="T44" fmla="*/ 7 w 152"/>
                  <a:gd name="T45" fmla="*/ 41 h 59"/>
                  <a:gd name="T46" fmla="*/ 12 w 152"/>
                  <a:gd name="T47" fmla="*/ 46 h 59"/>
                  <a:gd name="T48" fmla="*/ 17 w 152"/>
                  <a:gd name="T49" fmla="*/ 49 h 59"/>
                  <a:gd name="T50" fmla="*/ 21 w 152"/>
                  <a:gd name="T51" fmla="*/ 50 h 59"/>
                  <a:gd name="T52" fmla="*/ 26 w 152"/>
                  <a:gd name="T53" fmla="*/ 55 h 59"/>
                  <a:gd name="T54" fmla="*/ 36 w 152"/>
                  <a:gd name="T55" fmla="*/ 53 h 59"/>
                  <a:gd name="T56" fmla="*/ 43 w 152"/>
                  <a:gd name="T57" fmla="*/ 50 h 59"/>
                  <a:gd name="T58" fmla="*/ 54 w 152"/>
                  <a:gd name="T59" fmla="*/ 57 h 59"/>
                  <a:gd name="T60" fmla="*/ 62 w 152"/>
                  <a:gd name="T61" fmla="*/ 55 h 59"/>
                  <a:gd name="T62" fmla="*/ 69 w 152"/>
                  <a:gd name="T63" fmla="*/ 50 h 59"/>
                  <a:gd name="T64" fmla="*/ 76 w 152"/>
                  <a:gd name="T65" fmla="*/ 52 h 59"/>
                  <a:gd name="T66" fmla="*/ 82 w 152"/>
                  <a:gd name="T67" fmla="*/ 50 h 59"/>
                  <a:gd name="T68" fmla="*/ 80 w 152"/>
                  <a:gd name="T69" fmla="*/ 57 h 59"/>
                  <a:gd name="T70" fmla="*/ 80 w 152"/>
                  <a:gd name="T71" fmla="*/ 59 h 59"/>
                  <a:gd name="T72" fmla="*/ 85 w 152"/>
                  <a:gd name="T73" fmla="*/ 54 h 59"/>
                  <a:gd name="T74" fmla="*/ 88 w 152"/>
                  <a:gd name="T75" fmla="*/ 52 h 59"/>
                  <a:gd name="T76" fmla="*/ 95 w 152"/>
                  <a:gd name="T77" fmla="*/ 52 h 59"/>
                  <a:gd name="T78" fmla="*/ 100 w 152"/>
                  <a:gd name="T79" fmla="*/ 51 h 59"/>
                  <a:gd name="T80" fmla="*/ 109 w 152"/>
                  <a:gd name="T81" fmla="*/ 51 h 59"/>
                  <a:gd name="T82" fmla="*/ 120 w 152"/>
                  <a:gd name="T83" fmla="*/ 48 h 59"/>
                  <a:gd name="T84" fmla="*/ 129 w 152"/>
                  <a:gd name="T85" fmla="*/ 47 h 59"/>
                  <a:gd name="T86" fmla="*/ 132 w 152"/>
                  <a:gd name="T87" fmla="*/ 48 h 59"/>
                  <a:gd name="T88" fmla="*/ 136 w 152"/>
                  <a:gd name="T89" fmla="*/ 45 h 59"/>
                  <a:gd name="T90" fmla="*/ 143 w 152"/>
                  <a:gd name="T91" fmla="*/ 46 h 59"/>
                  <a:gd name="T92" fmla="*/ 151 w 152"/>
                  <a:gd name="T93" fmla="*/ 48 h 59"/>
                  <a:gd name="T94" fmla="*/ 147 w 152"/>
                  <a:gd name="T95" fmla="*/ 41 h 59"/>
                  <a:gd name="T96" fmla="*/ 14 w 152"/>
                  <a:gd name="T97" fmla="*/ 11 h 59"/>
                  <a:gd name="T98" fmla="*/ 24 w 152"/>
                  <a:gd name="T99" fmla="*/ 10 h 59"/>
                  <a:gd name="T100" fmla="*/ 18 w 152"/>
                  <a:gd name="T101" fmla="*/ 5 h 59"/>
                  <a:gd name="T102" fmla="*/ 16 w 152"/>
                  <a:gd name="T103" fmla="*/ 1 h 59"/>
                  <a:gd name="T104" fmla="*/ 13 w 152"/>
                  <a:gd name="T105" fmla="*/ 1 h 59"/>
                  <a:gd name="T106" fmla="*/ 5 w 152"/>
                  <a:gd name="T107" fmla="*/ 1 h 59"/>
                  <a:gd name="T108" fmla="*/ 6 w 152"/>
                  <a:gd name="T109" fmla="*/ 7 h 59"/>
                  <a:gd name="T110" fmla="*/ 3 w 152"/>
                  <a:gd name="T111" fmla="*/ 10 h 59"/>
                  <a:gd name="T112" fmla="*/ 1 w 152"/>
                  <a:gd name="T113" fmla="*/ 13 h 59"/>
                  <a:gd name="T114" fmla="*/ 6 w 152"/>
                  <a:gd name="T115" fmla="*/ 15 h 59"/>
                  <a:gd name="T116" fmla="*/ 14 w 152"/>
                  <a:gd name="T117" fmla="*/ 11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52" h="59">
                    <a:moveTo>
                      <a:pt x="147" y="41"/>
                    </a:moveTo>
                    <a:cubicBezTo>
                      <a:pt x="146" y="41"/>
                      <a:pt x="148" y="34"/>
                      <a:pt x="147" y="33"/>
                    </a:cubicBezTo>
                    <a:cubicBezTo>
                      <a:pt x="147" y="32"/>
                      <a:pt x="145" y="26"/>
                      <a:pt x="147" y="26"/>
                    </a:cubicBezTo>
                    <a:cubicBezTo>
                      <a:pt x="149" y="26"/>
                      <a:pt x="147" y="22"/>
                      <a:pt x="149" y="22"/>
                    </a:cubicBezTo>
                    <a:cubicBezTo>
                      <a:pt x="149" y="21"/>
                      <a:pt x="148" y="20"/>
                      <a:pt x="148" y="19"/>
                    </a:cubicBezTo>
                    <a:cubicBezTo>
                      <a:pt x="147" y="18"/>
                      <a:pt x="143" y="20"/>
                      <a:pt x="142" y="17"/>
                    </a:cubicBezTo>
                    <a:cubicBezTo>
                      <a:pt x="140" y="13"/>
                      <a:pt x="142" y="12"/>
                      <a:pt x="139" y="10"/>
                    </a:cubicBezTo>
                    <a:cubicBezTo>
                      <a:pt x="137" y="7"/>
                      <a:pt x="136" y="4"/>
                      <a:pt x="134" y="5"/>
                    </a:cubicBezTo>
                    <a:cubicBezTo>
                      <a:pt x="133" y="6"/>
                      <a:pt x="129" y="6"/>
                      <a:pt x="125" y="5"/>
                    </a:cubicBezTo>
                    <a:cubicBezTo>
                      <a:pt x="121" y="9"/>
                      <a:pt x="113" y="11"/>
                      <a:pt x="110" y="10"/>
                    </a:cubicBezTo>
                    <a:cubicBezTo>
                      <a:pt x="107" y="9"/>
                      <a:pt x="101" y="11"/>
                      <a:pt x="96" y="11"/>
                    </a:cubicBezTo>
                    <a:cubicBezTo>
                      <a:pt x="92" y="11"/>
                      <a:pt x="90" y="7"/>
                      <a:pt x="87" y="8"/>
                    </a:cubicBezTo>
                    <a:cubicBezTo>
                      <a:pt x="83" y="8"/>
                      <a:pt x="83" y="4"/>
                      <a:pt x="80" y="4"/>
                    </a:cubicBezTo>
                    <a:cubicBezTo>
                      <a:pt x="76" y="4"/>
                      <a:pt x="79" y="3"/>
                      <a:pt x="68" y="1"/>
                    </a:cubicBezTo>
                    <a:cubicBezTo>
                      <a:pt x="57" y="0"/>
                      <a:pt x="47" y="6"/>
                      <a:pt x="43" y="9"/>
                    </a:cubicBezTo>
                    <a:cubicBezTo>
                      <a:pt x="40" y="12"/>
                      <a:pt x="27" y="9"/>
                      <a:pt x="26" y="10"/>
                    </a:cubicBezTo>
                    <a:cubicBezTo>
                      <a:pt x="25" y="10"/>
                      <a:pt x="26" y="14"/>
                      <a:pt x="22" y="16"/>
                    </a:cubicBezTo>
                    <a:cubicBezTo>
                      <a:pt x="17" y="17"/>
                      <a:pt x="8" y="16"/>
                      <a:pt x="5" y="17"/>
                    </a:cubicBezTo>
                    <a:cubicBezTo>
                      <a:pt x="2" y="19"/>
                      <a:pt x="0" y="23"/>
                      <a:pt x="3" y="23"/>
                    </a:cubicBezTo>
                    <a:cubicBezTo>
                      <a:pt x="6" y="23"/>
                      <a:pt x="7" y="24"/>
                      <a:pt x="7" y="25"/>
                    </a:cubicBezTo>
                    <a:cubicBezTo>
                      <a:pt x="6" y="27"/>
                      <a:pt x="9" y="30"/>
                      <a:pt x="7" y="31"/>
                    </a:cubicBezTo>
                    <a:cubicBezTo>
                      <a:pt x="6" y="33"/>
                      <a:pt x="6" y="36"/>
                      <a:pt x="7" y="37"/>
                    </a:cubicBezTo>
                    <a:cubicBezTo>
                      <a:pt x="9" y="38"/>
                      <a:pt x="10" y="41"/>
                      <a:pt x="7" y="41"/>
                    </a:cubicBezTo>
                    <a:cubicBezTo>
                      <a:pt x="5" y="42"/>
                      <a:pt x="11" y="44"/>
                      <a:pt x="12" y="46"/>
                    </a:cubicBezTo>
                    <a:cubicBezTo>
                      <a:pt x="12" y="47"/>
                      <a:pt x="17" y="47"/>
                      <a:pt x="17" y="49"/>
                    </a:cubicBezTo>
                    <a:cubicBezTo>
                      <a:pt x="17" y="50"/>
                      <a:pt x="18" y="51"/>
                      <a:pt x="21" y="50"/>
                    </a:cubicBezTo>
                    <a:cubicBezTo>
                      <a:pt x="23" y="49"/>
                      <a:pt x="24" y="53"/>
                      <a:pt x="26" y="55"/>
                    </a:cubicBezTo>
                    <a:cubicBezTo>
                      <a:pt x="27" y="57"/>
                      <a:pt x="36" y="56"/>
                      <a:pt x="36" y="53"/>
                    </a:cubicBezTo>
                    <a:cubicBezTo>
                      <a:pt x="36" y="51"/>
                      <a:pt x="39" y="50"/>
                      <a:pt x="43" y="50"/>
                    </a:cubicBezTo>
                    <a:cubicBezTo>
                      <a:pt x="47" y="51"/>
                      <a:pt x="52" y="56"/>
                      <a:pt x="54" y="57"/>
                    </a:cubicBezTo>
                    <a:cubicBezTo>
                      <a:pt x="56" y="57"/>
                      <a:pt x="59" y="55"/>
                      <a:pt x="62" y="55"/>
                    </a:cubicBezTo>
                    <a:cubicBezTo>
                      <a:pt x="64" y="55"/>
                      <a:pt x="68" y="51"/>
                      <a:pt x="69" y="50"/>
                    </a:cubicBezTo>
                    <a:cubicBezTo>
                      <a:pt x="71" y="50"/>
                      <a:pt x="73" y="53"/>
                      <a:pt x="76" y="52"/>
                    </a:cubicBezTo>
                    <a:cubicBezTo>
                      <a:pt x="78" y="51"/>
                      <a:pt x="80" y="49"/>
                      <a:pt x="82" y="50"/>
                    </a:cubicBezTo>
                    <a:cubicBezTo>
                      <a:pt x="83" y="51"/>
                      <a:pt x="78" y="55"/>
                      <a:pt x="80" y="57"/>
                    </a:cubicBezTo>
                    <a:cubicBezTo>
                      <a:pt x="80" y="57"/>
                      <a:pt x="80" y="58"/>
                      <a:pt x="80" y="59"/>
                    </a:cubicBezTo>
                    <a:cubicBezTo>
                      <a:pt x="85" y="59"/>
                      <a:pt x="84" y="55"/>
                      <a:pt x="85" y="54"/>
                    </a:cubicBezTo>
                    <a:cubicBezTo>
                      <a:pt x="85" y="52"/>
                      <a:pt x="86" y="51"/>
                      <a:pt x="88" y="52"/>
                    </a:cubicBezTo>
                    <a:cubicBezTo>
                      <a:pt x="89" y="53"/>
                      <a:pt x="92" y="54"/>
                      <a:pt x="95" y="52"/>
                    </a:cubicBezTo>
                    <a:cubicBezTo>
                      <a:pt x="99" y="50"/>
                      <a:pt x="99" y="49"/>
                      <a:pt x="100" y="51"/>
                    </a:cubicBezTo>
                    <a:cubicBezTo>
                      <a:pt x="101" y="53"/>
                      <a:pt x="104" y="51"/>
                      <a:pt x="109" y="51"/>
                    </a:cubicBezTo>
                    <a:cubicBezTo>
                      <a:pt x="114" y="51"/>
                      <a:pt x="115" y="48"/>
                      <a:pt x="120" y="48"/>
                    </a:cubicBezTo>
                    <a:cubicBezTo>
                      <a:pt x="125" y="48"/>
                      <a:pt x="129" y="47"/>
                      <a:pt x="129" y="47"/>
                    </a:cubicBezTo>
                    <a:cubicBezTo>
                      <a:pt x="132" y="48"/>
                      <a:pt x="132" y="48"/>
                      <a:pt x="132" y="48"/>
                    </a:cubicBezTo>
                    <a:cubicBezTo>
                      <a:pt x="133" y="47"/>
                      <a:pt x="133" y="45"/>
                      <a:pt x="136" y="45"/>
                    </a:cubicBezTo>
                    <a:cubicBezTo>
                      <a:pt x="139" y="45"/>
                      <a:pt x="141" y="47"/>
                      <a:pt x="143" y="46"/>
                    </a:cubicBezTo>
                    <a:cubicBezTo>
                      <a:pt x="145" y="46"/>
                      <a:pt x="151" y="52"/>
                      <a:pt x="151" y="48"/>
                    </a:cubicBezTo>
                    <a:cubicBezTo>
                      <a:pt x="152" y="47"/>
                      <a:pt x="149" y="42"/>
                      <a:pt x="147" y="41"/>
                    </a:cubicBezTo>
                    <a:close/>
                    <a:moveTo>
                      <a:pt x="14" y="11"/>
                    </a:moveTo>
                    <a:cubicBezTo>
                      <a:pt x="16" y="10"/>
                      <a:pt x="23" y="11"/>
                      <a:pt x="24" y="10"/>
                    </a:cubicBezTo>
                    <a:cubicBezTo>
                      <a:pt x="26" y="8"/>
                      <a:pt x="20" y="7"/>
                      <a:pt x="18" y="5"/>
                    </a:cubicBezTo>
                    <a:cubicBezTo>
                      <a:pt x="17" y="4"/>
                      <a:pt x="17" y="2"/>
                      <a:pt x="16" y="1"/>
                    </a:cubicBezTo>
                    <a:cubicBezTo>
                      <a:pt x="15" y="1"/>
                      <a:pt x="14" y="2"/>
                      <a:pt x="13" y="1"/>
                    </a:cubicBezTo>
                    <a:cubicBezTo>
                      <a:pt x="11" y="0"/>
                      <a:pt x="6" y="1"/>
                      <a:pt x="5" y="1"/>
                    </a:cubicBezTo>
                    <a:cubicBezTo>
                      <a:pt x="4" y="2"/>
                      <a:pt x="6" y="5"/>
                      <a:pt x="6" y="7"/>
                    </a:cubicBezTo>
                    <a:cubicBezTo>
                      <a:pt x="6" y="9"/>
                      <a:pt x="3" y="9"/>
                      <a:pt x="3" y="10"/>
                    </a:cubicBezTo>
                    <a:cubicBezTo>
                      <a:pt x="3" y="11"/>
                      <a:pt x="2" y="12"/>
                      <a:pt x="1" y="13"/>
                    </a:cubicBezTo>
                    <a:cubicBezTo>
                      <a:pt x="3" y="14"/>
                      <a:pt x="4" y="15"/>
                      <a:pt x="6" y="15"/>
                    </a:cubicBezTo>
                    <a:cubicBezTo>
                      <a:pt x="9" y="15"/>
                      <a:pt x="11" y="12"/>
                      <a:pt x="14" y="1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2" name="Freeform 58">
                <a:extLst>
                  <a:ext uri="{FF2B5EF4-FFF2-40B4-BE49-F238E27FC236}">
                    <a16:creationId xmlns:a16="http://schemas.microsoft.com/office/drawing/2014/main" id="{27941950-983A-460E-8858-110F525BB7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67668" y="3388407"/>
                <a:ext cx="43915" cy="41406"/>
              </a:xfrm>
              <a:custGeom>
                <a:avLst/>
                <a:gdLst>
                  <a:gd name="T0" fmla="*/ 9 w 19"/>
                  <a:gd name="T1" fmla="*/ 0 h 18"/>
                  <a:gd name="T2" fmla="*/ 0 w 19"/>
                  <a:gd name="T3" fmla="*/ 6 h 18"/>
                  <a:gd name="T4" fmla="*/ 2 w 19"/>
                  <a:gd name="T5" fmla="*/ 8 h 18"/>
                  <a:gd name="T6" fmla="*/ 6 w 19"/>
                  <a:gd name="T7" fmla="*/ 13 h 18"/>
                  <a:gd name="T8" fmla="*/ 7 w 19"/>
                  <a:gd name="T9" fmla="*/ 18 h 18"/>
                  <a:gd name="T10" fmla="*/ 11 w 19"/>
                  <a:gd name="T11" fmla="*/ 18 h 18"/>
                  <a:gd name="T12" fmla="*/ 19 w 19"/>
                  <a:gd name="T13" fmla="*/ 8 h 18"/>
                  <a:gd name="T14" fmla="*/ 9 w 19"/>
                  <a:gd name="T15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" h="18">
                    <a:moveTo>
                      <a:pt x="9" y="0"/>
                    </a:moveTo>
                    <a:cubicBezTo>
                      <a:pt x="7" y="0"/>
                      <a:pt x="1" y="3"/>
                      <a:pt x="0" y="6"/>
                    </a:cubicBezTo>
                    <a:cubicBezTo>
                      <a:pt x="1" y="6"/>
                      <a:pt x="1" y="7"/>
                      <a:pt x="2" y="8"/>
                    </a:cubicBezTo>
                    <a:cubicBezTo>
                      <a:pt x="2" y="10"/>
                      <a:pt x="4" y="12"/>
                      <a:pt x="6" y="13"/>
                    </a:cubicBezTo>
                    <a:cubicBezTo>
                      <a:pt x="8" y="14"/>
                      <a:pt x="8" y="16"/>
                      <a:pt x="7" y="18"/>
                    </a:cubicBezTo>
                    <a:cubicBezTo>
                      <a:pt x="9" y="18"/>
                      <a:pt x="10" y="18"/>
                      <a:pt x="11" y="18"/>
                    </a:cubicBezTo>
                    <a:cubicBezTo>
                      <a:pt x="13" y="17"/>
                      <a:pt x="18" y="10"/>
                      <a:pt x="19" y="8"/>
                    </a:cubicBezTo>
                    <a:cubicBezTo>
                      <a:pt x="19" y="6"/>
                      <a:pt x="12" y="1"/>
                      <a:pt x="9" y="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3" name="Freeform 59">
                <a:extLst>
                  <a:ext uri="{FF2B5EF4-FFF2-40B4-BE49-F238E27FC236}">
                    <a16:creationId xmlns:a16="http://schemas.microsoft.com/office/drawing/2014/main" id="{56ABC612-EB28-40AB-83E8-5A93413A6A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04570" y="3232821"/>
                <a:ext cx="129237" cy="122963"/>
              </a:xfrm>
              <a:custGeom>
                <a:avLst/>
                <a:gdLst>
                  <a:gd name="T0" fmla="*/ 54 w 56"/>
                  <a:gd name="T1" fmla="*/ 3 h 53"/>
                  <a:gd name="T2" fmla="*/ 47 w 56"/>
                  <a:gd name="T3" fmla="*/ 0 h 53"/>
                  <a:gd name="T4" fmla="*/ 42 w 56"/>
                  <a:gd name="T5" fmla="*/ 7 h 53"/>
                  <a:gd name="T6" fmla="*/ 36 w 56"/>
                  <a:gd name="T7" fmla="*/ 11 h 53"/>
                  <a:gd name="T8" fmla="*/ 33 w 56"/>
                  <a:gd name="T9" fmla="*/ 14 h 53"/>
                  <a:gd name="T10" fmla="*/ 28 w 56"/>
                  <a:gd name="T11" fmla="*/ 15 h 53"/>
                  <a:gd name="T12" fmla="*/ 23 w 56"/>
                  <a:gd name="T13" fmla="*/ 13 h 53"/>
                  <a:gd name="T14" fmla="*/ 18 w 56"/>
                  <a:gd name="T15" fmla="*/ 19 h 53"/>
                  <a:gd name="T16" fmla="*/ 3 w 56"/>
                  <a:gd name="T17" fmla="*/ 27 h 53"/>
                  <a:gd name="T18" fmla="*/ 0 w 56"/>
                  <a:gd name="T19" fmla="*/ 31 h 53"/>
                  <a:gd name="T20" fmla="*/ 10 w 56"/>
                  <a:gd name="T21" fmla="*/ 35 h 53"/>
                  <a:gd name="T22" fmla="*/ 5 w 56"/>
                  <a:gd name="T23" fmla="*/ 44 h 53"/>
                  <a:gd name="T24" fmla="*/ 6 w 56"/>
                  <a:gd name="T25" fmla="*/ 49 h 53"/>
                  <a:gd name="T26" fmla="*/ 10 w 56"/>
                  <a:gd name="T27" fmla="*/ 51 h 53"/>
                  <a:gd name="T28" fmla="*/ 17 w 56"/>
                  <a:gd name="T29" fmla="*/ 50 h 53"/>
                  <a:gd name="T30" fmla="*/ 18 w 56"/>
                  <a:gd name="T31" fmla="*/ 51 h 53"/>
                  <a:gd name="T32" fmla="*/ 23 w 56"/>
                  <a:gd name="T33" fmla="*/ 47 h 53"/>
                  <a:gd name="T34" fmla="*/ 31 w 56"/>
                  <a:gd name="T35" fmla="*/ 46 h 53"/>
                  <a:gd name="T36" fmla="*/ 35 w 56"/>
                  <a:gd name="T37" fmla="*/ 44 h 53"/>
                  <a:gd name="T38" fmla="*/ 28 w 56"/>
                  <a:gd name="T39" fmla="*/ 37 h 53"/>
                  <a:gd name="T40" fmla="*/ 30 w 56"/>
                  <a:gd name="T41" fmla="*/ 30 h 53"/>
                  <a:gd name="T42" fmla="*/ 44 w 56"/>
                  <a:gd name="T43" fmla="*/ 22 h 53"/>
                  <a:gd name="T44" fmla="*/ 47 w 56"/>
                  <a:gd name="T45" fmla="*/ 12 h 53"/>
                  <a:gd name="T46" fmla="*/ 56 w 56"/>
                  <a:gd name="T47" fmla="*/ 3 h 53"/>
                  <a:gd name="T48" fmla="*/ 54 w 56"/>
                  <a:gd name="T49" fmla="*/ 3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6" h="53">
                    <a:moveTo>
                      <a:pt x="54" y="3"/>
                    </a:moveTo>
                    <a:cubicBezTo>
                      <a:pt x="50" y="4"/>
                      <a:pt x="49" y="0"/>
                      <a:pt x="47" y="0"/>
                    </a:cubicBezTo>
                    <a:cubicBezTo>
                      <a:pt x="44" y="0"/>
                      <a:pt x="45" y="7"/>
                      <a:pt x="42" y="7"/>
                    </a:cubicBezTo>
                    <a:cubicBezTo>
                      <a:pt x="40" y="7"/>
                      <a:pt x="40" y="10"/>
                      <a:pt x="36" y="11"/>
                    </a:cubicBezTo>
                    <a:cubicBezTo>
                      <a:pt x="33" y="11"/>
                      <a:pt x="32" y="11"/>
                      <a:pt x="33" y="14"/>
                    </a:cubicBezTo>
                    <a:cubicBezTo>
                      <a:pt x="35" y="16"/>
                      <a:pt x="31" y="15"/>
                      <a:pt x="28" y="15"/>
                    </a:cubicBezTo>
                    <a:cubicBezTo>
                      <a:pt x="25" y="15"/>
                      <a:pt x="25" y="13"/>
                      <a:pt x="23" y="13"/>
                    </a:cubicBezTo>
                    <a:cubicBezTo>
                      <a:pt x="21" y="13"/>
                      <a:pt x="19" y="17"/>
                      <a:pt x="18" y="19"/>
                    </a:cubicBezTo>
                    <a:cubicBezTo>
                      <a:pt x="16" y="21"/>
                      <a:pt x="6" y="26"/>
                      <a:pt x="3" y="27"/>
                    </a:cubicBezTo>
                    <a:cubicBezTo>
                      <a:pt x="2" y="28"/>
                      <a:pt x="1" y="29"/>
                      <a:pt x="0" y="31"/>
                    </a:cubicBezTo>
                    <a:cubicBezTo>
                      <a:pt x="4" y="31"/>
                      <a:pt x="8" y="33"/>
                      <a:pt x="10" y="35"/>
                    </a:cubicBezTo>
                    <a:cubicBezTo>
                      <a:pt x="12" y="38"/>
                      <a:pt x="7" y="41"/>
                      <a:pt x="5" y="44"/>
                    </a:cubicBezTo>
                    <a:cubicBezTo>
                      <a:pt x="3" y="47"/>
                      <a:pt x="6" y="47"/>
                      <a:pt x="6" y="49"/>
                    </a:cubicBezTo>
                    <a:cubicBezTo>
                      <a:pt x="6" y="51"/>
                      <a:pt x="9" y="53"/>
                      <a:pt x="10" y="51"/>
                    </a:cubicBezTo>
                    <a:cubicBezTo>
                      <a:pt x="11" y="49"/>
                      <a:pt x="13" y="50"/>
                      <a:pt x="17" y="50"/>
                    </a:cubicBezTo>
                    <a:cubicBezTo>
                      <a:pt x="18" y="50"/>
                      <a:pt x="18" y="50"/>
                      <a:pt x="18" y="51"/>
                    </a:cubicBezTo>
                    <a:cubicBezTo>
                      <a:pt x="20" y="49"/>
                      <a:pt x="22" y="48"/>
                      <a:pt x="23" y="47"/>
                    </a:cubicBezTo>
                    <a:cubicBezTo>
                      <a:pt x="24" y="46"/>
                      <a:pt x="28" y="46"/>
                      <a:pt x="31" y="46"/>
                    </a:cubicBezTo>
                    <a:cubicBezTo>
                      <a:pt x="32" y="46"/>
                      <a:pt x="33" y="45"/>
                      <a:pt x="35" y="44"/>
                    </a:cubicBezTo>
                    <a:cubicBezTo>
                      <a:pt x="32" y="41"/>
                      <a:pt x="29" y="38"/>
                      <a:pt x="28" y="37"/>
                    </a:cubicBezTo>
                    <a:cubicBezTo>
                      <a:pt x="25" y="36"/>
                      <a:pt x="27" y="31"/>
                      <a:pt x="30" y="30"/>
                    </a:cubicBezTo>
                    <a:cubicBezTo>
                      <a:pt x="33" y="29"/>
                      <a:pt x="41" y="23"/>
                      <a:pt x="44" y="22"/>
                    </a:cubicBezTo>
                    <a:cubicBezTo>
                      <a:pt x="46" y="20"/>
                      <a:pt x="45" y="16"/>
                      <a:pt x="47" y="12"/>
                    </a:cubicBezTo>
                    <a:cubicBezTo>
                      <a:pt x="48" y="10"/>
                      <a:pt x="52" y="6"/>
                      <a:pt x="56" y="3"/>
                    </a:cubicBezTo>
                    <a:cubicBezTo>
                      <a:pt x="55" y="3"/>
                      <a:pt x="54" y="3"/>
                      <a:pt x="54" y="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4" name="Freeform 60">
                <a:extLst>
                  <a:ext uri="{FF2B5EF4-FFF2-40B4-BE49-F238E27FC236}">
                    <a16:creationId xmlns:a16="http://schemas.microsoft.com/office/drawing/2014/main" id="{7C6D609B-DCC4-48CF-B71A-247DB10805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07819" y="3505096"/>
                <a:ext cx="143039" cy="81557"/>
              </a:xfrm>
              <a:custGeom>
                <a:avLst/>
                <a:gdLst>
                  <a:gd name="T0" fmla="*/ 61 w 62"/>
                  <a:gd name="T1" fmla="*/ 22 h 35"/>
                  <a:gd name="T2" fmla="*/ 59 w 62"/>
                  <a:gd name="T3" fmla="*/ 22 h 35"/>
                  <a:gd name="T4" fmla="*/ 48 w 62"/>
                  <a:gd name="T5" fmla="*/ 20 h 35"/>
                  <a:gd name="T6" fmla="*/ 33 w 62"/>
                  <a:gd name="T7" fmla="*/ 14 h 35"/>
                  <a:gd name="T8" fmla="*/ 17 w 62"/>
                  <a:gd name="T9" fmla="*/ 2 h 35"/>
                  <a:gd name="T10" fmla="*/ 10 w 62"/>
                  <a:gd name="T11" fmla="*/ 1 h 35"/>
                  <a:gd name="T12" fmla="*/ 5 w 62"/>
                  <a:gd name="T13" fmla="*/ 2 h 35"/>
                  <a:gd name="T14" fmla="*/ 2 w 62"/>
                  <a:gd name="T15" fmla="*/ 7 h 35"/>
                  <a:gd name="T16" fmla="*/ 0 w 62"/>
                  <a:gd name="T17" fmla="*/ 13 h 35"/>
                  <a:gd name="T18" fmla="*/ 4 w 62"/>
                  <a:gd name="T19" fmla="*/ 16 h 35"/>
                  <a:gd name="T20" fmla="*/ 11 w 62"/>
                  <a:gd name="T21" fmla="*/ 19 h 35"/>
                  <a:gd name="T22" fmla="*/ 17 w 62"/>
                  <a:gd name="T23" fmla="*/ 23 h 35"/>
                  <a:gd name="T24" fmla="*/ 23 w 62"/>
                  <a:gd name="T25" fmla="*/ 26 h 35"/>
                  <a:gd name="T26" fmla="*/ 31 w 62"/>
                  <a:gd name="T27" fmla="*/ 25 h 35"/>
                  <a:gd name="T28" fmla="*/ 36 w 62"/>
                  <a:gd name="T29" fmla="*/ 30 h 35"/>
                  <a:gd name="T30" fmla="*/ 46 w 62"/>
                  <a:gd name="T31" fmla="*/ 34 h 35"/>
                  <a:gd name="T32" fmla="*/ 60 w 62"/>
                  <a:gd name="T33" fmla="*/ 32 h 35"/>
                  <a:gd name="T34" fmla="*/ 60 w 62"/>
                  <a:gd name="T35" fmla="*/ 24 h 35"/>
                  <a:gd name="T36" fmla="*/ 61 w 62"/>
                  <a:gd name="T37" fmla="*/ 22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2" h="35">
                    <a:moveTo>
                      <a:pt x="61" y="22"/>
                    </a:moveTo>
                    <a:cubicBezTo>
                      <a:pt x="60" y="22"/>
                      <a:pt x="60" y="22"/>
                      <a:pt x="59" y="22"/>
                    </a:cubicBezTo>
                    <a:cubicBezTo>
                      <a:pt x="54" y="22"/>
                      <a:pt x="51" y="20"/>
                      <a:pt x="48" y="20"/>
                    </a:cubicBezTo>
                    <a:cubicBezTo>
                      <a:pt x="45" y="21"/>
                      <a:pt x="37" y="17"/>
                      <a:pt x="33" y="14"/>
                    </a:cubicBezTo>
                    <a:cubicBezTo>
                      <a:pt x="29" y="11"/>
                      <a:pt x="19" y="5"/>
                      <a:pt x="17" y="2"/>
                    </a:cubicBezTo>
                    <a:cubicBezTo>
                      <a:pt x="14" y="0"/>
                      <a:pt x="10" y="0"/>
                      <a:pt x="10" y="1"/>
                    </a:cubicBezTo>
                    <a:cubicBezTo>
                      <a:pt x="10" y="2"/>
                      <a:pt x="8" y="2"/>
                      <a:pt x="5" y="2"/>
                    </a:cubicBezTo>
                    <a:cubicBezTo>
                      <a:pt x="4" y="4"/>
                      <a:pt x="2" y="5"/>
                      <a:pt x="2" y="7"/>
                    </a:cubicBezTo>
                    <a:cubicBezTo>
                      <a:pt x="2" y="9"/>
                      <a:pt x="0" y="11"/>
                      <a:pt x="0" y="13"/>
                    </a:cubicBezTo>
                    <a:cubicBezTo>
                      <a:pt x="0" y="15"/>
                      <a:pt x="3" y="15"/>
                      <a:pt x="4" y="16"/>
                    </a:cubicBezTo>
                    <a:cubicBezTo>
                      <a:pt x="5" y="17"/>
                      <a:pt x="10" y="18"/>
                      <a:pt x="11" y="19"/>
                    </a:cubicBezTo>
                    <a:cubicBezTo>
                      <a:pt x="11" y="21"/>
                      <a:pt x="15" y="22"/>
                      <a:pt x="17" y="23"/>
                    </a:cubicBezTo>
                    <a:cubicBezTo>
                      <a:pt x="19" y="23"/>
                      <a:pt x="22" y="25"/>
                      <a:pt x="23" y="26"/>
                    </a:cubicBezTo>
                    <a:cubicBezTo>
                      <a:pt x="25" y="27"/>
                      <a:pt x="29" y="25"/>
                      <a:pt x="31" y="25"/>
                    </a:cubicBezTo>
                    <a:cubicBezTo>
                      <a:pt x="33" y="25"/>
                      <a:pt x="35" y="28"/>
                      <a:pt x="36" y="30"/>
                    </a:cubicBezTo>
                    <a:cubicBezTo>
                      <a:pt x="36" y="31"/>
                      <a:pt x="44" y="32"/>
                      <a:pt x="46" y="34"/>
                    </a:cubicBezTo>
                    <a:cubicBezTo>
                      <a:pt x="48" y="35"/>
                      <a:pt x="58" y="34"/>
                      <a:pt x="60" y="32"/>
                    </a:cubicBezTo>
                    <a:cubicBezTo>
                      <a:pt x="62" y="31"/>
                      <a:pt x="60" y="27"/>
                      <a:pt x="60" y="24"/>
                    </a:cubicBezTo>
                    <a:cubicBezTo>
                      <a:pt x="60" y="23"/>
                      <a:pt x="60" y="23"/>
                      <a:pt x="61" y="2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5" name="Freeform 61">
                <a:extLst>
                  <a:ext uri="{FF2B5EF4-FFF2-40B4-BE49-F238E27FC236}">
                    <a16:creationId xmlns:a16="http://schemas.microsoft.com/office/drawing/2014/main" id="{CCF8698C-9111-440A-9B10-E709585977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14849" y="3542738"/>
                <a:ext cx="159350" cy="350068"/>
              </a:xfrm>
              <a:custGeom>
                <a:avLst/>
                <a:gdLst>
                  <a:gd name="T0" fmla="*/ 55 w 69"/>
                  <a:gd name="T1" fmla="*/ 138 h 152"/>
                  <a:gd name="T2" fmla="*/ 53 w 69"/>
                  <a:gd name="T3" fmla="*/ 132 h 152"/>
                  <a:gd name="T4" fmla="*/ 50 w 69"/>
                  <a:gd name="T5" fmla="*/ 122 h 152"/>
                  <a:gd name="T6" fmla="*/ 47 w 69"/>
                  <a:gd name="T7" fmla="*/ 114 h 152"/>
                  <a:gd name="T8" fmla="*/ 48 w 69"/>
                  <a:gd name="T9" fmla="*/ 108 h 152"/>
                  <a:gd name="T10" fmla="*/ 48 w 69"/>
                  <a:gd name="T11" fmla="*/ 104 h 152"/>
                  <a:gd name="T12" fmla="*/ 47 w 69"/>
                  <a:gd name="T13" fmla="*/ 99 h 152"/>
                  <a:gd name="T14" fmla="*/ 41 w 69"/>
                  <a:gd name="T15" fmla="*/ 91 h 152"/>
                  <a:gd name="T16" fmla="*/ 42 w 69"/>
                  <a:gd name="T17" fmla="*/ 79 h 152"/>
                  <a:gd name="T18" fmla="*/ 47 w 69"/>
                  <a:gd name="T19" fmla="*/ 76 h 152"/>
                  <a:gd name="T20" fmla="*/ 53 w 69"/>
                  <a:gd name="T21" fmla="*/ 74 h 152"/>
                  <a:gd name="T22" fmla="*/ 60 w 69"/>
                  <a:gd name="T23" fmla="*/ 70 h 152"/>
                  <a:gd name="T24" fmla="*/ 64 w 69"/>
                  <a:gd name="T25" fmla="*/ 67 h 152"/>
                  <a:gd name="T26" fmla="*/ 68 w 69"/>
                  <a:gd name="T27" fmla="*/ 60 h 152"/>
                  <a:gd name="T28" fmla="*/ 69 w 69"/>
                  <a:gd name="T29" fmla="*/ 60 h 152"/>
                  <a:gd name="T30" fmla="*/ 65 w 69"/>
                  <a:gd name="T31" fmla="*/ 61 h 152"/>
                  <a:gd name="T32" fmla="*/ 60 w 69"/>
                  <a:gd name="T33" fmla="*/ 58 h 152"/>
                  <a:gd name="T34" fmla="*/ 55 w 69"/>
                  <a:gd name="T35" fmla="*/ 56 h 152"/>
                  <a:gd name="T36" fmla="*/ 55 w 69"/>
                  <a:gd name="T37" fmla="*/ 51 h 152"/>
                  <a:gd name="T38" fmla="*/ 52 w 69"/>
                  <a:gd name="T39" fmla="*/ 47 h 152"/>
                  <a:gd name="T40" fmla="*/ 50 w 69"/>
                  <a:gd name="T41" fmla="*/ 40 h 152"/>
                  <a:gd name="T42" fmla="*/ 43 w 69"/>
                  <a:gd name="T43" fmla="*/ 39 h 152"/>
                  <a:gd name="T44" fmla="*/ 41 w 69"/>
                  <a:gd name="T45" fmla="*/ 35 h 152"/>
                  <a:gd name="T46" fmla="*/ 48 w 69"/>
                  <a:gd name="T47" fmla="*/ 24 h 152"/>
                  <a:gd name="T48" fmla="*/ 50 w 69"/>
                  <a:gd name="T49" fmla="*/ 12 h 152"/>
                  <a:gd name="T50" fmla="*/ 47 w 69"/>
                  <a:gd name="T51" fmla="*/ 8 h 152"/>
                  <a:gd name="T52" fmla="*/ 45 w 69"/>
                  <a:gd name="T53" fmla="*/ 4 h 152"/>
                  <a:gd name="T54" fmla="*/ 39 w 69"/>
                  <a:gd name="T55" fmla="*/ 1 h 152"/>
                  <a:gd name="T56" fmla="*/ 38 w 69"/>
                  <a:gd name="T57" fmla="*/ 2 h 152"/>
                  <a:gd name="T58" fmla="*/ 38 w 69"/>
                  <a:gd name="T59" fmla="*/ 2 h 152"/>
                  <a:gd name="T60" fmla="*/ 36 w 69"/>
                  <a:gd name="T61" fmla="*/ 6 h 152"/>
                  <a:gd name="T62" fmla="*/ 37 w 69"/>
                  <a:gd name="T63" fmla="*/ 11 h 152"/>
                  <a:gd name="T64" fmla="*/ 33 w 69"/>
                  <a:gd name="T65" fmla="*/ 11 h 152"/>
                  <a:gd name="T66" fmla="*/ 27 w 69"/>
                  <a:gd name="T67" fmla="*/ 14 h 152"/>
                  <a:gd name="T68" fmla="*/ 21 w 69"/>
                  <a:gd name="T69" fmla="*/ 21 h 152"/>
                  <a:gd name="T70" fmla="*/ 19 w 69"/>
                  <a:gd name="T71" fmla="*/ 30 h 152"/>
                  <a:gd name="T72" fmla="*/ 16 w 69"/>
                  <a:gd name="T73" fmla="*/ 40 h 152"/>
                  <a:gd name="T74" fmla="*/ 10 w 69"/>
                  <a:gd name="T75" fmla="*/ 40 h 152"/>
                  <a:gd name="T76" fmla="*/ 8 w 69"/>
                  <a:gd name="T77" fmla="*/ 48 h 152"/>
                  <a:gd name="T78" fmla="*/ 6 w 69"/>
                  <a:gd name="T79" fmla="*/ 56 h 152"/>
                  <a:gd name="T80" fmla="*/ 3 w 69"/>
                  <a:gd name="T81" fmla="*/ 62 h 152"/>
                  <a:gd name="T82" fmla="*/ 0 w 69"/>
                  <a:gd name="T83" fmla="*/ 65 h 152"/>
                  <a:gd name="T84" fmla="*/ 7 w 69"/>
                  <a:gd name="T85" fmla="*/ 73 h 152"/>
                  <a:gd name="T86" fmla="*/ 16 w 69"/>
                  <a:gd name="T87" fmla="*/ 89 h 152"/>
                  <a:gd name="T88" fmla="*/ 15 w 69"/>
                  <a:gd name="T89" fmla="*/ 102 h 152"/>
                  <a:gd name="T90" fmla="*/ 19 w 69"/>
                  <a:gd name="T91" fmla="*/ 106 h 152"/>
                  <a:gd name="T92" fmla="*/ 26 w 69"/>
                  <a:gd name="T93" fmla="*/ 105 h 152"/>
                  <a:gd name="T94" fmla="*/ 33 w 69"/>
                  <a:gd name="T95" fmla="*/ 97 h 152"/>
                  <a:gd name="T96" fmla="*/ 37 w 69"/>
                  <a:gd name="T97" fmla="*/ 101 h 152"/>
                  <a:gd name="T98" fmla="*/ 41 w 69"/>
                  <a:gd name="T99" fmla="*/ 109 h 152"/>
                  <a:gd name="T100" fmla="*/ 45 w 69"/>
                  <a:gd name="T101" fmla="*/ 127 h 152"/>
                  <a:gd name="T102" fmla="*/ 48 w 69"/>
                  <a:gd name="T103" fmla="*/ 140 h 152"/>
                  <a:gd name="T104" fmla="*/ 49 w 69"/>
                  <a:gd name="T105" fmla="*/ 149 h 152"/>
                  <a:gd name="T106" fmla="*/ 48 w 69"/>
                  <a:gd name="T107" fmla="*/ 151 h 152"/>
                  <a:gd name="T108" fmla="*/ 55 w 69"/>
                  <a:gd name="T109" fmla="*/ 138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69" h="152">
                    <a:moveTo>
                      <a:pt x="55" y="138"/>
                    </a:moveTo>
                    <a:cubicBezTo>
                      <a:pt x="55" y="135"/>
                      <a:pt x="53" y="135"/>
                      <a:pt x="53" y="132"/>
                    </a:cubicBezTo>
                    <a:cubicBezTo>
                      <a:pt x="53" y="129"/>
                      <a:pt x="53" y="125"/>
                      <a:pt x="50" y="122"/>
                    </a:cubicBezTo>
                    <a:cubicBezTo>
                      <a:pt x="46" y="119"/>
                      <a:pt x="45" y="115"/>
                      <a:pt x="47" y="114"/>
                    </a:cubicBezTo>
                    <a:cubicBezTo>
                      <a:pt x="49" y="112"/>
                      <a:pt x="47" y="108"/>
                      <a:pt x="48" y="108"/>
                    </a:cubicBezTo>
                    <a:cubicBezTo>
                      <a:pt x="49" y="108"/>
                      <a:pt x="50" y="105"/>
                      <a:pt x="48" y="104"/>
                    </a:cubicBezTo>
                    <a:cubicBezTo>
                      <a:pt x="46" y="103"/>
                      <a:pt x="48" y="99"/>
                      <a:pt x="47" y="99"/>
                    </a:cubicBezTo>
                    <a:cubicBezTo>
                      <a:pt x="45" y="98"/>
                      <a:pt x="41" y="93"/>
                      <a:pt x="41" y="91"/>
                    </a:cubicBezTo>
                    <a:cubicBezTo>
                      <a:pt x="41" y="90"/>
                      <a:pt x="42" y="81"/>
                      <a:pt x="42" y="79"/>
                    </a:cubicBezTo>
                    <a:cubicBezTo>
                      <a:pt x="43" y="76"/>
                      <a:pt x="46" y="76"/>
                      <a:pt x="47" y="76"/>
                    </a:cubicBezTo>
                    <a:cubicBezTo>
                      <a:pt x="48" y="76"/>
                      <a:pt x="52" y="76"/>
                      <a:pt x="53" y="74"/>
                    </a:cubicBezTo>
                    <a:cubicBezTo>
                      <a:pt x="54" y="72"/>
                      <a:pt x="59" y="72"/>
                      <a:pt x="60" y="70"/>
                    </a:cubicBezTo>
                    <a:cubicBezTo>
                      <a:pt x="61" y="68"/>
                      <a:pt x="64" y="68"/>
                      <a:pt x="64" y="67"/>
                    </a:cubicBezTo>
                    <a:cubicBezTo>
                      <a:pt x="64" y="65"/>
                      <a:pt x="68" y="60"/>
                      <a:pt x="68" y="60"/>
                    </a:cubicBezTo>
                    <a:cubicBezTo>
                      <a:pt x="68" y="60"/>
                      <a:pt x="68" y="60"/>
                      <a:pt x="69" y="60"/>
                    </a:cubicBezTo>
                    <a:cubicBezTo>
                      <a:pt x="68" y="59"/>
                      <a:pt x="67" y="60"/>
                      <a:pt x="65" y="61"/>
                    </a:cubicBezTo>
                    <a:cubicBezTo>
                      <a:pt x="61" y="62"/>
                      <a:pt x="60" y="60"/>
                      <a:pt x="60" y="58"/>
                    </a:cubicBezTo>
                    <a:cubicBezTo>
                      <a:pt x="60" y="56"/>
                      <a:pt x="57" y="56"/>
                      <a:pt x="55" y="56"/>
                    </a:cubicBezTo>
                    <a:cubicBezTo>
                      <a:pt x="54" y="56"/>
                      <a:pt x="55" y="53"/>
                      <a:pt x="55" y="51"/>
                    </a:cubicBezTo>
                    <a:cubicBezTo>
                      <a:pt x="56" y="48"/>
                      <a:pt x="55" y="47"/>
                      <a:pt x="52" y="47"/>
                    </a:cubicBezTo>
                    <a:cubicBezTo>
                      <a:pt x="50" y="47"/>
                      <a:pt x="49" y="42"/>
                      <a:pt x="50" y="40"/>
                    </a:cubicBezTo>
                    <a:cubicBezTo>
                      <a:pt x="51" y="39"/>
                      <a:pt x="45" y="38"/>
                      <a:pt x="43" y="39"/>
                    </a:cubicBezTo>
                    <a:cubicBezTo>
                      <a:pt x="40" y="40"/>
                      <a:pt x="42" y="37"/>
                      <a:pt x="41" y="35"/>
                    </a:cubicBezTo>
                    <a:cubicBezTo>
                      <a:pt x="40" y="33"/>
                      <a:pt x="44" y="27"/>
                      <a:pt x="48" y="24"/>
                    </a:cubicBezTo>
                    <a:cubicBezTo>
                      <a:pt x="51" y="20"/>
                      <a:pt x="50" y="16"/>
                      <a:pt x="50" y="12"/>
                    </a:cubicBezTo>
                    <a:cubicBezTo>
                      <a:pt x="50" y="8"/>
                      <a:pt x="48" y="8"/>
                      <a:pt x="47" y="8"/>
                    </a:cubicBezTo>
                    <a:cubicBezTo>
                      <a:pt x="45" y="8"/>
                      <a:pt x="45" y="6"/>
                      <a:pt x="45" y="4"/>
                    </a:cubicBezTo>
                    <a:cubicBezTo>
                      <a:pt x="45" y="1"/>
                      <a:pt x="41" y="0"/>
                      <a:pt x="39" y="1"/>
                    </a:cubicBezTo>
                    <a:cubicBezTo>
                      <a:pt x="39" y="1"/>
                      <a:pt x="39" y="2"/>
                      <a:pt x="38" y="2"/>
                    </a:cubicBezTo>
                    <a:cubicBezTo>
                      <a:pt x="38" y="2"/>
                      <a:pt x="38" y="2"/>
                      <a:pt x="38" y="2"/>
                    </a:cubicBezTo>
                    <a:cubicBezTo>
                      <a:pt x="38" y="2"/>
                      <a:pt x="38" y="5"/>
                      <a:pt x="36" y="6"/>
                    </a:cubicBezTo>
                    <a:cubicBezTo>
                      <a:pt x="35" y="7"/>
                      <a:pt x="35" y="8"/>
                      <a:pt x="37" y="11"/>
                    </a:cubicBezTo>
                    <a:cubicBezTo>
                      <a:pt x="39" y="14"/>
                      <a:pt x="34" y="13"/>
                      <a:pt x="33" y="11"/>
                    </a:cubicBezTo>
                    <a:cubicBezTo>
                      <a:pt x="33" y="10"/>
                      <a:pt x="29" y="12"/>
                      <a:pt x="27" y="14"/>
                    </a:cubicBezTo>
                    <a:cubicBezTo>
                      <a:pt x="25" y="16"/>
                      <a:pt x="21" y="17"/>
                      <a:pt x="21" y="21"/>
                    </a:cubicBezTo>
                    <a:cubicBezTo>
                      <a:pt x="21" y="24"/>
                      <a:pt x="19" y="28"/>
                      <a:pt x="19" y="30"/>
                    </a:cubicBezTo>
                    <a:cubicBezTo>
                      <a:pt x="20" y="33"/>
                      <a:pt x="16" y="39"/>
                      <a:pt x="16" y="40"/>
                    </a:cubicBezTo>
                    <a:cubicBezTo>
                      <a:pt x="17" y="42"/>
                      <a:pt x="11" y="40"/>
                      <a:pt x="10" y="40"/>
                    </a:cubicBezTo>
                    <a:cubicBezTo>
                      <a:pt x="9" y="40"/>
                      <a:pt x="10" y="46"/>
                      <a:pt x="8" y="48"/>
                    </a:cubicBezTo>
                    <a:cubicBezTo>
                      <a:pt x="7" y="50"/>
                      <a:pt x="8" y="56"/>
                      <a:pt x="6" y="56"/>
                    </a:cubicBezTo>
                    <a:cubicBezTo>
                      <a:pt x="4" y="56"/>
                      <a:pt x="3" y="62"/>
                      <a:pt x="3" y="62"/>
                    </a:cubicBezTo>
                    <a:cubicBezTo>
                      <a:pt x="3" y="62"/>
                      <a:pt x="1" y="63"/>
                      <a:pt x="0" y="65"/>
                    </a:cubicBezTo>
                    <a:cubicBezTo>
                      <a:pt x="1" y="68"/>
                      <a:pt x="4" y="71"/>
                      <a:pt x="7" y="73"/>
                    </a:cubicBezTo>
                    <a:cubicBezTo>
                      <a:pt x="12" y="75"/>
                      <a:pt x="15" y="84"/>
                      <a:pt x="16" y="89"/>
                    </a:cubicBezTo>
                    <a:cubicBezTo>
                      <a:pt x="18" y="94"/>
                      <a:pt x="17" y="99"/>
                      <a:pt x="15" y="102"/>
                    </a:cubicBezTo>
                    <a:cubicBezTo>
                      <a:pt x="14" y="105"/>
                      <a:pt x="16" y="105"/>
                      <a:pt x="19" y="106"/>
                    </a:cubicBezTo>
                    <a:cubicBezTo>
                      <a:pt x="21" y="108"/>
                      <a:pt x="24" y="108"/>
                      <a:pt x="26" y="105"/>
                    </a:cubicBezTo>
                    <a:cubicBezTo>
                      <a:pt x="28" y="103"/>
                      <a:pt x="33" y="101"/>
                      <a:pt x="33" y="97"/>
                    </a:cubicBezTo>
                    <a:cubicBezTo>
                      <a:pt x="34" y="94"/>
                      <a:pt x="36" y="99"/>
                      <a:pt x="37" y="101"/>
                    </a:cubicBezTo>
                    <a:cubicBezTo>
                      <a:pt x="39" y="102"/>
                      <a:pt x="40" y="105"/>
                      <a:pt x="41" y="109"/>
                    </a:cubicBezTo>
                    <a:cubicBezTo>
                      <a:pt x="41" y="114"/>
                      <a:pt x="41" y="124"/>
                      <a:pt x="45" y="127"/>
                    </a:cubicBezTo>
                    <a:cubicBezTo>
                      <a:pt x="48" y="130"/>
                      <a:pt x="49" y="137"/>
                      <a:pt x="48" y="140"/>
                    </a:cubicBezTo>
                    <a:cubicBezTo>
                      <a:pt x="47" y="142"/>
                      <a:pt x="50" y="146"/>
                      <a:pt x="49" y="149"/>
                    </a:cubicBezTo>
                    <a:cubicBezTo>
                      <a:pt x="49" y="150"/>
                      <a:pt x="49" y="150"/>
                      <a:pt x="48" y="151"/>
                    </a:cubicBezTo>
                    <a:cubicBezTo>
                      <a:pt x="52" y="152"/>
                      <a:pt x="55" y="138"/>
                      <a:pt x="55" y="138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6" name="Freeform 62">
                <a:extLst>
                  <a:ext uri="{FF2B5EF4-FFF2-40B4-BE49-F238E27FC236}">
                    <a16:creationId xmlns:a16="http://schemas.microsoft.com/office/drawing/2014/main" id="{7678E276-C32B-4902-BB3C-706A4D640A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59641" y="3546502"/>
                <a:ext cx="57717" cy="35132"/>
              </a:xfrm>
              <a:custGeom>
                <a:avLst/>
                <a:gdLst>
                  <a:gd name="T0" fmla="*/ 24 w 25"/>
                  <a:gd name="T1" fmla="*/ 5 h 15"/>
                  <a:gd name="T2" fmla="*/ 15 w 25"/>
                  <a:gd name="T3" fmla="*/ 3 h 15"/>
                  <a:gd name="T4" fmla="*/ 8 w 25"/>
                  <a:gd name="T5" fmla="*/ 2 h 15"/>
                  <a:gd name="T6" fmla="*/ 2 w 25"/>
                  <a:gd name="T7" fmla="*/ 7 h 15"/>
                  <a:gd name="T8" fmla="*/ 0 w 25"/>
                  <a:gd name="T9" fmla="*/ 10 h 15"/>
                  <a:gd name="T10" fmla="*/ 3 w 25"/>
                  <a:gd name="T11" fmla="*/ 12 h 15"/>
                  <a:gd name="T12" fmla="*/ 8 w 25"/>
                  <a:gd name="T13" fmla="*/ 13 h 15"/>
                  <a:gd name="T14" fmla="*/ 16 w 25"/>
                  <a:gd name="T15" fmla="*/ 14 h 15"/>
                  <a:gd name="T16" fmla="*/ 23 w 25"/>
                  <a:gd name="T17" fmla="*/ 13 h 15"/>
                  <a:gd name="T18" fmla="*/ 23 w 25"/>
                  <a:gd name="T19" fmla="*/ 6 h 15"/>
                  <a:gd name="T20" fmla="*/ 24 w 25"/>
                  <a:gd name="T21" fmla="*/ 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" h="15">
                    <a:moveTo>
                      <a:pt x="24" y="5"/>
                    </a:moveTo>
                    <a:cubicBezTo>
                      <a:pt x="19" y="1"/>
                      <a:pt x="18" y="4"/>
                      <a:pt x="15" y="3"/>
                    </a:cubicBezTo>
                    <a:cubicBezTo>
                      <a:pt x="11" y="1"/>
                      <a:pt x="10" y="0"/>
                      <a:pt x="8" y="2"/>
                    </a:cubicBezTo>
                    <a:cubicBezTo>
                      <a:pt x="6" y="3"/>
                      <a:pt x="4" y="3"/>
                      <a:pt x="2" y="7"/>
                    </a:cubicBezTo>
                    <a:cubicBezTo>
                      <a:pt x="2" y="8"/>
                      <a:pt x="1" y="9"/>
                      <a:pt x="0" y="10"/>
                    </a:cubicBezTo>
                    <a:cubicBezTo>
                      <a:pt x="1" y="11"/>
                      <a:pt x="2" y="12"/>
                      <a:pt x="3" y="12"/>
                    </a:cubicBezTo>
                    <a:cubicBezTo>
                      <a:pt x="4" y="12"/>
                      <a:pt x="5" y="14"/>
                      <a:pt x="8" y="13"/>
                    </a:cubicBezTo>
                    <a:cubicBezTo>
                      <a:pt x="10" y="13"/>
                      <a:pt x="12" y="15"/>
                      <a:pt x="16" y="14"/>
                    </a:cubicBezTo>
                    <a:cubicBezTo>
                      <a:pt x="19" y="13"/>
                      <a:pt x="22" y="15"/>
                      <a:pt x="23" y="13"/>
                    </a:cubicBezTo>
                    <a:cubicBezTo>
                      <a:pt x="25" y="11"/>
                      <a:pt x="23" y="6"/>
                      <a:pt x="23" y="6"/>
                    </a:cubicBezTo>
                    <a:cubicBezTo>
                      <a:pt x="23" y="6"/>
                      <a:pt x="23" y="6"/>
                      <a:pt x="24" y="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7" name="Freeform 63">
                <a:extLst>
                  <a:ext uri="{FF2B5EF4-FFF2-40B4-BE49-F238E27FC236}">
                    <a16:creationId xmlns:a16="http://schemas.microsoft.com/office/drawing/2014/main" id="{5AFF8436-0D27-47C6-8A60-72E9E02279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91766" y="3645625"/>
                <a:ext cx="139275" cy="283568"/>
              </a:xfrm>
              <a:custGeom>
                <a:avLst/>
                <a:gdLst>
                  <a:gd name="T0" fmla="*/ 44 w 60"/>
                  <a:gd name="T1" fmla="*/ 15 h 123"/>
                  <a:gd name="T2" fmla="*/ 36 w 60"/>
                  <a:gd name="T3" fmla="*/ 9 h 123"/>
                  <a:gd name="T4" fmla="*/ 34 w 60"/>
                  <a:gd name="T5" fmla="*/ 4 h 123"/>
                  <a:gd name="T6" fmla="*/ 27 w 60"/>
                  <a:gd name="T7" fmla="*/ 1 h 123"/>
                  <a:gd name="T8" fmla="*/ 21 w 60"/>
                  <a:gd name="T9" fmla="*/ 5 h 123"/>
                  <a:gd name="T10" fmla="*/ 16 w 60"/>
                  <a:gd name="T11" fmla="*/ 6 h 123"/>
                  <a:gd name="T12" fmla="*/ 9 w 60"/>
                  <a:gd name="T13" fmla="*/ 6 h 123"/>
                  <a:gd name="T14" fmla="*/ 2 w 60"/>
                  <a:gd name="T15" fmla="*/ 6 h 123"/>
                  <a:gd name="T16" fmla="*/ 0 w 60"/>
                  <a:gd name="T17" fmla="*/ 8 h 123"/>
                  <a:gd name="T18" fmla="*/ 3 w 60"/>
                  <a:gd name="T19" fmla="*/ 12 h 123"/>
                  <a:gd name="T20" fmla="*/ 7 w 60"/>
                  <a:gd name="T21" fmla="*/ 18 h 123"/>
                  <a:gd name="T22" fmla="*/ 14 w 60"/>
                  <a:gd name="T23" fmla="*/ 22 h 123"/>
                  <a:gd name="T24" fmla="*/ 20 w 60"/>
                  <a:gd name="T25" fmla="*/ 23 h 123"/>
                  <a:gd name="T26" fmla="*/ 22 w 60"/>
                  <a:gd name="T27" fmla="*/ 30 h 123"/>
                  <a:gd name="T28" fmla="*/ 16 w 60"/>
                  <a:gd name="T29" fmla="*/ 33 h 123"/>
                  <a:gd name="T30" fmla="*/ 25 w 60"/>
                  <a:gd name="T31" fmla="*/ 41 h 123"/>
                  <a:gd name="T32" fmla="*/ 29 w 60"/>
                  <a:gd name="T33" fmla="*/ 48 h 123"/>
                  <a:gd name="T34" fmla="*/ 35 w 60"/>
                  <a:gd name="T35" fmla="*/ 57 h 123"/>
                  <a:gd name="T36" fmla="*/ 42 w 60"/>
                  <a:gd name="T37" fmla="*/ 63 h 123"/>
                  <a:gd name="T38" fmla="*/ 43 w 60"/>
                  <a:gd name="T39" fmla="*/ 71 h 123"/>
                  <a:gd name="T40" fmla="*/ 46 w 60"/>
                  <a:gd name="T41" fmla="*/ 84 h 123"/>
                  <a:gd name="T42" fmla="*/ 40 w 60"/>
                  <a:gd name="T43" fmla="*/ 93 h 123"/>
                  <a:gd name="T44" fmla="*/ 33 w 60"/>
                  <a:gd name="T45" fmla="*/ 98 h 123"/>
                  <a:gd name="T46" fmla="*/ 33 w 60"/>
                  <a:gd name="T47" fmla="*/ 105 h 123"/>
                  <a:gd name="T48" fmla="*/ 24 w 60"/>
                  <a:gd name="T49" fmla="*/ 105 h 123"/>
                  <a:gd name="T50" fmla="*/ 19 w 60"/>
                  <a:gd name="T51" fmla="*/ 109 h 123"/>
                  <a:gd name="T52" fmla="*/ 23 w 60"/>
                  <a:gd name="T53" fmla="*/ 112 h 123"/>
                  <a:gd name="T54" fmla="*/ 20 w 60"/>
                  <a:gd name="T55" fmla="*/ 119 h 123"/>
                  <a:gd name="T56" fmla="*/ 24 w 60"/>
                  <a:gd name="T57" fmla="*/ 122 h 123"/>
                  <a:gd name="T58" fmla="*/ 32 w 60"/>
                  <a:gd name="T59" fmla="*/ 116 h 123"/>
                  <a:gd name="T60" fmla="*/ 34 w 60"/>
                  <a:gd name="T61" fmla="*/ 113 h 123"/>
                  <a:gd name="T62" fmla="*/ 36 w 60"/>
                  <a:gd name="T63" fmla="*/ 109 h 123"/>
                  <a:gd name="T64" fmla="*/ 41 w 60"/>
                  <a:gd name="T65" fmla="*/ 108 h 123"/>
                  <a:gd name="T66" fmla="*/ 52 w 60"/>
                  <a:gd name="T67" fmla="*/ 103 h 123"/>
                  <a:gd name="T68" fmla="*/ 58 w 60"/>
                  <a:gd name="T69" fmla="*/ 92 h 123"/>
                  <a:gd name="T70" fmla="*/ 56 w 60"/>
                  <a:gd name="T71" fmla="*/ 73 h 123"/>
                  <a:gd name="T72" fmla="*/ 49 w 60"/>
                  <a:gd name="T73" fmla="*/ 61 h 123"/>
                  <a:gd name="T74" fmla="*/ 36 w 60"/>
                  <a:gd name="T75" fmla="*/ 50 h 123"/>
                  <a:gd name="T76" fmla="*/ 32 w 60"/>
                  <a:gd name="T77" fmla="*/ 44 h 123"/>
                  <a:gd name="T78" fmla="*/ 30 w 60"/>
                  <a:gd name="T79" fmla="*/ 33 h 123"/>
                  <a:gd name="T80" fmla="*/ 36 w 60"/>
                  <a:gd name="T81" fmla="*/ 26 h 123"/>
                  <a:gd name="T82" fmla="*/ 39 w 60"/>
                  <a:gd name="T83" fmla="*/ 21 h 123"/>
                  <a:gd name="T84" fmla="*/ 45 w 60"/>
                  <a:gd name="T85" fmla="*/ 17 h 123"/>
                  <a:gd name="T86" fmla="*/ 46 w 60"/>
                  <a:gd name="T87" fmla="*/ 16 h 123"/>
                  <a:gd name="T88" fmla="*/ 44 w 60"/>
                  <a:gd name="T89" fmla="*/ 15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60" h="123">
                    <a:moveTo>
                      <a:pt x="44" y="15"/>
                    </a:moveTo>
                    <a:cubicBezTo>
                      <a:pt x="42" y="15"/>
                      <a:pt x="36" y="10"/>
                      <a:pt x="36" y="9"/>
                    </a:cubicBezTo>
                    <a:cubicBezTo>
                      <a:pt x="36" y="7"/>
                      <a:pt x="39" y="5"/>
                      <a:pt x="34" y="4"/>
                    </a:cubicBezTo>
                    <a:cubicBezTo>
                      <a:pt x="29" y="3"/>
                      <a:pt x="28" y="2"/>
                      <a:pt x="27" y="1"/>
                    </a:cubicBezTo>
                    <a:cubicBezTo>
                      <a:pt x="26" y="0"/>
                      <a:pt x="22" y="3"/>
                      <a:pt x="21" y="5"/>
                    </a:cubicBezTo>
                    <a:cubicBezTo>
                      <a:pt x="20" y="7"/>
                      <a:pt x="18" y="4"/>
                      <a:pt x="16" y="6"/>
                    </a:cubicBezTo>
                    <a:cubicBezTo>
                      <a:pt x="13" y="7"/>
                      <a:pt x="10" y="3"/>
                      <a:pt x="9" y="6"/>
                    </a:cubicBezTo>
                    <a:cubicBezTo>
                      <a:pt x="7" y="8"/>
                      <a:pt x="4" y="4"/>
                      <a:pt x="2" y="6"/>
                    </a:cubicBezTo>
                    <a:cubicBezTo>
                      <a:pt x="2" y="7"/>
                      <a:pt x="1" y="8"/>
                      <a:pt x="0" y="8"/>
                    </a:cubicBezTo>
                    <a:cubicBezTo>
                      <a:pt x="2" y="10"/>
                      <a:pt x="3" y="11"/>
                      <a:pt x="3" y="12"/>
                    </a:cubicBezTo>
                    <a:cubicBezTo>
                      <a:pt x="3" y="14"/>
                      <a:pt x="7" y="16"/>
                      <a:pt x="7" y="18"/>
                    </a:cubicBezTo>
                    <a:cubicBezTo>
                      <a:pt x="7" y="21"/>
                      <a:pt x="12" y="23"/>
                      <a:pt x="14" y="22"/>
                    </a:cubicBezTo>
                    <a:cubicBezTo>
                      <a:pt x="15" y="21"/>
                      <a:pt x="19" y="20"/>
                      <a:pt x="20" y="23"/>
                    </a:cubicBezTo>
                    <a:cubicBezTo>
                      <a:pt x="20" y="27"/>
                      <a:pt x="22" y="27"/>
                      <a:pt x="22" y="30"/>
                    </a:cubicBezTo>
                    <a:cubicBezTo>
                      <a:pt x="22" y="32"/>
                      <a:pt x="17" y="31"/>
                      <a:pt x="16" y="33"/>
                    </a:cubicBezTo>
                    <a:cubicBezTo>
                      <a:pt x="15" y="36"/>
                      <a:pt x="25" y="39"/>
                      <a:pt x="25" y="41"/>
                    </a:cubicBezTo>
                    <a:cubicBezTo>
                      <a:pt x="25" y="43"/>
                      <a:pt x="28" y="45"/>
                      <a:pt x="29" y="48"/>
                    </a:cubicBezTo>
                    <a:cubicBezTo>
                      <a:pt x="30" y="50"/>
                      <a:pt x="34" y="54"/>
                      <a:pt x="35" y="57"/>
                    </a:cubicBezTo>
                    <a:cubicBezTo>
                      <a:pt x="36" y="60"/>
                      <a:pt x="40" y="61"/>
                      <a:pt x="42" y="63"/>
                    </a:cubicBezTo>
                    <a:cubicBezTo>
                      <a:pt x="43" y="64"/>
                      <a:pt x="44" y="68"/>
                      <a:pt x="43" y="71"/>
                    </a:cubicBezTo>
                    <a:cubicBezTo>
                      <a:pt x="43" y="74"/>
                      <a:pt x="43" y="80"/>
                      <a:pt x="46" y="84"/>
                    </a:cubicBezTo>
                    <a:cubicBezTo>
                      <a:pt x="49" y="89"/>
                      <a:pt x="42" y="91"/>
                      <a:pt x="40" y="93"/>
                    </a:cubicBezTo>
                    <a:cubicBezTo>
                      <a:pt x="38" y="96"/>
                      <a:pt x="39" y="99"/>
                      <a:pt x="33" y="98"/>
                    </a:cubicBezTo>
                    <a:cubicBezTo>
                      <a:pt x="27" y="96"/>
                      <a:pt x="34" y="103"/>
                      <a:pt x="33" y="105"/>
                    </a:cubicBezTo>
                    <a:cubicBezTo>
                      <a:pt x="32" y="107"/>
                      <a:pt x="24" y="103"/>
                      <a:pt x="24" y="105"/>
                    </a:cubicBezTo>
                    <a:cubicBezTo>
                      <a:pt x="24" y="106"/>
                      <a:pt x="21" y="108"/>
                      <a:pt x="19" y="109"/>
                    </a:cubicBezTo>
                    <a:cubicBezTo>
                      <a:pt x="20" y="110"/>
                      <a:pt x="21" y="111"/>
                      <a:pt x="23" y="112"/>
                    </a:cubicBezTo>
                    <a:cubicBezTo>
                      <a:pt x="25" y="113"/>
                      <a:pt x="20" y="115"/>
                      <a:pt x="20" y="119"/>
                    </a:cubicBezTo>
                    <a:cubicBezTo>
                      <a:pt x="21" y="122"/>
                      <a:pt x="23" y="123"/>
                      <a:pt x="24" y="122"/>
                    </a:cubicBezTo>
                    <a:cubicBezTo>
                      <a:pt x="26" y="120"/>
                      <a:pt x="30" y="117"/>
                      <a:pt x="32" y="116"/>
                    </a:cubicBezTo>
                    <a:cubicBezTo>
                      <a:pt x="34" y="116"/>
                      <a:pt x="32" y="113"/>
                      <a:pt x="34" y="113"/>
                    </a:cubicBezTo>
                    <a:cubicBezTo>
                      <a:pt x="36" y="113"/>
                      <a:pt x="35" y="110"/>
                      <a:pt x="36" y="109"/>
                    </a:cubicBezTo>
                    <a:cubicBezTo>
                      <a:pt x="37" y="107"/>
                      <a:pt x="38" y="108"/>
                      <a:pt x="41" y="108"/>
                    </a:cubicBezTo>
                    <a:cubicBezTo>
                      <a:pt x="44" y="108"/>
                      <a:pt x="48" y="105"/>
                      <a:pt x="52" y="103"/>
                    </a:cubicBezTo>
                    <a:cubicBezTo>
                      <a:pt x="56" y="100"/>
                      <a:pt x="56" y="100"/>
                      <a:pt x="58" y="92"/>
                    </a:cubicBezTo>
                    <a:cubicBezTo>
                      <a:pt x="60" y="85"/>
                      <a:pt x="56" y="76"/>
                      <a:pt x="56" y="73"/>
                    </a:cubicBezTo>
                    <a:cubicBezTo>
                      <a:pt x="56" y="71"/>
                      <a:pt x="51" y="61"/>
                      <a:pt x="49" y="61"/>
                    </a:cubicBezTo>
                    <a:cubicBezTo>
                      <a:pt x="46" y="61"/>
                      <a:pt x="37" y="51"/>
                      <a:pt x="36" y="50"/>
                    </a:cubicBezTo>
                    <a:cubicBezTo>
                      <a:pt x="34" y="48"/>
                      <a:pt x="34" y="46"/>
                      <a:pt x="32" y="44"/>
                    </a:cubicBezTo>
                    <a:cubicBezTo>
                      <a:pt x="30" y="42"/>
                      <a:pt x="29" y="36"/>
                      <a:pt x="30" y="33"/>
                    </a:cubicBezTo>
                    <a:cubicBezTo>
                      <a:pt x="31" y="29"/>
                      <a:pt x="36" y="28"/>
                      <a:pt x="36" y="26"/>
                    </a:cubicBezTo>
                    <a:cubicBezTo>
                      <a:pt x="36" y="23"/>
                      <a:pt x="36" y="21"/>
                      <a:pt x="39" y="21"/>
                    </a:cubicBezTo>
                    <a:cubicBezTo>
                      <a:pt x="41" y="21"/>
                      <a:pt x="44" y="19"/>
                      <a:pt x="45" y="17"/>
                    </a:cubicBezTo>
                    <a:cubicBezTo>
                      <a:pt x="45" y="17"/>
                      <a:pt x="45" y="16"/>
                      <a:pt x="46" y="16"/>
                    </a:cubicBezTo>
                    <a:cubicBezTo>
                      <a:pt x="45" y="15"/>
                      <a:pt x="45" y="15"/>
                      <a:pt x="44" y="1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8" name="Freeform 64">
                <a:extLst>
                  <a:ext uri="{FF2B5EF4-FFF2-40B4-BE49-F238E27FC236}">
                    <a16:creationId xmlns:a16="http://schemas.microsoft.com/office/drawing/2014/main" id="{78E698BF-5E47-4047-90E5-CF8E6A186B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91766" y="3816268"/>
                <a:ext cx="112925" cy="81557"/>
              </a:xfrm>
              <a:custGeom>
                <a:avLst/>
                <a:gdLst>
                  <a:gd name="T0" fmla="*/ 24 w 49"/>
                  <a:gd name="T1" fmla="*/ 31 h 35"/>
                  <a:gd name="T2" fmla="*/ 33 w 49"/>
                  <a:gd name="T3" fmla="*/ 31 h 35"/>
                  <a:gd name="T4" fmla="*/ 33 w 49"/>
                  <a:gd name="T5" fmla="*/ 24 h 35"/>
                  <a:gd name="T6" fmla="*/ 40 w 49"/>
                  <a:gd name="T7" fmla="*/ 19 h 35"/>
                  <a:gd name="T8" fmla="*/ 46 w 49"/>
                  <a:gd name="T9" fmla="*/ 10 h 35"/>
                  <a:gd name="T10" fmla="*/ 43 w 49"/>
                  <a:gd name="T11" fmla="*/ 0 h 35"/>
                  <a:gd name="T12" fmla="*/ 38 w 49"/>
                  <a:gd name="T13" fmla="*/ 1 h 35"/>
                  <a:gd name="T14" fmla="*/ 32 w 49"/>
                  <a:gd name="T15" fmla="*/ 3 h 35"/>
                  <a:gd name="T16" fmla="*/ 30 w 49"/>
                  <a:gd name="T17" fmla="*/ 5 h 35"/>
                  <a:gd name="T18" fmla="*/ 25 w 49"/>
                  <a:gd name="T19" fmla="*/ 2 h 35"/>
                  <a:gd name="T20" fmla="*/ 14 w 49"/>
                  <a:gd name="T21" fmla="*/ 2 h 35"/>
                  <a:gd name="T22" fmla="*/ 3 w 49"/>
                  <a:gd name="T23" fmla="*/ 7 h 35"/>
                  <a:gd name="T24" fmla="*/ 4 w 49"/>
                  <a:gd name="T25" fmla="*/ 14 h 35"/>
                  <a:gd name="T26" fmla="*/ 5 w 49"/>
                  <a:gd name="T27" fmla="*/ 20 h 35"/>
                  <a:gd name="T28" fmla="*/ 4 w 49"/>
                  <a:gd name="T29" fmla="*/ 21 h 35"/>
                  <a:gd name="T30" fmla="*/ 7 w 49"/>
                  <a:gd name="T31" fmla="*/ 28 h 35"/>
                  <a:gd name="T32" fmla="*/ 12 w 49"/>
                  <a:gd name="T33" fmla="*/ 29 h 35"/>
                  <a:gd name="T34" fmla="*/ 12 w 49"/>
                  <a:gd name="T35" fmla="*/ 33 h 35"/>
                  <a:gd name="T36" fmla="*/ 18 w 49"/>
                  <a:gd name="T37" fmla="*/ 34 h 35"/>
                  <a:gd name="T38" fmla="*/ 19 w 49"/>
                  <a:gd name="T39" fmla="*/ 35 h 35"/>
                  <a:gd name="T40" fmla="*/ 24 w 49"/>
                  <a:gd name="T41" fmla="*/ 31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9" h="35">
                    <a:moveTo>
                      <a:pt x="24" y="31"/>
                    </a:moveTo>
                    <a:cubicBezTo>
                      <a:pt x="24" y="29"/>
                      <a:pt x="32" y="33"/>
                      <a:pt x="33" y="31"/>
                    </a:cubicBezTo>
                    <a:cubicBezTo>
                      <a:pt x="34" y="29"/>
                      <a:pt x="27" y="22"/>
                      <a:pt x="33" y="24"/>
                    </a:cubicBezTo>
                    <a:cubicBezTo>
                      <a:pt x="39" y="25"/>
                      <a:pt x="38" y="22"/>
                      <a:pt x="40" y="19"/>
                    </a:cubicBezTo>
                    <a:cubicBezTo>
                      <a:pt x="42" y="17"/>
                      <a:pt x="49" y="15"/>
                      <a:pt x="46" y="10"/>
                    </a:cubicBezTo>
                    <a:cubicBezTo>
                      <a:pt x="44" y="7"/>
                      <a:pt x="43" y="3"/>
                      <a:pt x="43" y="0"/>
                    </a:cubicBezTo>
                    <a:cubicBezTo>
                      <a:pt x="41" y="2"/>
                      <a:pt x="39" y="2"/>
                      <a:pt x="38" y="1"/>
                    </a:cubicBezTo>
                    <a:cubicBezTo>
                      <a:pt x="36" y="1"/>
                      <a:pt x="32" y="0"/>
                      <a:pt x="32" y="3"/>
                    </a:cubicBezTo>
                    <a:cubicBezTo>
                      <a:pt x="32" y="6"/>
                      <a:pt x="29" y="6"/>
                      <a:pt x="30" y="5"/>
                    </a:cubicBezTo>
                    <a:cubicBezTo>
                      <a:pt x="30" y="4"/>
                      <a:pt x="27" y="4"/>
                      <a:pt x="25" y="2"/>
                    </a:cubicBezTo>
                    <a:cubicBezTo>
                      <a:pt x="23" y="0"/>
                      <a:pt x="17" y="3"/>
                      <a:pt x="14" y="2"/>
                    </a:cubicBezTo>
                    <a:cubicBezTo>
                      <a:pt x="11" y="1"/>
                      <a:pt x="6" y="3"/>
                      <a:pt x="3" y="7"/>
                    </a:cubicBezTo>
                    <a:cubicBezTo>
                      <a:pt x="0" y="11"/>
                      <a:pt x="4" y="11"/>
                      <a:pt x="4" y="14"/>
                    </a:cubicBezTo>
                    <a:cubicBezTo>
                      <a:pt x="4" y="18"/>
                      <a:pt x="6" y="18"/>
                      <a:pt x="5" y="20"/>
                    </a:cubicBezTo>
                    <a:cubicBezTo>
                      <a:pt x="5" y="21"/>
                      <a:pt x="5" y="21"/>
                      <a:pt x="4" y="21"/>
                    </a:cubicBezTo>
                    <a:cubicBezTo>
                      <a:pt x="8" y="22"/>
                      <a:pt x="6" y="26"/>
                      <a:pt x="7" y="28"/>
                    </a:cubicBezTo>
                    <a:cubicBezTo>
                      <a:pt x="7" y="30"/>
                      <a:pt x="10" y="29"/>
                      <a:pt x="12" y="29"/>
                    </a:cubicBezTo>
                    <a:cubicBezTo>
                      <a:pt x="13" y="29"/>
                      <a:pt x="11" y="31"/>
                      <a:pt x="12" y="33"/>
                    </a:cubicBezTo>
                    <a:cubicBezTo>
                      <a:pt x="13" y="35"/>
                      <a:pt x="18" y="32"/>
                      <a:pt x="18" y="34"/>
                    </a:cubicBezTo>
                    <a:cubicBezTo>
                      <a:pt x="19" y="34"/>
                      <a:pt x="19" y="35"/>
                      <a:pt x="19" y="35"/>
                    </a:cubicBezTo>
                    <a:cubicBezTo>
                      <a:pt x="21" y="34"/>
                      <a:pt x="24" y="32"/>
                      <a:pt x="24" y="3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9" name="Freeform 65">
                <a:extLst>
                  <a:ext uri="{FF2B5EF4-FFF2-40B4-BE49-F238E27FC236}">
                    <a16:creationId xmlns:a16="http://schemas.microsoft.com/office/drawing/2014/main" id="{B580E777-9096-4DF8-8EFA-F10045F6DF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55379" y="3661937"/>
                <a:ext cx="138020" cy="168133"/>
              </a:xfrm>
              <a:custGeom>
                <a:avLst/>
                <a:gdLst>
                  <a:gd name="T0" fmla="*/ 41 w 60"/>
                  <a:gd name="T1" fmla="*/ 34 h 73"/>
                  <a:gd name="T2" fmla="*/ 32 w 60"/>
                  <a:gd name="T3" fmla="*/ 26 h 73"/>
                  <a:gd name="T4" fmla="*/ 38 w 60"/>
                  <a:gd name="T5" fmla="*/ 23 h 73"/>
                  <a:gd name="T6" fmla="*/ 36 w 60"/>
                  <a:gd name="T7" fmla="*/ 16 h 73"/>
                  <a:gd name="T8" fmla="*/ 30 w 60"/>
                  <a:gd name="T9" fmla="*/ 15 h 73"/>
                  <a:gd name="T10" fmla="*/ 23 w 60"/>
                  <a:gd name="T11" fmla="*/ 11 h 73"/>
                  <a:gd name="T12" fmla="*/ 19 w 60"/>
                  <a:gd name="T13" fmla="*/ 5 h 73"/>
                  <a:gd name="T14" fmla="*/ 16 w 60"/>
                  <a:gd name="T15" fmla="*/ 1 h 73"/>
                  <a:gd name="T16" fmla="*/ 13 w 60"/>
                  <a:gd name="T17" fmla="*/ 1 h 73"/>
                  <a:gd name="T18" fmla="*/ 12 w 60"/>
                  <a:gd name="T19" fmla="*/ 5 h 73"/>
                  <a:gd name="T20" fmla="*/ 12 w 60"/>
                  <a:gd name="T21" fmla="*/ 12 h 73"/>
                  <a:gd name="T22" fmla="*/ 7 w 60"/>
                  <a:gd name="T23" fmla="*/ 8 h 73"/>
                  <a:gd name="T24" fmla="*/ 3 w 60"/>
                  <a:gd name="T25" fmla="*/ 15 h 73"/>
                  <a:gd name="T26" fmla="*/ 0 w 60"/>
                  <a:gd name="T27" fmla="*/ 17 h 73"/>
                  <a:gd name="T28" fmla="*/ 2 w 60"/>
                  <a:gd name="T29" fmla="*/ 18 h 73"/>
                  <a:gd name="T30" fmla="*/ 3 w 60"/>
                  <a:gd name="T31" fmla="*/ 25 h 73"/>
                  <a:gd name="T32" fmla="*/ 8 w 60"/>
                  <a:gd name="T33" fmla="*/ 27 h 73"/>
                  <a:gd name="T34" fmla="*/ 8 w 60"/>
                  <a:gd name="T35" fmla="*/ 35 h 73"/>
                  <a:gd name="T36" fmla="*/ 5 w 60"/>
                  <a:gd name="T37" fmla="*/ 41 h 73"/>
                  <a:gd name="T38" fmla="*/ 13 w 60"/>
                  <a:gd name="T39" fmla="*/ 39 h 73"/>
                  <a:gd name="T40" fmla="*/ 18 w 60"/>
                  <a:gd name="T41" fmla="*/ 38 h 73"/>
                  <a:gd name="T42" fmla="*/ 24 w 60"/>
                  <a:gd name="T43" fmla="*/ 37 h 73"/>
                  <a:gd name="T44" fmla="*/ 31 w 60"/>
                  <a:gd name="T45" fmla="*/ 37 h 73"/>
                  <a:gd name="T46" fmla="*/ 37 w 60"/>
                  <a:gd name="T47" fmla="*/ 43 h 73"/>
                  <a:gd name="T48" fmla="*/ 38 w 60"/>
                  <a:gd name="T49" fmla="*/ 52 h 73"/>
                  <a:gd name="T50" fmla="*/ 43 w 60"/>
                  <a:gd name="T51" fmla="*/ 61 h 73"/>
                  <a:gd name="T52" fmla="*/ 42 w 60"/>
                  <a:gd name="T53" fmla="*/ 70 h 73"/>
                  <a:gd name="T54" fmla="*/ 46 w 60"/>
                  <a:gd name="T55" fmla="*/ 72 h 73"/>
                  <a:gd name="T56" fmla="*/ 48 w 60"/>
                  <a:gd name="T57" fmla="*/ 70 h 73"/>
                  <a:gd name="T58" fmla="*/ 54 w 60"/>
                  <a:gd name="T59" fmla="*/ 68 h 73"/>
                  <a:gd name="T60" fmla="*/ 59 w 60"/>
                  <a:gd name="T61" fmla="*/ 67 h 73"/>
                  <a:gd name="T62" fmla="*/ 59 w 60"/>
                  <a:gd name="T63" fmla="*/ 64 h 73"/>
                  <a:gd name="T64" fmla="*/ 58 w 60"/>
                  <a:gd name="T65" fmla="*/ 56 h 73"/>
                  <a:gd name="T66" fmla="*/ 51 w 60"/>
                  <a:gd name="T67" fmla="*/ 50 h 73"/>
                  <a:gd name="T68" fmla="*/ 45 w 60"/>
                  <a:gd name="T69" fmla="*/ 41 h 73"/>
                  <a:gd name="T70" fmla="*/ 41 w 60"/>
                  <a:gd name="T71" fmla="*/ 3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60" h="73">
                    <a:moveTo>
                      <a:pt x="41" y="34"/>
                    </a:moveTo>
                    <a:cubicBezTo>
                      <a:pt x="41" y="32"/>
                      <a:pt x="31" y="29"/>
                      <a:pt x="32" y="26"/>
                    </a:cubicBezTo>
                    <a:cubicBezTo>
                      <a:pt x="33" y="24"/>
                      <a:pt x="38" y="25"/>
                      <a:pt x="38" y="23"/>
                    </a:cubicBezTo>
                    <a:cubicBezTo>
                      <a:pt x="38" y="20"/>
                      <a:pt x="36" y="20"/>
                      <a:pt x="36" y="16"/>
                    </a:cubicBezTo>
                    <a:cubicBezTo>
                      <a:pt x="35" y="13"/>
                      <a:pt x="31" y="14"/>
                      <a:pt x="30" y="15"/>
                    </a:cubicBezTo>
                    <a:cubicBezTo>
                      <a:pt x="28" y="16"/>
                      <a:pt x="23" y="14"/>
                      <a:pt x="23" y="11"/>
                    </a:cubicBezTo>
                    <a:cubicBezTo>
                      <a:pt x="23" y="9"/>
                      <a:pt x="19" y="7"/>
                      <a:pt x="19" y="5"/>
                    </a:cubicBezTo>
                    <a:cubicBezTo>
                      <a:pt x="19" y="4"/>
                      <a:pt x="18" y="3"/>
                      <a:pt x="16" y="1"/>
                    </a:cubicBezTo>
                    <a:cubicBezTo>
                      <a:pt x="15" y="2"/>
                      <a:pt x="14" y="2"/>
                      <a:pt x="13" y="1"/>
                    </a:cubicBezTo>
                    <a:cubicBezTo>
                      <a:pt x="12" y="0"/>
                      <a:pt x="11" y="4"/>
                      <a:pt x="12" y="5"/>
                    </a:cubicBezTo>
                    <a:cubicBezTo>
                      <a:pt x="13" y="6"/>
                      <a:pt x="14" y="12"/>
                      <a:pt x="12" y="12"/>
                    </a:cubicBezTo>
                    <a:cubicBezTo>
                      <a:pt x="9" y="11"/>
                      <a:pt x="9" y="8"/>
                      <a:pt x="7" y="8"/>
                    </a:cubicBezTo>
                    <a:cubicBezTo>
                      <a:pt x="7" y="8"/>
                      <a:pt x="3" y="13"/>
                      <a:pt x="3" y="15"/>
                    </a:cubicBezTo>
                    <a:cubicBezTo>
                      <a:pt x="3" y="16"/>
                      <a:pt x="2" y="16"/>
                      <a:pt x="0" y="17"/>
                    </a:cubicBezTo>
                    <a:cubicBezTo>
                      <a:pt x="1" y="18"/>
                      <a:pt x="2" y="18"/>
                      <a:pt x="2" y="18"/>
                    </a:cubicBezTo>
                    <a:cubicBezTo>
                      <a:pt x="3" y="20"/>
                      <a:pt x="2" y="22"/>
                      <a:pt x="3" y="25"/>
                    </a:cubicBezTo>
                    <a:cubicBezTo>
                      <a:pt x="4" y="27"/>
                      <a:pt x="7" y="23"/>
                      <a:pt x="8" y="27"/>
                    </a:cubicBezTo>
                    <a:cubicBezTo>
                      <a:pt x="9" y="30"/>
                      <a:pt x="8" y="32"/>
                      <a:pt x="8" y="35"/>
                    </a:cubicBezTo>
                    <a:cubicBezTo>
                      <a:pt x="8" y="39"/>
                      <a:pt x="5" y="38"/>
                      <a:pt x="5" y="41"/>
                    </a:cubicBezTo>
                    <a:cubicBezTo>
                      <a:pt x="6" y="45"/>
                      <a:pt x="10" y="41"/>
                      <a:pt x="13" y="39"/>
                    </a:cubicBezTo>
                    <a:cubicBezTo>
                      <a:pt x="15" y="37"/>
                      <a:pt x="17" y="37"/>
                      <a:pt x="18" y="38"/>
                    </a:cubicBezTo>
                    <a:cubicBezTo>
                      <a:pt x="20" y="40"/>
                      <a:pt x="23" y="39"/>
                      <a:pt x="24" y="37"/>
                    </a:cubicBezTo>
                    <a:cubicBezTo>
                      <a:pt x="24" y="35"/>
                      <a:pt x="29" y="35"/>
                      <a:pt x="31" y="37"/>
                    </a:cubicBezTo>
                    <a:cubicBezTo>
                      <a:pt x="33" y="39"/>
                      <a:pt x="35" y="41"/>
                      <a:pt x="37" y="43"/>
                    </a:cubicBezTo>
                    <a:cubicBezTo>
                      <a:pt x="39" y="44"/>
                      <a:pt x="35" y="51"/>
                      <a:pt x="38" y="52"/>
                    </a:cubicBezTo>
                    <a:cubicBezTo>
                      <a:pt x="40" y="53"/>
                      <a:pt x="44" y="57"/>
                      <a:pt x="43" y="61"/>
                    </a:cubicBezTo>
                    <a:cubicBezTo>
                      <a:pt x="43" y="64"/>
                      <a:pt x="45" y="67"/>
                      <a:pt x="42" y="70"/>
                    </a:cubicBezTo>
                    <a:cubicBezTo>
                      <a:pt x="44" y="71"/>
                      <a:pt x="46" y="71"/>
                      <a:pt x="46" y="72"/>
                    </a:cubicBezTo>
                    <a:cubicBezTo>
                      <a:pt x="45" y="73"/>
                      <a:pt x="48" y="73"/>
                      <a:pt x="48" y="70"/>
                    </a:cubicBezTo>
                    <a:cubicBezTo>
                      <a:pt x="48" y="67"/>
                      <a:pt x="52" y="68"/>
                      <a:pt x="54" y="68"/>
                    </a:cubicBezTo>
                    <a:cubicBezTo>
                      <a:pt x="55" y="69"/>
                      <a:pt x="57" y="69"/>
                      <a:pt x="59" y="67"/>
                    </a:cubicBezTo>
                    <a:cubicBezTo>
                      <a:pt x="59" y="66"/>
                      <a:pt x="59" y="65"/>
                      <a:pt x="59" y="64"/>
                    </a:cubicBezTo>
                    <a:cubicBezTo>
                      <a:pt x="60" y="61"/>
                      <a:pt x="59" y="57"/>
                      <a:pt x="58" y="56"/>
                    </a:cubicBezTo>
                    <a:cubicBezTo>
                      <a:pt x="56" y="54"/>
                      <a:pt x="52" y="53"/>
                      <a:pt x="51" y="50"/>
                    </a:cubicBezTo>
                    <a:cubicBezTo>
                      <a:pt x="50" y="47"/>
                      <a:pt x="46" y="43"/>
                      <a:pt x="45" y="41"/>
                    </a:cubicBezTo>
                    <a:cubicBezTo>
                      <a:pt x="44" y="38"/>
                      <a:pt x="41" y="36"/>
                      <a:pt x="41" y="34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0" name="Freeform 66">
                <a:extLst>
                  <a:ext uri="{FF2B5EF4-FFF2-40B4-BE49-F238E27FC236}">
                    <a16:creationId xmlns:a16="http://schemas.microsoft.com/office/drawing/2014/main" id="{193A8D87-778C-4AD1-A14C-347200D592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08954" y="3702088"/>
                <a:ext cx="150567" cy="281058"/>
              </a:xfrm>
              <a:custGeom>
                <a:avLst/>
                <a:gdLst>
                  <a:gd name="T0" fmla="*/ 40 w 65"/>
                  <a:gd name="T1" fmla="*/ 64 h 122"/>
                  <a:gd name="T2" fmla="*/ 39 w 65"/>
                  <a:gd name="T3" fmla="*/ 57 h 122"/>
                  <a:gd name="T4" fmla="*/ 50 w 65"/>
                  <a:gd name="T5" fmla="*/ 52 h 122"/>
                  <a:gd name="T6" fmla="*/ 61 w 65"/>
                  <a:gd name="T7" fmla="*/ 52 h 122"/>
                  <a:gd name="T8" fmla="*/ 62 w 65"/>
                  <a:gd name="T9" fmla="*/ 53 h 122"/>
                  <a:gd name="T10" fmla="*/ 63 w 65"/>
                  <a:gd name="T11" fmla="*/ 44 h 122"/>
                  <a:gd name="T12" fmla="*/ 58 w 65"/>
                  <a:gd name="T13" fmla="*/ 35 h 122"/>
                  <a:gd name="T14" fmla="*/ 57 w 65"/>
                  <a:gd name="T15" fmla="*/ 26 h 122"/>
                  <a:gd name="T16" fmla="*/ 51 w 65"/>
                  <a:gd name="T17" fmla="*/ 20 h 122"/>
                  <a:gd name="T18" fmla="*/ 44 w 65"/>
                  <a:gd name="T19" fmla="*/ 20 h 122"/>
                  <a:gd name="T20" fmla="*/ 38 w 65"/>
                  <a:gd name="T21" fmla="*/ 21 h 122"/>
                  <a:gd name="T22" fmla="*/ 33 w 65"/>
                  <a:gd name="T23" fmla="*/ 22 h 122"/>
                  <a:gd name="T24" fmla="*/ 25 w 65"/>
                  <a:gd name="T25" fmla="*/ 24 h 122"/>
                  <a:gd name="T26" fmla="*/ 28 w 65"/>
                  <a:gd name="T27" fmla="*/ 18 h 122"/>
                  <a:gd name="T28" fmla="*/ 28 w 65"/>
                  <a:gd name="T29" fmla="*/ 10 h 122"/>
                  <a:gd name="T30" fmla="*/ 23 w 65"/>
                  <a:gd name="T31" fmla="*/ 8 h 122"/>
                  <a:gd name="T32" fmla="*/ 22 w 65"/>
                  <a:gd name="T33" fmla="*/ 1 h 122"/>
                  <a:gd name="T34" fmla="*/ 20 w 65"/>
                  <a:gd name="T35" fmla="*/ 0 h 122"/>
                  <a:gd name="T36" fmla="*/ 19 w 65"/>
                  <a:gd name="T37" fmla="*/ 1 h 122"/>
                  <a:gd name="T38" fmla="*/ 12 w 65"/>
                  <a:gd name="T39" fmla="*/ 5 h 122"/>
                  <a:gd name="T40" fmla="*/ 6 w 65"/>
                  <a:gd name="T41" fmla="*/ 7 h 122"/>
                  <a:gd name="T42" fmla="*/ 1 w 65"/>
                  <a:gd name="T43" fmla="*/ 10 h 122"/>
                  <a:gd name="T44" fmla="*/ 0 w 65"/>
                  <a:gd name="T45" fmla="*/ 22 h 122"/>
                  <a:gd name="T46" fmla="*/ 6 w 65"/>
                  <a:gd name="T47" fmla="*/ 30 h 122"/>
                  <a:gd name="T48" fmla="*/ 7 w 65"/>
                  <a:gd name="T49" fmla="*/ 35 h 122"/>
                  <a:gd name="T50" fmla="*/ 7 w 65"/>
                  <a:gd name="T51" fmla="*/ 39 h 122"/>
                  <a:gd name="T52" fmla="*/ 6 w 65"/>
                  <a:gd name="T53" fmla="*/ 45 h 122"/>
                  <a:gd name="T54" fmla="*/ 9 w 65"/>
                  <a:gd name="T55" fmla="*/ 53 h 122"/>
                  <a:gd name="T56" fmla="*/ 12 w 65"/>
                  <a:gd name="T57" fmla="*/ 63 h 122"/>
                  <a:gd name="T58" fmla="*/ 14 w 65"/>
                  <a:gd name="T59" fmla="*/ 69 h 122"/>
                  <a:gd name="T60" fmla="*/ 7 w 65"/>
                  <a:gd name="T61" fmla="*/ 82 h 122"/>
                  <a:gd name="T62" fmla="*/ 5 w 65"/>
                  <a:gd name="T63" fmla="*/ 94 h 122"/>
                  <a:gd name="T64" fmla="*/ 6 w 65"/>
                  <a:gd name="T65" fmla="*/ 101 h 122"/>
                  <a:gd name="T66" fmla="*/ 16 w 65"/>
                  <a:gd name="T67" fmla="*/ 112 h 122"/>
                  <a:gd name="T68" fmla="*/ 19 w 65"/>
                  <a:gd name="T69" fmla="*/ 116 h 122"/>
                  <a:gd name="T70" fmla="*/ 23 w 65"/>
                  <a:gd name="T71" fmla="*/ 116 h 122"/>
                  <a:gd name="T72" fmla="*/ 27 w 65"/>
                  <a:gd name="T73" fmla="*/ 121 h 122"/>
                  <a:gd name="T74" fmla="*/ 34 w 65"/>
                  <a:gd name="T75" fmla="*/ 121 h 122"/>
                  <a:gd name="T76" fmla="*/ 36 w 65"/>
                  <a:gd name="T77" fmla="*/ 118 h 122"/>
                  <a:gd name="T78" fmla="*/ 27 w 65"/>
                  <a:gd name="T79" fmla="*/ 113 h 122"/>
                  <a:gd name="T80" fmla="*/ 21 w 65"/>
                  <a:gd name="T81" fmla="*/ 104 h 122"/>
                  <a:gd name="T82" fmla="*/ 18 w 65"/>
                  <a:gd name="T83" fmla="*/ 96 h 122"/>
                  <a:gd name="T84" fmla="*/ 13 w 65"/>
                  <a:gd name="T85" fmla="*/ 92 h 122"/>
                  <a:gd name="T86" fmla="*/ 14 w 65"/>
                  <a:gd name="T87" fmla="*/ 79 h 122"/>
                  <a:gd name="T88" fmla="*/ 19 w 65"/>
                  <a:gd name="T89" fmla="*/ 63 h 122"/>
                  <a:gd name="T90" fmla="*/ 25 w 65"/>
                  <a:gd name="T91" fmla="*/ 61 h 122"/>
                  <a:gd name="T92" fmla="*/ 31 w 65"/>
                  <a:gd name="T93" fmla="*/ 66 h 122"/>
                  <a:gd name="T94" fmla="*/ 40 w 65"/>
                  <a:gd name="T95" fmla="*/ 70 h 122"/>
                  <a:gd name="T96" fmla="*/ 40 w 65"/>
                  <a:gd name="T97" fmla="*/ 71 h 122"/>
                  <a:gd name="T98" fmla="*/ 41 w 65"/>
                  <a:gd name="T99" fmla="*/ 70 h 122"/>
                  <a:gd name="T100" fmla="*/ 40 w 65"/>
                  <a:gd name="T101" fmla="*/ 64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65" h="122">
                    <a:moveTo>
                      <a:pt x="40" y="64"/>
                    </a:moveTo>
                    <a:cubicBezTo>
                      <a:pt x="40" y="61"/>
                      <a:pt x="36" y="61"/>
                      <a:pt x="39" y="57"/>
                    </a:cubicBezTo>
                    <a:cubicBezTo>
                      <a:pt x="42" y="53"/>
                      <a:pt x="47" y="51"/>
                      <a:pt x="50" y="52"/>
                    </a:cubicBezTo>
                    <a:cubicBezTo>
                      <a:pt x="53" y="53"/>
                      <a:pt x="59" y="50"/>
                      <a:pt x="61" y="52"/>
                    </a:cubicBezTo>
                    <a:cubicBezTo>
                      <a:pt x="61" y="52"/>
                      <a:pt x="62" y="53"/>
                      <a:pt x="62" y="53"/>
                    </a:cubicBezTo>
                    <a:cubicBezTo>
                      <a:pt x="65" y="50"/>
                      <a:pt x="63" y="47"/>
                      <a:pt x="63" y="44"/>
                    </a:cubicBezTo>
                    <a:cubicBezTo>
                      <a:pt x="64" y="40"/>
                      <a:pt x="60" y="36"/>
                      <a:pt x="58" y="35"/>
                    </a:cubicBezTo>
                    <a:cubicBezTo>
                      <a:pt x="55" y="34"/>
                      <a:pt x="59" y="27"/>
                      <a:pt x="57" y="26"/>
                    </a:cubicBezTo>
                    <a:cubicBezTo>
                      <a:pt x="55" y="24"/>
                      <a:pt x="53" y="22"/>
                      <a:pt x="51" y="20"/>
                    </a:cubicBezTo>
                    <a:cubicBezTo>
                      <a:pt x="49" y="18"/>
                      <a:pt x="44" y="18"/>
                      <a:pt x="44" y="20"/>
                    </a:cubicBezTo>
                    <a:cubicBezTo>
                      <a:pt x="43" y="22"/>
                      <a:pt x="40" y="23"/>
                      <a:pt x="38" y="21"/>
                    </a:cubicBezTo>
                    <a:cubicBezTo>
                      <a:pt x="37" y="20"/>
                      <a:pt x="35" y="20"/>
                      <a:pt x="33" y="22"/>
                    </a:cubicBezTo>
                    <a:cubicBezTo>
                      <a:pt x="30" y="24"/>
                      <a:pt x="26" y="28"/>
                      <a:pt x="25" y="24"/>
                    </a:cubicBezTo>
                    <a:cubicBezTo>
                      <a:pt x="25" y="21"/>
                      <a:pt x="28" y="22"/>
                      <a:pt x="28" y="18"/>
                    </a:cubicBezTo>
                    <a:cubicBezTo>
                      <a:pt x="28" y="15"/>
                      <a:pt x="29" y="13"/>
                      <a:pt x="28" y="10"/>
                    </a:cubicBezTo>
                    <a:cubicBezTo>
                      <a:pt x="27" y="6"/>
                      <a:pt x="24" y="10"/>
                      <a:pt x="23" y="8"/>
                    </a:cubicBezTo>
                    <a:cubicBezTo>
                      <a:pt x="22" y="5"/>
                      <a:pt x="23" y="3"/>
                      <a:pt x="22" y="1"/>
                    </a:cubicBezTo>
                    <a:cubicBezTo>
                      <a:pt x="22" y="1"/>
                      <a:pt x="21" y="1"/>
                      <a:pt x="20" y="0"/>
                    </a:cubicBezTo>
                    <a:cubicBezTo>
                      <a:pt x="20" y="0"/>
                      <a:pt x="19" y="1"/>
                      <a:pt x="19" y="1"/>
                    </a:cubicBezTo>
                    <a:cubicBezTo>
                      <a:pt x="18" y="3"/>
                      <a:pt x="13" y="3"/>
                      <a:pt x="12" y="5"/>
                    </a:cubicBezTo>
                    <a:cubicBezTo>
                      <a:pt x="11" y="7"/>
                      <a:pt x="7" y="7"/>
                      <a:pt x="6" y="7"/>
                    </a:cubicBezTo>
                    <a:cubicBezTo>
                      <a:pt x="5" y="7"/>
                      <a:pt x="2" y="7"/>
                      <a:pt x="1" y="10"/>
                    </a:cubicBezTo>
                    <a:cubicBezTo>
                      <a:pt x="1" y="12"/>
                      <a:pt x="0" y="21"/>
                      <a:pt x="0" y="22"/>
                    </a:cubicBezTo>
                    <a:cubicBezTo>
                      <a:pt x="0" y="24"/>
                      <a:pt x="4" y="29"/>
                      <a:pt x="6" y="30"/>
                    </a:cubicBezTo>
                    <a:cubicBezTo>
                      <a:pt x="7" y="30"/>
                      <a:pt x="5" y="34"/>
                      <a:pt x="7" y="35"/>
                    </a:cubicBezTo>
                    <a:cubicBezTo>
                      <a:pt x="9" y="36"/>
                      <a:pt x="8" y="39"/>
                      <a:pt x="7" y="39"/>
                    </a:cubicBezTo>
                    <a:cubicBezTo>
                      <a:pt x="6" y="39"/>
                      <a:pt x="8" y="43"/>
                      <a:pt x="6" y="45"/>
                    </a:cubicBezTo>
                    <a:cubicBezTo>
                      <a:pt x="4" y="46"/>
                      <a:pt x="5" y="50"/>
                      <a:pt x="9" y="53"/>
                    </a:cubicBezTo>
                    <a:cubicBezTo>
                      <a:pt x="12" y="56"/>
                      <a:pt x="12" y="60"/>
                      <a:pt x="12" y="63"/>
                    </a:cubicBezTo>
                    <a:cubicBezTo>
                      <a:pt x="12" y="66"/>
                      <a:pt x="14" y="66"/>
                      <a:pt x="14" y="69"/>
                    </a:cubicBezTo>
                    <a:cubicBezTo>
                      <a:pt x="14" y="69"/>
                      <a:pt x="11" y="83"/>
                      <a:pt x="7" y="82"/>
                    </a:cubicBezTo>
                    <a:cubicBezTo>
                      <a:pt x="7" y="86"/>
                      <a:pt x="6" y="91"/>
                      <a:pt x="5" y="94"/>
                    </a:cubicBezTo>
                    <a:cubicBezTo>
                      <a:pt x="4" y="98"/>
                      <a:pt x="4" y="101"/>
                      <a:pt x="6" y="101"/>
                    </a:cubicBezTo>
                    <a:cubicBezTo>
                      <a:pt x="8" y="101"/>
                      <a:pt x="12" y="106"/>
                      <a:pt x="16" y="112"/>
                    </a:cubicBezTo>
                    <a:cubicBezTo>
                      <a:pt x="17" y="113"/>
                      <a:pt x="18" y="114"/>
                      <a:pt x="19" y="116"/>
                    </a:cubicBezTo>
                    <a:cubicBezTo>
                      <a:pt x="20" y="115"/>
                      <a:pt x="22" y="116"/>
                      <a:pt x="23" y="116"/>
                    </a:cubicBezTo>
                    <a:cubicBezTo>
                      <a:pt x="26" y="116"/>
                      <a:pt x="27" y="119"/>
                      <a:pt x="27" y="121"/>
                    </a:cubicBezTo>
                    <a:cubicBezTo>
                      <a:pt x="27" y="122"/>
                      <a:pt x="33" y="122"/>
                      <a:pt x="34" y="121"/>
                    </a:cubicBezTo>
                    <a:cubicBezTo>
                      <a:pt x="34" y="121"/>
                      <a:pt x="33" y="119"/>
                      <a:pt x="36" y="118"/>
                    </a:cubicBezTo>
                    <a:cubicBezTo>
                      <a:pt x="34" y="116"/>
                      <a:pt x="30" y="113"/>
                      <a:pt x="27" y="113"/>
                    </a:cubicBezTo>
                    <a:cubicBezTo>
                      <a:pt x="23" y="112"/>
                      <a:pt x="21" y="106"/>
                      <a:pt x="21" y="104"/>
                    </a:cubicBezTo>
                    <a:cubicBezTo>
                      <a:pt x="22" y="101"/>
                      <a:pt x="18" y="99"/>
                      <a:pt x="18" y="96"/>
                    </a:cubicBezTo>
                    <a:cubicBezTo>
                      <a:pt x="18" y="94"/>
                      <a:pt x="16" y="94"/>
                      <a:pt x="13" y="92"/>
                    </a:cubicBezTo>
                    <a:cubicBezTo>
                      <a:pt x="10" y="91"/>
                      <a:pt x="14" y="83"/>
                      <a:pt x="14" y="79"/>
                    </a:cubicBezTo>
                    <a:cubicBezTo>
                      <a:pt x="14" y="76"/>
                      <a:pt x="20" y="66"/>
                      <a:pt x="19" y="63"/>
                    </a:cubicBezTo>
                    <a:cubicBezTo>
                      <a:pt x="17" y="60"/>
                      <a:pt x="24" y="58"/>
                      <a:pt x="25" y="61"/>
                    </a:cubicBezTo>
                    <a:cubicBezTo>
                      <a:pt x="26" y="65"/>
                      <a:pt x="27" y="66"/>
                      <a:pt x="31" y="66"/>
                    </a:cubicBezTo>
                    <a:cubicBezTo>
                      <a:pt x="36" y="66"/>
                      <a:pt x="36" y="69"/>
                      <a:pt x="40" y="70"/>
                    </a:cubicBezTo>
                    <a:cubicBezTo>
                      <a:pt x="40" y="71"/>
                      <a:pt x="40" y="71"/>
                      <a:pt x="40" y="71"/>
                    </a:cubicBezTo>
                    <a:cubicBezTo>
                      <a:pt x="41" y="71"/>
                      <a:pt x="41" y="71"/>
                      <a:pt x="41" y="70"/>
                    </a:cubicBezTo>
                    <a:cubicBezTo>
                      <a:pt x="42" y="68"/>
                      <a:pt x="40" y="68"/>
                      <a:pt x="40" y="64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1" name="Freeform 67">
                <a:extLst>
                  <a:ext uri="{FF2B5EF4-FFF2-40B4-BE49-F238E27FC236}">
                    <a16:creationId xmlns:a16="http://schemas.microsoft.com/office/drawing/2014/main" id="{6EB773F2-971F-406F-9498-FCA24DFB0F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5716" y="2940470"/>
                <a:ext cx="176916" cy="145548"/>
              </a:xfrm>
              <a:custGeom>
                <a:avLst/>
                <a:gdLst>
                  <a:gd name="T0" fmla="*/ 1 w 77"/>
                  <a:gd name="T1" fmla="*/ 13 h 63"/>
                  <a:gd name="T2" fmla="*/ 1 w 77"/>
                  <a:gd name="T3" fmla="*/ 22 h 63"/>
                  <a:gd name="T4" fmla="*/ 1 w 77"/>
                  <a:gd name="T5" fmla="*/ 25 h 63"/>
                  <a:gd name="T6" fmla="*/ 3 w 77"/>
                  <a:gd name="T7" fmla="*/ 29 h 63"/>
                  <a:gd name="T8" fmla="*/ 4 w 77"/>
                  <a:gd name="T9" fmla="*/ 33 h 63"/>
                  <a:gd name="T10" fmla="*/ 6 w 77"/>
                  <a:gd name="T11" fmla="*/ 39 h 63"/>
                  <a:gd name="T12" fmla="*/ 6 w 77"/>
                  <a:gd name="T13" fmla="*/ 43 h 63"/>
                  <a:gd name="T14" fmla="*/ 11 w 77"/>
                  <a:gd name="T15" fmla="*/ 46 h 63"/>
                  <a:gd name="T16" fmla="*/ 16 w 77"/>
                  <a:gd name="T17" fmla="*/ 49 h 63"/>
                  <a:gd name="T18" fmla="*/ 21 w 77"/>
                  <a:gd name="T19" fmla="*/ 51 h 63"/>
                  <a:gd name="T20" fmla="*/ 25 w 77"/>
                  <a:gd name="T21" fmla="*/ 50 h 63"/>
                  <a:gd name="T22" fmla="*/ 27 w 77"/>
                  <a:gd name="T23" fmla="*/ 53 h 63"/>
                  <a:gd name="T24" fmla="*/ 33 w 77"/>
                  <a:gd name="T25" fmla="*/ 55 h 63"/>
                  <a:gd name="T26" fmla="*/ 36 w 77"/>
                  <a:gd name="T27" fmla="*/ 59 h 63"/>
                  <a:gd name="T28" fmla="*/ 41 w 77"/>
                  <a:gd name="T29" fmla="*/ 59 h 63"/>
                  <a:gd name="T30" fmla="*/ 48 w 77"/>
                  <a:gd name="T31" fmla="*/ 60 h 63"/>
                  <a:gd name="T32" fmla="*/ 54 w 77"/>
                  <a:gd name="T33" fmla="*/ 60 h 63"/>
                  <a:gd name="T34" fmla="*/ 61 w 77"/>
                  <a:gd name="T35" fmla="*/ 62 h 63"/>
                  <a:gd name="T36" fmla="*/ 66 w 77"/>
                  <a:gd name="T37" fmla="*/ 63 h 63"/>
                  <a:gd name="T38" fmla="*/ 65 w 77"/>
                  <a:gd name="T39" fmla="*/ 58 h 63"/>
                  <a:gd name="T40" fmla="*/ 73 w 77"/>
                  <a:gd name="T41" fmla="*/ 50 h 63"/>
                  <a:gd name="T42" fmla="*/ 76 w 77"/>
                  <a:gd name="T43" fmla="*/ 47 h 63"/>
                  <a:gd name="T44" fmla="*/ 73 w 77"/>
                  <a:gd name="T45" fmla="*/ 39 h 63"/>
                  <a:gd name="T46" fmla="*/ 73 w 77"/>
                  <a:gd name="T47" fmla="*/ 32 h 63"/>
                  <a:gd name="T48" fmla="*/ 70 w 77"/>
                  <a:gd name="T49" fmla="*/ 28 h 63"/>
                  <a:gd name="T50" fmla="*/ 75 w 77"/>
                  <a:gd name="T51" fmla="*/ 24 h 63"/>
                  <a:gd name="T52" fmla="*/ 74 w 77"/>
                  <a:gd name="T53" fmla="*/ 17 h 63"/>
                  <a:gd name="T54" fmla="*/ 73 w 77"/>
                  <a:gd name="T55" fmla="*/ 11 h 63"/>
                  <a:gd name="T56" fmla="*/ 67 w 77"/>
                  <a:gd name="T57" fmla="*/ 7 h 63"/>
                  <a:gd name="T58" fmla="*/ 66 w 77"/>
                  <a:gd name="T59" fmla="*/ 6 h 63"/>
                  <a:gd name="T60" fmla="*/ 46 w 77"/>
                  <a:gd name="T61" fmla="*/ 5 h 63"/>
                  <a:gd name="T62" fmla="*/ 42 w 77"/>
                  <a:gd name="T63" fmla="*/ 4 h 63"/>
                  <a:gd name="T64" fmla="*/ 37 w 77"/>
                  <a:gd name="T65" fmla="*/ 6 h 63"/>
                  <a:gd name="T66" fmla="*/ 33 w 77"/>
                  <a:gd name="T67" fmla="*/ 1 h 63"/>
                  <a:gd name="T68" fmla="*/ 16 w 77"/>
                  <a:gd name="T69" fmla="*/ 6 h 63"/>
                  <a:gd name="T70" fmla="*/ 3 w 77"/>
                  <a:gd name="T71" fmla="*/ 10 h 63"/>
                  <a:gd name="T72" fmla="*/ 1 w 77"/>
                  <a:gd name="T73" fmla="*/ 12 h 63"/>
                  <a:gd name="T74" fmla="*/ 1 w 77"/>
                  <a:gd name="T75" fmla="*/ 13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7" h="63">
                    <a:moveTo>
                      <a:pt x="1" y="13"/>
                    </a:moveTo>
                    <a:cubicBezTo>
                      <a:pt x="2" y="15"/>
                      <a:pt x="2" y="20"/>
                      <a:pt x="1" y="22"/>
                    </a:cubicBezTo>
                    <a:cubicBezTo>
                      <a:pt x="0" y="23"/>
                      <a:pt x="0" y="24"/>
                      <a:pt x="1" y="25"/>
                    </a:cubicBezTo>
                    <a:cubicBezTo>
                      <a:pt x="3" y="25"/>
                      <a:pt x="3" y="27"/>
                      <a:pt x="3" y="29"/>
                    </a:cubicBezTo>
                    <a:cubicBezTo>
                      <a:pt x="3" y="30"/>
                      <a:pt x="4" y="30"/>
                      <a:pt x="4" y="33"/>
                    </a:cubicBezTo>
                    <a:cubicBezTo>
                      <a:pt x="4" y="36"/>
                      <a:pt x="5" y="38"/>
                      <a:pt x="6" y="39"/>
                    </a:cubicBezTo>
                    <a:cubicBezTo>
                      <a:pt x="7" y="40"/>
                      <a:pt x="7" y="42"/>
                      <a:pt x="6" y="43"/>
                    </a:cubicBezTo>
                    <a:cubicBezTo>
                      <a:pt x="8" y="44"/>
                      <a:pt x="10" y="45"/>
                      <a:pt x="11" y="46"/>
                    </a:cubicBezTo>
                    <a:cubicBezTo>
                      <a:pt x="15" y="47"/>
                      <a:pt x="16" y="48"/>
                      <a:pt x="16" y="49"/>
                    </a:cubicBezTo>
                    <a:cubicBezTo>
                      <a:pt x="17" y="51"/>
                      <a:pt x="20" y="53"/>
                      <a:pt x="21" y="51"/>
                    </a:cubicBezTo>
                    <a:cubicBezTo>
                      <a:pt x="21" y="49"/>
                      <a:pt x="24" y="50"/>
                      <a:pt x="25" y="50"/>
                    </a:cubicBezTo>
                    <a:cubicBezTo>
                      <a:pt x="27" y="50"/>
                      <a:pt x="27" y="52"/>
                      <a:pt x="27" y="53"/>
                    </a:cubicBezTo>
                    <a:cubicBezTo>
                      <a:pt x="28" y="54"/>
                      <a:pt x="31" y="54"/>
                      <a:pt x="33" y="55"/>
                    </a:cubicBezTo>
                    <a:cubicBezTo>
                      <a:pt x="34" y="55"/>
                      <a:pt x="34" y="58"/>
                      <a:pt x="36" y="59"/>
                    </a:cubicBezTo>
                    <a:cubicBezTo>
                      <a:pt x="38" y="61"/>
                      <a:pt x="40" y="58"/>
                      <a:pt x="41" y="59"/>
                    </a:cubicBezTo>
                    <a:cubicBezTo>
                      <a:pt x="42" y="60"/>
                      <a:pt x="46" y="61"/>
                      <a:pt x="48" y="60"/>
                    </a:cubicBezTo>
                    <a:cubicBezTo>
                      <a:pt x="50" y="59"/>
                      <a:pt x="51" y="61"/>
                      <a:pt x="54" y="60"/>
                    </a:cubicBezTo>
                    <a:cubicBezTo>
                      <a:pt x="57" y="60"/>
                      <a:pt x="60" y="61"/>
                      <a:pt x="61" y="62"/>
                    </a:cubicBezTo>
                    <a:cubicBezTo>
                      <a:pt x="61" y="62"/>
                      <a:pt x="64" y="63"/>
                      <a:pt x="66" y="63"/>
                    </a:cubicBezTo>
                    <a:cubicBezTo>
                      <a:pt x="66" y="62"/>
                      <a:pt x="65" y="59"/>
                      <a:pt x="65" y="58"/>
                    </a:cubicBezTo>
                    <a:cubicBezTo>
                      <a:pt x="66" y="57"/>
                      <a:pt x="72" y="51"/>
                      <a:pt x="73" y="50"/>
                    </a:cubicBezTo>
                    <a:cubicBezTo>
                      <a:pt x="74" y="49"/>
                      <a:pt x="76" y="49"/>
                      <a:pt x="76" y="47"/>
                    </a:cubicBezTo>
                    <a:cubicBezTo>
                      <a:pt x="77" y="46"/>
                      <a:pt x="74" y="40"/>
                      <a:pt x="73" y="39"/>
                    </a:cubicBezTo>
                    <a:cubicBezTo>
                      <a:pt x="72" y="38"/>
                      <a:pt x="72" y="34"/>
                      <a:pt x="73" y="32"/>
                    </a:cubicBezTo>
                    <a:cubicBezTo>
                      <a:pt x="73" y="30"/>
                      <a:pt x="70" y="29"/>
                      <a:pt x="70" y="28"/>
                    </a:cubicBezTo>
                    <a:cubicBezTo>
                      <a:pt x="70" y="27"/>
                      <a:pt x="73" y="25"/>
                      <a:pt x="75" y="24"/>
                    </a:cubicBezTo>
                    <a:cubicBezTo>
                      <a:pt x="76" y="23"/>
                      <a:pt x="76" y="18"/>
                      <a:pt x="74" y="17"/>
                    </a:cubicBezTo>
                    <a:cubicBezTo>
                      <a:pt x="73" y="16"/>
                      <a:pt x="72" y="14"/>
                      <a:pt x="73" y="11"/>
                    </a:cubicBezTo>
                    <a:cubicBezTo>
                      <a:pt x="74" y="9"/>
                      <a:pt x="68" y="7"/>
                      <a:pt x="67" y="7"/>
                    </a:cubicBezTo>
                    <a:cubicBezTo>
                      <a:pt x="67" y="7"/>
                      <a:pt x="67" y="6"/>
                      <a:pt x="66" y="6"/>
                    </a:cubicBezTo>
                    <a:cubicBezTo>
                      <a:pt x="61" y="7"/>
                      <a:pt x="47" y="6"/>
                      <a:pt x="46" y="5"/>
                    </a:cubicBezTo>
                    <a:cubicBezTo>
                      <a:pt x="45" y="5"/>
                      <a:pt x="43" y="4"/>
                      <a:pt x="42" y="4"/>
                    </a:cubicBezTo>
                    <a:cubicBezTo>
                      <a:pt x="41" y="5"/>
                      <a:pt x="39" y="6"/>
                      <a:pt x="37" y="6"/>
                    </a:cubicBezTo>
                    <a:cubicBezTo>
                      <a:pt x="34" y="6"/>
                      <a:pt x="33" y="3"/>
                      <a:pt x="33" y="1"/>
                    </a:cubicBezTo>
                    <a:cubicBezTo>
                      <a:pt x="33" y="0"/>
                      <a:pt x="19" y="2"/>
                      <a:pt x="16" y="6"/>
                    </a:cubicBezTo>
                    <a:cubicBezTo>
                      <a:pt x="12" y="10"/>
                      <a:pt x="3" y="8"/>
                      <a:pt x="3" y="10"/>
                    </a:cubicBezTo>
                    <a:cubicBezTo>
                      <a:pt x="3" y="12"/>
                      <a:pt x="2" y="13"/>
                      <a:pt x="1" y="12"/>
                    </a:cubicBezTo>
                    <a:cubicBezTo>
                      <a:pt x="1" y="13"/>
                      <a:pt x="1" y="13"/>
                      <a:pt x="1" y="1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2" name="Freeform 68">
                <a:extLst>
                  <a:ext uri="{FF2B5EF4-FFF2-40B4-BE49-F238E27FC236}">
                    <a16:creationId xmlns:a16="http://schemas.microsoft.com/office/drawing/2014/main" id="{88B3C971-3E3A-440F-9366-053A7B334D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10811" y="3177613"/>
                <a:ext cx="66500" cy="62736"/>
              </a:xfrm>
              <a:custGeom>
                <a:avLst/>
                <a:gdLst>
                  <a:gd name="T0" fmla="*/ 21 w 29"/>
                  <a:gd name="T1" fmla="*/ 25 h 27"/>
                  <a:gd name="T2" fmla="*/ 28 w 29"/>
                  <a:gd name="T3" fmla="*/ 16 h 27"/>
                  <a:gd name="T4" fmla="*/ 29 w 29"/>
                  <a:gd name="T5" fmla="*/ 5 h 27"/>
                  <a:gd name="T6" fmla="*/ 21 w 29"/>
                  <a:gd name="T7" fmla="*/ 2 h 27"/>
                  <a:gd name="T8" fmla="*/ 9 w 29"/>
                  <a:gd name="T9" fmla="*/ 0 h 27"/>
                  <a:gd name="T10" fmla="*/ 4 w 29"/>
                  <a:gd name="T11" fmla="*/ 1 h 27"/>
                  <a:gd name="T12" fmla="*/ 0 w 29"/>
                  <a:gd name="T13" fmla="*/ 3 h 27"/>
                  <a:gd name="T14" fmla="*/ 4 w 29"/>
                  <a:gd name="T15" fmla="*/ 9 h 27"/>
                  <a:gd name="T16" fmla="*/ 10 w 29"/>
                  <a:gd name="T17" fmla="*/ 17 h 27"/>
                  <a:gd name="T18" fmla="*/ 17 w 29"/>
                  <a:gd name="T19" fmla="*/ 24 h 27"/>
                  <a:gd name="T20" fmla="*/ 21 w 29"/>
                  <a:gd name="T21" fmla="*/ 27 h 27"/>
                  <a:gd name="T22" fmla="*/ 21 w 29"/>
                  <a:gd name="T23" fmla="*/ 25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9" h="27">
                    <a:moveTo>
                      <a:pt x="21" y="25"/>
                    </a:moveTo>
                    <a:cubicBezTo>
                      <a:pt x="21" y="23"/>
                      <a:pt x="26" y="16"/>
                      <a:pt x="28" y="16"/>
                    </a:cubicBezTo>
                    <a:cubicBezTo>
                      <a:pt x="29" y="16"/>
                      <a:pt x="29" y="9"/>
                      <a:pt x="29" y="5"/>
                    </a:cubicBezTo>
                    <a:cubicBezTo>
                      <a:pt x="25" y="2"/>
                      <a:pt x="21" y="2"/>
                      <a:pt x="21" y="2"/>
                    </a:cubicBezTo>
                    <a:cubicBezTo>
                      <a:pt x="21" y="2"/>
                      <a:pt x="11" y="1"/>
                      <a:pt x="9" y="0"/>
                    </a:cubicBezTo>
                    <a:cubicBezTo>
                      <a:pt x="7" y="0"/>
                      <a:pt x="5" y="3"/>
                      <a:pt x="4" y="1"/>
                    </a:cubicBezTo>
                    <a:cubicBezTo>
                      <a:pt x="2" y="0"/>
                      <a:pt x="0" y="2"/>
                      <a:pt x="0" y="3"/>
                    </a:cubicBezTo>
                    <a:cubicBezTo>
                      <a:pt x="1" y="5"/>
                      <a:pt x="4" y="6"/>
                      <a:pt x="4" y="9"/>
                    </a:cubicBezTo>
                    <a:cubicBezTo>
                      <a:pt x="4" y="12"/>
                      <a:pt x="11" y="16"/>
                      <a:pt x="10" y="17"/>
                    </a:cubicBezTo>
                    <a:cubicBezTo>
                      <a:pt x="10" y="18"/>
                      <a:pt x="15" y="21"/>
                      <a:pt x="17" y="24"/>
                    </a:cubicBezTo>
                    <a:cubicBezTo>
                      <a:pt x="18" y="25"/>
                      <a:pt x="20" y="26"/>
                      <a:pt x="21" y="27"/>
                    </a:cubicBezTo>
                    <a:cubicBezTo>
                      <a:pt x="21" y="26"/>
                      <a:pt x="22" y="25"/>
                      <a:pt x="21" y="2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3" name="Freeform 69">
                <a:extLst>
                  <a:ext uri="{FF2B5EF4-FFF2-40B4-BE49-F238E27FC236}">
                    <a16:creationId xmlns:a16="http://schemas.microsoft.com/office/drawing/2014/main" id="{50A48F5A-2A5F-4B3F-A3AE-A7F8446341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8188" y="3147499"/>
                <a:ext cx="99123" cy="85321"/>
              </a:xfrm>
              <a:custGeom>
                <a:avLst/>
                <a:gdLst>
                  <a:gd name="T0" fmla="*/ 24 w 43"/>
                  <a:gd name="T1" fmla="*/ 30 h 37"/>
                  <a:gd name="T2" fmla="*/ 18 w 43"/>
                  <a:gd name="T3" fmla="*/ 22 h 37"/>
                  <a:gd name="T4" fmla="*/ 14 w 43"/>
                  <a:gd name="T5" fmla="*/ 16 h 37"/>
                  <a:gd name="T6" fmla="*/ 18 w 43"/>
                  <a:gd name="T7" fmla="*/ 14 h 37"/>
                  <a:gd name="T8" fmla="*/ 23 w 43"/>
                  <a:gd name="T9" fmla="*/ 13 h 37"/>
                  <a:gd name="T10" fmla="*/ 35 w 43"/>
                  <a:gd name="T11" fmla="*/ 15 h 37"/>
                  <a:gd name="T12" fmla="*/ 43 w 43"/>
                  <a:gd name="T13" fmla="*/ 18 h 37"/>
                  <a:gd name="T14" fmla="*/ 42 w 43"/>
                  <a:gd name="T15" fmla="*/ 16 h 37"/>
                  <a:gd name="T16" fmla="*/ 40 w 43"/>
                  <a:gd name="T17" fmla="*/ 11 h 37"/>
                  <a:gd name="T18" fmla="*/ 38 w 43"/>
                  <a:gd name="T19" fmla="*/ 6 h 37"/>
                  <a:gd name="T20" fmla="*/ 35 w 43"/>
                  <a:gd name="T21" fmla="*/ 7 h 37"/>
                  <a:gd name="T22" fmla="*/ 27 w 43"/>
                  <a:gd name="T23" fmla="*/ 5 h 37"/>
                  <a:gd name="T24" fmla="*/ 20 w 43"/>
                  <a:gd name="T25" fmla="*/ 0 h 37"/>
                  <a:gd name="T26" fmla="*/ 15 w 43"/>
                  <a:gd name="T27" fmla="*/ 3 h 37"/>
                  <a:gd name="T28" fmla="*/ 13 w 43"/>
                  <a:gd name="T29" fmla="*/ 7 h 37"/>
                  <a:gd name="T30" fmla="*/ 10 w 43"/>
                  <a:gd name="T31" fmla="*/ 11 h 37"/>
                  <a:gd name="T32" fmla="*/ 5 w 43"/>
                  <a:gd name="T33" fmla="*/ 10 h 37"/>
                  <a:gd name="T34" fmla="*/ 0 w 43"/>
                  <a:gd name="T35" fmla="*/ 11 h 37"/>
                  <a:gd name="T36" fmla="*/ 1 w 43"/>
                  <a:gd name="T37" fmla="*/ 15 h 37"/>
                  <a:gd name="T38" fmla="*/ 7 w 43"/>
                  <a:gd name="T39" fmla="*/ 17 h 37"/>
                  <a:gd name="T40" fmla="*/ 14 w 43"/>
                  <a:gd name="T41" fmla="*/ 29 h 37"/>
                  <a:gd name="T42" fmla="*/ 21 w 43"/>
                  <a:gd name="T43" fmla="*/ 32 h 37"/>
                  <a:gd name="T44" fmla="*/ 28 w 43"/>
                  <a:gd name="T45" fmla="*/ 36 h 37"/>
                  <a:gd name="T46" fmla="*/ 31 w 43"/>
                  <a:gd name="T47" fmla="*/ 37 h 37"/>
                  <a:gd name="T48" fmla="*/ 24 w 43"/>
                  <a:gd name="T49" fmla="*/ 3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3" h="37">
                    <a:moveTo>
                      <a:pt x="24" y="30"/>
                    </a:moveTo>
                    <a:cubicBezTo>
                      <a:pt x="25" y="29"/>
                      <a:pt x="18" y="25"/>
                      <a:pt x="18" y="22"/>
                    </a:cubicBezTo>
                    <a:cubicBezTo>
                      <a:pt x="18" y="19"/>
                      <a:pt x="15" y="18"/>
                      <a:pt x="14" y="16"/>
                    </a:cubicBezTo>
                    <a:cubicBezTo>
                      <a:pt x="14" y="15"/>
                      <a:pt x="16" y="13"/>
                      <a:pt x="18" y="14"/>
                    </a:cubicBezTo>
                    <a:cubicBezTo>
                      <a:pt x="19" y="16"/>
                      <a:pt x="21" y="13"/>
                      <a:pt x="23" y="13"/>
                    </a:cubicBezTo>
                    <a:cubicBezTo>
                      <a:pt x="25" y="14"/>
                      <a:pt x="35" y="15"/>
                      <a:pt x="35" y="15"/>
                    </a:cubicBezTo>
                    <a:cubicBezTo>
                      <a:pt x="35" y="15"/>
                      <a:pt x="39" y="15"/>
                      <a:pt x="43" y="18"/>
                    </a:cubicBezTo>
                    <a:cubicBezTo>
                      <a:pt x="42" y="17"/>
                      <a:pt x="42" y="17"/>
                      <a:pt x="42" y="16"/>
                    </a:cubicBezTo>
                    <a:cubicBezTo>
                      <a:pt x="41" y="14"/>
                      <a:pt x="42" y="12"/>
                      <a:pt x="40" y="11"/>
                    </a:cubicBezTo>
                    <a:cubicBezTo>
                      <a:pt x="38" y="10"/>
                      <a:pt x="38" y="8"/>
                      <a:pt x="38" y="6"/>
                    </a:cubicBezTo>
                    <a:cubicBezTo>
                      <a:pt x="36" y="6"/>
                      <a:pt x="35" y="7"/>
                      <a:pt x="35" y="7"/>
                    </a:cubicBezTo>
                    <a:cubicBezTo>
                      <a:pt x="33" y="7"/>
                      <a:pt x="28" y="7"/>
                      <a:pt x="27" y="5"/>
                    </a:cubicBezTo>
                    <a:cubicBezTo>
                      <a:pt x="25" y="3"/>
                      <a:pt x="22" y="1"/>
                      <a:pt x="20" y="0"/>
                    </a:cubicBezTo>
                    <a:cubicBezTo>
                      <a:pt x="19" y="0"/>
                      <a:pt x="16" y="3"/>
                      <a:pt x="15" y="3"/>
                    </a:cubicBezTo>
                    <a:cubicBezTo>
                      <a:pt x="14" y="3"/>
                      <a:pt x="14" y="7"/>
                      <a:pt x="13" y="7"/>
                    </a:cubicBezTo>
                    <a:cubicBezTo>
                      <a:pt x="12" y="7"/>
                      <a:pt x="11" y="9"/>
                      <a:pt x="10" y="11"/>
                    </a:cubicBezTo>
                    <a:cubicBezTo>
                      <a:pt x="10" y="12"/>
                      <a:pt x="7" y="10"/>
                      <a:pt x="5" y="10"/>
                    </a:cubicBezTo>
                    <a:cubicBezTo>
                      <a:pt x="4" y="11"/>
                      <a:pt x="1" y="11"/>
                      <a:pt x="0" y="11"/>
                    </a:cubicBezTo>
                    <a:cubicBezTo>
                      <a:pt x="0" y="13"/>
                      <a:pt x="0" y="15"/>
                      <a:pt x="1" y="15"/>
                    </a:cubicBezTo>
                    <a:cubicBezTo>
                      <a:pt x="3" y="15"/>
                      <a:pt x="7" y="15"/>
                      <a:pt x="7" y="17"/>
                    </a:cubicBezTo>
                    <a:cubicBezTo>
                      <a:pt x="7" y="20"/>
                      <a:pt x="12" y="27"/>
                      <a:pt x="14" y="29"/>
                    </a:cubicBezTo>
                    <a:cubicBezTo>
                      <a:pt x="16" y="31"/>
                      <a:pt x="21" y="30"/>
                      <a:pt x="21" y="32"/>
                    </a:cubicBezTo>
                    <a:cubicBezTo>
                      <a:pt x="21" y="34"/>
                      <a:pt x="24" y="36"/>
                      <a:pt x="28" y="36"/>
                    </a:cubicBezTo>
                    <a:cubicBezTo>
                      <a:pt x="29" y="36"/>
                      <a:pt x="30" y="37"/>
                      <a:pt x="31" y="37"/>
                    </a:cubicBezTo>
                    <a:cubicBezTo>
                      <a:pt x="29" y="34"/>
                      <a:pt x="24" y="31"/>
                      <a:pt x="24" y="3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4" name="Freeform 70">
                <a:extLst>
                  <a:ext uri="{FF2B5EF4-FFF2-40B4-BE49-F238E27FC236}">
                    <a16:creationId xmlns:a16="http://schemas.microsoft.com/office/drawing/2014/main" id="{20264324-39B7-4822-A538-3484AC548A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3547" y="3237839"/>
                <a:ext cx="33878" cy="69010"/>
              </a:xfrm>
              <a:custGeom>
                <a:avLst/>
                <a:gdLst>
                  <a:gd name="T0" fmla="*/ 10 w 15"/>
                  <a:gd name="T1" fmla="*/ 25 h 30"/>
                  <a:gd name="T2" fmla="*/ 12 w 15"/>
                  <a:gd name="T3" fmla="*/ 22 h 30"/>
                  <a:gd name="T4" fmla="*/ 15 w 15"/>
                  <a:gd name="T5" fmla="*/ 18 h 30"/>
                  <a:gd name="T6" fmla="*/ 15 w 15"/>
                  <a:gd name="T7" fmla="*/ 17 h 30"/>
                  <a:gd name="T8" fmla="*/ 10 w 15"/>
                  <a:gd name="T9" fmla="*/ 12 h 30"/>
                  <a:gd name="T10" fmla="*/ 11 w 15"/>
                  <a:gd name="T11" fmla="*/ 4 h 30"/>
                  <a:gd name="T12" fmla="*/ 4 w 15"/>
                  <a:gd name="T13" fmla="*/ 0 h 30"/>
                  <a:gd name="T14" fmla="*/ 0 w 15"/>
                  <a:gd name="T15" fmla="*/ 6 h 30"/>
                  <a:gd name="T16" fmla="*/ 2 w 15"/>
                  <a:gd name="T17" fmla="*/ 11 h 30"/>
                  <a:gd name="T18" fmla="*/ 2 w 15"/>
                  <a:gd name="T19" fmla="*/ 23 h 30"/>
                  <a:gd name="T20" fmla="*/ 8 w 15"/>
                  <a:gd name="T21" fmla="*/ 30 h 30"/>
                  <a:gd name="T22" fmla="*/ 10 w 15"/>
                  <a:gd name="T23" fmla="*/ 2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" h="30">
                    <a:moveTo>
                      <a:pt x="10" y="25"/>
                    </a:moveTo>
                    <a:cubicBezTo>
                      <a:pt x="12" y="25"/>
                      <a:pt x="11" y="23"/>
                      <a:pt x="12" y="22"/>
                    </a:cubicBezTo>
                    <a:cubicBezTo>
                      <a:pt x="13" y="21"/>
                      <a:pt x="15" y="18"/>
                      <a:pt x="15" y="18"/>
                    </a:cubicBezTo>
                    <a:cubicBezTo>
                      <a:pt x="15" y="17"/>
                      <a:pt x="15" y="17"/>
                      <a:pt x="15" y="17"/>
                    </a:cubicBezTo>
                    <a:cubicBezTo>
                      <a:pt x="12" y="16"/>
                      <a:pt x="11" y="14"/>
                      <a:pt x="10" y="12"/>
                    </a:cubicBezTo>
                    <a:cubicBezTo>
                      <a:pt x="10" y="10"/>
                      <a:pt x="10" y="7"/>
                      <a:pt x="11" y="4"/>
                    </a:cubicBezTo>
                    <a:cubicBezTo>
                      <a:pt x="10" y="3"/>
                      <a:pt x="5" y="0"/>
                      <a:pt x="4" y="0"/>
                    </a:cubicBezTo>
                    <a:cubicBezTo>
                      <a:pt x="3" y="0"/>
                      <a:pt x="1" y="3"/>
                      <a:pt x="0" y="6"/>
                    </a:cubicBezTo>
                    <a:cubicBezTo>
                      <a:pt x="3" y="7"/>
                      <a:pt x="5" y="9"/>
                      <a:pt x="2" y="11"/>
                    </a:cubicBezTo>
                    <a:cubicBezTo>
                      <a:pt x="0" y="13"/>
                      <a:pt x="0" y="21"/>
                      <a:pt x="2" y="23"/>
                    </a:cubicBezTo>
                    <a:cubicBezTo>
                      <a:pt x="5" y="25"/>
                      <a:pt x="5" y="28"/>
                      <a:pt x="8" y="30"/>
                    </a:cubicBezTo>
                    <a:cubicBezTo>
                      <a:pt x="8" y="28"/>
                      <a:pt x="9" y="25"/>
                      <a:pt x="10" y="2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5" name="Freeform 71">
                <a:extLst>
                  <a:ext uri="{FF2B5EF4-FFF2-40B4-BE49-F238E27FC236}">
                    <a16:creationId xmlns:a16="http://schemas.microsoft.com/office/drawing/2014/main" id="{3596EB34-E1FE-44D4-9843-5C02EBDCE0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02904" y="3088527"/>
                <a:ext cx="135510" cy="61482"/>
              </a:xfrm>
              <a:custGeom>
                <a:avLst/>
                <a:gdLst>
                  <a:gd name="T0" fmla="*/ 50 w 59"/>
                  <a:gd name="T1" fmla="*/ 2 h 27"/>
                  <a:gd name="T2" fmla="*/ 43 w 59"/>
                  <a:gd name="T3" fmla="*/ 0 h 27"/>
                  <a:gd name="T4" fmla="*/ 41 w 59"/>
                  <a:gd name="T5" fmla="*/ 4 h 27"/>
                  <a:gd name="T6" fmla="*/ 34 w 59"/>
                  <a:gd name="T7" fmla="*/ 4 h 27"/>
                  <a:gd name="T8" fmla="*/ 30 w 59"/>
                  <a:gd name="T9" fmla="*/ 7 h 27"/>
                  <a:gd name="T10" fmla="*/ 27 w 59"/>
                  <a:gd name="T11" fmla="*/ 12 h 27"/>
                  <a:gd name="T12" fmla="*/ 23 w 59"/>
                  <a:gd name="T13" fmla="*/ 14 h 27"/>
                  <a:gd name="T14" fmla="*/ 15 w 59"/>
                  <a:gd name="T15" fmla="*/ 16 h 27"/>
                  <a:gd name="T16" fmla="*/ 11 w 59"/>
                  <a:gd name="T17" fmla="*/ 16 h 27"/>
                  <a:gd name="T18" fmla="*/ 6 w 59"/>
                  <a:gd name="T19" fmla="*/ 17 h 27"/>
                  <a:gd name="T20" fmla="*/ 1 w 59"/>
                  <a:gd name="T21" fmla="*/ 16 h 27"/>
                  <a:gd name="T22" fmla="*/ 0 w 59"/>
                  <a:gd name="T23" fmla="*/ 20 h 27"/>
                  <a:gd name="T24" fmla="*/ 4 w 59"/>
                  <a:gd name="T25" fmla="*/ 22 h 27"/>
                  <a:gd name="T26" fmla="*/ 9 w 59"/>
                  <a:gd name="T27" fmla="*/ 23 h 27"/>
                  <a:gd name="T28" fmla="*/ 14 w 59"/>
                  <a:gd name="T29" fmla="*/ 22 h 27"/>
                  <a:gd name="T30" fmla="*/ 21 w 59"/>
                  <a:gd name="T31" fmla="*/ 21 h 27"/>
                  <a:gd name="T32" fmla="*/ 22 w 59"/>
                  <a:gd name="T33" fmla="*/ 24 h 27"/>
                  <a:gd name="T34" fmla="*/ 30 w 59"/>
                  <a:gd name="T35" fmla="*/ 25 h 27"/>
                  <a:gd name="T36" fmla="*/ 39 w 59"/>
                  <a:gd name="T37" fmla="*/ 27 h 27"/>
                  <a:gd name="T38" fmla="*/ 46 w 59"/>
                  <a:gd name="T39" fmla="*/ 24 h 27"/>
                  <a:gd name="T40" fmla="*/ 51 w 59"/>
                  <a:gd name="T41" fmla="*/ 23 h 27"/>
                  <a:gd name="T42" fmla="*/ 51 w 59"/>
                  <a:gd name="T43" fmla="*/ 23 h 27"/>
                  <a:gd name="T44" fmla="*/ 52 w 59"/>
                  <a:gd name="T45" fmla="*/ 21 h 27"/>
                  <a:gd name="T46" fmla="*/ 54 w 59"/>
                  <a:gd name="T47" fmla="*/ 17 h 27"/>
                  <a:gd name="T48" fmla="*/ 55 w 59"/>
                  <a:gd name="T49" fmla="*/ 14 h 27"/>
                  <a:gd name="T50" fmla="*/ 58 w 59"/>
                  <a:gd name="T51" fmla="*/ 12 h 27"/>
                  <a:gd name="T52" fmla="*/ 59 w 59"/>
                  <a:gd name="T53" fmla="*/ 10 h 27"/>
                  <a:gd name="T54" fmla="*/ 56 w 59"/>
                  <a:gd name="T55" fmla="*/ 3 h 27"/>
                  <a:gd name="T56" fmla="*/ 50 w 59"/>
                  <a:gd name="T57" fmla="*/ 2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59" h="27">
                    <a:moveTo>
                      <a:pt x="50" y="2"/>
                    </a:moveTo>
                    <a:cubicBezTo>
                      <a:pt x="48" y="0"/>
                      <a:pt x="43" y="0"/>
                      <a:pt x="43" y="0"/>
                    </a:cubicBezTo>
                    <a:cubicBezTo>
                      <a:pt x="43" y="0"/>
                      <a:pt x="42" y="2"/>
                      <a:pt x="41" y="4"/>
                    </a:cubicBezTo>
                    <a:cubicBezTo>
                      <a:pt x="41" y="5"/>
                      <a:pt x="37" y="5"/>
                      <a:pt x="34" y="4"/>
                    </a:cubicBezTo>
                    <a:cubicBezTo>
                      <a:pt x="33" y="5"/>
                      <a:pt x="30" y="6"/>
                      <a:pt x="30" y="7"/>
                    </a:cubicBezTo>
                    <a:cubicBezTo>
                      <a:pt x="29" y="9"/>
                      <a:pt x="25" y="8"/>
                      <a:pt x="27" y="12"/>
                    </a:cubicBezTo>
                    <a:cubicBezTo>
                      <a:pt x="28" y="16"/>
                      <a:pt x="25" y="15"/>
                      <a:pt x="23" y="14"/>
                    </a:cubicBezTo>
                    <a:cubicBezTo>
                      <a:pt x="22" y="14"/>
                      <a:pt x="17" y="15"/>
                      <a:pt x="15" y="16"/>
                    </a:cubicBezTo>
                    <a:cubicBezTo>
                      <a:pt x="14" y="17"/>
                      <a:pt x="12" y="17"/>
                      <a:pt x="11" y="16"/>
                    </a:cubicBezTo>
                    <a:cubicBezTo>
                      <a:pt x="9" y="16"/>
                      <a:pt x="7" y="15"/>
                      <a:pt x="6" y="17"/>
                    </a:cubicBezTo>
                    <a:cubicBezTo>
                      <a:pt x="5" y="19"/>
                      <a:pt x="3" y="16"/>
                      <a:pt x="1" y="16"/>
                    </a:cubicBezTo>
                    <a:cubicBezTo>
                      <a:pt x="0" y="16"/>
                      <a:pt x="0" y="19"/>
                      <a:pt x="0" y="20"/>
                    </a:cubicBezTo>
                    <a:cubicBezTo>
                      <a:pt x="0" y="21"/>
                      <a:pt x="3" y="23"/>
                      <a:pt x="4" y="22"/>
                    </a:cubicBezTo>
                    <a:cubicBezTo>
                      <a:pt x="6" y="22"/>
                      <a:pt x="8" y="22"/>
                      <a:pt x="9" y="23"/>
                    </a:cubicBezTo>
                    <a:cubicBezTo>
                      <a:pt x="11" y="24"/>
                      <a:pt x="13" y="23"/>
                      <a:pt x="14" y="22"/>
                    </a:cubicBezTo>
                    <a:cubicBezTo>
                      <a:pt x="15" y="21"/>
                      <a:pt x="20" y="21"/>
                      <a:pt x="21" y="21"/>
                    </a:cubicBezTo>
                    <a:cubicBezTo>
                      <a:pt x="21" y="21"/>
                      <a:pt x="21" y="24"/>
                      <a:pt x="22" y="24"/>
                    </a:cubicBezTo>
                    <a:cubicBezTo>
                      <a:pt x="23" y="25"/>
                      <a:pt x="27" y="25"/>
                      <a:pt x="30" y="25"/>
                    </a:cubicBezTo>
                    <a:cubicBezTo>
                      <a:pt x="33" y="25"/>
                      <a:pt x="37" y="27"/>
                      <a:pt x="39" y="27"/>
                    </a:cubicBezTo>
                    <a:cubicBezTo>
                      <a:pt x="40" y="27"/>
                      <a:pt x="42" y="24"/>
                      <a:pt x="46" y="24"/>
                    </a:cubicBezTo>
                    <a:cubicBezTo>
                      <a:pt x="49" y="24"/>
                      <a:pt x="51" y="22"/>
                      <a:pt x="51" y="23"/>
                    </a:cubicBezTo>
                    <a:cubicBezTo>
                      <a:pt x="51" y="23"/>
                      <a:pt x="51" y="23"/>
                      <a:pt x="51" y="23"/>
                    </a:cubicBezTo>
                    <a:cubicBezTo>
                      <a:pt x="51" y="22"/>
                      <a:pt x="52" y="21"/>
                      <a:pt x="52" y="21"/>
                    </a:cubicBezTo>
                    <a:cubicBezTo>
                      <a:pt x="54" y="21"/>
                      <a:pt x="53" y="18"/>
                      <a:pt x="54" y="17"/>
                    </a:cubicBezTo>
                    <a:cubicBezTo>
                      <a:pt x="55" y="16"/>
                      <a:pt x="53" y="14"/>
                      <a:pt x="55" y="14"/>
                    </a:cubicBezTo>
                    <a:cubicBezTo>
                      <a:pt x="56" y="14"/>
                      <a:pt x="58" y="14"/>
                      <a:pt x="58" y="12"/>
                    </a:cubicBezTo>
                    <a:cubicBezTo>
                      <a:pt x="58" y="11"/>
                      <a:pt x="59" y="10"/>
                      <a:pt x="59" y="10"/>
                    </a:cubicBezTo>
                    <a:cubicBezTo>
                      <a:pt x="57" y="7"/>
                      <a:pt x="56" y="3"/>
                      <a:pt x="56" y="3"/>
                    </a:cubicBezTo>
                    <a:cubicBezTo>
                      <a:pt x="56" y="3"/>
                      <a:pt x="52" y="5"/>
                      <a:pt x="50" y="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6" name="Freeform 72">
                <a:extLst>
                  <a:ext uri="{FF2B5EF4-FFF2-40B4-BE49-F238E27FC236}">
                    <a16:creationId xmlns:a16="http://schemas.microsoft.com/office/drawing/2014/main" id="{E5F81B6F-AC58-40B7-8698-856EB1A973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20849" y="3094801"/>
                <a:ext cx="119199" cy="69010"/>
              </a:xfrm>
              <a:custGeom>
                <a:avLst/>
                <a:gdLst>
                  <a:gd name="T0" fmla="*/ 51 w 52"/>
                  <a:gd name="T1" fmla="*/ 6 h 30"/>
                  <a:gd name="T2" fmla="*/ 49 w 52"/>
                  <a:gd name="T3" fmla="*/ 5 h 30"/>
                  <a:gd name="T4" fmla="*/ 44 w 52"/>
                  <a:gd name="T5" fmla="*/ 3 h 30"/>
                  <a:gd name="T6" fmla="*/ 36 w 52"/>
                  <a:gd name="T7" fmla="*/ 1 h 30"/>
                  <a:gd name="T8" fmla="*/ 29 w 52"/>
                  <a:gd name="T9" fmla="*/ 5 h 30"/>
                  <a:gd name="T10" fmla="*/ 20 w 52"/>
                  <a:gd name="T11" fmla="*/ 8 h 30"/>
                  <a:gd name="T12" fmla="*/ 9 w 52"/>
                  <a:gd name="T13" fmla="*/ 8 h 30"/>
                  <a:gd name="T14" fmla="*/ 8 w 52"/>
                  <a:gd name="T15" fmla="*/ 7 h 30"/>
                  <a:gd name="T16" fmla="*/ 7 w 52"/>
                  <a:gd name="T17" fmla="*/ 9 h 30"/>
                  <a:gd name="T18" fmla="*/ 4 w 52"/>
                  <a:gd name="T19" fmla="*/ 11 h 30"/>
                  <a:gd name="T20" fmla="*/ 3 w 52"/>
                  <a:gd name="T21" fmla="*/ 14 h 30"/>
                  <a:gd name="T22" fmla="*/ 1 w 52"/>
                  <a:gd name="T23" fmla="*/ 18 h 30"/>
                  <a:gd name="T24" fmla="*/ 0 w 52"/>
                  <a:gd name="T25" fmla="*/ 20 h 30"/>
                  <a:gd name="T26" fmla="*/ 2 w 52"/>
                  <a:gd name="T27" fmla="*/ 23 h 30"/>
                  <a:gd name="T28" fmla="*/ 2 w 52"/>
                  <a:gd name="T29" fmla="*/ 23 h 30"/>
                  <a:gd name="T30" fmla="*/ 9 w 52"/>
                  <a:gd name="T31" fmla="*/ 28 h 30"/>
                  <a:gd name="T32" fmla="*/ 17 w 52"/>
                  <a:gd name="T33" fmla="*/ 30 h 30"/>
                  <a:gd name="T34" fmla="*/ 28 w 52"/>
                  <a:gd name="T35" fmla="*/ 26 h 30"/>
                  <a:gd name="T36" fmla="*/ 31 w 52"/>
                  <a:gd name="T37" fmla="*/ 27 h 30"/>
                  <a:gd name="T38" fmla="*/ 34 w 52"/>
                  <a:gd name="T39" fmla="*/ 28 h 30"/>
                  <a:gd name="T40" fmla="*/ 38 w 52"/>
                  <a:gd name="T41" fmla="*/ 24 h 30"/>
                  <a:gd name="T42" fmla="*/ 46 w 52"/>
                  <a:gd name="T43" fmla="*/ 12 h 30"/>
                  <a:gd name="T44" fmla="*/ 51 w 52"/>
                  <a:gd name="T45" fmla="*/ 9 h 30"/>
                  <a:gd name="T46" fmla="*/ 51 w 52"/>
                  <a:gd name="T47" fmla="*/ 6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2" h="30">
                    <a:moveTo>
                      <a:pt x="51" y="6"/>
                    </a:moveTo>
                    <a:cubicBezTo>
                      <a:pt x="50" y="6"/>
                      <a:pt x="49" y="5"/>
                      <a:pt x="49" y="5"/>
                    </a:cubicBezTo>
                    <a:cubicBezTo>
                      <a:pt x="46" y="4"/>
                      <a:pt x="44" y="4"/>
                      <a:pt x="44" y="3"/>
                    </a:cubicBezTo>
                    <a:cubicBezTo>
                      <a:pt x="42" y="2"/>
                      <a:pt x="37" y="1"/>
                      <a:pt x="36" y="1"/>
                    </a:cubicBezTo>
                    <a:cubicBezTo>
                      <a:pt x="35" y="0"/>
                      <a:pt x="30" y="5"/>
                      <a:pt x="29" y="5"/>
                    </a:cubicBezTo>
                    <a:cubicBezTo>
                      <a:pt x="27" y="5"/>
                      <a:pt x="20" y="6"/>
                      <a:pt x="20" y="8"/>
                    </a:cubicBezTo>
                    <a:cubicBezTo>
                      <a:pt x="20" y="10"/>
                      <a:pt x="12" y="10"/>
                      <a:pt x="9" y="8"/>
                    </a:cubicBezTo>
                    <a:cubicBezTo>
                      <a:pt x="9" y="8"/>
                      <a:pt x="9" y="7"/>
                      <a:pt x="8" y="7"/>
                    </a:cubicBezTo>
                    <a:cubicBezTo>
                      <a:pt x="8" y="7"/>
                      <a:pt x="7" y="8"/>
                      <a:pt x="7" y="9"/>
                    </a:cubicBezTo>
                    <a:cubicBezTo>
                      <a:pt x="7" y="11"/>
                      <a:pt x="5" y="11"/>
                      <a:pt x="4" y="11"/>
                    </a:cubicBezTo>
                    <a:cubicBezTo>
                      <a:pt x="2" y="11"/>
                      <a:pt x="4" y="13"/>
                      <a:pt x="3" y="14"/>
                    </a:cubicBezTo>
                    <a:cubicBezTo>
                      <a:pt x="2" y="15"/>
                      <a:pt x="3" y="18"/>
                      <a:pt x="1" y="18"/>
                    </a:cubicBezTo>
                    <a:cubicBezTo>
                      <a:pt x="1" y="18"/>
                      <a:pt x="0" y="19"/>
                      <a:pt x="0" y="20"/>
                    </a:cubicBezTo>
                    <a:cubicBezTo>
                      <a:pt x="1" y="20"/>
                      <a:pt x="2" y="23"/>
                      <a:pt x="2" y="23"/>
                    </a:cubicBezTo>
                    <a:cubicBezTo>
                      <a:pt x="2" y="23"/>
                      <a:pt x="2" y="23"/>
                      <a:pt x="2" y="23"/>
                    </a:cubicBezTo>
                    <a:cubicBezTo>
                      <a:pt x="4" y="24"/>
                      <a:pt x="7" y="26"/>
                      <a:pt x="9" y="28"/>
                    </a:cubicBezTo>
                    <a:cubicBezTo>
                      <a:pt x="10" y="30"/>
                      <a:pt x="15" y="30"/>
                      <a:pt x="17" y="30"/>
                    </a:cubicBezTo>
                    <a:cubicBezTo>
                      <a:pt x="19" y="29"/>
                      <a:pt x="28" y="26"/>
                      <a:pt x="28" y="26"/>
                    </a:cubicBezTo>
                    <a:cubicBezTo>
                      <a:pt x="28" y="26"/>
                      <a:pt x="30" y="27"/>
                      <a:pt x="31" y="27"/>
                    </a:cubicBezTo>
                    <a:cubicBezTo>
                      <a:pt x="32" y="27"/>
                      <a:pt x="33" y="27"/>
                      <a:pt x="34" y="28"/>
                    </a:cubicBezTo>
                    <a:cubicBezTo>
                      <a:pt x="34" y="27"/>
                      <a:pt x="36" y="26"/>
                      <a:pt x="38" y="24"/>
                    </a:cubicBezTo>
                    <a:cubicBezTo>
                      <a:pt x="41" y="22"/>
                      <a:pt x="45" y="13"/>
                      <a:pt x="46" y="12"/>
                    </a:cubicBezTo>
                    <a:cubicBezTo>
                      <a:pt x="47" y="11"/>
                      <a:pt x="50" y="10"/>
                      <a:pt x="51" y="9"/>
                    </a:cubicBezTo>
                    <a:cubicBezTo>
                      <a:pt x="52" y="8"/>
                      <a:pt x="52" y="7"/>
                      <a:pt x="51" y="6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7" name="Freeform 73">
                <a:extLst>
                  <a:ext uri="{FF2B5EF4-FFF2-40B4-BE49-F238E27FC236}">
                    <a16:creationId xmlns:a16="http://schemas.microsoft.com/office/drawing/2014/main" id="{18E9FD24-7C83-47C3-A65F-2DC8B85917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9329" y="3039593"/>
                <a:ext cx="116690" cy="60227"/>
              </a:xfrm>
              <a:custGeom>
                <a:avLst/>
                <a:gdLst>
                  <a:gd name="T0" fmla="*/ 49 w 51"/>
                  <a:gd name="T1" fmla="*/ 12 h 26"/>
                  <a:gd name="T2" fmla="*/ 43 w 51"/>
                  <a:gd name="T3" fmla="*/ 10 h 26"/>
                  <a:gd name="T4" fmla="*/ 41 w 51"/>
                  <a:gd name="T5" fmla="*/ 7 h 26"/>
                  <a:gd name="T6" fmla="*/ 37 w 51"/>
                  <a:gd name="T7" fmla="*/ 8 h 26"/>
                  <a:gd name="T8" fmla="*/ 32 w 51"/>
                  <a:gd name="T9" fmla="*/ 6 h 26"/>
                  <a:gd name="T10" fmla="*/ 27 w 51"/>
                  <a:gd name="T11" fmla="*/ 3 h 26"/>
                  <a:gd name="T12" fmla="*/ 22 w 51"/>
                  <a:gd name="T13" fmla="*/ 0 h 26"/>
                  <a:gd name="T14" fmla="*/ 22 w 51"/>
                  <a:gd name="T15" fmla="*/ 1 h 26"/>
                  <a:gd name="T16" fmla="*/ 18 w 51"/>
                  <a:gd name="T17" fmla="*/ 1 h 26"/>
                  <a:gd name="T18" fmla="*/ 11 w 51"/>
                  <a:gd name="T19" fmla="*/ 4 h 26"/>
                  <a:gd name="T20" fmla="*/ 3 w 51"/>
                  <a:gd name="T21" fmla="*/ 7 h 26"/>
                  <a:gd name="T22" fmla="*/ 3 w 51"/>
                  <a:gd name="T23" fmla="*/ 12 h 26"/>
                  <a:gd name="T24" fmla="*/ 6 w 51"/>
                  <a:gd name="T25" fmla="*/ 18 h 26"/>
                  <a:gd name="T26" fmla="*/ 14 w 51"/>
                  <a:gd name="T27" fmla="*/ 25 h 26"/>
                  <a:gd name="T28" fmla="*/ 14 w 51"/>
                  <a:gd name="T29" fmla="*/ 25 h 26"/>
                  <a:gd name="T30" fmla="*/ 21 w 51"/>
                  <a:gd name="T31" fmla="*/ 25 h 26"/>
                  <a:gd name="T32" fmla="*/ 23 w 51"/>
                  <a:gd name="T33" fmla="*/ 21 h 26"/>
                  <a:gd name="T34" fmla="*/ 30 w 51"/>
                  <a:gd name="T35" fmla="*/ 23 h 26"/>
                  <a:gd name="T36" fmla="*/ 36 w 51"/>
                  <a:gd name="T37" fmla="*/ 24 h 26"/>
                  <a:gd name="T38" fmla="*/ 37 w 51"/>
                  <a:gd name="T39" fmla="*/ 26 h 26"/>
                  <a:gd name="T40" fmla="*/ 39 w 51"/>
                  <a:gd name="T41" fmla="*/ 23 h 26"/>
                  <a:gd name="T42" fmla="*/ 47 w 51"/>
                  <a:gd name="T43" fmla="*/ 19 h 26"/>
                  <a:gd name="T44" fmla="*/ 51 w 51"/>
                  <a:gd name="T45" fmla="*/ 16 h 26"/>
                  <a:gd name="T46" fmla="*/ 49 w 51"/>
                  <a:gd name="T47" fmla="*/ 12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1" h="26">
                    <a:moveTo>
                      <a:pt x="49" y="12"/>
                    </a:moveTo>
                    <a:cubicBezTo>
                      <a:pt x="47" y="11"/>
                      <a:pt x="44" y="11"/>
                      <a:pt x="43" y="10"/>
                    </a:cubicBezTo>
                    <a:cubicBezTo>
                      <a:pt x="43" y="9"/>
                      <a:pt x="43" y="7"/>
                      <a:pt x="41" y="7"/>
                    </a:cubicBezTo>
                    <a:cubicBezTo>
                      <a:pt x="40" y="7"/>
                      <a:pt x="37" y="6"/>
                      <a:pt x="37" y="8"/>
                    </a:cubicBezTo>
                    <a:cubicBezTo>
                      <a:pt x="36" y="10"/>
                      <a:pt x="33" y="8"/>
                      <a:pt x="32" y="6"/>
                    </a:cubicBezTo>
                    <a:cubicBezTo>
                      <a:pt x="32" y="5"/>
                      <a:pt x="31" y="4"/>
                      <a:pt x="27" y="3"/>
                    </a:cubicBezTo>
                    <a:cubicBezTo>
                      <a:pt x="26" y="2"/>
                      <a:pt x="24" y="1"/>
                      <a:pt x="22" y="0"/>
                    </a:cubicBezTo>
                    <a:cubicBezTo>
                      <a:pt x="22" y="0"/>
                      <a:pt x="22" y="1"/>
                      <a:pt x="22" y="1"/>
                    </a:cubicBezTo>
                    <a:cubicBezTo>
                      <a:pt x="21" y="2"/>
                      <a:pt x="19" y="0"/>
                      <a:pt x="18" y="1"/>
                    </a:cubicBezTo>
                    <a:cubicBezTo>
                      <a:pt x="17" y="2"/>
                      <a:pt x="13" y="2"/>
                      <a:pt x="11" y="4"/>
                    </a:cubicBezTo>
                    <a:cubicBezTo>
                      <a:pt x="9" y="6"/>
                      <a:pt x="5" y="7"/>
                      <a:pt x="3" y="7"/>
                    </a:cubicBezTo>
                    <a:cubicBezTo>
                      <a:pt x="0" y="8"/>
                      <a:pt x="2" y="10"/>
                      <a:pt x="3" y="12"/>
                    </a:cubicBezTo>
                    <a:cubicBezTo>
                      <a:pt x="4" y="13"/>
                      <a:pt x="4" y="17"/>
                      <a:pt x="6" y="18"/>
                    </a:cubicBezTo>
                    <a:cubicBezTo>
                      <a:pt x="8" y="20"/>
                      <a:pt x="14" y="23"/>
                      <a:pt x="14" y="25"/>
                    </a:cubicBezTo>
                    <a:cubicBezTo>
                      <a:pt x="14" y="25"/>
                      <a:pt x="14" y="25"/>
                      <a:pt x="14" y="25"/>
                    </a:cubicBezTo>
                    <a:cubicBezTo>
                      <a:pt x="17" y="26"/>
                      <a:pt x="21" y="26"/>
                      <a:pt x="21" y="25"/>
                    </a:cubicBezTo>
                    <a:cubicBezTo>
                      <a:pt x="22" y="23"/>
                      <a:pt x="23" y="21"/>
                      <a:pt x="23" y="21"/>
                    </a:cubicBezTo>
                    <a:cubicBezTo>
                      <a:pt x="23" y="21"/>
                      <a:pt x="28" y="21"/>
                      <a:pt x="30" y="23"/>
                    </a:cubicBezTo>
                    <a:cubicBezTo>
                      <a:pt x="32" y="26"/>
                      <a:pt x="36" y="24"/>
                      <a:pt x="36" y="24"/>
                    </a:cubicBezTo>
                    <a:cubicBezTo>
                      <a:pt x="36" y="24"/>
                      <a:pt x="36" y="25"/>
                      <a:pt x="37" y="26"/>
                    </a:cubicBezTo>
                    <a:cubicBezTo>
                      <a:pt x="37" y="24"/>
                      <a:pt x="38" y="23"/>
                      <a:pt x="39" y="23"/>
                    </a:cubicBezTo>
                    <a:cubicBezTo>
                      <a:pt x="41" y="23"/>
                      <a:pt x="44" y="23"/>
                      <a:pt x="47" y="19"/>
                    </a:cubicBezTo>
                    <a:cubicBezTo>
                      <a:pt x="48" y="18"/>
                      <a:pt x="50" y="16"/>
                      <a:pt x="51" y="16"/>
                    </a:cubicBezTo>
                    <a:cubicBezTo>
                      <a:pt x="50" y="14"/>
                      <a:pt x="50" y="12"/>
                      <a:pt x="49" y="1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8" name="Freeform 74">
                <a:extLst>
                  <a:ext uri="{FF2B5EF4-FFF2-40B4-BE49-F238E27FC236}">
                    <a16:creationId xmlns:a16="http://schemas.microsoft.com/office/drawing/2014/main" id="{D19AC202-5831-42E3-826F-29E56CB1D6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34651" y="3074725"/>
                <a:ext cx="102888" cy="43915"/>
              </a:xfrm>
              <a:custGeom>
                <a:avLst/>
                <a:gdLst>
                  <a:gd name="T0" fmla="*/ 33 w 45"/>
                  <a:gd name="T1" fmla="*/ 2 h 19"/>
                  <a:gd name="T2" fmla="*/ 27 w 45"/>
                  <a:gd name="T3" fmla="*/ 2 h 19"/>
                  <a:gd name="T4" fmla="*/ 20 w 45"/>
                  <a:gd name="T5" fmla="*/ 1 h 19"/>
                  <a:gd name="T6" fmla="*/ 15 w 45"/>
                  <a:gd name="T7" fmla="*/ 1 h 19"/>
                  <a:gd name="T8" fmla="*/ 14 w 45"/>
                  <a:gd name="T9" fmla="*/ 1 h 19"/>
                  <a:gd name="T10" fmla="*/ 10 w 45"/>
                  <a:gd name="T11" fmla="*/ 4 h 19"/>
                  <a:gd name="T12" fmla="*/ 2 w 45"/>
                  <a:gd name="T13" fmla="*/ 8 h 19"/>
                  <a:gd name="T14" fmla="*/ 0 w 45"/>
                  <a:gd name="T15" fmla="*/ 11 h 19"/>
                  <a:gd name="T16" fmla="*/ 3 w 45"/>
                  <a:gd name="T17" fmla="*/ 17 h 19"/>
                  <a:gd name="T18" fmla="*/ 14 w 45"/>
                  <a:gd name="T19" fmla="*/ 17 h 19"/>
                  <a:gd name="T20" fmla="*/ 23 w 45"/>
                  <a:gd name="T21" fmla="*/ 14 h 19"/>
                  <a:gd name="T22" fmla="*/ 30 w 45"/>
                  <a:gd name="T23" fmla="*/ 10 h 19"/>
                  <a:gd name="T24" fmla="*/ 38 w 45"/>
                  <a:gd name="T25" fmla="*/ 12 h 19"/>
                  <a:gd name="T26" fmla="*/ 43 w 45"/>
                  <a:gd name="T27" fmla="*/ 14 h 19"/>
                  <a:gd name="T28" fmla="*/ 41 w 45"/>
                  <a:gd name="T29" fmla="*/ 11 h 19"/>
                  <a:gd name="T30" fmla="*/ 45 w 45"/>
                  <a:gd name="T31" fmla="*/ 5 h 19"/>
                  <a:gd name="T32" fmla="*/ 45 w 45"/>
                  <a:gd name="T33" fmla="*/ 5 h 19"/>
                  <a:gd name="T34" fmla="*/ 40 w 45"/>
                  <a:gd name="T35" fmla="*/ 4 h 19"/>
                  <a:gd name="T36" fmla="*/ 33 w 45"/>
                  <a:gd name="T37" fmla="*/ 2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5" h="19">
                    <a:moveTo>
                      <a:pt x="33" y="2"/>
                    </a:moveTo>
                    <a:cubicBezTo>
                      <a:pt x="30" y="3"/>
                      <a:pt x="29" y="1"/>
                      <a:pt x="27" y="2"/>
                    </a:cubicBezTo>
                    <a:cubicBezTo>
                      <a:pt x="25" y="3"/>
                      <a:pt x="21" y="2"/>
                      <a:pt x="20" y="1"/>
                    </a:cubicBezTo>
                    <a:cubicBezTo>
                      <a:pt x="19" y="0"/>
                      <a:pt x="17" y="3"/>
                      <a:pt x="15" y="1"/>
                    </a:cubicBezTo>
                    <a:cubicBezTo>
                      <a:pt x="15" y="1"/>
                      <a:pt x="15" y="1"/>
                      <a:pt x="14" y="1"/>
                    </a:cubicBezTo>
                    <a:cubicBezTo>
                      <a:pt x="13" y="1"/>
                      <a:pt x="11" y="3"/>
                      <a:pt x="10" y="4"/>
                    </a:cubicBezTo>
                    <a:cubicBezTo>
                      <a:pt x="7" y="8"/>
                      <a:pt x="4" y="8"/>
                      <a:pt x="2" y="8"/>
                    </a:cubicBezTo>
                    <a:cubicBezTo>
                      <a:pt x="1" y="8"/>
                      <a:pt x="0" y="9"/>
                      <a:pt x="0" y="11"/>
                    </a:cubicBezTo>
                    <a:cubicBezTo>
                      <a:pt x="0" y="13"/>
                      <a:pt x="2" y="16"/>
                      <a:pt x="3" y="17"/>
                    </a:cubicBezTo>
                    <a:cubicBezTo>
                      <a:pt x="6" y="19"/>
                      <a:pt x="14" y="19"/>
                      <a:pt x="14" y="17"/>
                    </a:cubicBezTo>
                    <a:cubicBezTo>
                      <a:pt x="14" y="15"/>
                      <a:pt x="21" y="14"/>
                      <a:pt x="23" y="14"/>
                    </a:cubicBezTo>
                    <a:cubicBezTo>
                      <a:pt x="24" y="14"/>
                      <a:pt x="29" y="9"/>
                      <a:pt x="30" y="10"/>
                    </a:cubicBezTo>
                    <a:cubicBezTo>
                      <a:pt x="31" y="10"/>
                      <a:pt x="36" y="11"/>
                      <a:pt x="38" y="12"/>
                    </a:cubicBezTo>
                    <a:cubicBezTo>
                      <a:pt x="38" y="13"/>
                      <a:pt x="40" y="13"/>
                      <a:pt x="43" y="14"/>
                    </a:cubicBezTo>
                    <a:cubicBezTo>
                      <a:pt x="42" y="13"/>
                      <a:pt x="41" y="12"/>
                      <a:pt x="41" y="11"/>
                    </a:cubicBezTo>
                    <a:cubicBezTo>
                      <a:pt x="41" y="10"/>
                      <a:pt x="44" y="6"/>
                      <a:pt x="45" y="5"/>
                    </a:cubicBezTo>
                    <a:cubicBezTo>
                      <a:pt x="45" y="5"/>
                      <a:pt x="45" y="5"/>
                      <a:pt x="45" y="5"/>
                    </a:cubicBezTo>
                    <a:cubicBezTo>
                      <a:pt x="43" y="5"/>
                      <a:pt x="40" y="4"/>
                      <a:pt x="40" y="4"/>
                    </a:cubicBezTo>
                    <a:cubicBezTo>
                      <a:pt x="39" y="3"/>
                      <a:pt x="36" y="2"/>
                      <a:pt x="33" y="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9" name="Freeform 75">
                <a:extLst>
                  <a:ext uri="{FF2B5EF4-FFF2-40B4-BE49-F238E27FC236}">
                    <a16:creationId xmlns:a16="http://schemas.microsoft.com/office/drawing/2014/main" id="{42B78536-ABFA-4078-B08C-79001FC35D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40289" y="3249132"/>
                <a:ext cx="70265" cy="115435"/>
              </a:xfrm>
              <a:custGeom>
                <a:avLst/>
                <a:gdLst>
                  <a:gd name="T0" fmla="*/ 22 w 30"/>
                  <a:gd name="T1" fmla="*/ 40 h 50"/>
                  <a:gd name="T2" fmla="*/ 20 w 30"/>
                  <a:gd name="T3" fmla="*/ 36 h 50"/>
                  <a:gd name="T4" fmla="*/ 22 w 30"/>
                  <a:gd name="T5" fmla="*/ 32 h 50"/>
                  <a:gd name="T6" fmla="*/ 20 w 30"/>
                  <a:gd name="T7" fmla="*/ 28 h 50"/>
                  <a:gd name="T8" fmla="*/ 22 w 30"/>
                  <a:gd name="T9" fmla="*/ 24 h 50"/>
                  <a:gd name="T10" fmla="*/ 23 w 30"/>
                  <a:gd name="T11" fmla="*/ 19 h 50"/>
                  <a:gd name="T12" fmla="*/ 23 w 30"/>
                  <a:gd name="T13" fmla="*/ 11 h 50"/>
                  <a:gd name="T14" fmla="*/ 28 w 30"/>
                  <a:gd name="T15" fmla="*/ 7 h 50"/>
                  <a:gd name="T16" fmla="*/ 26 w 30"/>
                  <a:gd name="T17" fmla="*/ 4 h 50"/>
                  <a:gd name="T18" fmla="*/ 21 w 30"/>
                  <a:gd name="T19" fmla="*/ 3 h 50"/>
                  <a:gd name="T20" fmla="*/ 18 w 30"/>
                  <a:gd name="T21" fmla="*/ 3 h 50"/>
                  <a:gd name="T22" fmla="*/ 13 w 30"/>
                  <a:gd name="T23" fmla="*/ 2 h 50"/>
                  <a:gd name="T24" fmla="*/ 10 w 30"/>
                  <a:gd name="T25" fmla="*/ 1 h 50"/>
                  <a:gd name="T26" fmla="*/ 8 w 30"/>
                  <a:gd name="T27" fmla="*/ 2 h 50"/>
                  <a:gd name="T28" fmla="*/ 8 w 30"/>
                  <a:gd name="T29" fmla="*/ 8 h 50"/>
                  <a:gd name="T30" fmla="*/ 3 w 30"/>
                  <a:gd name="T31" fmla="*/ 27 h 50"/>
                  <a:gd name="T32" fmla="*/ 6 w 30"/>
                  <a:gd name="T33" fmla="*/ 34 h 50"/>
                  <a:gd name="T34" fmla="*/ 7 w 30"/>
                  <a:gd name="T35" fmla="*/ 48 h 50"/>
                  <a:gd name="T36" fmla="*/ 13 w 30"/>
                  <a:gd name="T37" fmla="*/ 49 h 50"/>
                  <a:gd name="T38" fmla="*/ 20 w 30"/>
                  <a:gd name="T39" fmla="*/ 48 h 50"/>
                  <a:gd name="T40" fmla="*/ 19 w 30"/>
                  <a:gd name="T41" fmla="*/ 45 h 50"/>
                  <a:gd name="T42" fmla="*/ 22 w 30"/>
                  <a:gd name="T43" fmla="*/ 4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0" h="50">
                    <a:moveTo>
                      <a:pt x="22" y="40"/>
                    </a:moveTo>
                    <a:cubicBezTo>
                      <a:pt x="25" y="40"/>
                      <a:pt x="21" y="37"/>
                      <a:pt x="20" y="36"/>
                    </a:cubicBezTo>
                    <a:cubicBezTo>
                      <a:pt x="19" y="35"/>
                      <a:pt x="20" y="32"/>
                      <a:pt x="22" y="32"/>
                    </a:cubicBezTo>
                    <a:cubicBezTo>
                      <a:pt x="24" y="32"/>
                      <a:pt x="22" y="30"/>
                      <a:pt x="20" y="28"/>
                    </a:cubicBezTo>
                    <a:cubicBezTo>
                      <a:pt x="18" y="25"/>
                      <a:pt x="20" y="24"/>
                      <a:pt x="22" y="24"/>
                    </a:cubicBezTo>
                    <a:cubicBezTo>
                      <a:pt x="24" y="24"/>
                      <a:pt x="21" y="21"/>
                      <a:pt x="23" y="19"/>
                    </a:cubicBezTo>
                    <a:cubicBezTo>
                      <a:pt x="25" y="17"/>
                      <a:pt x="23" y="13"/>
                      <a:pt x="23" y="11"/>
                    </a:cubicBezTo>
                    <a:cubicBezTo>
                      <a:pt x="23" y="10"/>
                      <a:pt x="26" y="9"/>
                      <a:pt x="28" y="7"/>
                    </a:cubicBezTo>
                    <a:cubicBezTo>
                      <a:pt x="30" y="4"/>
                      <a:pt x="26" y="5"/>
                      <a:pt x="26" y="4"/>
                    </a:cubicBezTo>
                    <a:cubicBezTo>
                      <a:pt x="26" y="2"/>
                      <a:pt x="23" y="1"/>
                      <a:pt x="21" y="3"/>
                    </a:cubicBezTo>
                    <a:cubicBezTo>
                      <a:pt x="19" y="4"/>
                      <a:pt x="20" y="3"/>
                      <a:pt x="18" y="3"/>
                    </a:cubicBezTo>
                    <a:cubicBezTo>
                      <a:pt x="16" y="3"/>
                      <a:pt x="13" y="3"/>
                      <a:pt x="13" y="2"/>
                    </a:cubicBezTo>
                    <a:cubicBezTo>
                      <a:pt x="13" y="0"/>
                      <a:pt x="12" y="0"/>
                      <a:pt x="10" y="1"/>
                    </a:cubicBezTo>
                    <a:cubicBezTo>
                      <a:pt x="10" y="2"/>
                      <a:pt x="9" y="2"/>
                      <a:pt x="8" y="2"/>
                    </a:cubicBezTo>
                    <a:cubicBezTo>
                      <a:pt x="8" y="4"/>
                      <a:pt x="7" y="7"/>
                      <a:pt x="8" y="8"/>
                    </a:cubicBezTo>
                    <a:cubicBezTo>
                      <a:pt x="10" y="10"/>
                      <a:pt x="6" y="23"/>
                      <a:pt x="3" y="27"/>
                    </a:cubicBezTo>
                    <a:cubicBezTo>
                      <a:pt x="0" y="30"/>
                      <a:pt x="3" y="31"/>
                      <a:pt x="6" y="34"/>
                    </a:cubicBezTo>
                    <a:cubicBezTo>
                      <a:pt x="9" y="36"/>
                      <a:pt x="7" y="45"/>
                      <a:pt x="7" y="48"/>
                    </a:cubicBezTo>
                    <a:cubicBezTo>
                      <a:pt x="7" y="50"/>
                      <a:pt x="10" y="49"/>
                      <a:pt x="13" y="49"/>
                    </a:cubicBezTo>
                    <a:cubicBezTo>
                      <a:pt x="15" y="49"/>
                      <a:pt x="18" y="48"/>
                      <a:pt x="20" y="48"/>
                    </a:cubicBezTo>
                    <a:cubicBezTo>
                      <a:pt x="19" y="47"/>
                      <a:pt x="19" y="46"/>
                      <a:pt x="19" y="45"/>
                    </a:cubicBezTo>
                    <a:cubicBezTo>
                      <a:pt x="19" y="43"/>
                      <a:pt x="19" y="41"/>
                      <a:pt x="22" y="4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0" name="Freeform 76">
                <a:extLst>
                  <a:ext uri="{FF2B5EF4-FFF2-40B4-BE49-F238E27FC236}">
                    <a16:creationId xmlns:a16="http://schemas.microsoft.com/office/drawing/2014/main" id="{57849B8D-7CA7-46AA-87D3-E0B72CCB79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82451" y="2979366"/>
                <a:ext cx="76538" cy="65246"/>
              </a:xfrm>
              <a:custGeom>
                <a:avLst/>
                <a:gdLst>
                  <a:gd name="T0" fmla="*/ 10 w 33"/>
                  <a:gd name="T1" fmla="*/ 22 h 28"/>
                  <a:gd name="T2" fmla="*/ 16 w 33"/>
                  <a:gd name="T3" fmla="*/ 23 h 28"/>
                  <a:gd name="T4" fmla="*/ 22 w 33"/>
                  <a:gd name="T5" fmla="*/ 27 h 28"/>
                  <a:gd name="T6" fmla="*/ 23 w 33"/>
                  <a:gd name="T7" fmla="*/ 28 h 28"/>
                  <a:gd name="T8" fmla="*/ 24 w 33"/>
                  <a:gd name="T9" fmla="*/ 22 h 28"/>
                  <a:gd name="T10" fmla="*/ 25 w 33"/>
                  <a:gd name="T11" fmla="*/ 18 h 28"/>
                  <a:gd name="T12" fmla="*/ 29 w 33"/>
                  <a:gd name="T13" fmla="*/ 16 h 28"/>
                  <a:gd name="T14" fmla="*/ 31 w 33"/>
                  <a:gd name="T15" fmla="*/ 13 h 28"/>
                  <a:gd name="T16" fmla="*/ 28 w 33"/>
                  <a:gd name="T17" fmla="*/ 9 h 28"/>
                  <a:gd name="T18" fmla="*/ 32 w 33"/>
                  <a:gd name="T19" fmla="*/ 5 h 28"/>
                  <a:gd name="T20" fmla="*/ 32 w 33"/>
                  <a:gd name="T21" fmla="*/ 0 h 28"/>
                  <a:gd name="T22" fmla="*/ 30 w 33"/>
                  <a:gd name="T23" fmla="*/ 1 h 28"/>
                  <a:gd name="T24" fmla="*/ 22 w 33"/>
                  <a:gd name="T25" fmla="*/ 1 h 28"/>
                  <a:gd name="T26" fmla="*/ 19 w 33"/>
                  <a:gd name="T27" fmla="*/ 7 h 28"/>
                  <a:gd name="T28" fmla="*/ 15 w 33"/>
                  <a:gd name="T29" fmla="*/ 7 h 28"/>
                  <a:gd name="T30" fmla="*/ 11 w 33"/>
                  <a:gd name="T31" fmla="*/ 9 h 28"/>
                  <a:gd name="T32" fmla="*/ 8 w 33"/>
                  <a:gd name="T33" fmla="*/ 15 h 28"/>
                  <a:gd name="T34" fmla="*/ 1 w 33"/>
                  <a:gd name="T35" fmla="*/ 23 h 28"/>
                  <a:gd name="T36" fmla="*/ 0 w 33"/>
                  <a:gd name="T37" fmla="*/ 23 h 28"/>
                  <a:gd name="T38" fmla="*/ 3 w 33"/>
                  <a:gd name="T39" fmla="*/ 24 h 28"/>
                  <a:gd name="T40" fmla="*/ 10 w 33"/>
                  <a:gd name="T41" fmla="*/ 22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3" h="28">
                    <a:moveTo>
                      <a:pt x="10" y="22"/>
                    </a:moveTo>
                    <a:cubicBezTo>
                      <a:pt x="12" y="20"/>
                      <a:pt x="14" y="21"/>
                      <a:pt x="16" y="23"/>
                    </a:cubicBezTo>
                    <a:cubicBezTo>
                      <a:pt x="17" y="24"/>
                      <a:pt x="19" y="24"/>
                      <a:pt x="22" y="27"/>
                    </a:cubicBezTo>
                    <a:cubicBezTo>
                      <a:pt x="22" y="27"/>
                      <a:pt x="23" y="28"/>
                      <a:pt x="23" y="28"/>
                    </a:cubicBezTo>
                    <a:cubicBezTo>
                      <a:pt x="24" y="27"/>
                      <a:pt x="24" y="24"/>
                      <a:pt x="24" y="22"/>
                    </a:cubicBezTo>
                    <a:cubicBezTo>
                      <a:pt x="25" y="20"/>
                      <a:pt x="24" y="18"/>
                      <a:pt x="25" y="18"/>
                    </a:cubicBezTo>
                    <a:cubicBezTo>
                      <a:pt x="26" y="18"/>
                      <a:pt x="29" y="18"/>
                      <a:pt x="29" y="16"/>
                    </a:cubicBezTo>
                    <a:cubicBezTo>
                      <a:pt x="29" y="14"/>
                      <a:pt x="30" y="15"/>
                      <a:pt x="31" y="13"/>
                    </a:cubicBezTo>
                    <a:cubicBezTo>
                      <a:pt x="32" y="12"/>
                      <a:pt x="29" y="10"/>
                      <a:pt x="28" y="9"/>
                    </a:cubicBezTo>
                    <a:cubicBezTo>
                      <a:pt x="28" y="8"/>
                      <a:pt x="30" y="8"/>
                      <a:pt x="32" y="5"/>
                    </a:cubicBezTo>
                    <a:cubicBezTo>
                      <a:pt x="33" y="4"/>
                      <a:pt x="33" y="2"/>
                      <a:pt x="32" y="0"/>
                    </a:cubicBezTo>
                    <a:cubicBezTo>
                      <a:pt x="32" y="1"/>
                      <a:pt x="31" y="1"/>
                      <a:pt x="30" y="1"/>
                    </a:cubicBezTo>
                    <a:cubicBezTo>
                      <a:pt x="28" y="0"/>
                      <a:pt x="26" y="0"/>
                      <a:pt x="22" y="1"/>
                    </a:cubicBezTo>
                    <a:cubicBezTo>
                      <a:pt x="18" y="2"/>
                      <a:pt x="17" y="5"/>
                      <a:pt x="19" y="7"/>
                    </a:cubicBezTo>
                    <a:cubicBezTo>
                      <a:pt x="20" y="8"/>
                      <a:pt x="15" y="9"/>
                      <a:pt x="15" y="7"/>
                    </a:cubicBezTo>
                    <a:cubicBezTo>
                      <a:pt x="15" y="5"/>
                      <a:pt x="11" y="6"/>
                      <a:pt x="11" y="9"/>
                    </a:cubicBezTo>
                    <a:cubicBezTo>
                      <a:pt x="11" y="11"/>
                      <a:pt x="7" y="12"/>
                      <a:pt x="8" y="15"/>
                    </a:cubicBezTo>
                    <a:cubicBezTo>
                      <a:pt x="8" y="18"/>
                      <a:pt x="4" y="21"/>
                      <a:pt x="1" y="23"/>
                    </a:cubicBezTo>
                    <a:cubicBezTo>
                      <a:pt x="1" y="23"/>
                      <a:pt x="0" y="23"/>
                      <a:pt x="0" y="23"/>
                    </a:cubicBezTo>
                    <a:cubicBezTo>
                      <a:pt x="1" y="24"/>
                      <a:pt x="2" y="24"/>
                      <a:pt x="3" y="24"/>
                    </a:cubicBezTo>
                    <a:cubicBezTo>
                      <a:pt x="5" y="24"/>
                      <a:pt x="9" y="23"/>
                      <a:pt x="10" y="2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1" name="Freeform 77">
                <a:extLst>
                  <a:ext uri="{FF2B5EF4-FFF2-40B4-BE49-F238E27FC236}">
                    <a16:creationId xmlns:a16="http://schemas.microsoft.com/office/drawing/2014/main" id="{87907663-2A2F-4EC2-BC1B-3C8C76EFE8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1385" y="3063433"/>
                <a:ext cx="11293" cy="15057"/>
              </a:xfrm>
              <a:custGeom>
                <a:avLst/>
                <a:gdLst>
                  <a:gd name="T0" fmla="*/ 3 w 5"/>
                  <a:gd name="T1" fmla="*/ 0 h 7"/>
                  <a:gd name="T2" fmla="*/ 0 w 5"/>
                  <a:gd name="T3" fmla="*/ 7 h 7"/>
                  <a:gd name="T4" fmla="*/ 5 w 5"/>
                  <a:gd name="T5" fmla="*/ 7 h 7"/>
                  <a:gd name="T6" fmla="*/ 3 w 5"/>
                  <a:gd name="T7" fmla="*/ 1 h 7"/>
                  <a:gd name="T8" fmla="*/ 3 w 5"/>
                  <a:gd name="T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7">
                    <a:moveTo>
                      <a:pt x="3" y="0"/>
                    </a:moveTo>
                    <a:cubicBezTo>
                      <a:pt x="1" y="1"/>
                      <a:pt x="0" y="3"/>
                      <a:pt x="0" y="7"/>
                    </a:cubicBezTo>
                    <a:cubicBezTo>
                      <a:pt x="2" y="7"/>
                      <a:pt x="4" y="7"/>
                      <a:pt x="5" y="7"/>
                    </a:cubicBezTo>
                    <a:cubicBezTo>
                      <a:pt x="5" y="3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2" name="Freeform 78">
                <a:extLst>
                  <a:ext uri="{FF2B5EF4-FFF2-40B4-BE49-F238E27FC236}">
                    <a16:creationId xmlns:a16="http://schemas.microsoft.com/office/drawing/2014/main" id="{CDCADA37-44E8-42CD-8E1C-E80BD43A17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8649" y="3025791"/>
                <a:ext cx="74029" cy="52698"/>
              </a:xfrm>
              <a:custGeom>
                <a:avLst/>
                <a:gdLst>
                  <a:gd name="T0" fmla="*/ 2 w 32"/>
                  <a:gd name="T1" fmla="*/ 7 h 23"/>
                  <a:gd name="T2" fmla="*/ 4 w 32"/>
                  <a:gd name="T3" fmla="*/ 10 h 23"/>
                  <a:gd name="T4" fmla="*/ 8 w 32"/>
                  <a:gd name="T5" fmla="*/ 12 h 23"/>
                  <a:gd name="T6" fmla="*/ 13 w 32"/>
                  <a:gd name="T7" fmla="*/ 15 h 23"/>
                  <a:gd name="T8" fmla="*/ 16 w 32"/>
                  <a:gd name="T9" fmla="*/ 18 h 23"/>
                  <a:gd name="T10" fmla="*/ 19 w 32"/>
                  <a:gd name="T11" fmla="*/ 16 h 23"/>
                  <a:gd name="T12" fmla="*/ 22 w 32"/>
                  <a:gd name="T13" fmla="*/ 20 h 23"/>
                  <a:gd name="T14" fmla="*/ 26 w 32"/>
                  <a:gd name="T15" fmla="*/ 23 h 23"/>
                  <a:gd name="T16" fmla="*/ 27 w 32"/>
                  <a:gd name="T17" fmla="*/ 23 h 23"/>
                  <a:gd name="T18" fmla="*/ 30 w 32"/>
                  <a:gd name="T19" fmla="*/ 16 h 23"/>
                  <a:gd name="T20" fmla="*/ 31 w 32"/>
                  <a:gd name="T21" fmla="*/ 13 h 23"/>
                  <a:gd name="T22" fmla="*/ 29 w 32"/>
                  <a:gd name="T23" fmla="*/ 8 h 23"/>
                  <a:gd name="T24" fmla="*/ 29 w 32"/>
                  <a:gd name="T25" fmla="*/ 8 h 23"/>
                  <a:gd name="T26" fmla="*/ 28 w 32"/>
                  <a:gd name="T27" fmla="*/ 7 h 23"/>
                  <a:gd name="T28" fmla="*/ 22 w 32"/>
                  <a:gd name="T29" fmla="*/ 3 h 23"/>
                  <a:gd name="T30" fmla="*/ 16 w 32"/>
                  <a:gd name="T31" fmla="*/ 2 h 23"/>
                  <a:gd name="T32" fmla="*/ 9 w 32"/>
                  <a:gd name="T33" fmla="*/ 4 h 23"/>
                  <a:gd name="T34" fmla="*/ 6 w 32"/>
                  <a:gd name="T35" fmla="*/ 3 h 23"/>
                  <a:gd name="T36" fmla="*/ 0 w 32"/>
                  <a:gd name="T37" fmla="*/ 6 h 23"/>
                  <a:gd name="T38" fmla="*/ 2 w 32"/>
                  <a:gd name="T39" fmla="*/ 7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32" h="23">
                    <a:moveTo>
                      <a:pt x="2" y="7"/>
                    </a:moveTo>
                    <a:cubicBezTo>
                      <a:pt x="2" y="8"/>
                      <a:pt x="4" y="11"/>
                      <a:pt x="4" y="10"/>
                    </a:cubicBezTo>
                    <a:cubicBezTo>
                      <a:pt x="5" y="9"/>
                      <a:pt x="7" y="11"/>
                      <a:pt x="8" y="12"/>
                    </a:cubicBezTo>
                    <a:cubicBezTo>
                      <a:pt x="10" y="13"/>
                      <a:pt x="13" y="14"/>
                      <a:pt x="13" y="15"/>
                    </a:cubicBezTo>
                    <a:cubicBezTo>
                      <a:pt x="14" y="16"/>
                      <a:pt x="14" y="19"/>
                      <a:pt x="16" y="18"/>
                    </a:cubicBezTo>
                    <a:cubicBezTo>
                      <a:pt x="17" y="17"/>
                      <a:pt x="19" y="15"/>
                      <a:pt x="19" y="16"/>
                    </a:cubicBezTo>
                    <a:cubicBezTo>
                      <a:pt x="19" y="18"/>
                      <a:pt x="20" y="20"/>
                      <a:pt x="22" y="20"/>
                    </a:cubicBezTo>
                    <a:cubicBezTo>
                      <a:pt x="23" y="20"/>
                      <a:pt x="24" y="23"/>
                      <a:pt x="26" y="23"/>
                    </a:cubicBezTo>
                    <a:cubicBezTo>
                      <a:pt x="26" y="23"/>
                      <a:pt x="27" y="23"/>
                      <a:pt x="27" y="23"/>
                    </a:cubicBezTo>
                    <a:cubicBezTo>
                      <a:pt x="27" y="19"/>
                      <a:pt x="28" y="17"/>
                      <a:pt x="30" y="16"/>
                    </a:cubicBezTo>
                    <a:cubicBezTo>
                      <a:pt x="30" y="15"/>
                      <a:pt x="31" y="14"/>
                      <a:pt x="31" y="13"/>
                    </a:cubicBezTo>
                    <a:cubicBezTo>
                      <a:pt x="32" y="12"/>
                      <a:pt x="29" y="10"/>
                      <a:pt x="29" y="8"/>
                    </a:cubicBezTo>
                    <a:cubicBezTo>
                      <a:pt x="29" y="8"/>
                      <a:pt x="29" y="8"/>
                      <a:pt x="29" y="8"/>
                    </a:cubicBezTo>
                    <a:cubicBezTo>
                      <a:pt x="29" y="8"/>
                      <a:pt x="28" y="7"/>
                      <a:pt x="28" y="7"/>
                    </a:cubicBezTo>
                    <a:cubicBezTo>
                      <a:pt x="25" y="4"/>
                      <a:pt x="23" y="4"/>
                      <a:pt x="22" y="3"/>
                    </a:cubicBezTo>
                    <a:cubicBezTo>
                      <a:pt x="20" y="1"/>
                      <a:pt x="18" y="0"/>
                      <a:pt x="16" y="2"/>
                    </a:cubicBezTo>
                    <a:cubicBezTo>
                      <a:pt x="15" y="3"/>
                      <a:pt x="11" y="4"/>
                      <a:pt x="9" y="4"/>
                    </a:cubicBezTo>
                    <a:cubicBezTo>
                      <a:pt x="8" y="4"/>
                      <a:pt x="7" y="4"/>
                      <a:pt x="6" y="3"/>
                    </a:cubicBezTo>
                    <a:cubicBezTo>
                      <a:pt x="4" y="4"/>
                      <a:pt x="2" y="5"/>
                      <a:pt x="0" y="6"/>
                    </a:cubicBezTo>
                    <a:cubicBezTo>
                      <a:pt x="1" y="6"/>
                      <a:pt x="1" y="6"/>
                      <a:pt x="2" y="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3" name="Freeform 79">
                <a:extLst>
                  <a:ext uri="{FF2B5EF4-FFF2-40B4-BE49-F238E27FC236}">
                    <a16:creationId xmlns:a16="http://schemas.microsoft.com/office/drawing/2014/main" id="{F5D02EE1-7058-49F8-8255-A0D49B940D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6132" y="3104839"/>
                <a:ext cx="168133" cy="107906"/>
              </a:xfrm>
              <a:custGeom>
                <a:avLst/>
                <a:gdLst>
                  <a:gd name="T0" fmla="*/ 65 w 73"/>
                  <a:gd name="T1" fmla="*/ 31 h 47"/>
                  <a:gd name="T2" fmla="*/ 62 w 73"/>
                  <a:gd name="T3" fmla="*/ 30 h 47"/>
                  <a:gd name="T4" fmla="*/ 63 w 73"/>
                  <a:gd name="T5" fmla="*/ 29 h 47"/>
                  <a:gd name="T6" fmla="*/ 61 w 73"/>
                  <a:gd name="T7" fmla="*/ 20 h 47"/>
                  <a:gd name="T8" fmla="*/ 56 w 73"/>
                  <a:gd name="T9" fmla="*/ 9 h 47"/>
                  <a:gd name="T10" fmla="*/ 51 w 73"/>
                  <a:gd name="T11" fmla="*/ 0 h 47"/>
                  <a:gd name="T12" fmla="*/ 47 w 73"/>
                  <a:gd name="T13" fmla="*/ 2 h 47"/>
                  <a:gd name="T14" fmla="*/ 42 w 73"/>
                  <a:gd name="T15" fmla="*/ 4 h 47"/>
                  <a:gd name="T16" fmla="*/ 38 w 73"/>
                  <a:gd name="T17" fmla="*/ 5 h 47"/>
                  <a:gd name="T18" fmla="*/ 35 w 73"/>
                  <a:gd name="T19" fmla="*/ 6 h 47"/>
                  <a:gd name="T20" fmla="*/ 30 w 73"/>
                  <a:gd name="T21" fmla="*/ 4 h 47"/>
                  <a:gd name="T22" fmla="*/ 22 w 73"/>
                  <a:gd name="T23" fmla="*/ 3 h 47"/>
                  <a:gd name="T24" fmla="*/ 19 w 73"/>
                  <a:gd name="T25" fmla="*/ 3 h 47"/>
                  <a:gd name="T26" fmla="*/ 18 w 73"/>
                  <a:gd name="T27" fmla="*/ 5 h 47"/>
                  <a:gd name="T28" fmla="*/ 13 w 73"/>
                  <a:gd name="T29" fmla="*/ 8 h 47"/>
                  <a:gd name="T30" fmla="*/ 5 w 73"/>
                  <a:gd name="T31" fmla="*/ 20 h 47"/>
                  <a:gd name="T32" fmla="*/ 0 w 73"/>
                  <a:gd name="T33" fmla="*/ 24 h 47"/>
                  <a:gd name="T34" fmla="*/ 3 w 73"/>
                  <a:gd name="T35" fmla="*/ 29 h 47"/>
                  <a:gd name="T36" fmla="*/ 6 w 73"/>
                  <a:gd name="T37" fmla="*/ 31 h 47"/>
                  <a:gd name="T38" fmla="*/ 7 w 73"/>
                  <a:gd name="T39" fmla="*/ 36 h 47"/>
                  <a:gd name="T40" fmla="*/ 16 w 73"/>
                  <a:gd name="T41" fmla="*/ 39 h 47"/>
                  <a:gd name="T42" fmla="*/ 16 w 73"/>
                  <a:gd name="T43" fmla="*/ 43 h 47"/>
                  <a:gd name="T44" fmla="*/ 21 w 73"/>
                  <a:gd name="T45" fmla="*/ 46 h 47"/>
                  <a:gd name="T46" fmla="*/ 30 w 73"/>
                  <a:gd name="T47" fmla="*/ 47 h 47"/>
                  <a:gd name="T48" fmla="*/ 38 w 73"/>
                  <a:gd name="T49" fmla="*/ 47 h 47"/>
                  <a:gd name="T50" fmla="*/ 44 w 73"/>
                  <a:gd name="T51" fmla="*/ 45 h 47"/>
                  <a:gd name="T52" fmla="*/ 53 w 73"/>
                  <a:gd name="T53" fmla="*/ 43 h 47"/>
                  <a:gd name="T54" fmla="*/ 60 w 73"/>
                  <a:gd name="T55" fmla="*/ 45 h 47"/>
                  <a:gd name="T56" fmla="*/ 65 w 73"/>
                  <a:gd name="T57" fmla="*/ 47 h 47"/>
                  <a:gd name="T58" fmla="*/ 65 w 73"/>
                  <a:gd name="T59" fmla="*/ 43 h 47"/>
                  <a:gd name="T60" fmla="*/ 69 w 73"/>
                  <a:gd name="T61" fmla="*/ 36 h 47"/>
                  <a:gd name="T62" fmla="*/ 73 w 73"/>
                  <a:gd name="T63" fmla="*/ 32 h 47"/>
                  <a:gd name="T64" fmla="*/ 73 w 73"/>
                  <a:gd name="T65" fmla="*/ 32 h 47"/>
                  <a:gd name="T66" fmla="*/ 70 w 73"/>
                  <a:gd name="T67" fmla="*/ 30 h 47"/>
                  <a:gd name="T68" fmla="*/ 65 w 73"/>
                  <a:gd name="T69" fmla="*/ 31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73" h="47">
                    <a:moveTo>
                      <a:pt x="65" y="31"/>
                    </a:moveTo>
                    <a:cubicBezTo>
                      <a:pt x="64" y="31"/>
                      <a:pt x="62" y="31"/>
                      <a:pt x="62" y="30"/>
                    </a:cubicBezTo>
                    <a:cubicBezTo>
                      <a:pt x="62" y="30"/>
                      <a:pt x="63" y="29"/>
                      <a:pt x="63" y="29"/>
                    </a:cubicBezTo>
                    <a:cubicBezTo>
                      <a:pt x="60" y="28"/>
                      <a:pt x="60" y="22"/>
                      <a:pt x="61" y="20"/>
                    </a:cubicBezTo>
                    <a:cubicBezTo>
                      <a:pt x="63" y="18"/>
                      <a:pt x="58" y="12"/>
                      <a:pt x="56" y="9"/>
                    </a:cubicBezTo>
                    <a:cubicBezTo>
                      <a:pt x="55" y="8"/>
                      <a:pt x="53" y="4"/>
                      <a:pt x="51" y="0"/>
                    </a:cubicBezTo>
                    <a:cubicBezTo>
                      <a:pt x="49" y="1"/>
                      <a:pt x="47" y="1"/>
                      <a:pt x="47" y="2"/>
                    </a:cubicBezTo>
                    <a:cubicBezTo>
                      <a:pt x="46" y="3"/>
                      <a:pt x="44" y="4"/>
                      <a:pt x="42" y="4"/>
                    </a:cubicBezTo>
                    <a:cubicBezTo>
                      <a:pt x="41" y="4"/>
                      <a:pt x="40" y="3"/>
                      <a:pt x="38" y="5"/>
                    </a:cubicBezTo>
                    <a:cubicBezTo>
                      <a:pt x="37" y="6"/>
                      <a:pt x="35" y="6"/>
                      <a:pt x="35" y="6"/>
                    </a:cubicBezTo>
                    <a:cubicBezTo>
                      <a:pt x="34" y="5"/>
                      <a:pt x="32" y="4"/>
                      <a:pt x="30" y="4"/>
                    </a:cubicBezTo>
                    <a:cubicBezTo>
                      <a:pt x="28" y="4"/>
                      <a:pt x="23" y="3"/>
                      <a:pt x="22" y="3"/>
                    </a:cubicBezTo>
                    <a:cubicBezTo>
                      <a:pt x="21" y="3"/>
                      <a:pt x="20" y="3"/>
                      <a:pt x="19" y="3"/>
                    </a:cubicBezTo>
                    <a:cubicBezTo>
                      <a:pt x="19" y="4"/>
                      <a:pt x="19" y="4"/>
                      <a:pt x="18" y="5"/>
                    </a:cubicBezTo>
                    <a:cubicBezTo>
                      <a:pt x="17" y="6"/>
                      <a:pt x="14" y="7"/>
                      <a:pt x="13" y="8"/>
                    </a:cubicBezTo>
                    <a:cubicBezTo>
                      <a:pt x="12" y="9"/>
                      <a:pt x="8" y="18"/>
                      <a:pt x="5" y="20"/>
                    </a:cubicBezTo>
                    <a:cubicBezTo>
                      <a:pt x="3" y="23"/>
                      <a:pt x="1" y="23"/>
                      <a:pt x="0" y="24"/>
                    </a:cubicBezTo>
                    <a:cubicBezTo>
                      <a:pt x="0" y="25"/>
                      <a:pt x="3" y="27"/>
                      <a:pt x="3" y="29"/>
                    </a:cubicBezTo>
                    <a:cubicBezTo>
                      <a:pt x="3" y="30"/>
                      <a:pt x="4" y="31"/>
                      <a:pt x="6" y="31"/>
                    </a:cubicBezTo>
                    <a:cubicBezTo>
                      <a:pt x="8" y="31"/>
                      <a:pt x="6" y="36"/>
                      <a:pt x="7" y="36"/>
                    </a:cubicBezTo>
                    <a:cubicBezTo>
                      <a:pt x="8" y="37"/>
                      <a:pt x="16" y="37"/>
                      <a:pt x="16" y="39"/>
                    </a:cubicBezTo>
                    <a:cubicBezTo>
                      <a:pt x="16" y="41"/>
                      <a:pt x="17" y="42"/>
                      <a:pt x="16" y="43"/>
                    </a:cubicBezTo>
                    <a:cubicBezTo>
                      <a:pt x="19" y="43"/>
                      <a:pt x="20" y="46"/>
                      <a:pt x="21" y="46"/>
                    </a:cubicBezTo>
                    <a:cubicBezTo>
                      <a:pt x="22" y="46"/>
                      <a:pt x="28" y="47"/>
                      <a:pt x="30" y="47"/>
                    </a:cubicBezTo>
                    <a:cubicBezTo>
                      <a:pt x="31" y="46"/>
                      <a:pt x="36" y="47"/>
                      <a:pt x="38" y="47"/>
                    </a:cubicBezTo>
                    <a:cubicBezTo>
                      <a:pt x="40" y="47"/>
                      <a:pt x="42" y="46"/>
                      <a:pt x="44" y="45"/>
                    </a:cubicBezTo>
                    <a:cubicBezTo>
                      <a:pt x="45" y="43"/>
                      <a:pt x="51" y="43"/>
                      <a:pt x="53" y="43"/>
                    </a:cubicBezTo>
                    <a:cubicBezTo>
                      <a:pt x="55" y="43"/>
                      <a:pt x="59" y="44"/>
                      <a:pt x="60" y="45"/>
                    </a:cubicBezTo>
                    <a:cubicBezTo>
                      <a:pt x="60" y="45"/>
                      <a:pt x="62" y="46"/>
                      <a:pt x="65" y="47"/>
                    </a:cubicBezTo>
                    <a:cubicBezTo>
                      <a:pt x="65" y="46"/>
                      <a:pt x="65" y="44"/>
                      <a:pt x="65" y="43"/>
                    </a:cubicBezTo>
                    <a:cubicBezTo>
                      <a:pt x="65" y="40"/>
                      <a:pt x="66" y="37"/>
                      <a:pt x="69" y="36"/>
                    </a:cubicBezTo>
                    <a:cubicBezTo>
                      <a:pt x="71" y="36"/>
                      <a:pt x="73" y="36"/>
                      <a:pt x="73" y="32"/>
                    </a:cubicBezTo>
                    <a:cubicBezTo>
                      <a:pt x="73" y="32"/>
                      <a:pt x="73" y="32"/>
                      <a:pt x="73" y="32"/>
                    </a:cubicBezTo>
                    <a:cubicBezTo>
                      <a:pt x="72" y="31"/>
                      <a:pt x="70" y="30"/>
                      <a:pt x="70" y="30"/>
                    </a:cubicBezTo>
                    <a:cubicBezTo>
                      <a:pt x="69" y="30"/>
                      <a:pt x="66" y="32"/>
                      <a:pt x="65" y="3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4" name="Freeform 80">
                <a:extLst>
                  <a:ext uri="{FF2B5EF4-FFF2-40B4-BE49-F238E27FC236}">
                    <a16:creationId xmlns:a16="http://schemas.microsoft.com/office/drawing/2014/main" id="{073ED889-686E-41A6-8069-20F6CAA2DC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14076" y="3099820"/>
                <a:ext cx="57717" cy="71519"/>
              </a:xfrm>
              <a:custGeom>
                <a:avLst/>
                <a:gdLst>
                  <a:gd name="T0" fmla="*/ 18 w 25"/>
                  <a:gd name="T1" fmla="*/ 8 h 31"/>
                  <a:gd name="T2" fmla="*/ 12 w 25"/>
                  <a:gd name="T3" fmla="*/ 4 h 31"/>
                  <a:gd name="T4" fmla="*/ 6 w 25"/>
                  <a:gd name="T5" fmla="*/ 0 h 31"/>
                  <a:gd name="T6" fmla="*/ 0 w 25"/>
                  <a:gd name="T7" fmla="*/ 2 h 31"/>
                  <a:gd name="T8" fmla="*/ 5 w 25"/>
                  <a:gd name="T9" fmla="*/ 11 h 31"/>
                  <a:gd name="T10" fmla="*/ 10 w 25"/>
                  <a:gd name="T11" fmla="*/ 22 h 31"/>
                  <a:gd name="T12" fmla="*/ 12 w 25"/>
                  <a:gd name="T13" fmla="*/ 31 h 31"/>
                  <a:gd name="T14" fmla="*/ 16 w 25"/>
                  <a:gd name="T15" fmla="*/ 24 h 31"/>
                  <a:gd name="T16" fmla="*/ 19 w 25"/>
                  <a:gd name="T17" fmla="*/ 21 h 31"/>
                  <a:gd name="T18" fmla="*/ 25 w 25"/>
                  <a:gd name="T19" fmla="*/ 22 h 31"/>
                  <a:gd name="T20" fmla="*/ 23 w 25"/>
                  <a:gd name="T21" fmla="*/ 16 h 31"/>
                  <a:gd name="T22" fmla="*/ 18 w 25"/>
                  <a:gd name="T23" fmla="*/ 8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5" h="31">
                    <a:moveTo>
                      <a:pt x="18" y="8"/>
                    </a:moveTo>
                    <a:cubicBezTo>
                      <a:pt x="17" y="5"/>
                      <a:pt x="14" y="4"/>
                      <a:pt x="12" y="4"/>
                    </a:cubicBezTo>
                    <a:cubicBezTo>
                      <a:pt x="10" y="4"/>
                      <a:pt x="8" y="0"/>
                      <a:pt x="6" y="0"/>
                    </a:cubicBezTo>
                    <a:cubicBezTo>
                      <a:pt x="5" y="1"/>
                      <a:pt x="2" y="1"/>
                      <a:pt x="0" y="2"/>
                    </a:cubicBezTo>
                    <a:cubicBezTo>
                      <a:pt x="2" y="6"/>
                      <a:pt x="4" y="10"/>
                      <a:pt x="5" y="11"/>
                    </a:cubicBezTo>
                    <a:cubicBezTo>
                      <a:pt x="7" y="14"/>
                      <a:pt x="12" y="20"/>
                      <a:pt x="10" y="22"/>
                    </a:cubicBezTo>
                    <a:cubicBezTo>
                      <a:pt x="9" y="24"/>
                      <a:pt x="9" y="30"/>
                      <a:pt x="12" y="31"/>
                    </a:cubicBezTo>
                    <a:cubicBezTo>
                      <a:pt x="13" y="30"/>
                      <a:pt x="16" y="26"/>
                      <a:pt x="16" y="24"/>
                    </a:cubicBezTo>
                    <a:cubicBezTo>
                      <a:pt x="16" y="23"/>
                      <a:pt x="16" y="20"/>
                      <a:pt x="19" y="21"/>
                    </a:cubicBezTo>
                    <a:cubicBezTo>
                      <a:pt x="22" y="21"/>
                      <a:pt x="25" y="23"/>
                      <a:pt x="25" y="22"/>
                    </a:cubicBezTo>
                    <a:cubicBezTo>
                      <a:pt x="25" y="21"/>
                      <a:pt x="24" y="18"/>
                      <a:pt x="23" y="16"/>
                    </a:cubicBezTo>
                    <a:cubicBezTo>
                      <a:pt x="22" y="15"/>
                      <a:pt x="19" y="11"/>
                      <a:pt x="18" y="8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5" name="Freeform 81">
                <a:extLst>
                  <a:ext uri="{FF2B5EF4-FFF2-40B4-BE49-F238E27FC236}">
                    <a16:creationId xmlns:a16="http://schemas.microsoft.com/office/drawing/2014/main" id="{18ED64BF-A2CD-474D-AB05-053D599BA6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28755" y="3203962"/>
                <a:ext cx="117944" cy="61482"/>
              </a:xfrm>
              <a:custGeom>
                <a:avLst/>
                <a:gdLst>
                  <a:gd name="T0" fmla="*/ 39 w 51"/>
                  <a:gd name="T1" fmla="*/ 0 h 27"/>
                  <a:gd name="T2" fmla="*/ 30 w 51"/>
                  <a:gd name="T3" fmla="*/ 2 h 27"/>
                  <a:gd name="T4" fmla="*/ 24 w 51"/>
                  <a:gd name="T5" fmla="*/ 4 h 27"/>
                  <a:gd name="T6" fmla="*/ 16 w 51"/>
                  <a:gd name="T7" fmla="*/ 4 h 27"/>
                  <a:gd name="T8" fmla="*/ 7 w 51"/>
                  <a:gd name="T9" fmla="*/ 3 h 27"/>
                  <a:gd name="T10" fmla="*/ 2 w 51"/>
                  <a:gd name="T11" fmla="*/ 0 h 27"/>
                  <a:gd name="T12" fmla="*/ 2 w 51"/>
                  <a:gd name="T13" fmla="*/ 0 h 27"/>
                  <a:gd name="T14" fmla="*/ 2 w 51"/>
                  <a:gd name="T15" fmla="*/ 6 h 27"/>
                  <a:gd name="T16" fmla="*/ 4 w 51"/>
                  <a:gd name="T17" fmla="*/ 11 h 27"/>
                  <a:gd name="T18" fmla="*/ 2 w 51"/>
                  <a:gd name="T19" fmla="*/ 14 h 27"/>
                  <a:gd name="T20" fmla="*/ 2 w 51"/>
                  <a:gd name="T21" fmla="*/ 18 h 27"/>
                  <a:gd name="T22" fmla="*/ 6 w 51"/>
                  <a:gd name="T23" fmla="*/ 23 h 27"/>
                  <a:gd name="T24" fmla="*/ 8 w 51"/>
                  <a:gd name="T25" fmla="*/ 26 h 27"/>
                  <a:gd name="T26" fmla="*/ 18 w 51"/>
                  <a:gd name="T27" fmla="*/ 26 h 27"/>
                  <a:gd name="T28" fmla="*/ 27 w 51"/>
                  <a:gd name="T29" fmla="*/ 27 h 27"/>
                  <a:gd name="T30" fmla="*/ 30 w 51"/>
                  <a:gd name="T31" fmla="*/ 25 h 27"/>
                  <a:gd name="T32" fmla="*/ 34 w 51"/>
                  <a:gd name="T33" fmla="*/ 24 h 27"/>
                  <a:gd name="T34" fmla="*/ 34 w 51"/>
                  <a:gd name="T35" fmla="*/ 21 h 27"/>
                  <a:gd name="T36" fmla="*/ 42 w 51"/>
                  <a:gd name="T37" fmla="*/ 21 h 27"/>
                  <a:gd name="T38" fmla="*/ 45 w 51"/>
                  <a:gd name="T39" fmla="*/ 21 h 27"/>
                  <a:gd name="T40" fmla="*/ 44 w 51"/>
                  <a:gd name="T41" fmla="*/ 19 h 27"/>
                  <a:gd name="T42" fmla="*/ 43 w 51"/>
                  <a:gd name="T43" fmla="*/ 13 h 27"/>
                  <a:gd name="T44" fmla="*/ 49 w 51"/>
                  <a:gd name="T45" fmla="*/ 6 h 27"/>
                  <a:gd name="T46" fmla="*/ 51 w 51"/>
                  <a:gd name="T47" fmla="*/ 4 h 27"/>
                  <a:gd name="T48" fmla="*/ 46 w 51"/>
                  <a:gd name="T49" fmla="*/ 2 h 27"/>
                  <a:gd name="T50" fmla="*/ 39 w 51"/>
                  <a:gd name="T51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51" h="27">
                    <a:moveTo>
                      <a:pt x="39" y="0"/>
                    </a:moveTo>
                    <a:cubicBezTo>
                      <a:pt x="37" y="0"/>
                      <a:pt x="31" y="0"/>
                      <a:pt x="30" y="2"/>
                    </a:cubicBezTo>
                    <a:cubicBezTo>
                      <a:pt x="28" y="3"/>
                      <a:pt x="26" y="4"/>
                      <a:pt x="24" y="4"/>
                    </a:cubicBezTo>
                    <a:cubicBezTo>
                      <a:pt x="22" y="4"/>
                      <a:pt x="17" y="3"/>
                      <a:pt x="16" y="4"/>
                    </a:cubicBezTo>
                    <a:cubicBezTo>
                      <a:pt x="14" y="4"/>
                      <a:pt x="8" y="3"/>
                      <a:pt x="7" y="3"/>
                    </a:cubicBezTo>
                    <a:cubicBezTo>
                      <a:pt x="6" y="3"/>
                      <a:pt x="5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2"/>
                      <a:pt x="0" y="4"/>
                      <a:pt x="2" y="6"/>
                    </a:cubicBezTo>
                    <a:cubicBezTo>
                      <a:pt x="4" y="8"/>
                      <a:pt x="6" y="11"/>
                      <a:pt x="4" y="11"/>
                    </a:cubicBezTo>
                    <a:cubicBezTo>
                      <a:pt x="3" y="11"/>
                      <a:pt x="1" y="13"/>
                      <a:pt x="2" y="14"/>
                    </a:cubicBezTo>
                    <a:cubicBezTo>
                      <a:pt x="2" y="15"/>
                      <a:pt x="1" y="18"/>
                      <a:pt x="2" y="18"/>
                    </a:cubicBezTo>
                    <a:cubicBezTo>
                      <a:pt x="2" y="19"/>
                      <a:pt x="6" y="22"/>
                      <a:pt x="6" y="23"/>
                    </a:cubicBezTo>
                    <a:cubicBezTo>
                      <a:pt x="6" y="24"/>
                      <a:pt x="8" y="25"/>
                      <a:pt x="8" y="26"/>
                    </a:cubicBezTo>
                    <a:cubicBezTo>
                      <a:pt x="11" y="25"/>
                      <a:pt x="17" y="25"/>
                      <a:pt x="18" y="26"/>
                    </a:cubicBezTo>
                    <a:cubicBezTo>
                      <a:pt x="20" y="27"/>
                      <a:pt x="27" y="27"/>
                      <a:pt x="27" y="27"/>
                    </a:cubicBezTo>
                    <a:cubicBezTo>
                      <a:pt x="29" y="27"/>
                      <a:pt x="31" y="27"/>
                      <a:pt x="30" y="25"/>
                    </a:cubicBezTo>
                    <a:cubicBezTo>
                      <a:pt x="30" y="24"/>
                      <a:pt x="32" y="24"/>
                      <a:pt x="34" y="24"/>
                    </a:cubicBezTo>
                    <a:cubicBezTo>
                      <a:pt x="34" y="22"/>
                      <a:pt x="33" y="22"/>
                      <a:pt x="34" y="21"/>
                    </a:cubicBezTo>
                    <a:cubicBezTo>
                      <a:pt x="35" y="21"/>
                      <a:pt x="40" y="20"/>
                      <a:pt x="42" y="21"/>
                    </a:cubicBezTo>
                    <a:cubicBezTo>
                      <a:pt x="43" y="22"/>
                      <a:pt x="44" y="21"/>
                      <a:pt x="45" y="21"/>
                    </a:cubicBezTo>
                    <a:cubicBezTo>
                      <a:pt x="45" y="20"/>
                      <a:pt x="45" y="19"/>
                      <a:pt x="44" y="19"/>
                    </a:cubicBezTo>
                    <a:cubicBezTo>
                      <a:pt x="43" y="19"/>
                      <a:pt x="41" y="13"/>
                      <a:pt x="43" y="13"/>
                    </a:cubicBezTo>
                    <a:cubicBezTo>
                      <a:pt x="44" y="12"/>
                      <a:pt x="46" y="7"/>
                      <a:pt x="49" y="6"/>
                    </a:cubicBezTo>
                    <a:cubicBezTo>
                      <a:pt x="50" y="6"/>
                      <a:pt x="50" y="5"/>
                      <a:pt x="51" y="4"/>
                    </a:cubicBezTo>
                    <a:cubicBezTo>
                      <a:pt x="48" y="3"/>
                      <a:pt x="46" y="2"/>
                      <a:pt x="46" y="2"/>
                    </a:cubicBezTo>
                    <a:cubicBezTo>
                      <a:pt x="45" y="1"/>
                      <a:pt x="41" y="0"/>
                      <a:pt x="39" y="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6" name="Freeform 82">
                <a:extLst>
                  <a:ext uri="{FF2B5EF4-FFF2-40B4-BE49-F238E27FC236}">
                    <a16:creationId xmlns:a16="http://schemas.microsoft.com/office/drawing/2014/main" id="{9F789697-920B-40A2-AF86-EA13CC8CBE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6132" y="3242858"/>
                <a:ext cx="51444" cy="33878"/>
              </a:xfrm>
              <a:custGeom>
                <a:avLst/>
                <a:gdLst>
                  <a:gd name="T0" fmla="*/ 5 w 22"/>
                  <a:gd name="T1" fmla="*/ 15 h 15"/>
                  <a:gd name="T2" fmla="*/ 5 w 22"/>
                  <a:gd name="T3" fmla="*/ 15 h 15"/>
                  <a:gd name="T4" fmla="*/ 5 w 22"/>
                  <a:gd name="T5" fmla="*/ 15 h 15"/>
                  <a:gd name="T6" fmla="*/ 5 w 22"/>
                  <a:gd name="T7" fmla="*/ 15 h 15"/>
                  <a:gd name="T8" fmla="*/ 6 w 22"/>
                  <a:gd name="T9" fmla="*/ 15 h 15"/>
                  <a:gd name="T10" fmla="*/ 6 w 22"/>
                  <a:gd name="T11" fmla="*/ 15 h 15"/>
                  <a:gd name="T12" fmla="*/ 8 w 22"/>
                  <a:gd name="T13" fmla="*/ 15 h 15"/>
                  <a:gd name="T14" fmla="*/ 9 w 22"/>
                  <a:gd name="T15" fmla="*/ 15 h 15"/>
                  <a:gd name="T16" fmla="*/ 9 w 22"/>
                  <a:gd name="T17" fmla="*/ 15 h 15"/>
                  <a:gd name="T18" fmla="*/ 9 w 22"/>
                  <a:gd name="T19" fmla="*/ 15 h 15"/>
                  <a:gd name="T20" fmla="*/ 10 w 22"/>
                  <a:gd name="T21" fmla="*/ 15 h 15"/>
                  <a:gd name="T22" fmla="*/ 14 w 22"/>
                  <a:gd name="T23" fmla="*/ 13 h 15"/>
                  <a:gd name="T24" fmla="*/ 21 w 22"/>
                  <a:gd name="T25" fmla="*/ 9 h 15"/>
                  <a:gd name="T26" fmla="*/ 22 w 22"/>
                  <a:gd name="T27" fmla="*/ 9 h 15"/>
                  <a:gd name="T28" fmla="*/ 20 w 22"/>
                  <a:gd name="T29" fmla="*/ 6 h 15"/>
                  <a:gd name="T30" fmla="*/ 16 w 22"/>
                  <a:gd name="T31" fmla="*/ 1 h 15"/>
                  <a:gd name="T32" fmla="*/ 15 w 22"/>
                  <a:gd name="T33" fmla="*/ 1 h 15"/>
                  <a:gd name="T34" fmla="*/ 15 w 22"/>
                  <a:gd name="T35" fmla="*/ 1 h 15"/>
                  <a:gd name="T36" fmla="*/ 15 w 22"/>
                  <a:gd name="T37" fmla="*/ 0 h 15"/>
                  <a:gd name="T38" fmla="*/ 2 w 22"/>
                  <a:gd name="T39" fmla="*/ 2 h 15"/>
                  <a:gd name="T40" fmla="*/ 1 w 22"/>
                  <a:gd name="T41" fmla="*/ 2 h 15"/>
                  <a:gd name="T42" fmla="*/ 0 w 22"/>
                  <a:gd name="T43" fmla="*/ 10 h 15"/>
                  <a:gd name="T44" fmla="*/ 5 w 22"/>
                  <a:gd name="T45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2" h="15">
                    <a:moveTo>
                      <a:pt x="5" y="15"/>
                    </a:move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6" y="15"/>
                      <a:pt x="6" y="15"/>
                    </a:cubicBezTo>
                    <a:cubicBezTo>
                      <a:pt x="6" y="15"/>
                      <a:pt x="6" y="15"/>
                      <a:pt x="6" y="15"/>
                    </a:cubicBezTo>
                    <a:cubicBezTo>
                      <a:pt x="6" y="15"/>
                      <a:pt x="7" y="15"/>
                      <a:pt x="8" y="15"/>
                    </a:cubicBezTo>
                    <a:cubicBezTo>
                      <a:pt x="8" y="15"/>
                      <a:pt x="8" y="15"/>
                      <a:pt x="9" y="15"/>
                    </a:cubicBezTo>
                    <a:cubicBezTo>
                      <a:pt x="9" y="15"/>
                      <a:pt x="9" y="15"/>
                      <a:pt x="9" y="15"/>
                    </a:cubicBezTo>
                    <a:cubicBezTo>
                      <a:pt x="9" y="15"/>
                      <a:pt x="9" y="15"/>
                      <a:pt x="9" y="15"/>
                    </a:cubicBezTo>
                    <a:cubicBezTo>
                      <a:pt x="10" y="15"/>
                      <a:pt x="10" y="15"/>
                      <a:pt x="10" y="15"/>
                    </a:cubicBezTo>
                    <a:cubicBezTo>
                      <a:pt x="12" y="14"/>
                      <a:pt x="13" y="12"/>
                      <a:pt x="14" y="13"/>
                    </a:cubicBezTo>
                    <a:cubicBezTo>
                      <a:pt x="15" y="13"/>
                      <a:pt x="21" y="10"/>
                      <a:pt x="21" y="9"/>
                    </a:cubicBezTo>
                    <a:cubicBezTo>
                      <a:pt x="22" y="9"/>
                      <a:pt x="22" y="9"/>
                      <a:pt x="22" y="9"/>
                    </a:cubicBezTo>
                    <a:cubicBezTo>
                      <a:pt x="22" y="8"/>
                      <a:pt x="20" y="7"/>
                      <a:pt x="20" y="6"/>
                    </a:cubicBezTo>
                    <a:cubicBezTo>
                      <a:pt x="20" y="5"/>
                      <a:pt x="16" y="2"/>
                      <a:pt x="16" y="1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0" y="1"/>
                      <a:pt x="2" y="2"/>
                      <a:pt x="2" y="2"/>
                    </a:cubicBezTo>
                    <a:cubicBezTo>
                      <a:pt x="2" y="2"/>
                      <a:pt x="1" y="2"/>
                      <a:pt x="1" y="2"/>
                    </a:cubicBezTo>
                    <a:cubicBezTo>
                      <a:pt x="0" y="5"/>
                      <a:pt x="0" y="8"/>
                      <a:pt x="0" y="10"/>
                    </a:cubicBezTo>
                    <a:cubicBezTo>
                      <a:pt x="1" y="12"/>
                      <a:pt x="2" y="14"/>
                      <a:pt x="5" y="1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7" name="Freeform 83">
                <a:extLst>
                  <a:ext uri="{FF2B5EF4-FFF2-40B4-BE49-F238E27FC236}">
                    <a16:creationId xmlns:a16="http://schemas.microsoft.com/office/drawing/2014/main" id="{AE521EE0-4FFF-4BC3-8446-B5C0DD4D4E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28755" y="3005715"/>
                <a:ext cx="329993" cy="190718"/>
              </a:xfrm>
              <a:custGeom>
                <a:avLst/>
                <a:gdLst>
                  <a:gd name="T0" fmla="*/ 134 w 143"/>
                  <a:gd name="T1" fmla="*/ 48 h 83"/>
                  <a:gd name="T2" fmla="*/ 142 w 143"/>
                  <a:gd name="T3" fmla="*/ 43 h 83"/>
                  <a:gd name="T4" fmla="*/ 143 w 143"/>
                  <a:gd name="T5" fmla="*/ 38 h 83"/>
                  <a:gd name="T6" fmla="*/ 143 w 143"/>
                  <a:gd name="T7" fmla="*/ 32 h 83"/>
                  <a:gd name="T8" fmla="*/ 132 w 143"/>
                  <a:gd name="T9" fmla="*/ 28 h 83"/>
                  <a:gd name="T10" fmla="*/ 122 w 143"/>
                  <a:gd name="T11" fmla="*/ 22 h 83"/>
                  <a:gd name="T12" fmla="*/ 113 w 143"/>
                  <a:gd name="T13" fmla="*/ 23 h 83"/>
                  <a:gd name="T14" fmla="*/ 106 w 143"/>
                  <a:gd name="T15" fmla="*/ 20 h 83"/>
                  <a:gd name="T16" fmla="*/ 97 w 143"/>
                  <a:gd name="T17" fmla="*/ 12 h 83"/>
                  <a:gd name="T18" fmla="*/ 94 w 143"/>
                  <a:gd name="T19" fmla="*/ 1 h 83"/>
                  <a:gd name="T20" fmla="*/ 82 w 143"/>
                  <a:gd name="T21" fmla="*/ 1 h 83"/>
                  <a:gd name="T22" fmla="*/ 76 w 143"/>
                  <a:gd name="T23" fmla="*/ 2 h 83"/>
                  <a:gd name="T24" fmla="*/ 66 w 143"/>
                  <a:gd name="T25" fmla="*/ 8 h 83"/>
                  <a:gd name="T26" fmla="*/ 57 w 143"/>
                  <a:gd name="T27" fmla="*/ 10 h 83"/>
                  <a:gd name="T28" fmla="*/ 47 w 143"/>
                  <a:gd name="T29" fmla="*/ 8 h 83"/>
                  <a:gd name="T30" fmla="*/ 34 w 143"/>
                  <a:gd name="T31" fmla="*/ 6 h 83"/>
                  <a:gd name="T32" fmla="*/ 15 w 143"/>
                  <a:gd name="T33" fmla="*/ 8 h 83"/>
                  <a:gd name="T34" fmla="*/ 11 w 143"/>
                  <a:gd name="T35" fmla="*/ 11 h 83"/>
                  <a:gd name="T36" fmla="*/ 11 w 143"/>
                  <a:gd name="T37" fmla="*/ 22 h 83"/>
                  <a:gd name="T38" fmla="*/ 4 w 143"/>
                  <a:gd name="T39" fmla="*/ 35 h 83"/>
                  <a:gd name="T40" fmla="*/ 4 w 143"/>
                  <a:gd name="T41" fmla="*/ 45 h 83"/>
                  <a:gd name="T42" fmla="*/ 8 w 143"/>
                  <a:gd name="T43" fmla="*/ 46 h 83"/>
                  <a:gd name="T44" fmla="*/ 21 w 143"/>
                  <a:gd name="T45" fmla="*/ 49 h 83"/>
                  <a:gd name="T46" fmla="*/ 28 w 143"/>
                  <a:gd name="T47" fmla="*/ 47 h 83"/>
                  <a:gd name="T48" fmla="*/ 43 w 143"/>
                  <a:gd name="T49" fmla="*/ 41 h 83"/>
                  <a:gd name="T50" fmla="*/ 55 w 143"/>
                  <a:gd name="T51" fmla="*/ 49 h 83"/>
                  <a:gd name="T52" fmla="*/ 62 w 143"/>
                  <a:gd name="T53" fmla="*/ 63 h 83"/>
                  <a:gd name="T54" fmla="*/ 53 w 143"/>
                  <a:gd name="T55" fmla="*/ 65 h 83"/>
                  <a:gd name="T56" fmla="*/ 51 w 143"/>
                  <a:gd name="T57" fmla="*/ 74 h 83"/>
                  <a:gd name="T58" fmla="*/ 59 w 143"/>
                  <a:gd name="T59" fmla="*/ 75 h 83"/>
                  <a:gd name="T60" fmla="*/ 70 w 143"/>
                  <a:gd name="T61" fmla="*/ 60 h 83"/>
                  <a:gd name="T62" fmla="*/ 79 w 143"/>
                  <a:gd name="T63" fmla="*/ 64 h 83"/>
                  <a:gd name="T64" fmla="*/ 82 w 143"/>
                  <a:gd name="T65" fmla="*/ 72 h 83"/>
                  <a:gd name="T66" fmla="*/ 90 w 143"/>
                  <a:gd name="T67" fmla="*/ 82 h 83"/>
                  <a:gd name="T68" fmla="*/ 104 w 143"/>
                  <a:gd name="T69" fmla="*/ 77 h 83"/>
                  <a:gd name="T70" fmla="*/ 107 w 143"/>
                  <a:gd name="T71" fmla="*/ 74 h 83"/>
                  <a:gd name="T72" fmla="*/ 111 w 143"/>
                  <a:gd name="T73" fmla="*/ 61 h 83"/>
                  <a:gd name="T74" fmla="*/ 127 w 143"/>
                  <a:gd name="T75" fmla="*/ 56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43" h="83">
                    <a:moveTo>
                      <a:pt x="127" y="52"/>
                    </a:moveTo>
                    <a:cubicBezTo>
                      <a:pt x="129" y="52"/>
                      <a:pt x="132" y="48"/>
                      <a:pt x="134" y="48"/>
                    </a:cubicBezTo>
                    <a:cubicBezTo>
                      <a:pt x="135" y="48"/>
                      <a:pt x="140" y="49"/>
                      <a:pt x="140" y="48"/>
                    </a:cubicBezTo>
                    <a:cubicBezTo>
                      <a:pt x="140" y="47"/>
                      <a:pt x="142" y="44"/>
                      <a:pt x="142" y="43"/>
                    </a:cubicBezTo>
                    <a:cubicBezTo>
                      <a:pt x="141" y="42"/>
                      <a:pt x="140" y="41"/>
                      <a:pt x="140" y="40"/>
                    </a:cubicBezTo>
                    <a:cubicBezTo>
                      <a:pt x="140" y="39"/>
                      <a:pt x="143" y="39"/>
                      <a:pt x="143" y="38"/>
                    </a:cubicBezTo>
                    <a:cubicBezTo>
                      <a:pt x="143" y="37"/>
                      <a:pt x="141" y="36"/>
                      <a:pt x="141" y="36"/>
                    </a:cubicBezTo>
                    <a:cubicBezTo>
                      <a:pt x="141" y="35"/>
                      <a:pt x="143" y="34"/>
                      <a:pt x="143" y="32"/>
                    </a:cubicBezTo>
                    <a:cubicBezTo>
                      <a:pt x="143" y="31"/>
                      <a:pt x="141" y="31"/>
                      <a:pt x="139" y="29"/>
                    </a:cubicBezTo>
                    <a:cubicBezTo>
                      <a:pt x="136" y="28"/>
                      <a:pt x="134" y="29"/>
                      <a:pt x="132" y="28"/>
                    </a:cubicBezTo>
                    <a:cubicBezTo>
                      <a:pt x="130" y="27"/>
                      <a:pt x="125" y="27"/>
                      <a:pt x="125" y="27"/>
                    </a:cubicBezTo>
                    <a:cubicBezTo>
                      <a:pt x="125" y="26"/>
                      <a:pt x="122" y="23"/>
                      <a:pt x="122" y="22"/>
                    </a:cubicBezTo>
                    <a:cubicBezTo>
                      <a:pt x="121" y="21"/>
                      <a:pt x="119" y="22"/>
                      <a:pt x="117" y="23"/>
                    </a:cubicBezTo>
                    <a:cubicBezTo>
                      <a:pt x="116" y="23"/>
                      <a:pt x="114" y="24"/>
                      <a:pt x="113" y="23"/>
                    </a:cubicBezTo>
                    <a:cubicBezTo>
                      <a:pt x="112" y="22"/>
                      <a:pt x="110" y="21"/>
                      <a:pt x="109" y="21"/>
                    </a:cubicBezTo>
                    <a:cubicBezTo>
                      <a:pt x="108" y="22"/>
                      <a:pt x="106" y="21"/>
                      <a:pt x="106" y="20"/>
                    </a:cubicBezTo>
                    <a:cubicBezTo>
                      <a:pt x="107" y="18"/>
                      <a:pt x="104" y="14"/>
                      <a:pt x="103" y="13"/>
                    </a:cubicBezTo>
                    <a:cubicBezTo>
                      <a:pt x="101" y="13"/>
                      <a:pt x="98" y="14"/>
                      <a:pt x="97" y="12"/>
                    </a:cubicBezTo>
                    <a:cubicBezTo>
                      <a:pt x="96" y="10"/>
                      <a:pt x="94" y="9"/>
                      <a:pt x="95" y="7"/>
                    </a:cubicBezTo>
                    <a:cubicBezTo>
                      <a:pt x="96" y="6"/>
                      <a:pt x="95" y="3"/>
                      <a:pt x="94" y="1"/>
                    </a:cubicBezTo>
                    <a:cubicBezTo>
                      <a:pt x="93" y="0"/>
                      <a:pt x="88" y="0"/>
                      <a:pt x="87" y="1"/>
                    </a:cubicBezTo>
                    <a:cubicBezTo>
                      <a:pt x="86" y="1"/>
                      <a:pt x="83" y="0"/>
                      <a:pt x="82" y="1"/>
                    </a:cubicBezTo>
                    <a:cubicBezTo>
                      <a:pt x="81" y="2"/>
                      <a:pt x="80" y="3"/>
                      <a:pt x="78" y="3"/>
                    </a:cubicBezTo>
                    <a:cubicBezTo>
                      <a:pt x="77" y="3"/>
                      <a:pt x="76" y="3"/>
                      <a:pt x="76" y="2"/>
                    </a:cubicBezTo>
                    <a:cubicBezTo>
                      <a:pt x="74" y="3"/>
                      <a:pt x="71" y="3"/>
                      <a:pt x="71" y="3"/>
                    </a:cubicBezTo>
                    <a:cubicBezTo>
                      <a:pt x="71" y="3"/>
                      <a:pt x="66" y="7"/>
                      <a:pt x="66" y="8"/>
                    </a:cubicBezTo>
                    <a:cubicBezTo>
                      <a:pt x="66" y="10"/>
                      <a:pt x="66" y="12"/>
                      <a:pt x="65" y="11"/>
                    </a:cubicBezTo>
                    <a:cubicBezTo>
                      <a:pt x="63" y="10"/>
                      <a:pt x="58" y="10"/>
                      <a:pt x="57" y="10"/>
                    </a:cubicBezTo>
                    <a:cubicBezTo>
                      <a:pt x="56" y="11"/>
                      <a:pt x="54" y="7"/>
                      <a:pt x="52" y="9"/>
                    </a:cubicBezTo>
                    <a:cubicBezTo>
                      <a:pt x="50" y="10"/>
                      <a:pt x="47" y="7"/>
                      <a:pt x="47" y="8"/>
                    </a:cubicBezTo>
                    <a:cubicBezTo>
                      <a:pt x="46" y="9"/>
                      <a:pt x="43" y="8"/>
                      <a:pt x="41" y="7"/>
                    </a:cubicBezTo>
                    <a:cubicBezTo>
                      <a:pt x="39" y="6"/>
                      <a:pt x="35" y="8"/>
                      <a:pt x="34" y="6"/>
                    </a:cubicBezTo>
                    <a:cubicBezTo>
                      <a:pt x="32" y="5"/>
                      <a:pt x="23" y="5"/>
                      <a:pt x="20" y="5"/>
                    </a:cubicBezTo>
                    <a:cubicBezTo>
                      <a:pt x="17" y="5"/>
                      <a:pt x="16" y="6"/>
                      <a:pt x="15" y="8"/>
                    </a:cubicBezTo>
                    <a:cubicBezTo>
                      <a:pt x="14" y="9"/>
                      <a:pt x="12" y="9"/>
                      <a:pt x="11" y="9"/>
                    </a:cubicBezTo>
                    <a:cubicBezTo>
                      <a:pt x="11" y="10"/>
                      <a:pt x="11" y="11"/>
                      <a:pt x="11" y="11"/>
                    </a:cubicBezTo>
                    <a:cubicBezTo>
                      <a:pt x="12" y="12"/>
                      <a:pt x="15" y="18"/>
                      <a:pt x="14" y="19"/>
                    </a:cubicBezTo>
                    <a:cubicBezTo>
                      <a:pt x="14" y="21"/>
                      <a:pt x="12" y="21"/>
                      <a:pt x="11" y="22"/>
                    </a:cubicBezTo>
                    <a:cubicBezTo>
                      <a:pt x="10" y="23"/>
                      <a:pt x="4" y="29"/>
                      <a:pt x="3" y="30"/>
                    </a:cubicBezTo>
                    <a:cubicBezTo>
                      <a:pt x="3" y="31"/>
                      <a:pt x="4" y="35"/>
                      <a:pt x="4" y="35"/>
                    </a:cubicBezTo>
                    <a:cubicBezTo>
                      <a:pt x="3" y="36"/>
                      <a:pt x="0" y="40"/>
                      <a:pt x="0" y="41"/>
                    </a:cubicBezTo>
                    <a:cubicBezTo>
                      <a:pt x="0" y="43"/>
                      <a:pt x="2" y="45"/>
                      <a:pt x="4" y="45"/>
                    </a:cubicBezTo>
                    <a:cubicBezTo>
                      <a:pt x="4" y="45"/>
                      <a:pt x="5" y="46"/>
                      <a:pt x="5" y="46"/>
                    </a:cubicBezTo>
                    <a:cubicBezTo>
                      <a:pt x="6" y="46"/>
                      <a:pt x="7" y="46"/>
                      <a:pt x="8" y="46"/>
                    </a:cubicBezTo>
                    <a:cubicBezTo>
                      <a:pt x="9" y="46"/>
                      <a:pt x="14" y="47"/>
                      <a:pt x="16" y="47"/>
                    </a:cubicBezTo>
                    <a:cubicBezTo>
                      <a:pt x="18" y="47"/>
                      <a:pt x="20" y="48"/>
                      <a:pt x="21" y="49"/>
                    </a:cubicBezTo>
                    <a:cubicBezTo>
                      <a:pt x="21" y="49"/>
                      <a:pt x="23" y="49"/>
                      <a:pt x="24" y="48"/>
                    </a:cubicBezTo>
                    <a:cubicBezTo>
                      <a:pt x="26" y="46"/>
                      <a:pt x="27" y="47"/>
                      <a:pt x="28" y="47"/>
                    </a:cubicBezTo>
                    <a:cubicBezTo>
                      <a:pt x="30" y="47"/>
                      <a:pt x="32" y="46"/>
                      <a:pt x="33" y="45"/>
                    </a:cubicBezTo>
                    <a:cubicBezTo>
                      <a:pt x="34" y="44"/>
                      <a:pt x="41" y="42"/>
                      <a:pt x="43" y="41"/>
                    </a:cubicBezTo>
                    <a:cubicBezTo>
                      <a:pt x="45" y="41"/>
                      <a:pt x="47" y="45"/>
                      <a:pt x="49" y="45"/>
                    </a:cubicBezTo>
                    <a:cubicBezTo>
                      <a:pt x="51" y="45"/>
                      <a:pt x="54" y="46"/>
                      <a:pt x="55" y="49"/>
                    </a:cubicBezTo>
                    <a:cubicBezTo>
                      <a:pt x="56" y="52"/>
                      <a:pt x="59" y="56"/>
                      <a:pt x="60" y="57"/>
                    </a:cubicBezTo>
                    <a:cubicBezTo>
                      <a:pt x="61" y="59"/>
                      <a:pt x="62" y="62"/>
                      <a:pt x="62" y="63"/>
                    </a:cubicBezTo>
                    <a:cubicBezTo>
                      <a:pt x="62" y="64"/>
                      <a:pt x="59" y="62"/>
                      <a:pt x="56" y="62"/>
                    </a:cubicBezTo>
                    <a:cubicBezTo>
                      <a:pt x="53" y="61"/>
                      <a:pt x="53" y="64"/>
                      <a:pt x="53" y="65"/>
                    </a:cubicBezTo>
                    <a:cubicBezTo>
                      <a:pt x="53" y="67"/>
                      <a:pt x="49" y="72"/>
                      <a:pt x="48" y="73"/>
                    </a:cubicBezTo>
                    <a:cubicBezTo>
                      <a:pt x="48" y="74"/>
                      <a:pt x="50" y="74"/>
                      <a:pt x="51" y="74"/>
                    </a:cubicBezTo>
                    <a:cubicBezTo>
                      <a:pt x="52" y="75"/>
                      <a:pt x="55" y="73"/>
                      <a:pt x="56" y="73"/>
                    </a:cubicBezTo>
                    <a:cubicBezTo>
                      <a:pt x="56" y="73"/>
                      <a:pt x="58" y="74"/>
                      <a:pt x="59" y="75"/>
                    </a:cubicBezTo>
                    <a:cubicBezTo>
                      <a:pt x="59" y="71"/>
                      <a:pt x="59" y="71"/>
                      <a:pt x="63" y="69"/>
                    </a:cubicBezTo>
                    <a:cubicBezTo>
                      <a:pt x="66" y="66"/>
                      <a:pt x="66" y="61"/>
                      <a:pt x="70" y="60"/>
                    </a:cubicBezTo>
                    <a:cubicBezTo>
                      <a:pt x="73" y="60"/>
                      <a:pt x="74" y="58"/>
                      <a:pt x="78" y="59"/>
                    </a:cubicBezTo>
                    <a:cubicBezTo>
                      <a:pt x="83" y="60"/>
                      <a:pt x="76" y="63"/>
                      <a:pt x="79" y="64"/>
                    </a:cubicBezTo>
                    <a:cubicBezTo>
                      <a:pt x="82" y="66"/>
                      <a:pt x="92" y="64"/>
                      <a:pt x="92" y="66"/>
                    </a:cubicBezTo>
                    <a:cubicBezTo>
                      <a:pt x="93" y="69"/>
                      <a:pt x="81" y="71"/>
                      <a:pt x="82" y="72"/>
                    </a:cubicBezTo>
                    <a:cubicBezTo>
                      <a:pt x="82" y="73"/>
                      <a:pt x="88" y="75"/>
                      <a:pt x="90" y="76"/>
                    </a:cubicBezTo>
                    <a:cubicBezTo>
                      <a:pt x="92" y="77"/>
                      <a:pt x="89" y="81"/>
                      <a:pt x="90" y="82"/>
                    </a:cubicBezTo>
                    <a:cubicBezTo>
                      <a:pt x="91" y="83"/>
                      <a:pt x="94" y="82"/>
                      <a:pt x="97" y="81"/>
                    </a:cubicBezTo>
                    <a:cubicBezTo>
                      <a:pt x="99" y="79"/>
                      <a:pt x="101" y="79"/>
                      <a:pt x="104" y="77"/>
                    </a:cubicBezTo>
                    <a:cubicBezTo>
                      <a:pt x="108" y="75"/>
                      <a:pt x="114" y="77"/>
                      <a:pt x="115" y="76"/>
                    </a:cubicBezTo>
                    <a:cubicBezTo>
                      <a:pt x="116" y="74"/>
                      <a:pt x="113" y="73"/>
                      <a:pt x="107" y="74"/>
                    </a:cubicBezTo>
                    <a:cubicBezTo>
                      <a:pt x="101" y="74"/>
                      <a:pt x="100" y="68"/>
                      <a:pt x="100" y="67"/>
                    </a:cubicBezTo>
                    <a:cubicBezTo>
                      <a:pt x="100" y="66"/>
                      <a:pt x="107" y="61"/>
                      <a:pt x="111" y="61"/>
                    </a:cubicBezTo>
                    <a:cubicBezTo>
                      <a:pt x="114" y="60"/>
                      <a:pt x="117" y="59"/>
                      <a:pt x="121" y="57"/>
                    </a:cubicBezTo>
                    <a:cubicBezTo>
                      <a:pt x="122" y="57"/>
                      <a:pt x="125" y="56"/>
                      <a:pt x="127" y="56"/>
                    </a:cubicBezTo>
                    <a:cubicBezTo>
                      <a:pt x="127" y="54"/>
                      <a:pt x="126" y="52"/>
                      <a:pt x="127" y="5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8" name="Freeform 84">
                <a:extLst>
                  <a:ext uri="{FF2B5EF4-FFF2-40B4-BE49-F238E27FC236}">
                    <a16:creationId xmlns:a16="http://schemas.microsoft.com/office/drawing/2014/main" id="{E667E14A-C710-4F2F-9AC0-D429687476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7576" y="2906592"/>
                <a:ext cx="174407" cy="126727"/>
              </a:xfrm>
              <a:custGeom>
                <a:avLst/>
                <a:gdLst>
                  <a:gd name="T0" fmla="*/ 71 w 76"/>
                  <a:gd name="T1" fmla="*/ 27 h 55"/>
                  <a:gd name="T2" fmla="*/ 66 w 76"/>
                  <a:gd name="T3" fmla="*/ 23 h 55"/>
                  <a:gd name="T4" fmla="*/ 62 w 76"/>
                  <a:gd name="T5" fmla="*/ 18 h 55"/>
                  <a:gd name="T6" fmla="*/ 62 w 76"/>
                  <a:gd name="T7" fmla="*/ 12 h 55"/>
                  <a:gd name="T8" fmla="*/ 61 w 76"/>
                  <a:gd name="T9" fmla="*/ 6 h 55"/>
                  <a:gd name="T10" fmla="*/ 53 w 76"/>
                  <a:gd name="T11" fmla="*/ 4 h 55"/>
                  <a:gd name="T12" fmla="*/ 49 w 76"/>
                  <a:gd name="T13" fmla="*/ 4 h 55"/>
                  <a:gd name="T14" fmla="*/ 45 w 76"/>
                  <a:gd name="T15" fmla="*/ 2 h 55"/>
                  <a:gd name="T16" fmla="*/ 41 w 76"/>
                  <a:gd name="T17" fmla="*/ 1 h 55"/>
                  <a:gd name="T18" fmla="*/ 40 w 76"/>
                  <a:gd name="T19" fmla="*/ 0 h 55"/>
                  <a:gd name="T20" fmla="*/ 38 w 76"/>
                  <a:gd name="T21" fmla="*/ 1 h 55"/>
                  <a:gd name="T22" fmla="*/ 35 w 76"/>
                  <a:gd name="T23" fmla="*/ 4 h 55"/>
                  <a:gd name="T24" fmla="*/ 29 w 76"/>
                  <a:gd name="T25" fmla="*/ 5 h 55"/>
                  <a:gd name="T26" fmla="*/ 27 w 76"/>
                  <a:gd name="T27" fmla="*/ 9 h 55"/>
                  <a:gd name="T28" fmla="*/ 26 w 76"/>
                  <a:gd name="T29" fmla="*/ 12 h 55"/>
                  <a:gd name="T30" fmla="*/ 23 w 76"/>
                  <a:gd name="T31" fmla="*/ 15 h 55"/>
                  <a:gd name="T32" fmla="*/ 19 w 76"/>
                  <a:gd name="T33" fmla="*/ 18 h 55"/>
                  <a:gd name="T34" fmla="*/ 18 w 76"/>
                  <a:gd name="T35" fmla="*/ 22 h 55"/>
                  <a:gd name="T36" fmla="*/ 13 w 76"/>
                  <a:gd name="T37" fmla="*/ 24 h 55"/>
                  <a:gd name="T38" fmla="*/ 9 w 76"/>
                  <a:gd name="T39" fmla="*/ 26 h 55"/>
                  <a:gd name="T40" fmla="*/ 3 w 76"/>
                  <a:gd name="T41" fmla="*/ 25 h 55"/>
                  <a:gd name="T42" fmla="*/ 3 w 76"/>
                  <a:gd name="T43" fmla="*/ 26 h 55"/>
                  <a:gd name="T44" fmla="*/ 4 w 76"/>
                  <a:gd name="T45" fmla="*/ 32 h 55"/>
                  <a:gd name="T46" fmla="*/ 5 w 76"/>
                  <a:gd name="T47" fmla="*/ 39 h 55"/>
                  <a:gd name="T48" fmla="*/ 0 w 76"/>
                  <a:gd name="T49" fmla="*/ 43 h 55"/>
                  <a:gd name="T50" fmla="*/ 3 w 76"/>
                  <a:gd name="T51" fmla="*/ 47 h 55"/>
                  <a:gd name="T52" fmla="*/ 3 w 76"/>
                  <a:gd name="T53" fmla="*/ 52 h 55"/>
                  <a:gd name="T54" fmla="*/ 7 w 76"/>
                  <a:gd name="T55" fmla="*/ 51 h 55"/>
                  <a:gd name="T56" fmla="*/ 12 w 76"/>
                  <a:gd name="T57" fmla="*/ 48 h 55"/>
                  <a:gd name="T58" fmla="*/ 26 w 76"/>
                  <a:gd name="T59" fmla="*/ 49 h 55"/>
                  <a:gd name="T60" fmla="*/ 33 w 76"/>
                  <a:gd name="T61" fmla="*/ 50 h 55"/>
                  <a:gd name="T62" fmla="*/ 39 w 76"/>
                  <a:gd name="T63" fmla="*/ 51 h 55"/>
                  <a:gd name="T64" fmla="*/ 44 w 76"/>
                  <a:gd name="T65" fmla="*/ 52 h 55"/>
                  <a:gd name="T66" fmla="*/ 49 w 76"/>
                  <a:gd name="T67" fmla="*/ 53 h 55"/>
                  <a:gd name="T68" fmla="*/ 57 w 76"/>
                  <a:gd name="T69" fmla="*/ 54 h 55"/>
                  <a:gd name="T70" fmla="*/ 58 w 76"/>
                  <a:gd name="T71" fmla="*/ 51 h 55"/>
                  <a:gd name="T72" fmla="*/ 63 w 76"/>
                  <a:gd name="T73" fmla="*/ 46 h 55"/>
                  <a:gd name="T74" fmla="*/ 68 w 76"/>
                  <a:gd name="T75" fmla="*/ 45 h 55"/>
                  <a:gd name="T76" fmla="*/ 67 w 76"/>
                  <a:gd name="T77" fmla="*/ 42 h 55"/>
                  <a:gd name="T78" fmla="*/ 65 w 76"/>
                  <a:gd name="T79" fmla="*/ 34 h 55"/>
                  <a:gd name="T80" fmla="*/ 71 w 76"/>
                  <a:gd name="T81" fmla="*/ 35 h 55"/>
                  <a:gd name="T82" fmla="*/ 75 w 76"/>
                  <a:gd name="T83" fmla="*/ 31 h 55"/>
                  <a:gd name="T84" fmla="*/ 71 w 76"/>
                  <a:gd name="T85" fmla="*/ 27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76" h="55">
                    <a:moveTo>
                      <a:pt x="71" y="27"/>
                    </a:moveTo>
                    <a:cubicBezTo>
                      <a:pt x="69" y="27"/>
                      <a:pt x="68" y="24"/>
                      <a:pt x="66" y="23"/>
                    </a:cubicBezTo>
                    <a:cubicBezTo>
                      <a:pt x="64" y="22"/>
                      <a:pt x="64" y="19"/>
                      <a:pt x="62" y="18"/>
                    </a:cubicBezTo>
                    <a:cubicBezTo>
                      <a:pt x="60" y="16"/>
                      <a:pt x="62" y="14"/>
                      <a:pt x="62" y="12"/>
                    </a:cubicBezTo>
                    <a:cubicBezTo>
                      <a:pt x="61" y="10"/>
                      <a:pt x="62" y="7"/>
                      <a:pt x="61" y="6"/>
                    </a:cubicBezTo>
                    <a:cubicBezTo>
                      <a:pt x="60" y="6"/>
                      <a:pt x="55" y="3"/>
                      <a:pt x="53" y="4"/>
                    </a:cubicBezTo>
                    <a:cubicBezTo>
                      <a:pt x="51" y="5"/>
                      <a:pt x="50" y="6"/>
                      <a:pt x="49" y="4"/>
                    </a:cubicBezTo>
                    <a:cubicBezTo>
                      <a:pt x="48" y="3"/>
                      <a:pt x="47" y="2"/>
                      <a:pt x="45" y="2"/>
                    </a:cubicBezTo>
                    <a:cubicBezTo>
                      <a:pt x="43" y="3"/>
                      <a:pt x="42" y="2"/>
                      <a:pt x="41" y="1"/>
                    </a:cubicBezTo>
                    <a:cubicBezTo>
                      <a:pt x="40" y="1"/>
                      <a:pt x="40" y="1"/>
                      <a:pt x="40" y="0"/>
                    </a:cubicBezTo>
                    <a:cubicBezTo>
                      <a:pt x="39" y="1"/>
                      <a:pt x="38" y="1"/>
                      <a:pt x="38" y="1"/>
                    </a:cubicBezTo>
                    <a:cubicBezTo>
                      <a:pt x="37" y="2"/>
                      <a:pt x="36" y="4"/>
                      <a:pt x="35" y="4"/>
                    </a:cubicBezTo>
                    <a:cubicBezTo>
                      <a:pt x="33" y="4"/>
                      <a:pt x="31" y="4"/>
                      <a:pt x="29" y="5"/>
                    </a:cubicBezTo>
                    <a:cubicBezTo>
                      <a:pt x="27" y="6"/>
                      <a:pt x="27" y="8"/>
                      <a:pt x="27" y="9"/>
                    </a:cubicBezTo>
                    <a:cubicBezTo>
                      <a:pt x="27" y="10"/>
                      <a:pt x="28" y="12"/>
                      <a:pt x="26" y="12"/>
                    </a:cubicBezTo>
                    <a:cubicBezTo>
                      <a:pt x="25" y="12"/>
                      <a:pt x="25" y="14"/>
                      <a:pt x="23" y="15"/>
                    </a:cubicBezTo>
                    <a:cubicBezTo>
                      <a:pt x="22" y="15"/>
                      <a:pt x="20" y="17"/>
                      <a:pt x="19" y="18"/>
                    </a:cubicBezTo>
                    <a:cubicBezTo>
                      <a:pt x="19" y="20"/>
                      <a:pt x="19" y="22"/>
                      <a:pt x="18" y="22"/>
                    </a:cubicBezTo>
                    <a:cubicBezTo>
                      <a:pt x="17" y="22"/>
                      <a:pt x="14" y="23"/>
                      <a:pt x="13" y="24"/>
                    </a:cubicBezTo>
                    <a:cubicBezTo>
                      <a:pt x="12" y="25"/>
                      <a:pt x="11" y="26"/>
                      <a:pt x="9" y="26"/>
                    </a:cubicBezTo>
                    <a:cubicBezTo>
                      <a:pt x="8" y="25"/>
                      <a:pt x="5" y="25"/>
                      <a:pt x="3" y="25"/>
                    </a:cubicBezTo>
                    <a:cubicBezTo>
                      <a:pt x="3" y="26"/>
                      <a:pt x="3" y="26"/>
                      <a:pt x="3" y="26"/>
                    </a:cubicBezTo>
                    <a:cubicBezTo>
                      <a:pt x="2" y="29"/>
                      <a:pt x="3" y="31"/>
                      <a:pt x="4" y="32"/>
                    </a:cubicBezTo>
                    <a:cubicBezTo>
                      <a:pt x="6" y="33"/>
                      <a:pt x="6" y="38"/>
                      <a:pt x="5" y="39"/>
                    </a:cubicBezTo>
                    <a:cubicBezTo>
                      <a:pt x="3" y="40"/>
                      <a:pt x="0" y="42"/>
                      <a:pt x="0" y="43"/>
                    </a:cubicBezTo>
                    <a:cubicBezTo>
                      <a:pt x="0" y="44"/>
                      <a:pt x="3" y="45"/>
                      <a:pt x="3" y="47"/>
                    </a:cubicBezTo>
                    <a:cubicBezTo>
                      <a:pt x="2" y="48"/>
                      <a:pt x="2" y="50"/>
                      <a:pt x="3" y="52"/>
                    </a:cubicBezTo>
                    <a:cubicBezTo>
                      <a:pt x="4" y="52"/>
                      <a:pt x="6" y="52"/>
                      <a:pt x="7" y="51"/>
                    </a:cubicBezTo>
                    <a:cubicBezTo>
                      <a:pt x="8" y="49"/>
                      <a:pt x="9" y="48"/>
                      <a:pt x="12" y="48"/>
                    </a:cubicBezTo>
                    <a:cubicBezTo>
                      <a:pt x="15" y="48"/>
                      <a:pt x="24" y="48"/>
                      <a:pt x="26" y="49"/>
                    </a:cubicBezTo>
                    <a:cubicBezTo>
                      <a:pt x="27" y="51"/>
                      <a:pt x="31" y="49"/>
                      <a:pt x="33" y="50"/>
                    </a:cubicBezTo>
                    <a:cubicBezTo>
                      <a:pt x="35" y="51"/>
                      <a:pt x="38" y="52"/>
                      <a:pt x="39" y="51"/>
                    </a:cubicBezTo>
                    <a:cubicBezTo>
                      <a:pt x="39" y="50"/>
                      <a:pt x="42" y="53"/>
                      <a:pt x="44" y="52"/>
                    </a:cubicBezTo>
                    <a:cubicBezTo>
                      <a:pt x="46" y="50"/>
                      <a:pt x="48" y="54"/>
                      <a:pt x="49" y="53"/>
                    </a:cubicBezTo>
                    <a:cubicBezTo>
                      <a:pt x="50" y="53"/>
                      <a:pt x="55" y="53"/>
                      <a:pt x="57" y="54"/>
                    </a:cubicBezTo>
                    <a:cubicBezTo>
                      <a:pt x="58" y="55"/>
                      <a:pt x="58" y="53"/>
                      <a:pt x="58" y="51"/>
                    </a:cubicBezTo>
                    <a:cubicBezTo>
                      <a:pt x="58" y="50"/>
                      <a:pt x="63" y="46"/>
                      <a:pt x="63" y="46"/>
                    </a:cubicBezTo>
                    <a:cubicBezTo>
                      <a:pt x="63" y="46"/>
                      <a:pt x="66" y="46"/>
                      <a:pt x="68" y="45"/>
                    </a:cubicBezTo>
                    <a:cubicBezTo>
                      <a:pt x="67" y="44"/>
                      <a:pt x="67" y="43"/>
                      <a:pt x="67" y="42"/>
                    </a:cubicBezTo>
                    <a:cubicBezTo>
                      <a:pt x="66" y="38"/>
                      <a:pt x="64" y="35"/>
                      <a:pt x="65" y="34"/>
                    </a:cubicBezTo>
                    <a:cubicBezTo>
                      <a:pt x="67" y="33"/>
                      <a:pt x="70" y="36"/>
                      <a:pt x="71" y="35"/>
                    </a:cubicBezTo>
                    <a:cubicBezTo>
                      <a:pt x="73" y="34"/>
                      <a:pt x="76" y="33"/>
                      <a:pt x="75" y="31"/>
                    </a:cubicBezTo>
                    <a:cubicBezTo>
                      <a:pt x="75" y="30"/>
                      <a:pt x="72" y="27"/>
                      <a:pt x="71" y="2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9" name="Freeform 85">
                <a:extLst>
                  <a:ext uri="{FF2B5EF4-FFF2-40B4-BE49-F238E27FC236}">
                    <a16:creationId xmlns:a16="http://schemas.microsoft.com/office/drawing/2014/main" id="{57F43134-4FA4-4AD5-8A61-A5EF810B4C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3661" y="2857658"/>
                <a:ext cx="135510" cy="63991"/>
              </a:xfrm>
              <a:custGeom>
                <a:avLst/>
                <a:gdLst>
                  <a:gd name="T0" fmla="*/ 20 w 59"/>
                  <a:gd name="T1" fmla="*/ 19 h 28"/>
                  <a:gd name="T2" fmla="*/ 30 w 59"/>
                  <a:gd name="T3" fmla="*/ 19 h 28"/>
                  <a:gd name="T4" fmla="*/ 35 w 59"/>
                  <a:gd name="T5" fmla="*/ 21 h 28"/>
                  <a:gd name="T6" fmla="*/ 43 w 59"/>
                  <a:gd name="T7" fmla="*/ 25 h 28"/>
                  <a:gd name="T8" fmla="*/ 47 w 59"/>
                  <a:gd name="T9" fmla="*/ 28 h 28"/>
                  <a:gd name="T10" fmla="*/ 48 w 59"/>
                  <a:gd name="T11" fmla="*/ 26 h 28"/>
                  <a:gd name="T12" fmla="*/ 54 w 59"/>
                  <a:gd name="T13" fmla="*/ 25 h 28"/>
                  <a:gd name="T14" fmla="*/ 57 w 59"/>
                  <a:gd name="T15" fmla="*/ 22 h 28"/>
                  <a:gd name="T16" fmla="*/ 59 w 59"/>
                  <a:gd name="T17" fmla="*/ 21 h 28"/>
                  <a:gd name="T18" fmla="*/ 58 w 59"/>
                  <a:gd name="T19" fmla="*/ 17 h 28"/>
                  <a:gd name="T20" fmla="*/ 55 w 59"/>
                  <a:gd name="T21" fmla="*/ 12 h 28"/>
                  <a:gd name="T22" fmla="*/ 54 w 59"/>
                  <a:gd name="T23" fmla="*/ 7 h 28"/>
                  <a:gd name="T24" fmla="*/ 53 w 59"/>
                  <a:gd name="T25" fmla="*/ 5 h 28"/>
                  <a:gd name="T26" fmla="*/ 45 w 59"/>
                  <a:gd name="T27" fmla="*/ 5 h 28"/>
                  <a:gd name="T28" fmla="*/ 37 w 59"/>
                  <a:gd name="T29" fmla="*/ 0 h 28"/>
                  <a:gd name="T30" fmla="*/ 28 w 59"/>
                  <a:gd name="T31" fmla="*/ 0 h 28"/>
                  <a:gd name="T32" fmla="*/ 28 w 59"/>
                  <a:gd name="T33" fmla="*/ 8 h 28"/>
                  <a:gd name="T34" fmla="*/ 21 w 59"/>
                  <a:gd name="T35" fmla="*/ 11 h 28"/>
                  <a:gd name="T36" fmla="*/ 14 w 59"/>
                  <a:gd name="T37" fmla="*/ 3 h 28"/>
                  <a:gd name="T38" fmla="*/ 6 w 59"/>
                  <a:gd name="T39" fmla="*/ 7 h 28"/>
                  <a:gd name="T40" fmla="*/ 3 w 59"/>
                  <a:gd name="T41" fmla="*/ 13 h 28"/>
                  <a:gd name="T42" fmla="*/ 2 w 59"/>
                  <a:gd name="T43" fmla="*/ 21 h 28"/>
                  <a:gd name="T44" fmla="*/ 2 w 59"/>
                  <a:gd name="T45" fmla="*/ 21 h 28"/>
                  <a:gd name="T46" fmla="*/ 8 w 59"/>
                  <a:gd name="T47" fmla="*/ 19 h 28"/>
                  <a:gd name="T48" fmla="*/ 20 w 59"/>
                  <a:gd name="T49" fmla="*/ 19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9" h="28">
                    <a:moveTo>
                      <a:pt x="20" y="19"/>
                    </a:moveTo>
                    <a:cubicBezTo>
                      <a:pt x="22" y="19"/>
                      <a:pt x="27" y="20"/>
                      <a:pt x="30" y="19"/>
                    </a:cubicBezTo>
                    <a:cubicBezTo>
                      <a:pt x="33" y="18"/>
                      <a:pt x="33" y="21"/>
                      <a:pt x="35" y="21"/>
                    </a:cubicBezTo>
                    <a:cubicBezTo>
                      <a:pt x="37" y="21"/>
                      <a:pt x="40" y="23"/>
                      <a:pt x="43" y="25"/>
                    </a:cubicBezTo>
                    <a:cubicBezTo>
                      <a:pt x="44" y="26"/>
                      <a:pt x="45" y="27"/>
                      <a:pt x="47" y="28"/>
                    </a:cubicBezTo>
                    <a:cubicBezTo>
                      <a:pt x="47" y="27"/>
                      <a:pt x="47" y="27"/>
                      <a:pt x="48" y="26"/>
                    </a:cubicBezTo>
                    <a:cubicBezTo>
                      <a:pt x="50" y="25"/>
                      <a:pt x="52" y="25"/>
                      <a:pt x="54" y="25"/>
                    </a:cubicBezTo>
                    <a:cubicBezTo>
                      <a:pt x="55" y="25"/>
                      <a:pt x="56" y="23"/>
                      <a:pt x="57" y="22"/>
                    </a:cubicBezTo>
                    <a:cubicBezTo>
                      <a:pt x="57" y="22"/>
                      <a:pt x="58" y="22"/>
                      <a:pt x="59" y="21"/>
                    </a:cubicBezTo>
                    <a:cubicBezTo>
                      <a:pt x="59" y="20"/>
                      <a:pt x="59" y="18"/>
                      <a:pt x="58" y="17"/>
                    </a:cubicBezTo>
                    <a:cubicBezTo>
                      <a:pt x="56" y="15"/>
                      <a:pt x="54" y="13"/>
                      <a:pt x="55" y="12"/>
                    </a:cubicBezTo>
                    <a:cubicBezTo>
                      <a:pt x="56" y="11"/>
                      <a:pt x="56" y="9"/>
                      <a:pt x="54" y="7"/>
                    </a:cubicBezTo>
                    <a:cubicBezTo>
                      <a:pt x="54" y="7"/>
                      <a:pt x="53" y="6"/>
                      <a:pt x="53" y="5"/>
                    </a:cubicBezTo>
                    <a:cubicBezTo>
                      <a:pt x="50" y="5"/>
                      <a:pt x="46" y="5"/>
                      <a:pt x="45" y="5"/>
                    </a:cubicBezTo>
                    <a:cubicBezTo>
                      <a:pt x="44" y="5"/>
                      <a:pt x="38" y="1"/>
                      <a:pt x="37" y="0"/>
                    </a:cubicBezTo>
                    <a:cubicBezTo>
                      <a:pt x="36" y="0"/>
                      <a:pt x="32" y="0"/>
                      <a:pt x="28" y="0"/>
                    </a:cubicBezTo>
                    <a:cubicBezTo>
                      <a:pt x="26" y="3"/>
                      <a:pt x="28" y="4"/>
                      <a:pt x="28" y="8"/>
                    </a:cubicBezTo>
                    <a:cubicBezTo>
                      <a:pt x="27" y="12"/>
                      <a:pt x="23" y="11"/>
                      <a:pt x="21" y="11"/>
                    </a:cubicBezTo>
                    <a:cubicBezTo>
                      <a:pt x="19" y="11"/>
                      <a:pt x="15" y="5"/>
                      <a:pt x="14" y="3"/>
                    </a:cubicBezTo>
                    <a:cubicBezTo>
                      <a:pt x="13" y="1"/>
                      <a:pt x="9" y="5"/>
                      <a:pt x="6" y="7"/>
                    </a:cubicBezTo>
                    <a:cubicBezTo>
                      <a:pt x="3" y="8"/>
                      <a:pt x="5" y="11"/>
                      <a:pt x="3" y="13"/>
                    </a:cubicBezTo>
                    <a:cubicBezTo>
                      <a:pt x="1" y="14"/>
                      <a:pt x="0" y="17"/>
                      <a:pt x="2" y="21"/>
                    </a:cubicBezTo>
                    <a:cubicBezTo>
                      <a:pt x="2" y="21"/>
                      <a:pt x="2" y="21"/>
                      <a:pt x="2" y="21"/>
                    </a:cubicBezTo>
                    <a:cubicBezTo>
                      <a:pt x="4" y="21"/>
                      <a:pt x="7" y="20"/>
                      <a:pt x="8" y="19"/>
                    </a:cubicBezTo>
                    <a:cubicBezTo>
                      <a:pt x="11" y="17"/>
                      <a:pt x="18" y="19"/>
                      <a:pt x="20" y="1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0" name="Freeform 86">
                <a:extLst>
                  <a:ext uri="{FF2B5EF4-FFF2-40B4-BE49-F238E27FC236}">
                    <a16:creationId xmlns:a16="http://schemas.microsoft.com/office/drawing/2014/main" id="{E4866CED-8D58-4C97-8E46-D614531F88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3661" y="2896554"/>
                <a:ext cx="107906" cy="69010"/>
              </a:xfrm>
              <a:custGeom>
                <a:avLst/>
                <a:gdLst>
                  <a:gd name="T0" fmla="*/ 7 w 47"/>
                  <a:gd name="T1" fmla="*/ 15 h 30"/>
                  <a:gd name="T2" fmla="*/ 11 w 47"/>
                  <a:gd name="T3" fmla="*/ 17 h 30"/>
                  <a:gd name="T4" fmla="*/ 16 w 47"/>
                  <a:gd name="T5" fmla="*/ 20 h 30"/>
                  <a:gd name="T6" fmla="*/ 16 w 47"/>
                  <a:gd name="T7" fmla="*/ 26 h 30"/>
                  <a:gd name="T8" fmla="*/ 22 w 47"/>
                  <a:gd name="T9" fmla="*/ 29 h 30"/>
                  <a:gd name="T10" fmla="*/ 28 w 47"/>
                  <a:gd name="T11" fmla="*/ 30 h 30"/>
                  <a:gd name="T12" fmla="*/ 32 w 47"/>
                  <a:gd name="T13" fmla="*/ 28 h 30"/>
                  <a:gd name="T14" fmla="*/ 37 w 47"/>
                  <a:gd name="T15" fmla="*/ 26 h 30"/>
                  <a:gd name="T16" fmla="*/ 38 w 47"/>
                  <a:gd name="T17" fmla="*/ 22 h 30"/>
                  <a:gd name="T18" fmla="*/ 42 w 47"/>
                  <a:gd name="T19" fmla="*/ 19 h 30"/>
                  <a:gd name="T20" fmla="*/ 45 w 47"/>
                  <a:gd name="T21" fmla="*/ 16 h 30"/>
                  <a:gd name="T22" fmla="*/ 46 w 47"/>
                  <a:gd name="T23" fmla="*/ 13 h 30"/>
                  <a:gd name="T24" fmla="*/ 47 w 47"/>
                  <a:gd name="T25" fmla="*/ 11 h 30"/>
                  <a:gd name="T26" fmla="*/ 43 w 47"/>
                  <a:gd name="T27" fmla="*/ 8 h 30"/>
                  <a:gd name="T28" fmla="*/ 35 w 47"/>
                  <a:gd name="T29" fmla="*/ 4 h 30"/>
                  <a:gd name="T30" fmla="*/ 30 w 47"/>
                  <a:gd name="T31" fmla="*/ 2 h 30"/>
                  <a:gd name="T32" fmla="*/ 20 w 47"/>
                  <a:gd name="T33" fmla="*/ 2 h 30"/>
                  <a:gd name="T34" fmla="*/ 8 w 47"/>
                  <a:gd name="T35" fmla="*/ 2 h 30"/>
                  <a:gd name="T36" fmla="*/ 2 w 47"/>
                  <a:gd name="T37" fmla="*/ 4 h 30"/>
                  <a:gd name="T38" fmla="*/ 1 w 47"/>
                  <a:gd name="T39" fmla="*/ 13 h 30"/>
                  <a:gd name="T40" fmla="*/ 2 w 47"/>
                  <a:gd name="T41" fmla="*/ 15 h 30"/>
                  <a:gd name="T42" fmla="*/ 7 w 47"/>
                  <a:gd name="T43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7" h="30">
                    <a:moveTo>
                      <a:pt x="7" y="15"/>
                    </a:moveTo>
                    <a:cubicBezTo>
                      <a:pt x="7" y="17"/>
                      <a:pt x="10" y="18"/>
                      <a:pt x="11" y="17"/>
                    </a:cubicBezTo>
                    <a:cubicBezTo>
                      <a:pt x="12" y="17"/>
                      <a:pt x="16" y="18"/>
                      <a:pt x="16" y="20"/>
                    </a:cubicBezTo>
                    <a:cubicBezTo>
                      <a:pt x="16" y="21"/>
                      <a:pt x="15" y="26"/>
                      <a:pt x="16" y="26"/>
                    </a:cubicBezTo>
                    <a:cubicBezTo>
                      <a:pt x="17" y="26"/>
                      <a:pt x="22" y="27"/>
                      <a:pt x="22" y="29"/>
                    </a:cubicBezTo>
                    <a:cubicBezTo>
                      <a:pt x="24" y="29"/>
                      <a:pt x="27" y="29"/>
                      <a:pt x="28" y="30"/>
                    </a:cubicBezTo>
                    <a:cubicBezTo>
                      <a:pt x="30" y="30"/>
                      <a:pt x="31" y="29"/>
                      <a:pt x="32" y="28"/>
                    </a:cubicBezTo>
                    <a:cubicBezTo>
                      <a:pt x="33" y="27"/>
                      <a:pt x="36" y="26"/>
                      <a:pt x="37" y="26"/>
                    </a:cubicBezTo>
                    <a:cubicBezTo>
                      <a:pt x="38" y="26"/>
                      <a:pt x="38" y="24"/>
                      <a:pt x="38" y="22"/>
                    </a:cubicBezTo>
                    <a:cubicBezTo>
                      <a:pt x="39" y="21"/>
                      <a:pt x="41" y="19"/>
                      <a:pt x="42" y="19"/>
                    </a:cubicBezTo>
                    <a:cubicBezTo>
                      <a:pt x="44" y="18"/>
                      <a:pt x="44" y="16"/>
                      <a:pt x="45" y="16"/>
                    </a:cubicBezTo>
                    <a:cubicBezTo>
                      <a:pt x="47" y="16"/>
                      <a:pt x="46" y="14"/>
                      <a:pt x="46" y="13"/>
                    </a:cubicBezTo>
                    <a:cubicBezTo>
                      <a:pt x="46" y="13"/>
                      <a:pt x="46" y="12"/>
                      <a:pt x="47" y="11"/>
                    </a:cubicBezTo>
                    <a:cubicBezTo>
                      <a:pt x="45" y="10"/>
                      <a:pt x="44" y="9"/>
                      <a:pt x="43" y="8"/>
                    </a:cubicBezTo>
                    <a:cubicBezTo>
                      <a:pt x="40" y="6"/>
                      <a:pt x="37" y="4"/>
                      <a:pt x="35" y="4"/>
                    </a:cubicBezTo>
                    <a:cubicBezTo>
                      <a:pt x="33" y="4"/>
                      <a:pt x="33" y="1"/>
                      <a:pt x="30" y="2"/>
                    </a:cubicBezTo>
                    <a:cubicBezTo>
                      <a:pt x="27" y="3"/>
                      <a:pt x="22" y="2"/>
                      <a:pt x="20" y="2"/>
                    </a:cubicBezTo>
                    <a:cubicBezTo>
                      <a:pt x="18" y="2"/>
                      <a:pt x="11" y="0"/>
                      <a:pt x="8" y="2"/>
                    </a:cubicBezTo>
                    <a:cubicBezTo>
                      <a:pt x="7" y="3"/>
                      <a:pt x="4" y="4"/>
                      <a:pt x="2" y="4"/>
                    </a:cubicBezTo>
                    <a:cubicBezTo>
                      <a:pt x="4" y="7"/>
                      <a:pt x="3" y="11"/>
                      <a:pt x="1" y="13"/>
                    </a:cubicBezTo>
                    <a:cubicBezTo>
                      <a:pt x="0" y="14"/>
                      <a:pt x="1" y="14"/>
                      <a:pt x="2" y="15"/>
                    </a:cubicBezTo>
                    <a:cubicBezTo>
                      <a:pt x="4" y="15"/>
                      <a:pt x="6" y="14"/>
                      <a:pt x="7" y="1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1" name="Freeform 87">
                <a:extLst>
                  <a:ext uri="{FF2B5EF4-FFF2-40B4-BE49-F238E27FC236}">
                    <a16:creationId xmlns:a16="http://schemas.microsoft.com/office/drawing/2014/main" id="{4CABC660-9AF0-4149-B14C-7A53F8D933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7659" y="3119895"/>
                <a:ext cx="84067" cy="46425"/>
              </a:xfrm>
              <a:custGeom>
                <a:avLst/>
                <a:gdLst>
                  <a:gd name="T0" fmla="*/ 32 w 36"/>
                  <a:gd name="T1" fmla="*/ 8 h 20"/>
                  <a:gd name="T2" fmla="*/ 28 w 36"/>
                  <a:gd name="T3" fmla="*/ 6 h 20"/>
                  <a:gd name="T4" fmla="*/ 28 w 36"/>
                  <a:gd name="T5" fmla="*/ 3 h 20"/>
                  <a:gd name="T6" fmla="*/ 24 w 36"/>
                  <a:gd name="T7" fmla="*/ 1 h 20"/>
                  <a:gd name="T8" fmla="*/ 18 w 36"/>
                  <a:gd name="T9" fmla="*/ 1 h 20"/>
                  <a:gd name="T10" fmla="*/ 11 w 36"/>
                  <a:gd name="T11" fmla="*/ 1 h 20"/>
                  <a:gd name="T12" fmla="*/ 10 w 36"/>
                  <a:gd name="T13" fmla="*/ 2 h 20"/>
                  <a:gd name="T14" fmla="*/ 6 w 36"/>
                  <a:gd name="T15" fmla="*/ 6 h 20"/>
                  <a:gd name="T16" fmla="*/ 1 w 36"/>
                  <a:gd name="T17" fmla="*/ 12 h 20"/>
                  <a:gd name="T18" fmla="*/ 2 w 36"/>
                  <a:gd name="T19" fmla="*/ 15 h 20"/>
                  <a:gd name="T20" fmla="*/ 6 w 36"/>
                  <a:gd name="T21" fmla="*/ 15 h 20"/>
                  <a:gd name="T22" fmla="*/ 7 w 36"/>
                  <a:gd name="T23" fmla="*/ 19 h 20"/>
                  <a:gd name="T24" fmla="*/ 7 w 36"/>
                  <a:gd name="T25" fmla="*/ 19 h 20"/>
                  <a:gd name="T26" fmla="*/ 14 w 36"/>
                  <a:gd name="T27" fmla="*/ 19 h 20"/>
                  <a:gd name="T28" fmla="*/ 18 w 36"/>
                  <a:gd name="T29" fmla="*/ 13 h 20"/>
                  <a:gd name="T30" fmla="*/ 22 w 36"/>
                  <a:gd name="T31" fmla="*/ 19 h 20"/>
                  <a:gd name="T32" fmla="*/ 25 w 36"/>
                  <a:gd name="T33" fmla="*/ 16 h 20"/>
                  <a:gd name="T34" fmla="*/ 27 w 36"/>
                  <a:gd name="T35" fmla="*/ 14 h 20"/>
                  <a:gd name="T36" fmla="*/ 31 w 36"/>
                  <a:gd name="T37" fmla="*/ 13 h 20"/>
                  <a:gd name="T38" fmla="*/ 34 w 36"/>
                  <a:gd name="T39" fmla="*/ 12 h 20"/>
                  <a:gd name="T40" fmla="*/ 35 w 36"/>
                  <a:gd name="T41" fmla="*/ 10 h 20"/>
                  <a:gd name="T42" fmla="*/ 36 w 36"/>
                  <a:gd name="T43" fmla="*/ 9 h 20"/>
                  <a:gd name="T44" fmla="*/ 32 w 36"/>
                  <a:gd name="T45" fmla="*/ 8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6" h="20">
                    <a:moveTo>
                      <a:pt x="32" y="8"/>
                    </a:moveTo>
                    <a:cubicBezTo>
                      <a:pt x="31" y="9"/>
                      <a:pt x="28" y="7"/>
                      <a:pt x="28" y="6"/>
                    </a:cubicBezTo>
                    <a:cubicBezTo>
                      <a:pt x="28" y="6"/>
                      <a:pt x="28" y="4"/>
                      <a:pt x="28" y="3"/>
                    </a:cubicBezTo>
                    <a:cubicBezTo>
                      <a:pt x="27" y="2"/>
                      <a:pt x="25" y="1"/>
                      <a:pt x="24" y="1"/>
                    </a:cubicBezTo>
                    <a:cubicBezTo>
                      <a:pt x="21" y="0"/>
                      <a:pt x="20" y="0"/>
                      <a:pt x="18" y="1"/>
                    </a:cubicBezTo>
                    <a:cubicBezTo>
                      <a:pt x="17" y="2"/>
                      <a:pt x="14" y="1"/>
                      <a:pt x="11" y="1"/>
                    </a:cubicBezTo>
                    <a:cubicBezTo>
                      <a:pt x="11" y="2"/>
                      <a:pt x="11" y="2"/>
                      <a:pt x="10" y="2"/>
                    </a:cubicBezTo>
                    <a:cubicBezTo>
                      <a:pt x="9" y="2"/>
                      <a:pt x="6" y="4"/>
                      <a:pt x="6" y="6"/>
                    </a:cubicBezTo>
                    <a:cubicBezTo>
                      <a:pt x="6" y="8"/>
                      <a:pt x="2" y="9"/>
                      <a:pt x="1" y="12"/>
                    </a:cubicBezTo>
                    <a:cubicBezTo>
                      <a:pt x="0" y="15"/>
                      <a:pt x="0" y="17"/>
                      <a:pt x="2" y="15"/>
                    </a:cubicBezTo>
                    <a:cubicBezTo>
                      <a:pt x="4" y="13"/>
                      <a:pt x="6" y="14"/>
                      <a:pt x="6" y="15"/>
                    </a:cubicBezTo>
                    <a:cubicBezTo>
                      <a:pt x="6" y="17"/>
                      <a:pt x="8" y="17"/>
                      <a:pt x="7" y="19"/>
                    </a:cubicBezTo>
                    <a:cubicBezTo>
                      <a:pt x="7" y="19"/>
                      <a:pt x="7" y="19"/>
                      <a:pt x="7" y="19"/>
                    </a:cubicBezTo>
                    <a:cubicBezTo>
                      <a:pt x="9" y="19"/>
                      <a:pt x="13" y="19"/>
                      <a:pt x="14" y="19"/>
                    </a:cubicBezTo>
                    <a:cubicBezTo>
                      <a:pt x="16" y="19"/>
                      <a:pt x="17" y="14"/>
                      <a:pt x="18" y="13"/>
                    </a:cubicBezTo>
                    <a:cubicBezTo>
                      <a:pt x="19" y="13"/>
                      <a:pt x="21" y="17"/>
                      <a:pt x="22" y="19"/>
                    </a:cubicBezTo>
                    <a:cubicBezTo>
                      <a:pt x="24" y="20"/>
                      <a:pt x="25" y="17"/>
                      <a:pt x="25" y="16"/>
                    </a:cubicBezTo>
                    <a:cubicBezTo>
                      <a:pt x="25" y="14"/>
                      <a:pt x="26" y="14"/>
                      <a:pt x="27" y="14"/>
                    </a:cubicBezTo>
                    <a:cubicBezTo>
                      <a:pt x="29" y="14"/>
                      <a:pt x="31" y="15"/>
                      <a:pt x="31" y="13"/>
                    </a:cubicBezTo>
                    <a:cubicBezTo>
                      <a:pt x="31" y="11"/>
                      <a:pt x="33" y="12"/>
                      <a:pt x="34" y="12"/>
                    </a:cubicBezTo>
                    <a:cubicBezTo>
                      <a:pt x="35" y="12"/>
                      <a:pt x="35" y="10"/>
                      <a:pt x="35" y="10"/>
                    </a:cubicBezTo>
                    <a:cubicBezTo>
                      <a:pt x="36" y="9"/>
                      <a:pt x="36" y="9"/>
                      <a:pt x="36" y="9"/>
                    </a:cubicBezTo>
                    <a:cubicBezTo>
                      <a:pt x="35" y="8"/>
                      <a:pt x="34" y="8"/>
                      <a:pt x="32" y="8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2" name="Freeform 88">
                <a:extLst>
                  <a:ext uri="{FF2B5EF4-FFF2-40B4-BE49-F238E27FC236}">
                    <a16:creationId xmlns:a16="http://schemas.microsoft.com/office/drawing/2014/main" id="{5B13A227-23B3-4342-854B-6D368F23CA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6404" y="2942979"/>
                <a:ext cx="165624" cy="189464"/>
              </a:xfrm>
              <a:custGeom>
                <a:avLst/>
                <a:gdLst>
                  <a:gd name="T0" fmla="*/ 9 w 72"/>
                  <a:gd name="T1" fmla="*/ 21 h 82"/>
                  <a:gd name="T2" fmla="*/ 5 w 72"/>
                  <a:gd name="T3" fmla="*/ 25 h 82"/>
                  <a:gd name="T4" fmla="*/ 8 w 72"/>
                  <a:gd name="T5" fmla="*/ 29 h 82"/>
                  <a:gd name="T6" fmla="*/ 6 w 72"/>
                  <a:gd name="T7" fmla="*/ 32 h 82"/>
                  <a:gd name="T8" fmla="*/ 2 w 72"/>
                  <a:gd name="T9" fmla="*/ 34 h 82"/>
                  <a:gd name="T10" fmla="*/ 1 w 72"/>
                  <a:gd name="T11" fmla="*/ 38 h 82"/>
                  <a:gd name="T12" fmla="*/ 0 w 72"/>
                  <a:gd name="T13" fmla="*/ 44 h 82"/>
                  <a:gd name="T14" fmla="*/ 2 w 72"/>
                  <a:gd name="T15" fmla="*/ 49 h 82"/>
                  <a:gd name="T16" fmla="*/ 1 w 72"/>
                  <a:gd name="T17" fmla="*/ 53 h 82"/>
                  <a:gd name="T18" fmla="*/ 3 w 72"/>
                  <a:gd name="T19" fmla="*/ 59 h 82"/>
                  <a:gd name="T20" fmla="*/ 5 w 72"/>
                  <a:gd name="T21" fmla="*/ 60 h 82"/>
                  <a:gd name="T22" fmla="*/ 10 w 72"/>
                  <a:gd name="T23" fmla="*/ 63 h 82"/>
                  <a:gd name="T24" fmla="*/ 15 w 72"/>
                  <a:gd name="T25" fmla="*/ 64 h 82"/>
                  <a:gd name="T26" fmla="*/ 16 w 72"/>
                  <a:gd name="T27" fmla="*/ 67 h 82"/>
                  <a:gd name="T28" fmla="*/ 13 w 72"/>
                  <a:gd name="T29" fmla="*/ 73 h 82"/>
                  <a:gd name="T30" fmla="*/ 12 w 72"/>
                  <a:gd name="T31" fmla="*/ 78 h 82"/>
                  <a:gd name="T32" fmla="*/ 19 w 72"/>
                  <a:gd name="T33" fmla="*/ 78 h 82"/>
                  <a:gd name="T34" fmla="*/ 25 w 72"/>
                  <a:gd name="T35" fmla="*/ 78 h 82"/>
                  <a:gd name="T36" fmla="*/ 29 w 72"/>
                  <a:gd name="T37" fmla="*/ 80 h 82"/>
                  <a:gd name="T38" fmla="*/ 30 w 72"/>
                  <a:gd name="T39" fmla="*/ 79 h 82"/>
                  <a:gd name="T40" fmla="*/ 35 w 72"/>
                  <a:gd name="T41" fmla="*/ 80 h 82"/>
                  <a:gd name="T42" fmla="*/ 40 w 72"/>
                  <a:gd name="T43" fmla="*/ 79 h 82"/>
                  <a:gd name="T44" fmla="*/ 44 w 72"/>
                  <a:gd name="T45" fmla="*/ 79 h 82"/>
                  <a:gd name="T46" fmla="*/ 52 w 72"/>
                  <a:gd name="T47" fmla="*/ 77 h 82"/>
                  <a:gd name="T48" fmla="*/ 56 w 72"/>
                  <a:gd name="T49" fmla="*/ 75 h 82"/>
                  <a:gd name="T50" fmla="*/ 59 w 72"/>
                  <a:gd name="T51" fmla="*/ 70 h 82"/>
                  <a:gd name="T52" fmla="*/ 63 w 72"/>
                  <a:gd name="T53" fmla="*/ 67 h 82"/>
                  <a:gd name="T54" fmla="*/ 55 w 72"/>
                  <a:gd name="T55" fmla="*/ 60 h 82"/>
                  <a:gd name="T56" fmla="*/ 52 w 72"/>
                  <a:gd name="T57" fmla="*/ 54 h 82"/>
                  <a:gd name="T58" fmla="*/ 52 w 72"/>
                  <a:gd name="T59" fmla="*/ 49 h 82"/>
                  <a:gd name="T60" fmla="*/ 60 w 72"/>
                  <a:gd name="T61" fmla="*/ 46 h 82"/>
                  <a:gd name="T62" fmla="*/ 67 w 72"/>
                  <a:gd name="T63" fmla="*/ 43 h 82"/>
                  <a:gd name="T64" fmla="*/ 71 w 72"/>
                  <a:gd name="T65" fmla="*/ 43 h 82"/>
                  <a:gd name="T66" fmla="*/ 71 w 72"/>
                  <a:gd name="T67" fmla="*/ 38 h 82"/>
                  <a:gd name="T68" fmla="*/ 69 w 72"/>
                  <a:gd name="T69" fmla="*/ 32 h 82"/>
                  <a:gd name="T70" fmla="*/ 68 w 72"/>
                  <a:gd name="T71" fmla="*/ 28 h 82"/>
                  <a:gd name="T72" fmla="*/ 66 w 72"/>
                  <a:gd name="T73" fmla="*/ 24 h 82"/>
                  <a:gd name="T74" fmla="*/ 66 w 72"/>
                  <a:gd name="T75" fmla="*/ 21 h 82"/>
                  <a:gd name="T76" fmla="*/ 66 w 72"/>
                  <a:gd name="T77" fmla="*/ 12 h 82"/>
                  <a:gd name="T78" fmla="*/ 66 w 72"/>
                  <a:gd name="T79" fmla="*/ 11 h 82"/>
                  <a:gd name="T80" fmla="*/ 65 w 72"/>
                  <a:gd name="T81" fmla="*/ 10 h 82"/>
                  <a:gd name="T82" fmla="*/ 61 w 72"/>
                  <a:gd name="T83" fmla="*/ 8 h 82"/>
                  <a:gd name="T84" fmla="*/ 61 w 72"/>
                  <a:gd name="T85" fmla="*/ 3 h 82"/>
                  <a:gd name="T86" fmla="*/ 54 w 72"/>
                  <a:gd name="T87" fmla="*/ 5 h 82"/>
                  <a:gd name="T88" fmla="*/ 45 w 72"/>
                  <a:gd name="T89" fmla="*/ 10 h 82"/>
                  <a:gd name="T90" fmla="*/ 41 w 72"/>
                  <a:gd name="T91" fmla="*/ 7 h 82"/>
                  <a:gd name="T92" fmla="*/ 38 w 72"/>
                  <a:gd name="T93" fmla="*/ 6 h 82"/>
                  <a:gd name="T94" fmla="*/ 32 w 72"/>
                  <a:gd name="T95" fmla="*/ 3 h 82"/>
                  <a:gd name="T96" fmla="*/ 32 w 72"/>
                  <a:gd name="T97" fmla="*/ 1 h 82"/>
                  <a:gd name="T98" fmla="*/ 29 w 72"/>
                  <a:gd name="T99" fmla="*/ 1 h 82"/>
                  <a:gd name="T100" fmla="*/ 21 w 72"/>
                  <a:gd name="T101" fmla="*/ 0 h 82"/>
                  <a:gd name="T102" fmla="*/ 23 w 72"/>
                  <a:gd name="T103" fmla="*/ 4 h 82"/>
                  <a:gd name="T104" fmla="*/ 25 w 72"/>
                  <a:gd name="T105" fmla="*/ 11 h 82"/>
                  <a:gd name="T106" fmla="*/ 21 w 72"/>
                  <a:gd name="T107" fmla="*/ 14 h 82"/>
                  <a:gd name="T108" fmla="*/ 15 w 72"/>
                  <a:gd name="T109" fmla="*/ 13 h 82"/>
                  <a:gd name="T110" fmla="*/ 9 w 72"/>
                  <a:gd name="T111" fmla="*/ 14 h 82"/>
                  <a:gd name="T112" fmla="*/ 9 w 72"/>
                  <a:gd name="T113" fmla="*/ 16 h 82"/>
                  <a:gd name="T114" fmla="*/ 9 w 72"/>
                  <a:gd name="T115" fmla="*/ 21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72" h="82">
                    <a:moveTo>
                      <a:pt x="9" y="21"/>
                    </a:moveTo>
                    <a:cubicBezTo>
                      <a:pt x="7" y="24"/>
                      <a:pt x="5" y="24"/>
                      <a:pt x="5" y="25"/>
                    </a:cubicBezTo>
                    <a:cubicBezTo>
                      <a:pt x="6" y="26"/>
                      <a:pt x="9" y="28"/>
                      <a:pt x="8" y="29"/>
                    </a:cubicBezTo>
                    <a:cubicBezTo>
                      <a:pt x="7" y="31"/>
                      <a:pt x="6" y="30"/>
                      <a:pt x="6" y="32"/>
                    </a:cubicBezTo>
                    <a:cubicBezTo>
                      <a:pt x="6" y="34"/>
                      <a:pt x="3" y="34"/>
                      <a:pt x="2" y="34"/>
                    </a:cubicBezTo>
                    <a:cubicBezTo>
                      <a:pt x="1" y="34"/>
                      <a:pt x="2" y="36"/>
                      <a:pt x="1" y="38"/>
                    </a:cubicBezTo>
                    <a:cubicBezTo>
                      <a:pt x="1" y="40"/>
                      <a:pt x="1" y="43"/>
                      <a:pt x="0" y="44"/>
                    </a:cubicBezTo>
                    <a:cubicBezTo>
                      <a:pt x="0" y="46"/>
                      <a:pt x="3" y="48"/>
                      <a:pt x="2" y="49"/>
                    </a:cubicBezTo>
                    <a:cubicBezTo>
                      <a:pt x="2" y="51"/>
                      <a:pt x="0" y="52"/>
                      <a:pt x="1" y="53"/>
                    </a:cubicBezTo>
                    <a:cubicBezTo>
                      <a:pt x="1" y="53"/>
                      <a:pt x="3" y="55"/>
                      <a:pt x="3" y="59"/>
                    </a:cubicBezTo>
                    <a:cubicBezTo>
                      <a:pt x="4" y="59"/>
                      <a:pt x="5" y="60"/>
                      <a:pt x="5" y="60"/>
                    </a:cubicBezTo>
                    <a:cubicBezTo>
                      <a:pt x="6" y="62"/>
                      <a:pt x="8" y="63"/>
                      <a:pt x="10" y="63"/>
                    </a:cubicBezTo>
                    <a:cubicBezTo>
                      <a:pt x="13" y="63"/>
                      <a:pt x="14" y="64"/>
                      <a:pt x="15" y="64"/>
                    </a:cubicBezTo>
                    <a:cubicBezTo>
                      <a:pt x="16" y="64"/>
                      <a:pt x="19" y="65"/>
                      <a:pt x="16" y="67"/>
                    </a:cubicBezTo>
                    <a:cubicBezTo>
                      <a:pt x="14" y="69"/>
                      <a:pt x="14" y="71"/>
                      <a:pt x="13" y="73"/>
                    </a:cubicBezTo>
                    <a:cubicBezTo>
                      <a:pt x="13" y="75"/>
                      <a:pt x="13" y="77"/>
                      <a:pt x="12" y="78"/>
                    </a:cubicBezTo>
                    <a:cubicBezTo>
                      <a:pt x="15" y="78"/>
                      <a:pt x="18" y="79"/>
                      <a:pt x="19" y="78"/>
                    </a:cubicBezTo>
                    <a:cubicBezTo>
                      <a:pt x="21" y="77"/>
                      <a:pt x="22" y="77"/>
                      <a:pt x="25" y="78"/>
                    </a:cubicBezTo>
                    <a:cubicBezTo>
                      <a:pt x="26" y="78"/>
                      <a:pt x="28" y="79"/>
                      <a:pt x="29" y="80"/>
                    </a:cubicBezTo>
                    <a:cubicBezTo>
                      <a:pt x="29" y="79"/>
                      <a:pt x="30" y="79"/>
                      <a:pt x="30" y="79"/>
                    </a:cubicBezTo>
                    <a:cubicBezTo>
                      <a:pt x="32" y="79"/>
                      <a:pt x="34" y="82"/>
                      <a:pt x="35" y="80"/>
                    </a:cubicBezTo>
                    <a:cubicBezTo>
                      <a:pt x="36" y="78"/>
                      <a:pt x="38" y="79"/>
                      <a:pt x="40" y="79"/>
                    </a:cubicBezTo>
                    <a:cubicBezTo>
                      <a:pt x="41" y="80"/>
                      <a:pt x="43" y="80"/>
                      <a:pt x="44" y="79"/>
                    </a:cubicBezTo>
                    <a:cubicBezTo>
                      <a:pt x="46" y="78"/>
                      <a:pt x="51" y="77"/>
                      <a:pt x="52" y="77"/>
                    </a:cubicBezTo>
                    <a:cubicBezTo>
                      <a:pt x="54" y="78"/>
                      <a:pt x="57" y="79"/>
                      <a:pt x="56" y="75"/>
                    </a:cubicBezTo>
                    <a:cubicBezTo>
                      <a:pt x="54" y="71"/>
                      <a:pt x="58" y="72"/>
                      <a:pt x="59" y="70"/>
                    </a:cubicBezTo>
                    <a:cubicBezTo>
                      <a:pt x="59" y="69"/>
                      <a:pt x="64" y="68"/>
                      <a:pt x="63" y="67"/>
                    </a:cubicBezTo>
                    <a:cubicBezTo>
                      <a:pt x="63" y="65"/>
                      <a:pt x="57" y="62"/>
                      <a:pt x="55" y="60"/>
                    </a:cubicBezTo>
                    <a:cubicBezTo>
                      <a:pt x="53" y="59"/>
                      <a:pt x="53" y="55"/>
                      <a:pt x="52" y="54"/>
                    </a:cubicBezTo>
                    <a:cubicBezTo>
                      <a:pt x="51" y="52"/>
                      <a:pt x="49" y="50"/>
                      <a:pt x="52" y="49"/>
                    </a:cubicBezTo>
                    <a:cubicBezTo>
                      <a:pt x="54" y="49"/>
                      <a:pt x="58" y="48"/>
                      <a:pt x="60" y="46"/>
                    </a:cubicBezTo>
                    <a:cubicBezTo>
                      <a:pt x="62" y="44"/>
                      <a:pt x="66" y="44"/>
                      <a:pt x="67" y="43"/>
                    </a:cubicBezTo>
                    <a:cubicBezTo>
                      <a:pt x="68" y="42"/>
                      <a:pt x="70" y="44"/>
                      <a:pt x="71" y="43"/>
                    </a:cubicBezTo>
                    <a:cubicBezTo>
                      <a:pt x="72" y="42"/>
                      <a:pt x="72" y="40"/>
                      <a:pt x="71" y="38"/>
                    </a:cubicBezTo>
                    <a:cubicBezTo>
                      <a:pt x="70" y="37"/>
                      <a:pt x="69" y="35"/>
                      <a:pt x="69" y="32"/>
                    </a:cubicBezTo>
                    <a:cubicBezTo>
                      <a:pt x="69" y="29"/>
                      <a:pt x="68" y="29"/>
                      <a:pt x="68" y="28"/>
                    </a:cubicBezTo>
                    <a:cubicBezTo>
                      <a:pt x="68" y="26"/>
                      <a:pt x="68" y="24"/>
                      <a:pt x="66" y="24"/>
                    </a:cubicBezTo>
                    <a:cubicBezTo>
                      <a:pt x="65" y="23"/>
                      <a:pt x="65" y="22"/>
                      <a:pt x="66" y="21"/>
                    </a:cubicBezTo>
                    <a:cubicBezTo>
                      <a:pt x="67" y="19"/>
                      <a:pt x="67" y="14"/>
                      <a:pt x="66" y="12"/>
                    </a:cubicBezTo>
                    <a:cubicBezTo>
                      <a:pt x="66" y="12"/>
                      <a:pt x="66" y="12"/>
                      <a:pt x="66" y="11"/>
                    </a:cubicBezTo>
                    <a:cubicBezTo>
                      <a:pt x="66" y="11"/>
                      <a:pt x="65" y="11"/>
                      <a:pt x="65" y="10"/>
                    </a:cubicBezTo>
                    <a:cubicBezTo>
                      <a:pt x="65" y="8"/>
                      <a:pt x="64" y="8"/>
                      <a:pt x="61" y="8"/>
                    </a:cubicBezTo>
                    <a:cubicBezTo>
                      <a:pt x="57" y="8"/>
                      <a:pt x="62" y="4"/>
                      <a:pt x="61" y="3"/>
                    </a:cubicBezTo>
                    <a:cubicBezTo>
                      <a:pt x="60" y="1"/>
                      <a:pt x="57" y="6"/>
                      <a:pt x="54" y="5"/>
                    </a:cubicBezTo>
                    <a:cubicBezTo>
                      <a:pt x="51" y="4"/>
                      <a:pt x="48" y="8"/>
                      <a:pt x="45" y="10"/>
                    </a:cubicBezTo>
                    <a:cubicBezTo>
                      <a:pt x="43" y="12"/>
                      <a:pt x="39" y="10"/>
                      <a:pt x="41" y="7"/>
                    </a:cubicBezTo>
                    <a:cubicBezTo>
                      <a:pt x="43" y="4"/>
                      <a:pt x="41" y="4"/>
                      <a:pt x="38" y="6"/>
                    </a:cubicBezTo>
                    <a:cubicBezTo>
                      <a:pt x="35" y="7"/>
                      <a:pt x="32" y="5"/>
                      <a:pt x="32" y="3"/>
                    </a:cubicBezTo>
                    <a:cubicBezTo>
                      <a:pt x="32" y="2"/>
                      <a:pt x="32" y="1"/>
                      <a:pt x="32" y="1"/>
                    </a:cubicBezTo>
                    <a:cubicBezTo>
                      <a:pt x="30" y="1"/>
                      <a:pt x="29" y="1"/>
                      <a:pt x="29" y="1"/>
                    </a:cubicBezTo>
                    <a:cubicBezTo>
                      <a:pt x="27" y="0"/>
                      <a:pt x="24" y="0"/>
                      <a:pt x="21" y="0"/>
                    </a:cubicBezTo>
                    <a:cubicBezTo>
                      <a:pt x="22" y="2"/>
                      <a:pt x="23" y="3"/>
                      <a:pt x="23" y="4"/>
                    </a:cubicBezTo>
                    <a:cubicBezTo>
                      <a:pt x="22" y="6"/>
                      <a:pt x="23" y="8"/>
                      <a:pt x="25" y="11"/>
                    </a:cubicBezTo>
                    <a:cubicBezTo>
                      <a:pt x="26" y="14"/>
                      <a:pt x="22" y="12"/>
                      <a:pt x="21" y="14"/>
                    </a:cubicBezTo>
                    <a:cubicBezTo>
                      <a:pt x="21" y="16"/>
                      <a:pt x="17" y="14"/>
                      <a:pt x="15" y="13"/>
                    </a:cubicBezTo>
                    <a:cubicBezTo>
                      <a:pt x="14" y="13"/>
                      <a:pt x="9" y="13"/>
                      <a:pt x="9" y="14"/>
                    </a:cubicBezTo>
                    <a:cubicBezTo>
                      <a:pt x="9" y="15"/>
                      <a:pt x="9" y="15"/>
                      <a:pt x="9" y="16"/>
                    </a:cubicBezTo>
                    <a:cubicBezTo>
                      <a:pt x="10" y="18"/>
                      <a:pt x="10" y="20"/>
                      <a:pt x="9" y="2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3" name="Freeform 89">
                <a:extLst>
                  <a:ext uri="{FF2B5EF4-FFF2-40B4-BE49-F238E27FC236}">
                    <a16:creationId xmlns:a16="http://schemas.microsoft.com/office/drawing/2014/main" id="{3B341193-8026-4E7A-99A1-9AA780939F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7425" y="2493787"/>
                <a:ext cx="194483" cy="311172"/>
              </a:xfrm>
              <a:custGeom>
                <a:avLst/>
                <a:gdLst>
                  <a:gd name="T0" fmla="*/ 71 w 84"/>
                  <a:gd name="T1" fmla="*/ 113 h 135"/>
                  <a:gd name="T2" fmla="*/ 83 w 84"/>
                  <a:gd name="T3" fmla="*/ 102 h 135"/>
                  <a:gd name="T4" fmla="*/ 81 w 84"/>
                  <a:gd name="T5" fmla="*/ 95 h 135"/>
                  <a:gd name="T6" fmla="*/ 71 w 84"/>
                  <a:gd name="T7" fmla="*/ 87 h 135"/>
                  <a:gd name="T8" fmla="*/ 76 w 84"/>
                  <a:gd name="T9" fmla="*/ 83 h 135"/>
                  <a:gd name="T10" fmla="*/ 72 w 84"/>
                  <a:gd name="T11" fmla="*/ 78 h 135"/>
                  <a:gd name="T12" fmla="*/ 73 w 84"/>
                  <a:gd name="T13" fmla="*/ 74 h 135"/>
                  <a:gd name="T14" fmla="*/ 69 w 84"/>
                  <a:gd name="T15" fmla="*/ 72 h 135"/>
                  <a:gd name="T16" fmla="*/ 71 w 84"/>
                  <a:gd name="T17" fmla="*/ 69 h 135"/>
                  <a:gd name="T18" fmla="*/ 69 w 84"/>
                  <a:gd name="T19" fmla="*/ 63 h 135"/>
                  <a:gd name="T20" fmla="*/ 72 w 84"/>
                  <a:gd name="T21" fmla="*/ 58 h 135"/>
                  <a:gd name="T22" fmla="*/ 64 w 84"/>
                  <a:gd name="T23" fmla="*/ 46 h 135"/>
                  <a:gd name="T24" fmla="*/ 67 w 84"/>
                  <a:gd name="T25" fmla="*/ 42 h 135"/>
                  <a:gd name="T26" fmla="*/ 72 w 84"/>
                  <a:gd name="T27" fmla="*/ 36 h 135"/>
                  <a:gd name="T28" fmla="*/ 66 w 84"/>
                  <a:gd name="T29" fmla="*/ 30 h 135"/>
                  <a:gd name="T30" fmla="*/ 61 w 84"/>
                  <a:gd name="T31" fmla="*/ 27 h 135"/>
                  <a:gd name="T32" fmla="*/ 60 w 84"/>
                  <a:gd name="T33" fmla="*/ 22 h 135"/>
                  <a:gd name="T34" fmla="*/ 61 w 84"/>
                  <a:gd name="T35" fmla="*/ 18 h 135"/>
                  <a:gd name="T36" fmla="*/ 64 w 84"/>
                  <a:gd name="T37" fmla="*/ 16 h 135"/>
                  <a:gd name="T38" fmla="*/ 66 w 84"/>
                  <a:gd name="T39" fmla="*/ 13 h 135"/>
                  <a:gd name="T40" fmla="*/ 66 w 84"/>
                  <a:gd name="T41" fmla="*/ 8 h 135"/>
                  <a:gd name="T42" fmla="*/ 58 w 84"/>
                  <a:gd name="T43" fmla="*/ 3 h 135"/>
                  <a:gd name="T44" fmla="*/ 51 w 84"/>
                  <a:gd name="T45" fmla="*/ 3 h 135"/>
                  <a:gd name="T46" fmla="*/ 43 w 84"/>
                  <a:gd name="T47" fmla="*/ 4 h 135"/>
                  <a:gd name="T48" fmla="*/ 38 w 84"/>
                  <a:gd name="T49" fmla="*/ 10 h 135"/>
                  <a:gd name="T50" fmla="*/ 37 w 84"/>
                  <a:gd name="T51" fmla="*/ 17 h 135"/>
                  <a:gd name="T52" fmla="*/ 33 w 84"/>
                  <a:gd name="T53" fmla="*/ 21 h 135"/>
                  <a:gd name="T54" fmla="*/ 29 w 84"/>
                  <a:gd name="T55" fmla="*/ 20 h 135"/>
                  <a:gd name="T56" fmla="*/ 22 w 84"/>
                  <a:gd name="T57" fmla="*/ 20 h 135"/>
                  <a:gd name="T58" fmla="*/ 14 w 84"/>
                  <a:gd name="T59" fmla="*/ 19 h 135"/>
                  <a:gd name="T60" fmla="*/ 5 w 84"/>
                  <a:gd name="T61" fmla="*/ 13 h 135"/>
                  <a:gd name="T62" fmla="*/ 0 w 84"/>
                  <a:gd name="T63" fmla="*/ 17 h 135"/>
                  <a:gd name="T64" fmla="*/ 8 w 84"/>
                  <a:gd name="T65" fmla="*/ 23 h 135"/>
                  <a:gd name="T66" fmla="*/ 20 w 84"/>
                  <a:gd name="T67" fmla="*/ 30 h 135"/>
                  <a:gd name="T68" fmla="*/ 20 w 84"/>
                  <a:gd name="T69" fmla="*/ 38 h 135"/>
                  <a:gd name="T70" fmla="*/ 22 w 84"/>
                  <a:gd name="T71" fmla="*/ 45 h 135"/>
                  <a:gd name="T72" fmla="*/ 22 w 84"/>
                  <a:gd name="T73" fmla="*/ 52 h 135"/>
                  <a:gd name="T74" fmla="*/ 23 w 84"/>
                  <a:gd name="T75" fmla="*/ 56 h 135"/>
                  <a:gd name="T76" fmla="*/ 24 w 84"/>
                  <a:gd name="T77" fmla="*/ 60 h 135"/>
                  <a:gd name="T78" fmla="*/ 31 w 84"/>
                  <a:gd name="T79" fmla="*/ 63 h 135"/>
                  <a:gd name="T80" fmla="*/ 34 w 84"/>
                  <a:gd name="T81" fmla="*/ 69 h 135"/>
                  <a:gd name="T82" fmla="*/ 32 w 84"/>
                  <a:gd name="T83" fmla="*/ 72 h 135"/>
                  <a:gd name="T84" fmla="*/ 28 w 84"/>
                  <a:gd name="T85" fmla="*/ 75 h 135"/>
                  <a:gd name="T86" fmla="*/ 20 w 84"/>
                  <a:gd name="T87" fmla="*/ 83 h 135"/>
                  <a:gd name="T88" fmla="*/ 15 w 84"/>
                  <a:gd name="T89" fmla="*/ 87 h 135"/>
                  <a:gd name="T90" fmla="*/ 11 w 84"/>
                  <a:gd name="T91" fmla="*/ 91 h 135"/>
                  <a:gd name="T92" fmla="*/ 5 w 84"/>
                  <a:gd name="T93" fmla="*/ 94 h 135"/>
                  <a:gd name="T94" fmla="*/ 1 w 84"/>
                  <a:gd name="T95" fmla="*/ 99 h 135"/>
                  <a:gd name="T96" fmla="*/ 2 w 84"/>
                  <a:gd name="T97" fmla="*/ 104 h 135"/>
                  <a:gd name="T98" fmla="*/ 3 w 84"/>
                  <a:gd name="T99" fmla="*/ 109 h 135"/>
                  <a:gd name="T100" fmla="*/ 4 w 84"/>
                  <a:gd name="T101" fmla="*/ 119 h 135"/>
                  <a:gd name="T102" fmla="*/ 2 w 84"/>
                  <a:gd name="T103" fmla="*/ 127 h 135"/>
                  <a:gd name="T104" fmla="*/ 9 w 84"/>
                  <a:gd name="T105" fmla="*/ 130 h 135"/>
                  <a:gd name="T106" fmla="*/ 14 w 84"/>
                  <a:gd name="T107" fmla="*/ 132 h 135"/>
                  <a:gd name="T108" fmla="*/ 23 w 84"/>
                  <a:gd name="T109" fmla="*/ 134 h 135"/>
                  <a:gd name="T110" fmla="*/ 48 w 84"/>
                  <a:gd name="T111" fmla="*/ 129 h 135"/>
                  <a:gd name="T112" fmla="*/ 55 w 84"/>
                  <a:gd name="T113" fmla="*/ 128 h 135"/>
                  <a:gd name="T114" fmla="*/ 59 w 84"/>
                  <a:gd name="T115" fmla="*/ 123 h 135"/>
                  <a:gd name="T116" fmla="*/ 71 w 84"/>
                  <a:gd name="T117" fmla="*/ 113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84" h="135">
                    <a:moveTo>
                      <a:pt x="71" y="113"/>
                    </a:moveTo>
                    <a:cubicBezTo>
                      <a:pt x="73" y="109"/>
                      <a:pt x="82" y="105"/>
                      <a:pt x="83" y="102"/>
                    </a:cubicBezTo>
                    <a:cubicBezTo>
                      <a:pt x="84" y="100"/>
                      <a:pt x="84" y="99"/>
                      <a:pt x="81" y="95"/>
                    </a:cubicBezTo>
                    <a:cubicBezTo>
                      <a:pt x="78" y="92"/>
                      <a:pt x="71" y="89"/>
                      <a:pt x="71" y="87"/>
                    </a:cubicBezTo>
                    <a:cubicBezTo>
                      <a:pt x="71" y="85"/>
                      <a:pt x="76" y="85"/>
                      <a:pt x="76" y="83"/>
                    </a:cubicBezTo>
                    <a:cubicBezTo>
                      <a:pt x="76" y="80"/>
                      <a:pt x="73" y="80"/>
                      <a:pt x="72" y="78"/>
                    </a:cubicBezTo>
                    <a:cubicBezTo>
                      <a:pt x="70" y="77"/>
                      <a:pt x="73" y="75"/>
                      <a:pt x="73" y="74"/>
                    </a:cubicBezTo>
                    <a:cubicBezTo>
                      <a:pt x="73" y="73"/>
                      <a:pt x="69" y="73"/>
                      <a:pt x="69" y="72"/>
                    </a:cubicBezTo>
                    <a:cubicBezTo>
                      <a:pt x="69" y="71"/>
                      <a:pt x="71" y="71"/>
                      <a:pt x="71" y="69"/>
                    </a:cubicBezTo>
                    <a:cubicBezTo>
                      <a:pt x="70" y="68"/>
                      <a:pt x="68" y="65"/>
                      <a:pt x="69" y="63"/>
                    </a:cubicBezTo>
                    <a:cubicBezTo>
                      <a:pt x="71" y="61"/>
                      <a:pt x="75" y="63"/>
                      <a:pt x="72" y="58"/>
                    </a:cubicBezTo>
                    <a:cubicBezTo>
                      <a:pt x="69" y="54"/>
                      <a:pt x="65" y="48"/>
                      <a:pt x="64" y="46"/>
                    </a:cubicBezTo>
                    <a:cubicBezTo>
                      <a:pt x="64" y="45"/>
                      <a:pt x="65" y="43"/>
                      <a:pt x="67" y="42"/>
                    </a:cubicBezTo>
                    <a:cubicBezTo>
                      <a:pt x="68" y="41"/>
                      <a:pt x="72" y="37"/>
                      <a:pt x="72" y="36"/>
                    </a:cubicBezTo>
                    <a:cubicBezTo>
                      <a:pt x="72" y="34"/>
                      <a:pt x="67" y="30"/>
                      <a:pt x="66" y="30"/>
                    </a:cubicBezTo>
                    <a:cubicBezTo>
                      <a:pt x="65" y="29"/>
                      <a:pt x="62" y="29"/>
                      <a:pt x="61" y="27"/>
                    </a:cubicBezTo>
                    <a:cubicBezTo>
                      <a:pt x="60" y="24"/>
                      <a:pt x="59" y="24"/>
                      <a:pt x="60" y="22"/>
                    </a:cubicBezTo>
                    <a:cubicBezTo>
                      <a:pt x="61" y="21"/>
                      <a:pt x="61" y="19"/>
                      <a:pt x="61" y="18"/>
                    </a:cubicBezTo>
                    <a:cubicBezTo>
                      <a:pt x="61" y="17"/>
                      <a:pt x="64" y="18"/>
                      <a:pt x="64" y="16"/>
                    </a:cubicBezTo>
                    <a:cubicBezTo>
                      <a:pt x="64" y="15"/>
                      <a:pt x="65" y="14"/>
                      <a:pt x="66" y="13"/>
                    </a:cubicBezTo>
                    <a:cubicBezTo>
                      <a:pt x="66" y="11"/>
                      <a:pt x="66" y="9"/>
                      <a:pt x="66" y="8"/>
                    </a:cubicBezTo>
                    <a:cubicBezTo>
                      <a:pt x="66" y="6"/>
                      <a:pt x="59" y="5"/>
                      <a:pt x="58" y="3"/>
                    </a:cubicBezTo>
                    <a:cubicBezTo>
                      <a:pt x="56" y="0"/>
                      <a:pt x="52" y="1"/>
                      <a:pt x="51" y="3"/>
                    </a:cubicBezTo>
                    <a:cubicBezTo>
                      <a:pt x="50" y="4"/>
                      <a:pt x="43" y="2"/>
                      <a:pt x="43" y="4"/>
                    </a:cubicBezTo>
                    <a:cubicBezTo>
                      <a:pt x="43" y="7"/>
                      <a:pt x="38" y="7"/>
                      <a:pt x="38" y="10"/>
                    </a:cubicBezTo>
                    <a:cubicBezTo>
                      <a:pt x="38" y="12"/>
                      <a:pt x="40" y="17"/>
                      <a:pt x="37" y="17"/>
                    </a:cubicBezTo>
                    <a:cubicBezTo>
                      <a:pt x="33" y="16"/>
                      <a:pt x="35" y="18"/>
                      <a:pt x="33" y="21"/>
                    </a:cubicBezTo>
                    <a:cubicBezTo>
                      <a:pt x="31" y="24"/>
                      <a:pt x="31" y="19"/>
                      <a:pt x="29" y="20"/>
                    </a:cubicBezTo>
                    <a:cubicBezTo>
                      <a:pt x="26" y="21"/>
                      <a:pt x="24" y="18"/>
                      <a:pt x="22" y="20"/>
                    </a:cubicBezTo>
                    <a:cubicBezTo>
                      <a:pt x="21" y="22"/>
                      <a:pt x="18" y="20"/>
                      <a:pt x="14" y="19"/>
                    </a:cubicBezTo>
                    <a:cubicBezTo>
                      <a:pt x="10" y="19"/>
                      <a:pt x="8" y="13"/>
                      <a:pt x="5" y="13"/>
                    </a:cubicBezTo>
                    <a:cubicBezTo>
                      <a:pt x="3" y="13"/>
                      <a:pt x="1" y="14"/>
                      <a:pt x="0" y="17"/>
                    </a:cubicBezTo>
                    <a:cubicBezTo>
                      <a:pt x="3" y="19"/>
                      <a:pt x="4" y="21"/>
                      <a:pt x="8" y="23"/>
                    </a:cubicBezTo>
                    <a:cubicBezTo>
                      <a:pt x="13" y="25"/>
                      <a:pt x="20" y="27"/>
                      <a:pt x="20" y="30"/>
                    </a:cubicBezTo>
                    <a:cubicBezTo>
                      <a:pt x="19" y="33"/>
                      <a:pt x="18" y="37"/>
                      <a:pt x="20" y="38"/>
                    </a:cubicBezTo>
                    <a:cubicBezTo>
                      <a:pt x="22" y="39"/>
                      <a:pt x="20" y="44"/>
                      <a:pt x="22" y="45"/>
                    </a:cubicBezTo>
                    <a:cubicBezTo>
                      <a:pt x="24" y="46"/>
                      <a:pt x="24" y="52"/>
                      <a:pt x="22" y="52"/>
                    </a:cubicBezTo>
                    <a:cubicBezTo>
                      <a:pt x="20" y="52"/>
                      <a:pt x="22" y="55"/>
                      <a:pt x="23" y="56"/>
                    </a:cubicBezTo>
                    <a:cubicBezTo>
                      <a:pt x="24" y="57"/>
                      <a:pt x="24" y="58"/>
                      <a:pt x="24" y="60"/>
                    </a:cubicBezTo>
                    <a:cubicBezTo>
                      <a:pt x="27" y="61"/>
                      <a:pt x="29" y="62"/>
                      <a:pt x="31" y="63"/>
                    </a:cubicBezTo>
                    <a:cubicBezTo>
                      <a:pt x="34" y="64"/>
                      <a:pt x="34" y="66"/>
                      <a:pt x="34" y="69"/>
                    </a:cubicBezTo>
                    <a:cubicBezTo>
                      <a:pt x="34" y="71"/>
                      <a:pt x="34" y="73"/>
                      <a:pt x="32" y="72"/>
                    </a:cubicBezTo>
                    <a:cubicBezTo>
                      <a:pt x="31" y="71"/>
                      <a:pt x="29" y="72"/>
                      <a:pt x="28" y="75"/>
                    </a:cubicBezTo>
                    <a:cubicBezTo>
                      <a:pt x="27" y="79"/>
                      <a:pt x="22" y="83"/>
                      <a:pt x="20" y="83"/>
                    </a:cubicBezTo>
                    <a:cubicBezTo>
                      <a:pt x="17" y="84"/>
                      <a:pt x="17" y="86"/>
                      <a:pt x="15" y="87"/>
                    </a:cubicBezTo>
                    <a:cubicBezTo>
                      <a:pt x="13" y="88"/>
                      <a:pt x="11" y="89"/>
                      <a:pt x="11" y="91"/>
                    </a:cubicBezTo>
                    <a:cubicBezTo>
                      <a:pt x="11" y="94"/>
                      <a:pt x="7" y="94"/>
                      <a:pt x="5" y="94"/>
                    </a:cubicBezTo>
                    <a:cubicBezTo>
                      <a:pt x="3" y="94"/>
                      <a:pt x="3" y="98"/>
                      <a:pt x="1" y="99"/>
                    </a:cubicBezTo>
                    <a:cubicBezTo>
                      <a:pt x="0" y="100"/>
                      <a:pt x="0" y="102"/>
                      <a:pt x="2" y="104"/>
                    </a:cubicBezTo>
                    <a:cubicBezTo>
                      <a:pt x="3" y="106"/>
                      <a:pt x="2" y="108"/>
                      <a:pt x="3" y="109"/>
                    </a:cubicBezTo>
                    <a:cubicBezTo>
                      <a:pt x="3" y="111"/>
                      <a:pt x="6" y="115"/>
                      <a:pt x="4" y="119"/>
                    </a:cubicBezTo>
                    <a:cubicBezTo>
                      <a:pt x="2" y="122"/>
                      <a:pt x="0" y="127"/>
                      <a:pt x="2" y="127"/>
                    </a:cubicBezTo>
                    <a:cubicBezTo>
                      <a:pt x="3" y="126"/>
                      <a:pt x="7" y="130"/>
                      <a:pt x="9" y="130"/>
                    </a:cubicBezTo>
                    <a:cubicBezTo>
                      <a:pt x="12" y="130"/>
                      <a:pt x="12" y="133"/>
                      <a:pt x="14" y="132"/>
                    </a:cubicBezTo>
                    <a:cubicBezTo>
                      <a:pt x="16" y="132"/>
                      <a:pt x="16" y="135"/>
                      <a:pt x="23" y="134"/>
                    </a:cubicBezTo>
                    <a:cubicBezTo>
                      <a:pt x="30" y="134"/>
                      <a:pt x="43" y="129"/>
                      <a:pt x="48" y="129"/>
                    </a:cubicBezTo>
                    <a:cubicBezTo>
                      <a:pt x="51" y="129"/>
                      <a:pt x="53" y="128"/>
                      <a:pt x="55" y="128"/>
                    </a:cubicBezTo>
                    <a:cubicBezTo>
                      <a:pt x="56" y="126"/>
                      <a:pt x="58" y="124"/>
                      <a:pt x="59" y="123"/>
                    </a:cubicBezTo>
                    <a:cubicBezTo>
                      <a:pt x="62" y="120"/>
                      <a:pt x="69" y="117"/>
                      <a:pt x="71" y="11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4" name="Freeform 90">
                <a:extLst>
                  <a:ext uri="{FF2B5EF4-FFF2-40B4-BE49-F238E27FC236}">
                    <a16:creationId xmlns:a16="http://schemas.microsoft.com/office/drawing/2014/main" id="{EAE5E0A7-5DFB-4341-A6AC-E416EB7322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54606" y="3466200"/>
                <a:ext cx="391474" cy="313681"/>
              </a:xfrm>
              <a:custGeom>
                <a:avLst/>
                <a:gdLst>
                  <a:gd name="T0" fmla="*/ 102 w 170"/>
                  <a:gd name="T1" fmla="*/ 28 h 136"/>
                  <a:gd name="T2" fmla="*/ 88 w 170"/>
                  <a:gd name="T3" fmla="*/ 27 h 136"/>
                  <a:gd name="T4" fmla="*/ 78 w 170"/>
                  <a:gd name="T5" fmla="*/ 23 h 136"/>
                  <a:gd name="T6" fmla="*/ 59 w 170"/>
                  <a:gd name="T7" fmla="*/ 9 h 136"/>
                  <a:gd name="T8" fmla="*/ 43 w 170"/>
                  <a:gd name="T9" fmla="*/ 0 h 136"/>
                  <a:gd name="T10" fmla="*/ 36 w 170"/>
                  <a:gd name="T11" fmla="*/ 0 h 136"/>
                  <a:gd name="T12" fmla="*/ 28 w 170"/>
                  <a:gd name="T13" fmla="*/ 2 h 136"/>
                  <a:gd name="T14" fmla="*/ 20 w 170"/>
                  <a:gd name="T15" fmla="*/ 7 h 136"/>
                  <a:gd name="T16" fmla="*/ 26 w 170"/>
                  <a:gd name="T17" fmla="*/ 14 h 136"/>
                  <a:gd name="T18" fmla="*/ 21 w 170"/>
                  <a:gd name="T19" fmla="*/ 18 h 136"/>
                  <a:gd name="T20" fmla="*/ 16 w 170"/>
                  <a:gd name="T21" fmla="*/ 21 h 136"/>
                  <a:gd name="T22" fmla="*/ 10 w 170"/>
                  <a:gd name="T23" fmla="*/ 25 h 136"/>
                  <a:gd name="T24" fmla="*/ 2 w 170"/>
                  <a:gd name="T25" fmla="*/ 22 h 136"/>
                  <a:gd name="T26" fmla="*/ 1 w 170"/>
                  <a:gd name="T27" fmla="*/ 24 h 136"/>
                  <a:gd name="T28" fmla="*/ 1 w 170"/>
                  <a:gd name="T29" fmla="*/ 26 h 136"/>
                  <a:gd name="T30" fmla="*/ 2 w 170"/>
                  <a:gd name="T31" fmla="*/ 35 h 136"/>
                  <a:gd name="T32" fmla="*/ 9 w 170"/>
                  <a:gd name="T33" fmla="*/ 43 h 136"/>
                  <a:gd name="T34" fmla="*/ 20 w 170"/>
                  <a:gd name="T35" fmla="*/ 61 h 136"/>
                  <a:gd name="T36" fmla="*/ 26 w 170"/>
                  <a:gd name="T37" fmla="*/ 70 h 136"/>
                  <a:gd name="T38" fmla="*/ 34 w 170"/>
                  <a:gd name="T39" fmla="*/ 79 h 136"/>
                  <a:gd name="T40" fmla="*/ 36 w 170"/>
                  <a:gd name="T41" fmla="*/ 88 h 136"/>
                  <a:gd name="T42" fmla="*/ 42 w 170"/>
                  <a:gd name="T43" fmla="*/ 102 h 136"/>
                  <a:gd name="T44" fmla="*/ 52 w 170"/>
                  <a:gd name="T45" fmla="*/ 112 h 136"/>
                  <a:gd name="T46" fmla="*/ 59 w 170"/>
                  <a:gd name="T47" fmla="*/ 125 h 136"/>
                  <a:gd name="T48" fmla="*/ 62 w 170"/>
                  <a:gd name="T49" fmla="*/ 131 h 136"/>
                  <a:gd name="T50" fmla="*/ 64 w 170"/>
                  <a:gd name="T51" fmla="*/ 136 h 136"/>
                  <a:gd name="T52" fmla="*/ 68 w 170"/>
                  <a:gd name="T53" fmla="*/ 133 h 136"/>
                  <a:gd name="T54" fmla="*/ 68 w 170"/>
                  <a:gd name="T55" fmla="*/ 129 h 136"/>
                  <a:gd name="T56" fmla="*/ 71 w 170"/>
                  <a:gd name="T57" fmla="*/ 126 h 136"/>
                  <a:gd name="T58" fmla="*/ 77 w 170"/>
                  <a:gd name="T59" fmla="*/ 127 h 136"/>
                  <a:gd name="T60" fmla="*/ 87 w 170"/>
                  <a:gd name="T61" fmla="*/ 128 h 136"/>
                  <a:gd name="T62" fmla="*/ 98 w 170"/>
                  <a:gd name="T63" fmla="*/ 130 h 136"/>
                  <a:gd name="T64" fmla="*/ 104 w 170"/>
                  <a:gd name="T65" fmla="*/ 128 h 136"/>
                  <a:gd name="T66" fmla="*/ 116 w 170"/>
                  <a:gd name="T67" fmla="*/ 117 h 136"/>
                  <a:gd name="T68" fmla="*/ 132 w 170"/>
                  <a:gd name="T69" fmla="*/ 116 h 136"/>
                  <a:gd name="T70" fmla="*/ 165 w 170"/>
                  <a:gd name="T71" fmla="*/ 105 h 136"/>
                  <a:gd name="T72" fmla="*/ 170 w 170"/>
                  <a:gd name="T73" fmla="*/ 89 h 136"/>
                  <a:gd name="T74" fmla="*/ 166 w 170"/>
                  <a:gd name="T75" fmla="*/ 83 h 136"/>
                  <a:gd name="T76" fmla="*/ 146 w 170"/>
                  <a:gd name="T77" fmla="*/ 81 h 136"/>
                  <a:gd name="T78" fmla="*/ 140 w 170"/>
                  <a:gd name="T79" fmla="*/ 72 h 136"/>
                  <a:gd name="T80" fmla="*/ 136 w 170"/>
                  <a:gd name="T81" fmla="*/ 67 h 136"/>
                  <a:gd name="T82" fmla="*/ 130 w 170"/>
                  <a:gd name="T83" fmla="*/ 62 h 136"/>
                  <a:gd name="T84" fmla="*/ 125 w 170"/>
                  <a:gd name="T85" fmla="*/ 54 h 136"/>
                  <a:gd name="T86" fmla="*/ 122 w 170"/>
                  <a:gd name="T87" fmla="*/ 45 h 136"/>
                  <a:gd name="T88" fmla="*/ 113 w 170"/>
                  <a:gd name="T89" fmla="*/ 35 h 136"/>
                  <a:gd name="T90" fmla="*/ 112 w 170"/>
                  <a:gd name="T91" fmla="*/ 32 h 136"/>
                  <a:gd name="T92" fmla="*/ 106 w 170"/>
                  <a:gd name="T93" fmla="*/ 32 h 136"/>
                  <a:gd name="T94" fmla="*/ 102 w 170"/>
                  <a:gd name="T95" fmla="*/ 28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70" h="136">
                    <a:moveTo>
                      <a:pt x="102" y="28"/>
                    </a:moveTo>
                    <a:cubicBezTo>
                      <a:pt x="102" y="28"/>
                      <a:pt x="90" y="27"/>
                      <a:pt x="88" y="27"/>
                    </a:cubicBezTo>
                    <a:cubicBezTo>
                      <a:pt x="86" y="27"/>
                      <a:pt x="81" y="26"/>
                      <a:pt x="78" y="23"/>
                    </a:cubicBezTo>
                    <a:cubicBezTo>
                      <a:pt x="75" y="21"/>
                      <a:pt x="61" y="10"/>
                      <a:pt x="59" y="9"/>
                    </a:cubicBezTo>
                    <a:cubicBezTo>
                      <a:pt x="56" y="8"/>
                      <a:pt x="46" y="0"/>
                      <a:pt x="43" y="0"/>
                    </a:cubicBezTo>
                    <a:cubicBezTo>
                      <a:pt x="40" y="0"/>
                      <a:pt x="40" y="0"/>
                      <a:pt x="36" y="0"/>
                    </a:cubicBezTo>
                    <a:cubicBezTo>
                      <a:pt x="33" y="0"/>
                      <a:pt x="34" y="2"/>
                      <a:pt x="28" y="2"/>
                    </a:cubicBezTo>
                    <a:cubicBezTo>
                      <a:pt x="22" y="3"/>
                      <a:pt x="18" y="7"/>
                      <a:pt x="20" y="7"/>
                    </a:cubicBezTo>
                    <a:cubicBezTo>
                      <a:pt x="22" y="8"/>
                      <a:pt x="28" y="14"/>
                      <a:pt x="26" y="14"/>
                    </a:cubicBezTo>
                    <a:cubicBezTo>
                      <a:pt x="24" y="15"/>
                      <a:pt x="24" y="18"/>
                      <a:pt x="21" y="18"/>
                    </a:cubicBezTo>
                    <a:cubicBezTo>
                      <a:pt x="19" y="18"/>
                      <a:pt x="16" y="19"/>
                      <a:pt x="16" y="21"/>
                    </a:cubicBezTo>
                    <a:cubicBezTo>
                      <a:pt x="16" y="22"/>
                      <a:pt x="13" y="26"/>
                      <a:pt x="10" y="25"/>
                    </a:cubicBezTo>
                    <a:cubicBezTo>
                      <a:pt x="8" y="25"/>
                      <a:pt x="5" y="23"/>
                      <a:pt x="2" y="22"/>
                    </a:cubicBezTo>
                    <a:cubicBezTo>
                      <a:pt x="1" y="24"/>
                      <a:pt x="1" y="24"/>
                      <a:pt x="1" y="24"/>
                    </a:cubicBezTo>
                    <a:cubicBezTo>
                      <a:pt x="1" y="26"/>
                      <a:pt x="1" y="26"/>
                      <a:pt x="1" y="26"/>
                    </a:cubicBezTo>
                    <a:cubicBezTo>
                      <a:pt x="1" y="28"/>
                      <a:pt x="0" y="35"/>
                      <a:pt x="2" y="35"/>
                    </a:cubicBezTo>
                    <a:cubicBezTo>
                      <a:pt x="4" y="36"/>
                      <a:pt x="5" y="39"/>
                      <a:pt x="9" y="43"/>
                    </a:cubicBezTo>
                    <a:cubicBezTo>
                      <a:pt x="12" y="47"/>
                      <a:pt x="20" y="59"/>
                      <a:pt x="20" y="61"/>
                    </a:cubicBezTo>
                    <a:cubicBezTo>
                      <a:pt x="20" y="64"/>
                      <a:pt x="22" y="67"/>
                      <a:pt x="26" y="70"/>
                    </a:cubicBezTo>
                    <a:cubicBezTo>
                      <a:pt x="31" y="74"/>
                      <a:pt x="31" y="77"/>
                      <a:pt x="34" y="79"/>
                    </a:cubicBezTo>
                    <a:cubicBezTo>
                      <a:pt x="36" y="81"/>
                      <a:pt x="36" y="84"/>
                      <a:pt x="36" y="88"/>
                    </a:cubicBezTo>
                    <a:cubicBezTo>
                      <a:pt x="36" y="93"/>
                      <a:pt x="38" y="99"/>
                      <a:pt x="42" y="102"/>
                    </a:cubicBezTo>
                    <a:cubicBezTo>
                      <a:pt x="47" y="104"/>
                      <a:pt x="50" y="107"/>
                      <a:pt x="52" y="112"/>
                    </a:cubicBezTo>
                    <a:cubicBezTo>
                      <a:pt x="54" y="118"/>
                      <a:pt x="56" y="122"/>
                      <a:pt x="59" y="125"/>
                    </a:cubicBezTo>
                    <a:cubicBezTo>
                      <a:pt x="62" y="127"/>
                      <a:pt x="60" y="129"/>
                      <a:pt x="62" y="131"/>
                    </a:cubicBezTo>
                    <a:cubicBezTo>
                      <a:pt x="62" y="132"/>
                      <a:pt x="64" y="134"/>
                      <a:pt x="64" y="136"/>
                    </a:cubicBezTo>
                    <a:cubicBezTo>
                      <a:pt x="66" y="134"/>
                      <a:pt x="68" y="134"/>
                      <a:pt x="68" y="133"/>
                    </a:cubicBezTo>
                    <a:cubicBezTo>
                      <a:pt x="68" y="133"/>
                      <a:pt x="67" y="130"/>
                      <a:pt x="68" y="129"/>
                    </a:cubicBezTo>
                    <a:cubicBezTo>
                      <a:pt x="68" y="128"/>
                      <a:pt x="70" y="127"/>
                      <a:pt x="71" y="126"/>
                    </a:cubicBezTo>
                    <a:cubicBezTo>
                      <a:pt x="73" y="126"/>
                      <a:pt x="74" y="128"/>
                      <a:pt x="77" y="127"/>
                    </a:cubicBezTo>
                    <a:cubicBezTo>
                      <a:pt x="80" y="127"/>
                      <a:pt x="86" y="127"/>
                      <a:pt x="87" y="128"/>
                    </a:cubicBezTo>
                    <a:cubicBezTo>
                      <a:pt x="88" y="129"/>
                      <a:pt x="96" y="128"/>
                      <a:pt x="98" y="130"/>
                    </a:cubicBezTo>
                    <a:cubicBezTo>
                      <a:pt x="100" y="131"/>
                      <a:pt x="102" y="131"/>
                      <a:pt x="104" y="128"/>
                    </a:cubicBezTo>
                    <a:cubicBezTo>
                      <a:pt x="105" y="125"/>
                      <a:pt x="115" y="118"/>
                      <a:pt x="116" y="117"/>
                    </a:cubicBezTo>
                    <a:cubicBezTo>
                      <a:pt x="118" y="116"/>
                      <a:pt x="128" y="117"/>
                      <a:pt x="132" y="116"/>
                    </a:cubicBezTo>
                    <a:cubicBezTo>
                      <a:pt x="136" y="115"/>
                      <a:pt x="163" y="106"/>
                      <a:pt x="165" y="105"/>
                    </a:cubicBezTo>
                    <a:cubicBezTo>
                      <a:pt x="166" y="105"/>
                      <a:pt x="170" y="90"/>
                      <a:pt x="170" y="89"/>
                    </a:cubicBezTo>
                    <a:cubicBezTo>
                      <a:pt x="170" y="87"/>
                      <a:pt x="168" y="83"/>
                      <a:pt x="166" y="83"/>
                    </a:cubicBezTo>
                    <a:cubicBezTo>
                      <a:pt x="164" y="83"/>
                      <a:pt x="147" y="81"/>
                      <a:pt x="146" y="81"/>
                    </a:cubicBezTo>
                    <a:cubicBezTo>
                      <a:pt x="145" y="80"/>
                      <a:pt x="140" y="77"/>
                      <a:pt x="140" y="72"/>
                    </a:cubicBezTo>
                    <a:cubicBezTo>
                      <a:pt x="138" y="71"/>
                      <a:pt x="137" y="69"/>
                      <a:pt x="136" y="67"/>
                    </a:cubicBezTo>
                    <a:cubicBezTo>
                      <a:pt x="134" y="67"/>
                      <a:pt x="131" y="67"/>
                      <a:pt x="130" y="62"/>
                    </a:cubicBezTo>
                    <a:cubicBezTo>
                      <a:pt x="128" y="61"/>
                      <a:pt x="124" y="55"/>
                      <a:pt x="125" y="54"/>
                    </a:cubicBezTo>
                    <a:cubicBezTo>
                      <a:pt x="127" y="52"/>
                      <a:pt x="124" y="47"/>
                      <a:pt x="122" y="45"/>
                    </a:cubicBezTo>
                    <a:cubicBezTo>
                      <a:pt x="119" y="42"/>
                      <a:pt x="114" y="38"/>
                      <a:pt x="113" y="35"/>
                    </a:cubicBezTo>
                    <a:cubicBezTo>
                      <a:pt x="113" y="35"/>
                      <a:pt x="113" y="33"/>
                      <a:pt x="112" y="32"/>
                    </a:cubicBezTo>
                    <a:cubicBezTo>
                      <a:pt x="106" y="32"/>
                      <a:pt x="106" y="32"/>
                      <a:pt x="106" y="32"/>
                    </a:cubicBezTo>
                    <a:lnTo>
                      <a:pt x="102" y="28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5" name="Freeform 91">
                <a:extLst>
                  <a:ext uri="{FF2B5EF4-FFF2-40B4-BE49-F238E27FC236}">
                    <a16:creationId xmlns:a16="http://schemas.microsoft.com/office/drawing/2014/main" id="{DF6C08B4-317D-4F73-8046-0A2E6A9F48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77070" y="3609238"/>
                <a:ext cx="150567" cy="165624"/>
              </a:xfrm>
              <a:custGeom>
                <a:avLst/>
                <a:gdLst>
                  <a:gd name="T0" fmla="*/ 32 w 65"/>
                  <a:gd name="T1" fmla="*/ 2 h 72"/>
                  <a:gd name="T2" fmla="*/ 32 w 65"/>
                  <a:gd name="T3" fmla="*/ 8 h 72"/>
                  <a:gd name="T4" fmla="*/ 27 w 65"/>
                  <a:gd name="T5" fmla="*/ 14 h 72"/>
                  <a:gd name="T6" fmla="*/ 24 w 65"/>
                  <a:gd name="T7" fmla="*/ 21 h 72"/>
                  <a:gd name="T8" fmla="*/ 26 w 65"/>
                  <a:gd name="T9" fmla="*/ 21 h 72"/>
                  <a:gd name="T10" fmla="*/ 30 w 65"/>
                  <a:gd name="T11" fmla="*/ 27 h 72"/>
                  <a:gd name="T12" fmla="*/ 25 w 65"/>
                  <a:gd name="T13" fmla="*/ 43 h 72"/>
                  <a:gd name="T14" fmla="*/ 0 w 65"/>
                  <a:gd name="T15" fmla="*/ 52 h 72"/>
                  <a:gd name="T16" fmla="*/ 10 w 65"/>
                  <a:gd name="T17" fmla="*/ 72 h 72"/>
                  <a:gd name="T18" fmla="*/ 12 w 65"/>
                  <a:gd name="T19" fmla="*/ 71 h 72"/>
                  <a:gd name="T20" fmla="*/ 25 w 65"/>
                  <a:gd name="T21" fmla="*/ 69 h 72"/>
                  <a:gd name="T22" fmla="*/ 28 w 65"/>
                  <a:gd name="T23" fmla="*/ 63 h 72"/>
                  <a:gd name="T24" fmla="*/ 37 w 65"/>
                  <a:gd name="T25" fmla="*/ 61 h 72"/>
                  <a:gd name="T26" fmla="*/ 42 w 65"/>
                  <a:gd name="T27" fmla="*/ 54 h 72"/>
                  <a:gd name="T28" fmla="*/ 47 w 65"/>
                  <a:gd name="T29" fmla="*/ 51 h 72"/>
                  <a:gd name="T30" fmla="*/ 50 w 65"/>
                  <a:gd name="T31" fmla="*/ 40 h 72"/>
                  <a:gd name="T32" fmla="*/ 56 w 65"/>
                  <a:gd name="T33" fmla="*/ 36 h 72"/>
                  <a:gd name="T34" fmla="*/ 63 w 65"/>
                  <a:gd name="T35" fmla="*/ 26 h 72"/>
                  <a:gd name="T36" fmla="*/ 62 w 65"/>
                  <a:gd name="T37" fmla="*/ 22 h 72"/>
                  <a:gd name="T38" fmla="*/ 56 w 65"/>
                  <a:gd name="T39" fmla="*/ 14 h 72"/>
                  <a:gd name="T40" fmla="*/ 42 w 65"/>
                  <a:gd name="T41" fmla="*/ 9 h 72"/>
                  <a:gd name="T42" fmla="*/ 38 w 65"/>
                  <a:gd name="T43" fmla="*/ 0 h 72"/>
                  <a:gd name="T44" fmla="*/ 35 w 65"/>
                  <a:gd name="T45" fmla="*/ 2 h 72"/>
                  <a:gd name="T46" fmla="*/ 32 w 65"/>
                  <a:gd name="T47" fmla="*/ 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65" h="72">
                    <a:moveTo>
                      <a:pt x="32" y="2"/>
                    </a:moveTo>
                    <a:cubicBezTo>
                      <a:pt x="32" y="8"/>
                      <a:pt x="32" y="8"/>
                      <a:pt x="32" y="8"/>
                    </a:cubicBezTo>
                    <a:cubicBezTo>
                      <a:pt x="27" y="14"/>
                      <a:pt x="27" y="14"/>
                      <a:pt x="27" y="14"/>
                    </a:cubicBezTo>
                    <a:cubicBezTo>
                      <a:pt x="24" y="21"/>
                      <a:pt x="24" y="21"/>
                      <a:pt x="24" y="21"/>
                    </a:cubicBezTo>
                    <a:cubicBezTo>
                      <a:pt x="25" y="21"/>
                      <a:pt x="26" y="21"/>
                      <a:pt x="26" y="21"/>
                    </a:cubicBezTo>
                    <a:cubicBezTo>
                      <a:pt x="28" y="21"/>
                      <a:pt x="30" y="25"/>
                      <a:pt x="30" y="27"/>
                    </a:cubicBezTo>
                    <a:cubicBezTo>
                      <a:pt x="30" y="28"/>
                      <a:pt x="26" y="43"/>
                      <a:pt x="25" y="43"/>
                    </a:cubicBezTo>
                    <a:cubicBezTo>
                      <a:pt x="24" y="44"/>
                      <a:pt x="9" y="49"/>
                      <a:pt x="0" y="52"/>
                    </a:cubicBezTo>
                    <a:cubicBezTo>
                      <a:pt x="2" y="56"/>
                      <a:pt x="6" y="65"/>
                      <a:pt x="10" y="72"/>
                    </a:cubicBezTo>
                    <a:cubicBezTo>
                      <a:pt x="10" y="72"/>
                      <a:pt x="11" y="72"/>
                      <a:pt x="12" y="71"/>
                    </a:cubicBezTo>
                    <a:cubicBezTo>
                      <a:pt x="16" y="68"/>
                      <a:pt x="21" y="70"/>
                      <a:pt x="25" y="69"/>
                    </a:cubicBezTo>
                    <a:cubicBezTo>
                      <a:pt x="28" y="68"/>
                      <a:pt x="25" y="65"/>
                      <a:pt x="28" y="63"/>
                    </a:cubicBezTo>
                    <a:cubicBezTo>
                      <a:pt x="31" y="60"/>
                      <a:pt x="35" y="62"/>
                      <a:pt x="37" y="61"/>
                    </a:cubicBezTo>
                    <a:cubicBezTo>
                      <a:pt x="38" y="60"/>
                      <a:pt x="39" y="55"/>
                      <a:pt x="42" y="54"/>
                    </a:cubicBezTo>
                    <a:cubicBezTo>
                      <a:pt x="45" y="53"/>
                      <a:pt x="47" y="53"/>
                      <a:pt x="47" y="51"/>
                    </a:cubicBezTo>
                    <a:cubicBezTo>
                      <a:pt x="47" y="49"/>
                      <a:pt x="47" y="41"/>
                      <a:pt x="50" y="40"/>
                    </a:cubicBezTo>
                    <a:cubicBezTo>
                      <a:pt x="52" y="40"/>
                      <a:pt x="56" y="37"/>
                      <a:pt x="56" y="36"/>
                    </a:cubicBezTo>
                    <a:cubicBezTo>
                      <a:pt x="56" y="34"/>
                      <a:pt x="61" y="29"/>
                      <a:pt x="63" y="26"/>
                    </a:cubicBezTo>
                    <a:cubicBezTo>
                      <a:pt x="65" y="24"/>
                      <a:pt x="65" y="22"/>
                      <a:pt x="62" y="22"/>
                    </a:cubicBezTo>
                    <a:cubicBezTo>
                      <a:pt x="60" y="22"/>
                      <a:pt x="57" y="15"/>
                      <a:pt x="56" y="14"/>
                    </a:cubicBezTo>
                    <a:cubicBezTo>
                      <a:pt x="55" y="12"/>
                      <a:pt x="48" y="13"/>
                      <a:pt x="42" y="9"/>
                    </a:cubicBezTo>
                    <a:cubicBezTo>
                      <a:pt x="40" y="7"/>
                      <a:pt x="39" y="3"/>
                      <a:pt x="38" y="0"/>
                    </a:cubicBezTo>
                    <a:cubicBezTo>
                      <a:pt x="35" y="2"/>
                      <a:pt x="35" y="2"/>
                      <a:pt x="35" y="2"/>
                    </a:cubicBezTo>
                    <a:lnTo>
                      <a:pt x="32" y="2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6" name="Freeform 92">
                <a:extLst>
                  <a:ext uri="{FF2B5EF4-FFF2-40B4-BE49-F238E27FC236}">
                    <a16:creationId xmlns:a16="http://schemas.microsoft.com/office/drawing/2014/main" id="{052F22A9-7841-4204-A51F-76640142C5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54485" y="3587908"/>
                <a:ext cx="20076" cy="32623"/>
              </a:xfrm>
              <a:custGeom>
                <a:avLst/>
                <a:gdLst>
                  <a:gd name="T0" fmla="*/ 6 w 9"/>
                  <a:gd name="T1" fmla="*/ 14 h 14"/>
                  <a:gd name="T2" fmla="*/ 6 w 9"/>
                  <a:gd name="T3" fmla="*/ 12 h 14"/>
                  <a:gd name="T4" fmla="*/ 5 w 9"/>
                  <a:gd name="T5" fmla="*/ 1 h 14"/>
                  <a:gd name="T6" fmla="*/ 0 w 9"/>
                  <a:gd name="T7" fmla="*/ 9 h 14"/>
                  <a:gd name="T8" fmla="*/ 0 w 9"/>
                  <a:gd name="T9" fmla="*/ 9 h 14"/>
                  <a:gd name="T10" fmla="*/ 6 w 9"/>
                  <a:gd name="T11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" h="14">
                    <a:moveTo>
                      <a:pt x="6" y="14"/>
                    </a:moveTo>
                    <a:cubicBezTo>
                      <a:pt x="6" y="13"/>
                      <a:pt x="6" y="12"/>
                      <a:pt x="6" y="12"/>
                    </a:cubicBezTo>
                    <a:cubicBezTo>
                      <a:pt x="8" y="9"/>
                      <a:pt x="9" y="2"/>
                      <a:pt x="5" y="1"/>
                    </a:cubicBezTo>
                    <a:cubicBezTo>
                      <a:pt x="2" y="0"/>
                      <a:pt x="0" y="7"/>
                      <a:pt x="0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1" y="14"/>
                      <a:pt x="4" y="14"/>
                      <a:pt x="6" y="14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7" name="Freeform 93">
                <a:extLst>
                  <a:ext uri="{FF2B5EF4-FFF2-40B4-BE49-F238E27FC236}">
                    <a16:creationId xmlns:a16="http://schemas.microsoft.com/office/drawing/2014/main" id="{6A535125-5DB5-4A2E-8311-CA830F2F5E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77070" y="3586653"/>
                <a:ext cx="87831" cy="71519"/>
              </a:xfrm>
              <a:custGeom>
                <a:avLst/>
                <a:gdLst>
                  <a:gd name="T0" fmla="*/ 6 w 38"/>
                  <a:gd name="T1" fmla="*/ 29 h 31"/>
                  <a:gd name="T2" fmla="*/ 24 w 38"/>
                  <a:gd name="T3" fmla="*/ 31 h 31"/>
                  <a:gd name="T4" fmla="*/ 27 w 38"/>
                  <a:gd name="T5" fmla="*/ 24 h 31"/>
                  <a:gd name="T6" fmla="*/ 32 w 38"/>
                  <a:gd name="T7" fmla="*/ 18 h 31"/>
                  <a:gd name="T8" fmla="*/ 32 w 38"/>
                  <a:gd name="T9" fmla="*/ 12 h 31"/>
                  <a:gd name="T10" fmla="*/ 35 w 38"/>
                  <a:gd name="T11" fmla="*/ 12 h 31"/>
                  <a:gd name="T12" fmla="*/ 38 w 38"/>
                  <a:gd name="T13" fmla="*/ 10 h 31"/>
                  <a:gd name="T14" fmla="*/ 36 w 38"/>
                  <a:gd name="T15" fmla="*/ 0 h 31"/>
                  <a:gd name="T16" fmla="*/ 26 w 38"/>
                  <a:gd name="T17" fmla="*/ 11 h 31"/>
                  <a:gd name="T18" fmla="*/ 11 w 38"/>
                  <a:gd name="T19" fmla="*/ 18 h 31"/>
                  <a:gd name="T20" fmla="*/ 1 w 38"/>
                  <a:gd name="T21" fmla="*/ 20 h 31"/>
                  <a:gd name="T22" fmla="*/ 0 w 38"/>
                  <a:gd name="T23" fmla="*/ 20 h 31"/>
                  <a:gd name="T24" fmla="*/ 6 w 38"/>
                  <a:gd name="T25" fmla="*/ 29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8" h="31">
                    <a:moveTo>
                      <a:pt x="6" y="29"/>
                    </a:moveTo>
                    <a:cubicBezTo>
                      <a:pt x="7" y="29"/>
                      <a:pt x="19" y="31"/>
                      <a:pt x="24" y="31"/>
                    </a:cubicBezTo>
                    <a:cubicBezTo>
                      <a:pt x="27" y="24"/>
                      <a:pt x="27" y="24"/>
                      <a:pt x="27" y="24"/>
                    </a:cubicBezTo>
                    <a:cubicBezTo>
                      <a:pt x="32" y="18"/>
                      <a:pt x="32" y="18"/>
                      <a:pt x="32" y="18"/>
                    </a:cubicBezTo>
                    <a:cubicBezTo>
                      <a:pt x="32" y="12"/>
                      <a:pt x="32" y="12"/>
                      <a:pt x="32" y="12"/>
                    </a:cubicBezTo>
                    <a:cubicBezTo>
                      <a:pt x="35" y="12"/>
                      <a:pt x="35" y="12"/>
                      <a:pt x="35" y="12"/>
                    </a:cubicBezTo>
                    <a:cubicBezTo>
                      <a:pt x="38" y="10"/>
                      <a:pt x="38" y="10"/>
                      <a:pt x="38" y="10"/>
                    </a:cubicBezTo>
                    <a:cubicBezTo>
                      <a:pt x="37" y="5"/>
                      <a:pt x="37" y="0"/>
                      <a:pt x="36" y="0"/>
                    </a:cubicBezTo>
                    <a:cubicBezTo>
                      <a:pt x="34" y="0"/>
                      <a:pt x="28" y="6"/>
                      <a:pt x="26" y="11"/>
                    </a:cubicBezTo>
                    <a:cubicBezTo>
                      <a:pt x="24" y="15"/>
                      <a:pt x="17" y="19"/>
                      <a:pt x="11" y="18"/>
                    </a:cubicBezTo>
                    <a:cubicBezTo>
                      <a:pt x="5" y="17"/>
                      <a:pt x="3" y="19"/>
                      <a:pt x="1" y="20"/>
                    </a:cubicBezTo>
                    <a:cubicBezTo>
                      <a:pt x="1" y="21"/>
                      <a:pt x="0" y="21"/>
                      <a:pt x="0" y="20"/>
                    </a:cubicBezTo>
                    <a:cubicBezTo>
                      <a:pt x="0" y="25"/>
                      <a:pt x="5" y="28"/>
                      <a:pt x="6" y="2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8" name="Freeform 94">
                <a:extLst>
                  <a:ext uri="{FF2B5EF4-FFF2-40B4-BE49-F238E27FC236}">
                    <a16:creationId xmlns:a16="http://schemas.microsoft.com/office/drawing/2014/main" id="{F28E06A1-1ED9-475E-A10B-1ACE2AD48C5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52869" y="3964326"/>
                <a:ext cx="360106" cy="112925"/>
              </a:xfrm>
              <a:custGeom>
                <a:avLst/>
                <a:gdLst>
                  <a:gd name="T0" fmla="*/ 28 w 156"/>
                  <a:gd name="T1" fmla="*/ 18 h 49"/>
                  <a:gd name="T2" fmla="*/ 22 w 156"/>
                  <a:gd name="T3" fmla="*/ 9 h 49"/>
                  <a:gd name="T4" fmla="*/ 18 w 156"/>
                  <a:gd name="T5" fmla="*/ 5 h 49"/>
                  <a:gd name="T6" fmla="*/ 17 w 156"/>
                  <a:gd name="T7" fmla="*/ 4 h 49"/>
                  <a:gd name="T8" fmla="*/ 15 w 156"/>
                  <a:gd name="T9" fmla="*/ 7 h 49"/>
                  <a:gd name="T10" fmla="*/ 8 w 156"/>
                  <a:gd name="T11" fmla="*/ 7 h 49"/>
                  <a:gd name="T12" fmla="*/ 4 w 156"/>
                  <a:gd name="T13" fmla="*/ 2 h 49"/>
                  <a:gd name="T14" fmla="*/ 0 w 156"/>
                  <a:gd name="T15" fmla="*/ 2 h 49"/>
                  <a:gd name="T16" fmla="*/ 2 w 156"/>
                  <a:gd name="T17" fmla="*/ 14 h 49"/>
                  <a:gd name="T18" fmla="*/ 10 w 156"/>
                  <a:gd name="T19" fmla="*/ 29 h 49"/>
                  <a:gd name="T20" fmla="*/ 18 w 156"/>
                  <a:gd name="T21" fmla="*/ 37 h 49"/>
                  <a:gd name="T22" fmla="*/ 33 w 156"/>
                  <a:gd name="T23" fmla="*/ 45 h 49"/>
                  <a:gd name="T24" fmla="*/ 28 w 156"/>
                  <a:gd name="T25" fmla="*/ 33 h 49"/>
                  <a:gd name="T26" fmla="*/ 28 w 156"/>
                  <a:gd name="T27" fmla="*/ 18 h 49"/>
                  <a:gd name="T28" fmla="*/ 149 w 156"/>
                  <a:gd name="T29" fmla="*/ 9 h 49"/>
                  <a:gd name="T30" fmla="*/ 142 w 156"/>
                  <a:gd name="T31" fmla="*/ 7 h 49"/>
                  <a:gd name="T32" fmla="*/ 135 w 156"/>
                  <a:gd name="T33" fmla="*/ 0 h 49"/>
                  <a:gd name="T34" fmla="*/ 129 w 156"/>
                  <a:gd name="T35" fmla="*/ 9 h 49"/>
                  <a:gd name="T36" fmla="*/ 124 w 156"/>
                  <a:gd name="T37" fmla="*/ 14 h 49"/>
                  <a:gd name="T38" fmla="*/ 122 w 156"/>
                  <a:gd name="T39" fmla="*/ 16 h 49"/>
                  <a:gd name="T40" fmla="*/ 123 w 156"/>
                  <a:gd name="T41" fmla="*/ 21 h 49"/>
                  <a:gd name="T42" fmla="*/ 117 w 156"/>
                  <a:gd name="T43" fmla="*/ 23 h 49"/>
                  <a:gd name="T44" fmla="*/ 113 w 156"/>
                  <a:gd name="T45" fmla="*/ 17 h 49"/>
                  <a:gd name="T46" fmla="*/ 113 w 156"/>
                  <a:gd name="T47" fmla="*/ 17 h 49"/>
                  <a:gd name="T48" fmla="*/ 106 w 156"/>
                  <a:gd name="T49" fmla="*/ 28 h 49"/>
                  <a:gd name="T50" fmla="*/ 94 w 156"/>
                  <a:gd name="T51" fmla="*/ 32 h 49"/>
                  <a:gd name="T52" fmla="*/ 89 w 156"/>
                  <a:gd name="T53" fmla="*/ 42 h 49"/>
                  <a:gd name="T54" fmla="*/ 77 w 156"/>
                  <a:gd name="T55" fmla="*/ 39 h 49"/>
                  <a:gd name="T56" fmla="*/ 79 w 156"/>
                  <a:gd name="T57" fmla="*/ 44 h 49"/>
                  <a:gd name="T58" fmla="*/ 86 w 156"/>
                  <a:gd name="T59" fmla="*/ 48 h 49"/>
                  <a:gd name="T60" fmla="*/ 96 w 156"/>
                  <a:gd name="T61" fmla="*/ 47 h 49"/>
                  <a:gd name="T62" fmla="*/ 105 w 156"/>
                  <a:gd name="T63" fmla="*/ 43 h 49"/>
                  <a:gd name="T64" fmla="*/ 112 w 156"/>
                  <a:gd name="T65" fmla="*/ 45 h 49"/>
                  <a:gd name="T66" fmla="*/ 119 w 156"/>
                  <a:gd name="T67" fmla="*/ 40 h 49"/>
                  <a:gd name="T68" fmla="*/ 122 w 156"/>
                  <a:gd name="T69" fmla="*/ 32 h 49"/>
                  <a:gd name="T70" fmla="*/ 126 w 156"/>
                  <a:gd name="T71" fmla="*/ 25 h 49"/>
                  <a:gd name="T72" fmla="*/ 139 w 156"/>
                  <a:gd name="T73" fmla="*/ 20 h 49"/>
                  <a:gd name="T74" fmla="*/ 143 w 156"/>
                  <a:gd name="T75" fmla="*/ 21 h 49"/>
                  <a:gd name="T76" fmla="*/ 148 w 156"/>
                  <a:gd name="T77" fmla="*/ 16 h 49"/>
                  <a:gd name="T78" fmla="*/ 155 w 156"/>
                  <a:gd name="T79" fmla="*/ 13 h 49"/>
                  <a:gd name="T80" fmla="*/ 149 w 156"/>
                  <a:gd name="T81" fmla="*/ 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56" h="49">
                    <a:moveTo>
                      <a:pt x="28" y="18"/>
                    </a:moveTo>
                    <a:cubicBezTo>
                      <a:pt x="28" y="12"/>
                      <a:pt x="23" y="13"/>
                      <a:pt x="22" y="9"/>
                    </a:cubicBezTo>
                    <a:cubicBezTo>
                      <a:pt x="20" y="6"/>
                      <a:pt x="18" y="8"/>
                      <a:pt x="18" y="5"/>
                    </a:cubicBezTo>
                    <a:cubicBezTo>
                      <a:pt x="18" y="5"/>
                      <a:pt x="17" y="5"/>
                      <a:pt x="17" y="4"/>
                    </a:cubicBezTo>
                    <a:cubicBezTo>
                      <a:pt x="14" y="5"/>
                      <a:pt x="15" y="7"/>
                      <a:pt x="15" y="7"/>
                    </a:cubicBezTo>
                    <a:cubicBezTo>
                      <a:pt x="14" y="8"/>
                      <a:pt x="8" y="8"/>
                      <a:pt x="8" y="7"/>
                    </a:cubicBezTo>
                    <a:cubicBezTo>
                      <a:pt x="8" y="5"/>
                      <a:pt x="7" y="2"/>
                      <a:pt x="4" y="2"/>
                    </a:cubicBezTo>
                    <a:cubicBezTo>
                      <a:pt x="3" y="2"/>
                      <a:pt x="1" y="1"/>
                      <a:pt x="0" y="2"/>
                    </a:cubicBezTo>
                    <a:cubicBezTo>
                      <a:pt x="2" y="6"/>
                      <a:pt x="2" y="10"/>
                      <a:pt x="2" y="14"/>
                    </a:cubicBezTo>
                    <a:cubicBezTo>
                      <a:pt x="2" y="19"/>
                      <a:pt x="9" y="26"/>
                      <a:pt x="10" y="29"/>
                    </a:cubicBezTo>
                    <a:cubicBezTo>
                      <a:pt x="11" y="32"/>
                      <a:pt x="13" y="33"/>
                      <a:pt x="18" y="37"/>
                    </a:cubicBezTo>
                    <a:cubicBezTo>
                      <a:pt x="22" y="40"/>
                      <a:pt x="32" y="45"/>
                      <a:pt x="33" y="45"/>
                    </a:cubicBezTo>
                    <a:cubicBezTo>
                      <a:pt x="35" y="44"/>
                      <a:pt x="31" y="36"/>
                      <a:pt x="28" y="33"/>
                    </a:cubicBezTo>
                    <a:cubicBezTo>
                      <a:pt x="25" y="30"/>
                      <a:pt x="28" y="23"/>
                      <a:pt x="28" y="18"/>
                    </a:cubicBezTo>
                    <a:close/>
                    <a:moveTo>
                      <a:pt x="149" y="9"/>
                    </a:moveTo>
                    <a:cubicBezTo>
                      <a:pt x="147" y="9"/>
                      <a:pt x="142" y="9"/>
                      <a:pt x="142" y="7"/>
                    </a:cubicBezTo>
                    <a:cubicBezTo>
                      <a:pt x="142" y="4"/>
                      <a:pt x="138" y="0"/>
                      <a:pt x="135" y="0"/>
                    </a:cubicBezTo>
                    <a:cubicBezTo>
                      <a:pt x="132" y="0"/>
                      <a:pt x="129" y="6"/>
                      <a:pt x="129" y="9"/>
                    </a:cubicBezTo>
                    <a:cubicBezTo>
                      <a:pt x="128" y="11"/>
                      <a:pt x="124" y="11"/>
                      <a:pt x="124" y="14"/>
                    </a:cubicBezTo>
                    <a:cubicBezTo>
                      <a:pt x="124" y="15"/>
                      <a:pt x="124" y="16"/>
                      <a:pt x="122" y="16"/>
                    </a:cubicBezTo>
                    <a:cubicBezTo>
                      <a:pt x="123" y="19"/>
                      <a:pt x="124" y="21"/>
                      <a:pt x="123" y="21"/>
                    </a:cubicBezTo>
                    <a:cubicBezTo>
                      <a:pt x="121" y="20"/>
                      <a:pt x="120" y="23"/>
                      <a:pt x="117" y="23"/>
                    </a:cubicBezTo>
                    <a:cubicBezTo>
                      <a:pt x="116" y="23"/>
                      <a:pt x="115" y="20"/>
                      <a:pt x="113" y="17"/>
                    </a:cubicBezTo>
                    <a:cubicBezTo>
                      <a:pt x="113" y="17"/>
                      <a:pt x="113" y="17"/>
                      <a:pt x="113" y="17"/>
                    </a:cubicBezTo>
                    <a:cubicBezTo>
                      <a:pt x="111" y="17"/>
                      <a:pt x="107" y="24"/>
                      <a:pt x="106" y="28"/>
                    </a:cubicBezTo>
                    <a:cubicBezTo>
                      <a:pt x="105" y="33"/>
                      <a:pt x="100" y="31"/>
                      <a:pt x="94" y="32"/>
                    </a:cubicBezTo>
                    <a:cubicBezTo>
                      <a:pt x="88" y="32"/>
                      <a:pt x="90" y="39"/>
                      <a:pt x="89" y="42"/>
                    </a:cubicBezTo>
                    <a:cubicBezTo>
                      <a:pt x="88" y="45"/>
                      <a:pt x="80" y="40"/>
                      <a:pt x="77" y="39"/>
                    </a:cubicBezTo>
                    <a:cubicBezTo>
                      <a:pt x="77" y="42"/>
                      <a:pt x="78" y="44"/>
                      <a:pt x="79" y="44"/>
                    </a:cubicBezTo>
                    <a:cubicBezTo>
                      <a:pt x="81" y="44"/>
                      <a:pt x="84" y="49"/>
                      <a:pt x="86" y="48"/>
                    </a:cubicBezTo>
                    <a:cubicBezTo>
                      <a:pt x="88" y="46"/>
                      <a:pt x="94" y="48"/>
                      <a:pt x="96" y="47"/>
                    </a:cubicBezTo>
                    <a:cubicBezTo>
                      <a:pt x="99" y="46"/>
                      <a:pt x="100" y="43"/>
                      <a:pt x="105" y="43"/>
                    </a:cubicBezTo>
                    <a:cubicBezTo>
                      <a:pt x="109" y="43"/>
                      <a:pt x="107" y="47"/>
                      <a:pt x="112" y="45"/>
                    </a:cubicBezTo>
                    <a:cubicBezTo>
                      <a:pt x="117" y="42"/>
                      <a:pt x="120" y="44"/>
                      <a:pt x="119" y="40"/>
                    </a:cubicBezTo>
                    <a:cubicBezTo>
                      <a:pt x="119" y="36"/>
                      <a:pt x="122" y="36"/>
                      <a:pt x="122" y="32"/>
                    </a:cubicBezTo>
                    <a:cubicBezTo>
                      <a:pt x="121" y="29"/>
                      <a:pt x="127" y="31"/>
                      <a:pt x="126" y="25"/>
                    </a:cubicBezTo>
                    <a:cubicBezTo>
                      <a:pt x="126" y="19"/>
                      <a:pt x="135" y="20"/>
                      <a:pt x="139" y="20"/>
                    </a:cubicBezTo>
                    <a:cubicBezTo>
                      <a:pt x="140" y="20"/>
                      <a:pt x="141" y="20"/>
                      <a:pt x="143" y="21"/>
                    </a:cubicBezTo>
                    <a:cubicBezTo>
                      <a:pt x="145" y="20"/>
                      <a:pt x="149" y="18"/>
                      <a:pt x="148" y="16"/>
                    </a:cubicBezTo>
                    <a:cubicBezTo>
                      <a:pt x="145" y="14"/>
                      <a:pt x="154" y="16"/>
                      <a:pt x="155" y="13"/>
                    </a:cubicBezTo>
                    <a:cubicBezTo>
                      <a:pt x="156" y="10"/>
                      <a:pt x="152" y="8"/>
                      <a:pt x="149" y="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9" name="Freeform 95">
                <a:extLst>
                  <a:ext uri="{FF2B5EF4-FFF2-40B4-BE49-F238E27FC236}">
                    <a16:creationId xmlns:a16="http://schemas.microsoft.com/office/drawing/2014/main" id="{685D9F58-FC5E-4133-8E8A-4B83622C7A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13852" y="4000713"/>
                <a:ext cx="25095" cy="16311"/>
              </a:xfrm>
              <a:custGeom>
                <a:avLst/>
                <a:gdLst>
                  <a:gd name="T0" fmla="*/ 4 w 11"/>
                  <a:gd name="T1" fmla="*/ 7 h 7"/>
                  <a:gd name="T2" fmla="*/ 10 w 11"/>
                  <a:gd name="T3" fmla="*/ 5 h 7"/>
                  <a:gd name="T4" fmla="*/ 9 w 11"/>
                  <a:gd name="T5" fmla="*/ 0 h 7"/>
                  <a:gd name="T6" fmla="*/ 6 w 11"/>
                  <a:gd name="T7" fmla="*/ 2 h 7"/>
                  <a:gd name="T8" fmla="*/ 0 w 11"/>
                  <a:gd name="T9" fmla="*/ 1 h 7"/>
                  <a:gd name="T10" fmla="*/ 4 w 11"/>
                  <a:gd name="T11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" h="7">
                    <a:moveTo>
                      <a:pt x="4" y="7"/>
                    </a:moveTo>
                    <a:cubicBezTo>
                      <a:pt x="7" y="7"/>
                      <a:pt x="8" y="4"/>
                      <a:pt x="10" y="5"/>
                    </a:cubicBezTo>
                    <a:cubicBezTo>
                      <a:pt x="11" y="5"/>
                      <a:pt x="10" y="3"/>
                      <a:pt x="9" y="0"/>
                    </a:cubicBezTo>
                    <a:cubicBezTo>
                      <a:pt x="8" y="1"/>
                      <a:pt x="6" y="1"/>
                      <a:pt x="6" y="2"/>
                    </a:cubicBezTo>
                    <a:cubicBezTo>
                      <a:pt x="6" y="4"/>
                      <a:pt x="2" y="1"/>
                      <a:pt x="0" y="1"/>
                    </a:cubicBezTo>
                    <a:cubicBezTo>
                      <a:pt x="2" y="4"/>
                      <a:pt x="3" y="7"/>
                      <a:pt x="4" y="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0" name="Freeform 96">
                <a:extLst>
                  <a:ext uri="{FF2B5EF4-FFF2-40B4-BE49-F238E27FC236}">
                    <a16:creationId xmlns:a16="http://schemas.microsoft.com/office/drawing/2014/main" id="{F0921AF9-53BF-4227-B542-E904D45149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32399" y="3353274"/>
                <a:ext cx="181935" cy="178171"/>
              </a:xfrm>
              <a:custGeom>
                <a:avLst/>
                <a:gdLst>
                  <a:gd name="T0" fmla="*/ 66 w 79"/>
                  <a:gd name="T1" fmla="*/ 69 h 77"/>
                  <a:gd name="T2" fmla="*/ 70 w 79"/>
                  <a:gd name="T3" fmla="*/ 66 h 77"/>
                  <a:gd name="T4" fmla="*/ 75 w 79"/>
                  <a:gd name="T5" fmla="*/ 69 h 77"/>
                  <a:gd name="T6" fmla="*/ 79 w 79"/>
                  <a:gd name="T7" fmla="*/ 68 h 77"/>
                  <a:gd name="T8" fmla="*/ 74 w 79"/>
                  <a:gd name="T9" fmla="*/ 61 h 77"/>
                  <a:gd name="T10" fmla="*/ 71 w 79"/>
                  <a:gd name="T11" fmla="*/ 56 h 77"/>
                  <a:gd name="T12" fmla="*/ 72 w 79"/>
                  <a:gd name="T13" fmla="*/ 50 h 77"/>
                  <a:gd name="T14" fmla="*/ 68 w 79"/>
                  <a:gd name="T15" fmla="*/ 46 h 77"/>
                  <a:gd name="T16" fmla="*/ 59 w 79"/>
                  <a:gd name="T17" fmla="*/ 40 h 77"/>
                  <a:gd name="T18" fmla="*/ 56 w 79"/>
                  <a:gd name="T19" fmla="*/ 35 h 77"/>
                  <a:gd name="T20" fmla="*/ 55 w 79"/>
                  <a:gd name="T21" fmla="*/ 28 h 77"/>
                  <a:gd name="T22" fmla="*/ 58 w 79"/>
                  <a:gd name="T23" fmla="*/ 22 h 77"/>
                  <a:gd name="T24" fmla="*/ 59 w 79"/>
                  <a:gd name="T25" fmla="*/ 17 h 77"/>
                  <a:gd name="T26" fmla="*/ 56 w 79"/>
                  <a:gd name="T27" fmla="*/ 14 h 77"/>
                  <a:gd name="T28" fmla="*/ 51 w 79"/>
                  <a:gd name="T29" fmla="*/ 9 h 77"/>
                  <a:gd name="T30" fmla="*/ 48 w 79"/>
                  <a:gd name="T31" fmla="*/ 3 h 77"/>
                  <a:gd name="T32" fmla="*/ 40 w 79"/>
                  <a:gd name="T33" fmla="*/ 1 h 77"/>
                  <a:gd name="T34" fmla="*/ 33 w 79"/>
                  <a:gd name="T35" fmla="*/ 0 h 77"/>
                  <a:gd name="T36" fmla="*/ 29 w 79"/>
                  <a:gd name="T37" fmla="*/ 3 h 77"/>
                  <a:gd name="T38" fmla="*/ 29 w 79"/>
                  <a:gd name="T39" fmla="*/ 3 h 77"/>
                  <a:gd name="T40" fmla="*/ 24 w 79"/>
                  <a:gd name="T41" fmla="*/ 6 h 77"/>
                  <a:gd name="T42" fmla="*/ 19 w 79"/>
                  <a:gd name="T43" fmla="*/ 10 h 77"/>
                  <a:gd name="T44" fmla="*/ 20 w 79"/>
                  <a:gd name="T45" fmla="*/ 17 h 77"/>
                  <a:gd name="T46" fmla="*/ 19 w 79"/>
                  <a:gd name="T47" fmla="*/ 23 h 77"/>
                  <a:gd name="T48" fmla="*/ 17 w 79"/>
                  <a:gd name="T49" fmla="*/ 28 h 77"/>
                  <a:gd name="T50" fmla="*/ 0 w 79"/>
                  <a:gd name="T51" fmla="*/ 37 h 77"/>
                  <a:gd name="T52" fmla="*/ 1 w 79"/>
                  <a:gd name="T53" fmla="*/ 41 h 77"/>
                  <a:gd name="T54" fmla="*/ 3 w 79"/>
                  <a:gd name="T55" fmla="*/ 49 h 77"/>
                  <a:gd name="T56" fmla="*/ 9 w 79"/>
                  <a:gd name="T57" fmla="*/ 49 h 77"/>
                  <a:gd name="T58" fmla="*/ 25 w 79"/>
                  <a:gd name="T59" fmla="*/ 58 h 77"/>
                  <a:gd name="T60" fmla="*/ 44 w 79"/>
                  <a:gd name="T61" fmla="*/ 72 h 77"/>
                  <a:gd name="T62" fmla="*/ 54 w 79"/>
                  <a:gd name="T63" fmla="*/ 76 h 77"/>
                  <a:gd name="T64" fmla="*/ 63 w 79"/>
                  <a:gd name="T65" fmla="*/ 77 h 77"/>
                  <a:gd name="T66" fmla="*/ 66 w 79"/>
                  <a:gd name="T67" fmla="*/ 69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79" h="77">
                    <a:moveTo>
                      <a:pt x="66" y="69"/>
                    </a:moveTo>
                    <a:cubicBezTo>
                      <a:pt x="67" y="68"/>
                      <a:pt x="68" y="67"/>
                      <a:pt x="70" y="66"/>
                    </a:cubicBezTo>
                    <a:cubicBezTo>
                      <a:pt x="72" y="66"/>
                      <a:pt x="73" y="67"/>
                      <a:pt x="75" y="69"/>
                    </a:cubicBezTo>
                    <a:cubicBezTo>
                      <a:pt x="76" y="69"/>
                      <a:pt x="78" y="68"/>
                      <a:pt x="79" y="68"/>
                    </a:cubicBezTo>
                    <a:cubicBezTo>
                      <a:pt x="77" y="65"/>
                      <a:pt x="74" y="63"/>
                      <a:pt x="74" y="61"/>
                    </a:cubicBezTo>
                    <a:cubicBezTo>
                      <a:pt x="75" y="59"/>
                      <a:pt x="72" y="57"/>
                      <a:pt x="71" y="56"/>
                    </a:cubicBezTo>
                    <a:cubicBezTo>
                      <a:pt x="71" y="54"/>
                      <a:pt x="73" y="52"/>
                      <a:pt x="72" y="50"/>
                    </a:cubicBezTo>
                    <a:cubicBezTo>
                      <a:pt x="71" y="49"/>
                      <a:pt x="70" y="46"/>
                      <a:pt x="68" y="46"/>
                    </a:cubicBezTo>
                    <a:cubicBezTo>
                      <a:pt x="66" y="45"/>
                      <a:pt x="59" y="42"/>
                      <a:pt x="59" y="40"/>
                    </a:cubicBezTo>
                    <a:cubicBezTo>
                      <a:pt x="60" y="37"/>
                      <a:pt x="57" y="36"/>
                      <a:pt x="56" y="35"/>
                    </a:cubicBezTo>
                    <a:cubicBezTo>
                      <a:pt x="54" y="35"/>
                      <a:pt x="53" y="29"/>
                      <a:pt x="55" y="28"/>
                    </a:cubicBezTo>
                    <a:cubicBezTo>
                      <a:pt x="56" y="27"/>
                      <a:pt x="56" y="22"/>
                      <a:pt x="58" y="22"/>
                    </a:cubicBezTo>
                    <a:cubicBezTo>
                      <a:pt x="60" y="22"/>
                      <a:pt x="58" y="19"/>
                      <a:pt x="59" y="17"/>
                    </a:cubicBezTo>
                    <a:cubicBezTo>
                      <a:pt x="59" y="15"/>
                      <a:pt x="57" y="14"/>
                      <a:pt x="56" y="14"/>
                    </a:cubicBezTo>
                    <a:cubicBezTo>
                      <a:pt x="54" y="14"/>
                      <a:pt x="51" y="11"/>
                      <a:pt x="51" y="9"/>
                    </a:cubicBezTo>
                    <a:cubicBezTo>
                      <a:pt x="51" y="7"/>
                      <a:pt x="48" y="4"/>
                      <a:pt x="48" y="3"/>
                    </a:cubicBezTo>
                    <a:cubicBezTo>
                      <a:pt x="48" y="7"/>
                      <a:pt x="42" y="1"/>
                      <a:pt x="40" y="1"/>
                    </a:cubicBezTo>
                    <a:cubicBezTo>
                      <a:pt x="38" y="2"/>
                      <a:pt x="36" y="0"/>
                      <a:pt x="33" y="0"/>
                    </a:cubicBezTo>
                    <a:cubicBezTo>
                      <a:pt x="30" y="0"/>
                      <a:pt x="30" y="2"/>
                      <a:pt x="29" y="3"/>
                    </a:cubicBezTo>
                    <a:cubicBezTo>
                      <a:pt x="29" y="3"/>
                      <a:pt x="29" y="3"/>
                      <a:pt x="29" y="3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0" y="8"/>
                      <a:pt x="19" y="10"/>
                    </a:cubicBezTo>
                    <a:cubicBezTo>
                      <a:pt x="18" y="13"/>
                      <a:pt x="21" y="15"/>
                      <a:pt x="20" y="17"/>
                    </a:cubicBezTo>
                    <a:cubicBezTo>
                      <a:pt x="19" y="18"/>
                      <a:pt x="19" y="22"/>
                      <a:pt x="19" y="23"/>
                    </a:cubicBezTo>
                    <a:cubicBezTo>
                      <a:pt x="20" y="24"/>
                      <a:pt x="17" y="28"/>
                      <a:pt x="17" y="28"/>
                    </a:cubicBezTo>
                    <a:cubicBezTo>
                      <a:pt x="17" y="28"/>
                      <a:pt x="8" y="33"/>
                      <a:pt x="0" y="37"/>
                    </a:cubicBezTo>
                    <a:cubicBezTo>
                      <a:pt x="0" y="38"/>
                      <a:pt x="0" y="40"/>
                      <a:pt x="1" y="41"/>
                    </a:cubicBezTo>
                    <a:cubicBezTo>
                      <a:pt x="1" y="43"/>
                      <a:pt x="2" y="46"/>
                      <a:pt x="3" y="49"/>
                    </a:cubicBezTo>
                    <a:cubicBezTo>
                      <a:pt x="6" y="49"/>
                      <a:pt x="6" y="49"/>
                      <a:pt x="9" y="49"/>
                    </a:cubicBezTo>
                    <a:cubicBezTo>
                      <a:pt x="12" y="49"/>
                      <a:pt x="22" y="57"/>
                      <a:pt x="25" y="58"/>
                    </a:cubicBezTo>
                    <a:cubicBezTo>
                      <a:pt x="27" y="59"/>
                      <a:pt x="41" y="70"/>
                      <a:pt x="44" y="72"/>
                    </a:cubicBezTo>
                    <a:cubicBezTo>
                      <a:pt x="47" y="75"/>
                      <a:pt x="52" y="76"/>
                      <a:pt x="54" y="76"/>
                    </a:cubicBezTo>
                    <a:cubicBezTo>
                      <a:pt x="55" y="76"/>
                      <a:pt x="59" y="76"/>
                      <a:pt x="63" y="77"/>
                    </a:cubicBezTo>
                    <a:cubicBezTo>
                      <a:pt x="64" y="74"/>
                      <a:pt x="66" y="70"/>
                      <a:pt x="66" y="6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1" name="Freeform 97">
                <a:extLst>
                  <a:ext uri="{FF2B5EF4-FFF2-40B4-BE49-F238E27FC236}">
                    <a16:creationId xmlns:a16="http://schemas.microsoft.com/office/drawing/2014/main" id="{6B1FD5B8-F9B8-41D4-941C-02D38CBE63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77947" y="3505096"/>
                <a:ext cx="35132" cy="35132"/>
              </a:xfrm>
              <a:custGeom>
                <a:avLst/>
                <a:gdLst>
                  <a:gd name="T0" fmla="*/ 5 w 15"/>
                  <a:gd name="T1" fmla="*/ 11 h 15"/>
                  <a:gd name="T2" fmla="*/ 9 w 15"/>
                  <a:gd name="T3" fmla="*/ 15 h 15"/>
                  <a:gd name="T4" fmla="*/ 15 w 15"/>
                  <a:gd name="T5" fmla="*/ 15 h 15"/>
                  <a:gd name="T6" fmla="*/ 12 w 15"/>
                  <a:gd name="T7" fmla="*/ 5 h 15"/>
                  <a:gd name="T8" fmla="*/ 12 w 15"/>
                  <a:gd name="T9" fmla="*/ 3 h 15"/>
                  <a:gd name="T10" fmla="*/ 7 w 15"/>
                  <a:gd name="T11" fmla="*/ 0 h 15"/>
                  <a:gd name="T12" fmla="*/ 3 w 15"/>
                  <a:gd name="T13" fmla="*/ 3 h 15"/>
                  <a:gd name="T14" fmla="*/ 0 w 15"/>
                  <a:gd name="T15" fmla="*/ 11 h 15"/>
                  <a:gd name="T16" fmla="*/ 5 w 15"/>
                  <a:gd name="T17" fmla="*/ 11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5" h="15">
                    <a:moveTo>
                      <a:pt x="5" y="11"/>
                    </a:moveTo>
                    <a:cubicBezTo>
                      <a:pt x="9" y="15"/>
                      <a:pt x="9" y="15"/>
                      <a:pt x="9" y="15"/>
                    </a:cubicBezTo>
                    <a:cubicBezTo>
                      <a:pt x="15" y="15"/>
                      <a:pt x="15" y="15"/>
                      <a:pt x="15" y="15"/>
                    </a:cubicBezTo>
                    <a:cubicBezTo>
                      <a:pt x="14" y="11"/>
                      <a:pt x="12" y="6"/>
                      <a:pt x="12" y="5"/>
                    </a:cubicBezTo>
                    <a:cubicBezTo>
                      <a:pt x="12" y="4"/>
                      <a:pt x="12" y="4"/>
                      <a:pt x="12" y="3"/>
                    </a:cubicBezTo>
                    <a:cubicBezTo>
                      <a:pt x="10" y="1"/>
                      <a:pt x="9" y="0"/>
                      <a:pt x="7" y="0"/>
                    </a:cubicBezTo>
                    <a:cubicBezTo>
                      <a:pt x="5" y="1"/>
                      <a:pt x="4" y="2"/>
                      <a:pt x="3" y="3"/>
                    </a:cubicBezTo>
                    <a:cubicBezTo>
                      <a:pt x="3" y="4"/>
                      <a:pt x="1" y="8"/>
                      <a:pt x="0" y="11"/>
                    </a:cubicBezTo>
                    <a:cubicBezTo>
                      <a:pt x="3" y="11"/>
                      <a:pt x="5" y="11"/>
                      <a:pt x="5" y="1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2" name="Freeform 98">
                <a:extLst>
                  <a:ext uri="{FF2B5EF4-FFF2-40B4-BE49-F238E27FC236}">
                    <a16:creationId xmlns:a16="http://schemas.microsoft.com/office/drawing/2014/main" id="{EE344350-A6AE-4C12-82E2-FCA41E7EDA7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30629" y="3039593"/>
                <a:ext cx="272276" cy="225851"/>
              </a:xfrm>
              <a:custGeom>
                <a:avLst/>
                <a:gdLst>
                  <a:gd name="T0" fmla="*/ 104 w 118"/>
                  <a:gd name="T1" fmla="*/ 22 h 98"/>
                  <a:gd name="T2" fmla="*/ 99 w 118"/>
                  <a:gd name="T3" fmla="*/ 21 h 98"/>
                  <a:gd name="T4" fmla="*/ 94 w 118"/>
                  <a:gd name="T5" fmla="*/ 18 h 98"/>
                  <a:gd name="T6" fmla="*/ 86 w 118"/>
                  <a:gd name="T7" fmla="*/ 17 h 98"/>
                  <a:gd name="T8" fmla="*/ 82 w 118"/>
                  <a:gd name="T9" fmla="*/ 14 h 98"/>
                  <a:gd name="T10" fmla="*/ 79 w 118"/>
                  <a:gd name="T11" fmla="*/ 10 h 98"/>
                  <a:gd name="T12" fmla="*/ 76 w 118"/>
                  <a:gd name="T13" fmla="*/ 12 h 98"/>
                  <a:gd name="T14" fmla="*/ 73 w 118"/>
                  <a:gd name="T15" fmla="*/ 9 h 98"/>
                  <a:gd name="T16" fmla="*/ 68 w 118"/>
                  <a:gd name="T17" fmla="*/ 6 h 98"/>
                  <a:gd name="T18" fmla="*/ 64 w 118"/>
                  <a:gd name="T19" fmla="*/ 4 h 98"/>
                  <a:gd name="T20" fmla="*/ 62 w 118"/>
                  <a:gd name="T21" fmla="*/ 1 h 98"/>
                  <a:gd name="T22" fmla="*/ 60 w 118"/>
                  <a:gd name="T23" fmla="*/ 0 h 98"/>
                  <a:gd name="T24" fmla="*/ 59 w 118"/>
                  <a:gd name="T25" fmla="*/ 0 h 98"/>
                  <a:gd name="T26" fmla="*/ 54 w 118"/>
                  <a:gd name="T27" fmla="*/ 7 h 98"/>
                  <a:gd name="T28" fmla="*/ 45 w 118"/>
                  <a:gd name="T29" fmla="*/ 12 h 98"/>
                  <a:gd name="T30" fmla="*/ 40 w 118"/>
                  <a:gd name="T31" fmla="*/ 18 h 98"/>
                  <a:gd name="T32" fmla="*/ 30 w 118"/>
                  <a:gd name="T33" fmla="*/ 15 h 98"/>
                  <a:gd name="T34" fmla="*/ 25 w 118"/>
                  <a:gd name="T35" fmla="*/ 18 h 98"/>
                  <a:gd name="T36" fmla="*/ 27 w 118"/>
                  <a:gd name="T37" fmla="*/ 26 h 98"/>
                  <a:gd name="T38" fmla="*/ 20 w 118"/>
                  <a:gd name="T39" fmla="*/ 26 h 98"/>
                  <a:gd name="T40" fmla="*/ 15 w 118"/>
                  <a:gd name="T41" fmla="*/ 24 h 98"/>
                  <a:gd name="T42" fmla="*/ 7 w 118"/>
                  <a:gd name="T43" fmla="*/ 24 h 98"/>
                  <a:gd name="T44" fmla="*/ 2 w 118"/>
                  <a:gd name="T45" fmla="*/ 28 h 98"/>
                  <a:gd name="T46" fmla="*/ 3 w 118"/>
                  <a:gd name="T47" fmla="*/ 33 h 98"/>
                  <a:gd name="T48" fmla="*/ 13 w 118"/>
                  <a:gd name="T49" fmla="*/ 37 h 98"/>
                  <a:gd name="T50" fmla="*/ 21 w 118"/>
                  <a:gd name="T51" fmla="*/ 39 h 98"/>
                  <a:gd name="T52" fmla="*/ 23 w 118"/>
                  <a:gd name="T53" fmla="*/ 42 h 98"/>
                  <a:gd name="T54" fmla="*/ 29 w 118"/>
                  <a:gd name="T55" fmla="*/ 49 h 98"/>
                  <a:gd name="T56" fmla="*/ 32 w 118"/>
                  <a:gd name="T57" fmla="*/ 55 h 98"/>
                  <a:gd name="T58" fmla="*/ 30 w 118"/>
                  <a:gd name="T59" fmla="*/ 65 h 98"/>
                  <a:gd name="T60" fmla="*/ 27 w 118"/>
                  <a:gd name="T61" fmla="*/ 79 h 98"/>
                  <a:gd name="T62" fmla="*/ 26 w 118"/>
                  <a:gd name="T63" fmla="*/ 80 h 98"/>
                  <a:gd name="T64" fmla="*/ 31 w 118"/>
                  <a:gd name="T65" fmla="*/ 82 h 98"/>
                  <a:gd name="T66" fmla="*/ 38 w 118"/>
                  <a:gd name="T67" fmla="*/ 86 h 98"/>
                  <a:gd name="T68" fmla="*/ 45 w 118"/>
                  <a:gd name="T69" fmla="*/ 85 h 98"/>
                  <a:gd name="T70" fmla="*/ 49 w 118"/>
                  <a:gd name="T71" fmla="*/ 86 h 98"/>
                  <a:gd name="T72" fmla="*/ 58 w 118"/>
                  <a:gd name="T73" fmla="*/ 88 h 98"/>
                  <a:gd name="T74" fmla="*/ 66 w 118"/>
                  <a:gd name="T75" fmla="*/ 88 h 98"/>
                  <a:gd name="T76" fmla="*/ 66 w 118"/>
                  <a:gd name="T77" fmla="*/ 86 h 98"/>
                  <a:gd name="T78" fmla="*/ 73 w 118"/>
                  <a:gd name="T79" fmla="*/ 78 h 98"/>
                  <a:gd name="T80" fmla="*/ 87 w 118"/>
                  <a:gd name="T81" fmla="*/ 82 h 98"/>
                  <a:gd name="T82" fmla="*/ 97 w 118"/>
                  <a:gd name="T83" fmla="*/ 79 h 98"/>
                  <a:gd name="T84" fmla="*/ 102 w 118"/>
                  <a:gd name="T85" fmla="*/ 75 h 98"/>
                  <a:gd name="T86" fmla="*/ 103 w 118"/>
                  <a:gd name="T87" fmla="*/ 73 h 98"/>
                  <a:gd name="T88" fmla="*/ 99 w 118"/>
                  <a:gd name="T89" fmla="*/ 71 h 98"/>
                  <a:gd name="T90" fmla="*/ 97 w 118"/>
                  <a:gd name="T91" fmla="*/ 67 h 98"/>
                  <a:gd name="T92" fmla="*/ 95 w 118"/>
                  <a:gd name="T93" fmla="*/ 63 h 98"/>
                  <a:gd name="T94" fmla="*/ 96 w 118"/>
                  <a:gd name="T95" fmla="*/ 61 h 98"/>
                  <a:gd name="T96" fmla="*/ 98 w 118"/>
                  <a:gd name="T97" fmla="*/ 58 h 98"/>
                  <a:gd name="T98" fmla="*/ 97 w 118"/>
                  <a:gd name="T99" fmla="*/ 54 h 98"/>
                  <a:gd name="T100" fmla="*/ 96 w 118"/>
                  <a:gd name="T101" fmla="*/ 50 h 98"/>
                  <a:gd name="T102" fmla="*/ 92 w 118"/>
                  <a:gd name="T103" fmla="*/ 50 h 98"/>
                  <a:gd name="T104" fmla="*/ 91 w 118"/>
                  <a:gd name="T105" fmla="*/ 47 h 98"/>
                  <a:gd name="T106" fmla="*/ 96 w 118"/>
                  <a:gd name="T107" fmla="*/ 41 h 98"/>
                  <a:gd name="T108" fmla="*/ 100 w 118"/>
                  <a:gd name="T109" fmla="*/ 37 h 98"/>
                  <a:gd name="T110" fmla="*/ 102 w 118"/>
                  <a:gd name="T111" fmla="*/ 31 h 98"/>
                  <a:gd name="T112" fmla="*/ 105 w 118"/>
                  <a:gd name="T113" fmla="*/ 25 h 98"/>
                  <a:gd name="T114" fmla="*/ 104 w 118"/>
                  <a:gd name="T115" fmla="*/ 22 h 98"/>
                  <a:gd name="T116" fmla="*/ 116 w 118"/>
                  <a:gd name="T117" fmla="*/ 83 h 98"/>
                  <a:gd name="T118" fmla="*/ 111 w 118"/>
                  <a:gd name="T119" fmla="*/ 87 h 98"/>
                  <a:gd name="T120" fmla="*/ 115 w 118"/>
                  <a:gd name="T121" fmla="*/ 98 h 98"/>
                  <a:gd name="T122" fmla="*/ 116 w 118"/>
                  <a:gd name="T123" fmla="*/ 83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18" h="98">
                    <a:moveTo>
                      <a:pt x="104" y="22"/>
                    </a:moveTo>
                    <a:cubicBezTo>
                      <a:pt x="103" y="22"/>
                      <a:pt x="102" y="21"/>
                      <a:pt x="99" y="21"/>
                    </a:cubicBezTo>
                    <a:cubicBezTo>
                      <a:pt x="97" y="21"/>
                      <a:pt x="95" y="20"/>
                      <a:pt x="94" y="18"/>
                    </a:cubicBezTo>
                    <a:cubicBezTo>
                      <a:pt x="93" y="17"/>
                      <a:pt x="88" y="16"/>
                      <a:pt x="86" y="17"/>
                    </a:cubicBezTo>
                    <a:cubicBezTo>
                      <a:pt x="84" y="17"/>
                      <a:pt x="83" y="14"/>
                      <a:pt x="82" y="14"/>
                    </a:cubicBezTo>
                    <a:cubicBezTo>
                      <a:pt x="80" y="14"/>
                      <a:pt x="79" y="12"/>
                      <a:pt x="79" y="10"/>
                    </a:cubicBezTo>
                    <a:cubicBezTo>
                      <a:pt x="79" y="9"/>
                      <a:pt x="77" y="11"/>
                      <a:pt x="76" y="12"/>
                    </a:cubicBezTo>
                    <a:cubicBezTo>
                      <a:pt x="74" y="13"/>
                      <a:pt x="74" y="10"/>
                      <a:pt x="73" y="9"/>
                    </a:cubicBezTo>
                    <a:cubicBezTo>
                      <a:pt x="73" y="8"/>
                      <a:pt x="70" y="7"/>
                      <a:pt x="68" y="6"/>
                    </a:cubicBezTo>
                    <a:cubicBezTo>
                      <a:pt x="67" y="5"/>
                      <a:pt x="65" y="3"/>
                      <a:pt x="64" y="4"/>
                    </a:cubicBezTo>
                    <a:cubicBezTo>
                      <a:pt x="64" y="5"/>
                      <a:pt x="62" y="2"/>
                      <a:pt x="62" y="1"/>
                    </a:cubicBezTo>
                    <a:cubicBezTo>
                      <a:pt x="61" y="0"/>
                      <a:pt x="61" y="0"/>
                      <a:pt x="60" y="0"/>
                    </a:cubicBezTo>
                    <a:cubicBezTo>
                      <a:pt x="60" y="0"/>
                      <a:pt x="59" y="0"/>
                      <a:pt x="59" y="0"/>
                    </a:cubicBezTo>
                    <a:cubicBezTo>
                      <a:pt x="56" y="0"/>
                      <a:pt x="53" y="2"/>
                      <a:pt x="54" y="7"/>
                    </a:cubicBezTo>
                    <a:cubicBezTo>
                      <a:pt x="54" y="12"/>
                      <a:pt x="50" y="12"/>
                      <a:pt x="45" y="12"/>
                    </a:cubicBezTo>
                    <a:cubicBezTo>
                      <a:pt x="41" y="13"/>
                      <a:pt x="42" y="17"/>
                      <a:pt x="40" y="18"/>
                    </a:cubicBezTo>
                    <a:cubicBezTo>
                      <a:pt x="38" y="20"/>
                      <a:pt x="31" y="17"/>
                      <a:pt x="30" y="15"/>
                    </a:cubicBezTo>
                    <a:cubicBezTo>
                      <a:pt x="29" y="12"/>
                      <a:pt x="23" y="15"/>
                      <a:pt x="25" y="18"/>
                    </a:cubicBezTo>
                    <a:cubicBezTo>
                      <a:pt x="28" y="21"/>
                      <a:pt x="28" y="25"/>
                      <a:pt x="27" y="26"/>
                    </a:cubicBezTo>
                    <a:cubicBezTo>
                      <a:pt x="25" y="28"/>
                      <a:pt x="22" y="24"/>
                      <a:pt x="20" y="26"/>
                    </a:cubicBezTo>
                    <a:cubicBezTo>
                      <a:pt x="17" y="28"/>
                      <a:pt x="17" y="25"/>
                      <a:pt x="15" y="24"/>
                    </a:cubicBezTo>
                    <a:cubicBezTo>
                      <a:pt x="12" y="23"/>
                      <a:pt x="11" y="25"/>
                      <a:pt x="7" y="24"/>
                    </a:cubicBezTo>
                    <a:cubicBezTo>
                      <a:pt x="3" y="24"/>
                      <a:pt x="0" y="26"/>
                      <a:pt x="2" y="28"/>
                    </a:cubicBezTo>
                    <a:cubicBezTo>
                      <a:pt x="3" y="30"/>
                      <a:pt x="2" y="32"/>
                      <a:pt x="3" y="33"/>
                    </a:cubicBezTo>
                    <a:cubicBezTo>
                      <a:pt x="4" y="35"/>
                      <a:pt x="9" y="35"/>
                      <a:pt x="13" y="37"/>
                    </a:cubicBezTo>
                    <a:cubicBezTo>
                      <a:pt x="18" y="39"/>
                      <a:pt x="18" y="37"/>
                      <a:pt x="21" y="39"/>
                    </a:cubicBezTo>
                    <a:cubicBezTo>
                      <a:pt x="23" y="40"/>
                      <a:pt x="23" y="39"/>
                      <a:pt x="23" y="42"/>
                    </a:cubicBezTo>
                    <a:cubicBezTo>
                      <a:pt x="23" y="45"/>
                      <a:pt x="25" y="48"/>
                      <a:pt x="29" y="49"/>
                    </a:cubicBezTo>
                    <a:cubicBezTo>
                      <a:pt x="33" y="50"/>
                      <a:pt x="30" y="53"/>
                      <a:pt x="32" y="55"/>
                    </a:cubicBezTo>
                    <a:cubicBezTo>
                      <a:pt x="33" y="58"/>
                      <a:pt x="30" y="62"/>
                      <a:pt x="30" y="65"/>
                    </a:cubicBezTo>
                    <a:cubicBezTo>
                      <a:pt x="31" y="68"/>
                      <a:pt x="28" y="79"/>
                      <a:pt x="27" y="79"/>
                    </a:cubicBezTo>
                    <a:cubicBezTo>
                      <a:pt x="26" y="80"/>
                      <a:pt x="26" y="80"/>
                      <a:pt x="26" y="80"/>
                    </a:cubicBezTo>
                    <a:cubicBezTo>
                      <a:pt x="28" y="80"/>
                      <a:pt x="30" y="81"/>
                      <a:pt x="31" y="82"/>
                    </a:cubicBezTo>
                    <a:cubicBezTo>
                      <a:pt x="32" y="83"/>
                      <a:pt x="36" y="84"/>
                      <a:pt x="38" y="86"/>
                    </a:cubicBezTo>
                    <a:cubicBezTo>
                      <a:pt x="41" y="87"/>
                      <a:pt x="45" y="87"/>
                      <a:pt x="45" y="85"/>
                    </a:cubicBezTo>
                    <a:cubicBezTo>
                      <a:pt x="45" y="83"/>
                      <a:pt x="47" y="84"/>
                      <a:pt x="49" y="86"/>
                    </a:cubicBezTo>
                    <a:cubicBezTo>
                      <a:pt x="50" y="87"/>
                      <a:pt x="56" y="88"/>
                      <a:pt x="58" y="88"/>
                    </a:cubicBezTo>
                    <a:cubicBezTo>
                      <a:pt x="60" y="89"/>
                      <a:pt x="64" y="88"/>
                      <a:pt x="66" y="88"/>
                    </a:cubicBezTo>
                    <a:cubicBezTo>
                      <a:pt x="66" y="88"/>
                      <a:pt x="66" y="87"/>
                      <a:pt x="66" y="86"/>
                    </a:cubicBezTo>
                    <a:cubicBezTo>
                      <a:pt x="64" y="82"/>
                      <a:pt x="69" y="79"/>
                      <a:pt x="73" y="78"/>
                    </a:cubicBezTo>
                    <a:cubicBezTo>
                      <a:pt x="77" y="78"/>
                      <a:pt x="85" y="80"/>
                      <a:pt x="87" y="82"/>
                    </a:cubicBezTo>
                    <a:cubicBezTo>
                      <a:pt x="90" y="83"/>
                      <a:pt x="93" y="83"/>
                      <a:pt x="97" y="79"/>
                    </a:cubicBezTo>
                    <a:cubicBezTo>
                      <a:pt x="99" y="76"/>
                      <a:pt x="100" y="76"/>
                      <a:pt x="102" y="75"/>
                    </a:cubicBezTo>
                    <a:cubicBezTo>
                      <a:pt x="102" y="74"/>
                      <a:pt x="102" y="73"/>
                      <a:pt x="103" y="73"/>
                    </a:cubicBezTo>
                    <a:cubicBezTo>
                      <a:pt x="103" y="71"/>
                      <a:pt x="101" y="71"/>
                      <a:pt x="99" y="71"/>
                    </a:cubicBezTo>
                    <a:cubicBezTo>
                      <a:pt x="97" y="71"/>
                      <a:pt x="96" y="69"/>
                      <a:pt x="97" y="67"/>
                    </a:cubicBezTo>
                    <a:cubicBezTo>
                      <a:pt x="98" y="65"/>
                      <a:pt x="96" y="65"/>
                      <a:pt x="95" y="63"/>
                    </a:cubicBezTo>
                    <a:cubicBezTo>
                      <a:pt x="93" y="61"/>
                      <a:pt x="95" y="62"/>
                      <a:pt x="96" y="61"/>
                    </a:cubicBezTo>
                    <a:cubicBezTo>
                      <a:pt x="97" y="61"/>
                      <a:pt x="99" y="59"/>
                      <a:pt x="98" y="58"/>
                    </a:cubicBezTo>
                    <a:cubicBezTo>
                      <a:pt x="97" y="58"/>
                      <a:pt x="96" y="56"/>
                      <a:pt x="97" y="54"/>
                    </a:cubicBezTo>
                    <a:cubicBezTo>
                      <a:pt x="98" y="52"/>
                      <a:pt x="96" y="52"/>
                      <a:pt x="96" y="50"/>
                    </a:cubicBezTo>
                    <a:cubicBezTo>
                      <a:pt x="96" y="49"/>
                      <a:pt x="94" y="48"/>
                      <a:pt x="92" y="50"/>
                    </a:cubicBezTo>
                    <a:cubicBezTo>
                      <a:pt x="90" y="52"/>
                      <a:pt x="90" y="50"/>
                      <a:pt x="91" y="47"/>
                    </a:cubicBezTo>
                    <a:cubicBezTo>
                      <a:pt x="92" y="44"/>
                      <a:pt x="96" y="43"/>
                      <a:pt x="96" y="41"/>
                    </a:cubicBezTo>
                    <a:cubicBezTo>
                      <a:pt x="96" y="39"/>
                      <a:pt x="99" y="37"/>
                      <a:pt x="100" y="37"/>
                    </a:cubicBezTo>
                    <a:cubicBezTo>
                      <a:pt x="102" y="37"/>
                      <a:pt x="101" y="34"/>
                      <a:pt x="102" y="31"/>
                    </a:cubicBezTo>
                    <a:cubicBezTo>
                      <a:pt x="103" y="29"/>
                      <a:pt x="103" y="27"/>
                      <a:pt x="105" y="25"/>
                    </a:cubicBezTo>
                    <a:cubicBezTo>
                      <a:pt x="108" y="23"/>
                      <a:pt x="105" y="22"/>
                      <a:pt x="104" y="22"/>
                    </a:cubicBezTo>
                    <a:close/>
                    <a:moveTo>
                      <a:pt x="116" y="83"/>
                    </a:moveTo>
                    <a:cubicBezTo>
                      <a:pt x="115" y="82"/>
                      <a:pt x="115" y="85"/>
                      <a:pt x="111" y="87"/>
                    </a:cubicBezTo>
                    <a:cubicBezTo>
                      <a:pt x="108" y="89"/>
                      <a:pt x="111" y="98"/>
                      <a:pt x="115" y="98"/>
                    </a:cubicBezTo>
                    <a:cubicBezTo>
                      <a:pt x="118" y="97"/>
                      <a:pt x="118" y="83"/>
                      <a:pt x="116" y="8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3" name="Freeform 99">
                <a:extLst>
                  <a:ext uri="{FF2B5EF4-FFF2-40B4-BE49-F238E27FC236}">
                    <a16:creationId xmlns:a16="http://schemas.microsoft.com/office/drawing/2014/main" id="{B86E59F7-7640-43A1-9E5A-53EE5F5C92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39636" y="3816268"/>
                <a:ext cx="42661" cy="26349"/>
              </a:xfrm>
              <a:custGeom>
                <a:avLst/>
                <a:gdLst>
                  <a:gd name="T0" fmla="*/ 18 w 18"/>
                  <a:gd name="T1" fmla="*/ 4 h 11"/>
                  <a:gd name="T2" fmla="*/ 9 w 18"/>
                  <a:gd name="T3" fmla="*/ 2 h 11"/>
                  <a:gd name="T4" fmla="*/ 6 w 18"/>
                  <a:gd name="T5" fmla="*/ 0 h 11"/>
                  <a:gd name="T6" fmla="*/ 5 w 18"/>
                  <a:gd name="T7" fmla="*/ 0 h 11"/>
                  <a:gd name="T8" fmla="*/ 0 w 18"/>
                  <a:gd name="T9" fmla="*/ 5 h 11"/>
                  <a:gd name="T10" fmla="*/ 15 w 18"/>
                  <a:gd name="T11" fmla="*/ 11 h 11"/>
                  <a:gd name="T12" fmla="*/ 18 w 18"/>
                  <a:gd name="T13" fmla="*/ 9 h 11"/>
                  <a:gd name="T14" fmla="*/ 18 w 18"/>
                  <a:gd name="T15" fmla="*/ 4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" h="11">
                    <a:moveTo>
                      <a:pt x="18" y="4"/>
                    </a:moveTo>
                    <a:cubicBezTo>
                      <a:pt x="16" y="2"/>
                      <a:pt x="13" y="5"/>
                      <a:pt x="9" y="2"/>
                    </a:cubicBezTo>
                    <a:cubicBezTo>
                      <a:pt x="8" y="1"/>
                      <a:pt x="7" y="1"/>
                      <a:pt x="6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4" y="1"/>
                      <a:pt x="2" y="3"/>
                      <a:pt x="0" y="5"/>
                    </a:cubicBezTo>
                    <a:cubicBezTo>
                      <a:pt x="2" y="7"/>
                      <a:pt x="12" y="11"/>
                      <a:pt x="15" y="11"/>
                    </a:cubicBezTo>
                    <a:cubicBezTo>
                      <a:pt x="16" y="11"/>
                      <a:pt x="17" y="10"/>
                      <a:pt x="18" y="9"/>
                    </a:cubicBezTo>
                    <a:cubicBezTo>
                      <a:pt x="18" y="7"/>
                      <a:pt x="18" y="5"/>
                      <a:pt x="18" y="4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4" name="Freeform 100">
                <a:extLst>
                  <a:ext uri="{FF2B5EF4-FFF2-40B4-BE49-F238E27FC236}">
                    <a16:creationId xmlns:a16="http://schemas.microsoft.com/office/drawing/2014/main" id="{215652BC-2210-4F30-B8EB-7EBA1F66C1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3438" y="3782390"/>
                <a:ext cx="112925" cy="61482"/>
              </a:xfrm>
              <a:custGeom>
                <a:avLst/>
                <a:gdLst>
                  <a:gd name="T0" fmla="*/ 20 w 49"/>
                  <a:gd name="T1" fmla="*/ 25 h 27"/>
                  <a:gd name="T2" fmla="*/ 23 w 49"/>
                  <a:gd name="T3" fmla="*/ 20 h 27"/>
                  <a:gd name="T4" fmla="*/ 32 w 49"/>
                  <a:gd name="T5" fmla="*/ 16 h 27"/>
                  <a:gd name="T6" fmla="*/ 39 w 49"/>
                  <a:gd name="T7" fmla="*/ 14 h 27"/>
                  <a:gd name="T8" fmla="*/ 49 w 49"/>
                  <a:gd name="T9" fmla="*/ 10 h 27"/>
                  <a:gd name="T10" fmla="*/ 40 w 49"/>
                  <a:gd name="T11" fmla="*/ 4 h 27"/>
                  <a:gd name="T12" fmla="*/ 23 w 49"/>
                  <a:gd name="T13" fmla="*/ 4 h 27"/>
                  <a:gd name="T14" fmla="*/ 8 w 49"/>
                  <a:gd name="T15" fmla="*/ 4 h 27"/>
                  <a:gd name="T16" fmla="*/ 8 w 49"/>
                  <a:gd name="T17" fmla="*/ 5 h 27"/>
                  <a:gd name="T18" fmla="*/ 3 w 49"/>
                  <a:gd name="T19" fmla="*/ 9 h 27"/>
                  <a:gd name="T20" fmla="*/ 0 w 49"/>
                  <a:gd name="T21" fmla="*/ 15 h 27"/>
                  <a:gd name="T22" fmla="*/ 3 w 49"/>
                  <a:gd name="T23" fmla="*/ 17 h 27"/>
                  <a:gd name="T24" fmla="*/ 12 w 49"/>
                  <a:gd name="T25" fmla="*/ 19 h 27"/>
                  <a:gd name="T26" fmla="*/ 12 w 49"/>
                  <a:gd name="T27" fmla="*/ 24 h 27"/>
                  <a:gd name="T28" fmla="*/ 14 w 49"/>
                  <a:gd name="T29" fmla="*/ 24 h 27"/>
                  <a:gd name="T30" fmla="*/ 15 w 49"/>
                  <a:gd name="T31" fmla="*/ 27 h 27"/>
                  <a:gd name="T32" fmla="*/ 18 w 49"/>
                  <a:gd name="T33" fmla="*/ 27 h 27"/>
                  <a:gd name="T34" fmla="*/ 20 w 49"/>
                  <a:gd name="T35" fmla="*/ 25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9" h="27">
                    <a:moveTo>
                      <a:pt x="20" y="25"/>
                    </a:moveTo>
                    <a:cubicBezTo>
                      <a:pt x="21" y="24"/>
                      <a:pt x="18" y="20"/>
                      <a:pt x="23" y="20"/>
                    </a:cubicBezTo>
                    <a:cubicBezTo>
                      <a:pt x="27" y="19"/>
                      <a:pt x="31" y="19"/>
                      <a:pt x="32" y="16"/>
                    </a:cubicBezTo>
                    <a:cubicBezTo>
                      <a:pt x="32" y="13"/>
                      <a:pt x="38" y="14"/>
                      <a:pt x="39" y="14"/>
                    </a:cubicBezTo>
                    <a:cubicBezTo>
                      <a:pt x="41" y="14"/>
                      <a:pt x="45" y="10"/>
                      <a:pt x="49" y="10"/>
                    </a:cubicBezTo>
                    <a:cubicBezTo>
                      <a:pt x="49" y="6"/>
                      <a:pt x="43" y="8"/>
                      <a:pt x="40" y="4"/>
                    </a:cubicBezTo>
                    <a:cubicBezTo>
                      <a:pt x="36" y="0"/>
                      <a:pt x="27" y="2"/>
                      <a:pt x="23" y="4"/>
                    </a:cubicBezTo>
                    <a:cubicBezTo>
                      <a:pt x="18" y="5"/>
                      <a:pt x="13" y="2"/>
                      <a:pt x="8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6" y="6"/>
                      <a:pt x="5" y="8"/>
                      <a:pt x="3" y="9"/>
                    </a:cubicBezTo>
                    <a:cubicBezTo>
                      <a:pt x="0" y="12"/>
                      <a:pt x="1" y="14"/>
                      <a:pt x="0" y="15"/>
                    </a:cubicBezTo>
                    <a:cubicBezTo>
                      <a:pt x="1" y="16"/>
                      <a:pt x="2" y="16"/>
                      <a:pt x="3" y="17"/>
                    </a:cubicBezTo>
                    <a:cubicBezTo>
                      <a:pt x="7" y="20"/>
                      <a:pt x="10" y="17"/>
                      <a:pt x="12" y="19"/>
                    </a:cubicBezTo>
                    <a:cubicBezTo>
                      <a:pt x="12" y="20"/>
                      <a:pt x="12" y="22"/>
                      <a:pt x="12" y="24"/>
                    </a:cubicBezTo>
                    <a:cubicBezTo>
                      <a:pt x="12" y="24"/>
                      <a:pt x="13" y="23"/>
                      <a:pt x="14" y="24"/>
                    </a:cubicBezTo>
                    <a:cubicBezTo>
                      <a:pt x="15" y="25"/>
                      <a:pt x="15" y="26"/>
                      <a:pt x="15" y="27"/>
                    </a:cubicBezTo>
                    <a:cubicBezTo>
                      <a:pt x="18" y="27"/>
                      <a:pt x="18" y="27"/>
                      <a:pt x="18" y="27"/>
                    </a:cubicBezTo>
                    <a:cubicBezTo>
                      <a:pt x="18" y="27"/>
                      <a:pt x="20" y="25"/>
                      <a:pt x="20" y="2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5" name="Freeform 101">
                <a:extLst>
                  <a:ext uri="{FF2B5EF4-FFF2-40B4-BE49-F238E27FC236}">
                    <a16:creationId xmlns:a16="http://schemas.microsoft.com/office/drawing/2014/main" id="{6A890E7D-5E2C-48FA-B025-52C9B52225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37746" y="3454907"/>
                <a:ext cx="564627" cy="352578"/>
              </a:xfrm>
              <a:custGeom>
                <a:avLst/>
                <a:gdLst>
                  <a:gd name="T0" fmla="*/ 214 w 245"/>
                  <a:gd name="T1" fmla="*/ 143 h 153"/>
                  <a:gd name="T2" fmla="*/ 211 w 245"/>
                  <a:gd name="T3" fmla="*/ 129 h 153"/>
                  <a:gd name="T4" fmla="*/ 231 w 245"/>
                  <a:gd name="T5" fmla="*/ 124 h 153"/>
                  <a:gd name="T6" fmla="*/ 238 w 245"/>
                  <a:gd name="T7" fmla="*/ 115 h 153"/>
                  <a:gd name="T8" fmla="*/ 244 w 245"/>
                  <a:gd name="T9" fmla="*/ 100 h 153"/>
                  <a:gd name="T10" fmla="*/ 225 w 245"/>
                  <a:gd name="T11" fmla="*/ 98 h 153"/>
                  <a:gd name="T12" fmla="*/ 212 w 245"/>
                  <a:gd name="T13" fmla="*/ 115 h 153"/>
                  <a:gd name="T14" fmla="*/ 200 w 245"/>
                  <a:gd name="T15" fmla="*/ 121 h 153"/>
                  <a:gd name="T16" fmla="*/ 172 w 245"/>
                  <a:gd name="T17" fmla="*/ 121 h 153"/>
                  <a:gd name="T18" fmla="*/ 159 w 245"/>
                  <a:gd name="T19" fmla="*/ 102 h 153"/>
                  <a:gd name="T20" fmla="*/ 159 w 245"/>
                  <a:gd name="T21" fmla="*/ 64 h 153"/>
                  <a:gd name="T22" fmla="*/ 156 w 245"/>
                  <a:gd name="T23" fmla="*/ 60 h 153"/>
                  <a:gd name="T24" fmla="*/ 143 w 245"/>
                  <a:gd name="T25" fmla="*/ 51 h 153"/>
                  <a:gd name="T26" fmla="*/ 133 w 245"/>
                  <a:gd name="T27" fmla="*/ 34 h 153"/>
                  <a:gd name="T28" fmla="*/ 113 w 245"/>
                  <a:gd name="T29" fmla="*/ 33 h 153"/>
                  <a:gd name="T30" fmla="*/ 100 w 245"/>
                  <a:gd name="T31" fmla="*/ 23 h 153"/>
                  <a:gd name="T32" fmla="*/ 86 w 245"/>
                  <a:gd name="T33" fmla="*/ 9 h 153"/>
                  <a:gd name="T34" fmla="*/ 71 w 245"/>
                  <a:gd name="T35" fmla="*/ 12 h 153"/>
                  <a:gd name="T36" fmla="*/ 27 w 245"/>
                  <a:gd name="T37" fmla="*/ 5 h 153"/>
                  <a:gd name="T38" fmla="*/ 0 w 245"/>
                  <a:gd name="T39" fmla="*/ 3 h 153"/>
                  <a:gd name="T40" fmla="*/ 11 w 245"/>
                  <a:gd name="T41" fmla="*/ 25 h 153"/>
                  <a:gd name="T42" fmla="*/ 25 w 245"/>
                  <a:gd name="T43" fmla="*/ 44 h 153"/>
                  <a:gd name="T44" fmla="*/ 28 w 245"/>
                  <a:gd name="T45" fmla="*/ 52 h 153"/>
                  <a:gd name="T46" fmla="*/ 39 w 245"/>
                  <a:gd name="T47" fmla="*/ 67 h 153"/>
                  <a:gd name="T48" fmla="*/ 57 w 245"/>
                  <a:gd name="T49" fmla="*/ 86 h 153"/>
                  <a:gd name="T50" fmla="*/ 59 w 245"/>
                  <a:gd name="T51" fmla="*/ 77 h 153"/>
                  <a:gd name="T52" fmla="*/ 51 w 245"/>
                  <a:gd name="T53" fmla="*/ 67 h 153"/>
                  <a:gd name="T54" fmla="*/ 37 w 245"/>
                  <a:gd name="T55" fmla="*/ 43 h 153"/>
                  <a:gd name="T56" fmla="*/ 31 w 245"/>
                  <a:gd name="T57" fmla="*/ 30 h 153"/>
                  <a:gd name="T58" fmla="*/ 20 w 245"/>
                  <a:gd name="T59" fmla="*/ 21 h 153"/>
                  <a:gd name="T60" fmla="*/ 21 w 245"/>
                  <a:gd name="T61" fmla="*/ 8 h 153"/>
                  <a:gd name="T62" fmla="*/ 28 w 245"/>
                  <a:gd name="T63" fmla="*/ 12 h 153"/>
                  <a:gd name="T64" fmla="*/ 34 w 245"/>
                  <a:gd name="T65" fmla="*/ 23 h 153"/>
                  <a:gd name="T66" fmla="*/ 40 w 245"/>
                  <a:gd name="T67" fmla="*/ 34 h 153"/>
                  <a:gd name="T68" fmla="*/ 52 w 245"/>
                  <a:gd name="T69" fmla="*/ 43 h 153"/>
                  <a:gd name="T70" fmla="*/ 62 w 245"/>
                  <a:gd name="T71" fmla="*/ 53 h 153"/>
                  <a:gd name="T72" fmla="*/ 68 w 245"/>
                  <a:gd name="T73" fmla="*/ 64 h 153"/>
                  <a:gd name="T74" fmla="*/ 92 w 245"/>
                  <a:gd name="T75" fmla="*/ 89 h 153"/>
                  <a:gd name="T76" fmla="*/ 95 w 245"/>
                  <a:gd name="T77" fmla="*/ 104 h 153"/>
                  <a:gd name="T78" fmla="*/ 99 w 245"/>
                  <a:gd name="T79" fmla="*/ 117 h 153"/>
                  <a:gd name="T80" fmla="*/ 124 w 245"/>
                  <a:gd name="T81" fmla="*/ 129 h 153"/>
                  <a:gd name="T82" fmla="*/ 158 w 245"/>
                  <a:gd name="T83" fmla="*/ 145 h 153"/>
                  <a:gd name="T84" fmla="*/ 189 w 245"/>
                  <a:gd name="T85" fmla="*/ 146 h 153"/>
                  <a:gd name="T86" fmla="*/ 204 w 245"/>
                  <a:gd name="T87" fmla="*/ 144 h 1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45" h="153">
                    <a:moveTo>
                      <a:pt x="204" y="144"/>
                    </a:moveTo>
                    <a:cubicBezTo>
                      <a:pt x="205" y="144"/>
                      <a:pt x="214" y="145"/>
                      <a:pt x="214" y="143"/>
                    </a:cubicBezTo>
                    <a:cubicBezTo>
                      <a:pt x="215" y="140"/>
                      <a:pt x="208" y="135"/>
                      <a:pt x="209" y="135"/>
                    </a:cubicBezTo>
                    <a:cubicBezTo>
                      <a:pt x="209" y="134"/>
                      <a:pt x="210" y="129"/>
                      <a:pt x="211" y="129"/>
                    </a:cubicBezTo>
                    <a:cubicBezTo>
                      <a:pt x="213" y="129"/>
                      <a:pt x="225" y="129"/>
                      <a:pt x="226" y="129"/>
                    </a:cubicBezTo>
                    <a:cubicBezTo>
                      <a:pt x="227" y="129"/>
                      <a:pt x="229" y="124"/>
                      <a:pt x="231" y="124"/>
                    </a:cubicBezTo>
                    <a:cubicBezTo>
                      <a:pt x="232" y="124"/>
                      <a:pt x="233" y="125"/>
                      <a:pt x="235" y="126"/>
                    </a:cubicBezTo>
                    <a:cubicBezTo>
                      <a:pt x="237" y="124"/>
                      <a:pt x="238" y="119"/>
                      <a:pt x="238" y="115"/>
                    </a:cubicBezTo>
                    <a:cubicBezTo>
                      <a:pt x="239" y="110"/>
                      <a:pt x="237" y="109"/>
                      <a:pt x="240" y="106"/>
                    </a:cubicBezTo>
                    <a:cubicBezTo>
                      <a:pt x="242" y="104"/>
                      <a:pt x="245" y="103"/>
                      <a:pt x="244" y="100"/>
                    </a:cubicBezTo>
                    <a:cubicBezTo>
                      <a:pt x="243" y="96"/>
                      <a:pt x="240" y="100"/>
                      <a:pt x="237" y="98"/>
                    </a:cubicBezTo>
                    <a:cubicBezTo>
                      <a:pt x="234" y="96"/>
                      <a:pt x="232" y="97"/>
                      <a:pt x="225" y="98"/>
                    </a:cubicBezTo>
                    <a:cubicBezTo>
                      <a:pt x="217" y="99"/>
                      <a:pt x="214" y="102"/>
                      <a:pt x="214" y="108"/>
                    </a:cubicBezTo>
                    <a:cubicBezTo>
                      <a:pt x="215" y="113"/>
                      <a:pt x="212" y="110"/>
                      <a:pt x="212" y="115"/>
                    </a:cubicBezTo>
                    <a:cubicBezTo>
                      <a:pt x="212" y="119"/>
                      <a:pt x="206" y="120"/>
                      <a:pt x="207" y="122"/>
                    </a:cubicBezTo>
                    <a:cubicBezTo>
                      <a:pt x="207" y="125"/>
                      <a:pt x="202" y="122"/>
                      <a:pt x="200" y="121"/>
                    </a:cubicBezTo>
                    <a:cubicBezTo>
                      <a:pt x="199" y="120"/>
                      <a:pt x="184" y="125"/>
                      <a:pt x="182" y="125"/>
                    </a:cubicBezTo>
                    <a:cubicBezTo>
                      <a:pt x="179" y="126"/>
                      <a:pt x="176" y="121"/>
                      <a:pt x="172" y="121"/>
                    </a:cubicBezTo>
                    <a:cubicBezTo>
                      <a:pt x="169" y="121"/>
                      <a:pt x="168" y="117"/>
                      <a:pt x="168" y="113"/>
                    </a:cubicBezTo>
                    <a:cubicBezTo>
                      <a:pt x="168" y="109"/>
                      <a:pt x="162" y="106"/>
                      <a:pt x="159" y="102"/>
                    </a:cubicBezTo>
                    <a:cubicBezTo>
                      <a:pt x="157" y="99"/>
                      <a:pt x="156" y="92"/>
                      <a:pt x="156" y="87"/>
                    </a:cubicBezTo>
                    <a:cubicBezTo>
                      <a:pt x="156" y="82"/>
                      <a:pt x="156" y="74"/>
                      <a:pt x="159" y="64"/>
                    </a:cubicBezTo>
                    <a:cubicBezTo>
                      <a:pt x="159" y="63"/>
                      <a:pt x="160" y="62"/>
                      <a:pt x="160" y="61"/>
                    </a:cubicBezTo>
                    <a:cubicBezTo>
                      <a:pt x="158" y="60"/>
                      <a:pt x="157" y="60"/>
                      <a:pt x="156" y="60"/>
                    </a:cubicBezTo>
                    <a:cubicBezTo>
                      <a:pt x="153" y="60"/>
                      <a:pt x="146" y="56"/>
                      <a:pt x="145" y="56"/>
                    </a:cubicBezTo>
                    <a:cubicBezTo>
                      <a:pt x="144" y="56"/>
                      <a:pt x="144" y="52"/>
                      <a:pt x="143" y="51"/>
                    </a:cubicBezTo>
                    <a:cubicBezTo>
                      <a:pt x="142" y="49"/>
                      <a:pt x="142" y="46"/>
                      <a:pt x="141" y="45"/>
                    </a:cubicBezTo>
                    <a:cubicBezTo>
                      <a:pt x="139" y="43"/>
                      <a:pt x="135" y="39"/>
                      <a:pt x="133" y="34"/>
                    </a:cubicBezTo>
                    <a:cubicBezTo>
                      <a:pt x="132" y="28"/>
                      <a:pt x="122" y="26"/>
                      <a:pt x="119" y="26"/>
                    </a:cubicBezTo>
                    <a:cubicBezTo>
                      <a:pt x="116" y="25"/>
                      <a:pt x="114" y="33"/>
                      <a:pt x="113" y="33"/>
                    </a:cubicBezTo>
                    <a:cubicBezTo>
                      <a:pt x="112" y="33"/>
                      <a:pt x="105" y="29"/>
                      <a:pt x="103" y="28"/>
                    </a:cubicBezTo>
                    <a:cubicBezTo>
                      <a:pt x="101" y="27"/>
                      <a:pt x="100" y="25"/>
                      <a:pt x="100" y="23"/>
                    </a:cubicBezTo>
                    <a:cubicBezTo>
                      <a:pt x="100" y="21"/>
                      <a:pt x="96" y="17"/>
                      <a:pt x="95" y="17"/>
                    </a:cubicBezTo>
                    <a:cubicBezTo>
                      <a:pt x="94" y="16"/>
                      <a:pt x="86" y="9"/>
                      <a:pt x="86" y="9"/>
                    </a:cubicBezTo>
                    <a:cubicBezTo>
                      <a:pt x="74" y="9"/>
                      <a:pt x="74" y="9"/>
                      <a:pt x="74" y="9"/>
                    </a:cubicBezTo>
                    <a:cubicBezTo>
                      <a:pt x="71" y="12"/>
                      <a:pt x="71" y="12"/>
                      <a:pt x="71" y="12"/>
                    </a:cubicBezTo>
                    <a:cubicBezTo>
                      <a:pt x="48" y="12"/>
                      <a:pt x="48" y="12"/>
                      <a:pt x="48" y="12"/>
                    </a:cubicBezTo>
                    <a:cubicBezTo>
                      <a:pt x="48" y="12"/>
                      <a:pt x="31" y="6"/>
                      <a:pt x="27" y="5"/>
                    </a:cubicBezTo>
                    <a:cubicBezTo>
                      <a:pt x="24" y="4"/>
                      <a:pt x="18" y="0"/>
                      <a:pt x="18" y="0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1" y="5"/>
                      <a:pt x="2" y="7"/>
                      <a:pt x="4" y="9"/>
                    </a:cubicBezTo>
                    <a:cubicBezTo>
                      <a:pt x="8" y="14"/>
                      <a:pt x="11" y="22"/>
                      <a:pt x="11" y="25"/>
                    </a:cubicBezTo>
                    <a:cubicBezTo>
                      <a:pt x="11" y="28"/>
                      <a:pt x="16" y="30"/>
                      <a:pt x="21" y="33"/>
                    </a:cubicBezTo>
                    <a:cubicBezTo>
                      <a:pt x="25" y="36"/>
                      <a:pt x="25" y="42"/>
                      <a:pt x="25" y="44"/>
                    </a:cubicBezTo>
                    <a:cubicBezTo>
                      <a:pt x="24" y="45"/>
                      <a:pt x="19" y="43"/>
                      <a:pt x="18" y="44"/>
                    </a:cubicBezTo>
                    <a:cubicBezTo>
                      <a:pt x="18" y="46"/>
                      <a:pt x="26" y="52"/>
                      <a:pt x="28" y="52"/>
                    </a:cubicBezTo>
                    <a:cubicBezTo>
                      <a:pt x="31" y="51"/>
                      <a:pt x="33" y="53"/>
                      <a:pt x="37" y="57"/>
                    </a:cubicBezTo>
                    <a:cubicBezTo>
                      <a:pt x="42" y="61"/>
                      <a:pt x="41" y="66"/>
                      <a:pt x="39" y="67"/>
                    </a:cubicBezTo>
                    <a:cubicBezTo>
                      <a:pt x="38" y="69"/>
                      <a:pt x="43" y="72"/>
                      <a:pt x="49" y="75"/>
                    </a:cubicBezTo>
                    <a:cubicBezTo>
                      <a:pt x="54" y="79"/>
                      <a:pt x="57" y="84"/>
                      <a:pt x="57" y="86"/>
                    </a:cubicBezTo>
                    <a:cubicBezTo>
                      <a:pt x="58" y="88"/>
                      <a:pt x="60" y="86"/>
                      <a:pt x="61" y="83"/>
                    </a:cubicBezTo>
                    <a:cubicBezTo>
                      <a:pt x="62" y="80"/>
                      <a:pt x="59" y="80"/>
                      <a:pt x="59" y="77"/>
                    </a:cubicBezTo>
                    <a:cubicBezTo>
                      <a:pt x="59" y="74"/>
                      <a:pt x="55" y="74"/>
                      <a:pt x="53" y="74"/>
                    </a:cubicBezTo>
                    <a:cubicBezTo>
                      <a:pt x="51" y="74"/>
                      <a:pt x="53" y="69"/>
                      <a:pt x="51" y="67"/>
                    </a:cubicBezTo>
                    <a:cubicBezTo>
                      <a:pt x="49" y="65"/>
                      <a:pt x="47" y="59"/>
                      <a:pt x="46" y="55"/>
                    </a:cubicBezTo>
                    <a:cubicBezTo>
                      <a:pt x="44" y="51"/>
                      <a:pt x="39" y="48"/>
                      <a:pt x="37" y="43"/>
                    </a:cubicBezTo>
                    <a:cubicBezTo>
                      <a:pt x="34" y="39"/>
                      <a:pt x="32" y="36"/>
                      <a:pt x="30" y="34"/>
                    </a:cubicBezTo>
                    <a:cubicBezTo>
                      <a:pt x="29" y="33"/>
                      <a:pt x="32" y="32"/>
                      <a:pt x="31" y="30"/>
                    </a:cubicBezTo>
                    <a:cubicBezTo>
                      <a:pt x="30" y="29"/>
                      <a:pt x="27" y="29"/>
                      <a:pt x="25" y="28"/>
                    </a:cubicBezTo>
                    <a:cubicBezTo>
                      <a:pt x="22" y="26"/>
                      <a:pt x="20" y="24"/>
                      <a:pt x="20" y="21"/>
                    </a:cubicBezTo>
                    <a:cubicBezTo>
                      <a:pt x="20" y="18"/>
                      <a:pt x="19" y="12"/>
                      <a:pt x="18" y="9"/>
                    </a:cubicBezTo>
                    <a:cubicBezTo>
                      <a:pt x="17" y="7"/>
                      <a:pt x="20" y="7"/>
                      <a:pt x="21" y="8"/>
                    </a:cubicBezTo>
                    <a:cubicBezTo>
                      <a:pt x="21" y="10"/>
                      <a:pt x="22" y="11"/>
                      <a:pt x="23" y="10"/>
                    </a:cubicBezTo>
                    <a:cubicBezTo>
                      <a:pt x="25" y="9"/>
                      <a:pt x="27" y="10"/>
                      <a:pt x="28" y="12"/>
                    </a:cubicBezTo>
                    <a:cubicBezTo>
                      <a:pt x="29" y="14"/>
                      <a:pt x="32" y="12"/>
                      <a:pt x="33" y="13"/>
                    </a:cubicBezTo>
                    <a:cubicBezTo>
                      <a:pt x="34" y="14"/>
                      <a:pt x="30" y="15"/>
                      <a:pt x="34" y="23"/>
                    </a:cubicBezTo>
                    <a:cubicBezTo>
                      <a:pt x="39" y="31"/>
                      <a:pt x="36" y="26"/>
                      <a:pt x="36" y="32"/>
                    </a:cubicBezTo>
                    <a:cubicBezTo>
                      <a:pt x="36" y="38"/>
                      <a:pt x="39" y="35"/>
                      <a:pt x="40" y="34"/>
                    </a:cubicBezTo>
                    <a:cubicBezTo>
                      <a:pt x="41" y="33"/>
                      <a:pt x="43" y="36"/>
                      <a:pt x="45" y="39"/>
                    </a:cubicBezTo>
                    <a:cubicBezTo>
                      <a:pt x="48" y="42"/>
                      <a:pt x="52" y="42"/>
                      <a:pt x="52" y="43"/>
                    </a:cubicBezTo>
                    <a:cubicBezTo>
                      <a:pt x="52" y="45"/>
                      <a:pt x="53" y="48"/>
                      <a:pt x="56" y="49"/>
                    </a:cubicBezTo>
                    <a:cubicBezTo>
                      <a:pt x="59" y="49"/>
                      <a:pt x="60" y="53"/>
                      <a:pt x="62" y="53"/>
                    </a:cubicBezTo>
                    <a:cubicBezTo>
                      <a:pt x="64" y="53"/>
                      <a:pt x="64" y="56"/>
                      <a:pt x="63" y="58"/>
                    </a:cubicBezTo>
                    <a:cubicBezTo>
                      <a:pt x="62" y="60"/>
                      <a:pt x="63" y="62"/>
                      <a:pt x="68" y="64"/>
                    </a:cubicBezTo>
                    <a:cubicBezTo>
                      <a:pt x="73" y="66"/>
                      <a:pt x="70" y="66"/>
                      <a:pt x="74" y="70"/>
                    </a:cubicBezTo>
                    <a:cubicBezTo>
                      <a:pt x="78" y="74"/>
                      <a:pt x="89" y="86"/>
                      <a:pt x="92" y="89"/>
                    </a:cubicBezTo>
                    <a:cubicBezTo>
                      <a:pt x="94" y="93"/>
                      <a:pt x="95" y="96"/>
                      <a:pt x="96" y="98"/>
                    </a:cubicBezTo>
                    <a:cubicBezTo>
                      <a:pt x="97" y="101"/>
                      <a:pt x="94" y="102"/>
                      <a:pt x="95" y="104"/>
                    </a:cubicBezTo>
                    <a:cubicBezTo>
                      <a:pt x="97" y="106"/>
                      <a:pt x="93" y="105"/>
                      <a:pt x="93" y="107"/>
                    </a:cubicBezTo>
                    <a:cubicBezTo>
                      <a:pt x="93" y="108"/>
                      <a:pt x="95" y="117"/>
                      <a:pt x="99" y="117"/>
                    </a:cubicBezTo>
                    <a:cubicBezTo>
                      <a:pt x="103" y="117"/>
                      <a:pt x="108" y="122"/>
                      <a:pt x="111" y="125"/>
                    </a:cubicBezTo>
                    <a:cubicBezTo>
                      <a:pt x="114" y="127"/>
                      <a:pt x="119" y="127"/>
                      <a:pt x="124" y="129"/>
                    </a:cubicBezTo>
                    <a:cubicBezTo>
                      <a:pt x="128" y="130"/>
                      <a:pt x="133" y="135"/>
                      <a:pt x="140" y="137"/>
                    </a:cubicBezTo>
                    <a:cubicBezTo>
                      <a:pt x="146" y="139"/>
                      <a:pt x="153" y="142"/>
                      <a:pt x="158" y="145"/>
                    </a:cubicBezTo>
                    <a:cubicBezTo>
                      <a:pt x="162" y="147"/>
                      <a:pt x="168" y="146"/>
                      <a:pt x="174" y="144"/>
                    </a:cubicBezTo>
                    <a:cubicBezTo>
                      <a:pt x="180" y="141"/>
                      <a:pt x="185" y="144"/>
                      <a:pt x="189" y="146"/>
                    </a:cubicBezTo>
                    <a:cubicBezTo>
                      <a:pt x="190" y="146"/>
                      <a:pt x="194" y="149"/>
                      <a:pt x="197" y="153"/>
                    </a:cubicBezTo>
                    <a:cubicBezTo>
                      <a:pt x="200" y="148"/>
                      <a:pt x="203" y="144"/>
                      <a:pt x="204" y="144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6" name="Freeform 102">
                <a:extLst>
                  <a:ext uri="{FF2B5EF4-FFF2-40B4-BE49-F238E27FC236}">
                    <a16:creationId xmlns:a16="http://schemas.microsoft.com/office/drawing/2014/main" id="{5BC9F8B4-4598-453D-BFB6-841AEE836E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91957" y="3752277"/>
                <a:ext cx="80302" cy="76538"/>
              </a:xfrm>
              <a:custGeom>
                <a:avLst/>
                <a:gdLst>
                  <a:gd name="T0" fmla="*/ 30 w 35"/>
                  <a:gd name="T1" fmla="*/ 22 h 33"/>
                  <a:gd name="T2" fmla="*/ 35 w 35"/>
                  <a:gd name="T3" fmla="*/ 18 h 33"/>
                  <a:gd name="T4" fmla="*/ 31 w 35"/>
                  <a:gd name="T5" fmla="*/ 16 h 33"/>
                  <a:gd name="T6" fmla="*/ 27 w 35"/>
                  <a:gd name="T7" fmla="*/ 16 h 33"/>
                  <a:gd name="T8" fmla="*/ 28 w 35"/>
                  <a:gd name="T9" fmla="*/ 0 h 33"/>
                  <a:gd name="T10" fmla="*/ 14 w 35"/>
                  <a:gd name="T11" fmla="*/ 0 h 33"/>
                  <a:gd name="T12" fmla="*/ 12 w 35"/>
                  <a:gd name="T13" fmla="*/ 6 h 33"/>
                  <a:gd name="T14" fmla="*/ 17 w 35"/>
                  <a:gd name="T15" fmla="*/ 14 h 33"/>
                  <a:gd name="T16" fmla="*/ 7 w 35"/>
                  <a:gd name="T17" fmla="*/ 15 h 33"/>
                  <a:gd name="T18" fmla="*/ 0 w 35"/>
                  <a:gd name="T19" fmla="*/ 24 h 33"/>
                  <a:gd name="T20" fmla="*/ 9 w 35"/>
                  <a:gd name="T21" fmla="*/ 31 h 33"/>
                  <a:gd name="T22" fmla="*/ 20 w 35"/>
                  <a:gd name="T23" fmla="*/ 33 h 33"/>
                  <a:gd name="T24" fmla="*/ 21 w 35"/>
                  <a:gd name="T25" fmla="*/ 33 h 33"/>
                  <a:gd name="T26" fmla="*/ 26 w 35"/>
                  <a:gd name="T27" fmla="*/ 28 h 33"/>
                  <a:gd name="T28" fmla="*/ 30 w 35"/>
                  <a:gd name="T29" fmla="*/ 22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5" h="33">
                    <a:moveTo>
                      <a:pt x="30" y="22"/>
                    </a:moveTo>
                    <a:cubicBezTo>
                      <a:pt x="32" y="21"/>
                      <a:pt x="33" y="19"/>
                      <a:pt x="35" y="18"/>
                    </a:cubicBezTo>
                    <a:cubicBezTo>
                      <a:pt x="32" y="19"/>
                      <a:pt x="31" y="18"/>
                      <a:pt x="31" y="16"/>
                    </a:cubicBezTo>
                    <a:cubicBezTo>
                      <a:pt x="27" y="16"/>
                      <a:pt x="27" y="16"/>
                      <a:pt x="27" y="16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24" y="0"/>
                      <a:pt x="15" y="0"/>
                      <a:pt x="14" y="0"/>
                    </a:cubicBezTo>
                    <a:cubicBezTo>
                      <a:pt x="13" y="0"/>
                      <a:pt x="12" y="5"/>
                      <a:pt x="12" y="6"/>
                    </a:cubicBezTo>
                    <a:cubicBezTo>
                      <a:pt x="11" y="6"/>
                      <a:pt x="18" y="11"/>
                      <a:pt x="17" y="14"/>
                    </a:cubicBezTo>
                    <a:cubicBezTo>
                      <a:pt x="17" y="16"/>
                      <a:pt x="8" y="15"/>
                      <a:pt x="7" y="15"/>
                    </a:cubicBezTo>
                    <a:cubicBezTo>
                      <a:pt x="6" y="15"/>
                      <a:pt x="3" y="19"/>
                      <a:pt x="0" y="24"/>
                    </a:cubicBezTo>
                    <a:cubicBezTo>
                      <a:pt x="4" y="27"/>
                      <a:pt x="7" y="30"/>
                      <a:pt x="9" y="31"/>
                    </a:cubicBezTo>
                    <a:cubicBezTo>
                      <a:pt x="12" y="33"/>
                      <a:pt x="18" y="31"/>
                      <a:pt x="20" y="33"/>
                    </a:cubicBezTo>
                    <a:cubicBezTo>
                      <a:pt x="20" y="33"/>
                      <a:pt x="20" y="33"/>
                      <a:pt x="21" y="33"/>
                    </a:cubicBezTo>
                    <a:cubicBezTo>
                      <a:pt x="23" y="31"/>
                      <a:pt x="25" y="29"/>
                      <a:pt x="26" y="28"/>
                    </a:cubicBezTo>
                    <a:cubicBezTo>
                      <a:pt x="28" y="28"/>
                      <a:pt x="27" y="25"/>
                      <a:pt x="30" y="2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7" name="Freeform 103">
                <a:extLst>
                  <a:ext uri="{FF2B5EF4-FFF2-40B4-BE49-F238E27FC236}">
                    <a16:creationId xmlns:a16="http://schemas.microsoft.com/office/drawing/2014/main" id="{40D8D7D1-EC17-411A-A823-EE94E47D8E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3438" y="3740984"/>
                <a:ext cx="26349" cy="47680"/>
              </a:xfrm>
              <a:custGeom>
                <a:avLst/>
                <a:gdLst>
                  <a:gd name="T0" fmla="*/ 2 w 11"/>
                  <a:gd name="T1" fmla="*/ 5 h 21"/>
                  <a:gd name="T2" fmla="*/ 1 w 11"/>
                  <a:gd name="T3" fmla="*/ 5 h 21"/>
                  <a:gd name="T4" fmla="*/ 0 w 11"/>
                  <a:gd name="T5" fmla="*/ 21 h 21"/>
                  <a:gd name="T6" fmla="*/ 4 w 11"/>
                  <a:gd name="T7" fmla="*/ 21 h 21"/>
                  <a:gd name="T8" fmla="*/ 7 w 11"/>
                  <a:gd name="T9" fmla="*/ 17 h 21"/>
                  <a:gd name="T10" fmla="*/ 9 w 11"/>
                  <a:gd name="T11" fmla="*/ 3 h 21"/>
                  <a:gd name="T12" fmla="*/ 11 w 11"/>
                  <a:gd name="T13" fmla="*/ 2 h 21"/>
                  <a:gd name="T14" fmla="*/ 7 w 11"/>
                  <a:gd name="T15" fmla="*/ 0 h 21"/>
                  <a:gd name="T16" fmla="*/ 2 w 11"/>
                  <a:gd name="T17" fmla="*/ 5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" h="21">
                    <a:moveTo>
                      <a:pt x="2" y="5"/>
                    </a:moveTo>
                    <a:cubicBezTo>
                      <a:pt x="2" y="5"/>
                      <a:pt x="1" y="5"/>
                      <a:pt x="1" y="5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4" y="21"/>
                      <a:pt x="4" y="21"/>
                      <a:pt x="4" y="21"/>
                    </a:cubicBezTo>
                    <a:cubicBezTo>
                      <a:pt x="5" y="19"/>
                      <a:pt x="5" y="18"/>
                      <a:pt x="7" y="17"/>
                    </a:cubicBezTo>
                    <a:cubicBezTo>
                      <a:pt x="10" y="14"/>
                      <a:pt x="5" y="4"/>
                      <a:pt x="9" y="3"/>
                    </a:cubicBezTo>
                    <a:cubicBezTo>
                      <a:pt x="10" y="3"/>
                      <a:pt x="10" y="3"/>
                      <a:pt x="11" y="2"/>
                    </a:cubicBezTo>
                    <a:cubicBezTo>
                      <a:pt x="9" y="1"/>
                      <a:pt x="8" y="0"/>
                      <a:pt x="7" y="0"/>
                    </a:cubicBezTo>
                    <a:cubicBezTo>
                      <a:pt x="5" y="0"/>
                      <a:pt x="3" y="5"/>
                      <a:pt x="2" y="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8" name="Freeform 104">
                <a:extLst>
                  <a:ext uri="{FF2B5EF4-FFF2-40B4-BE49-F238E27FC236}">
                    <a16:creationId xmlns:a16="http://schemas.microsoft.com/office/drawing/2014/main" id="{E0540DB1-B9F3-439D-B6C2-2DC8722536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5714" y="3703343"/>
                <a:ext cx="55208" cy="46425"/>
              </a:xfrm>
              <a:custGeom>
                <a:avLst/>
                <a:gdLst>
                  <a:gd name="T0" fmla="*/ 12 w 24"/>
                  <a:gd name="T1" fmla="*/ 2 h 20"/>
                  <a:gd name="T2" fmla="*/ 17 w 24"/>
                  <a:gd name="T3" fmla="*/ 13 h 20"/>
                  <a:gd name="T4" fmla="*/ 1 w 24"/>
                  <a:gd name="T5" fmla="*/ 16 h 20"/>
                  <a:gd name="T6" fmla="*/ 12 w 24"/>
                  <a:gd name="T7" fmla="*/ 19 h 20"/>
                  <a:gd name="T8" fmla="*/ 23 w 24"/>
                  <a:gd name="T9" fmla="*/ 20 h 20"/>
                  <a:gd name="T10" fmla="*/ 24 w 24"/>
                  <a:gd name="T11" fmla="*/ 5 h 20"/>
                  <a:gd name="T12" fmla="*/ 12 w 24"/>
                  <a:gd name="T13" fmla="*/ 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" h="20">
                    <a:moveTo>
                      <a:pt x="12" y="2"/>
                    </a:moveTo>
                    <a:cubicBezTo>
                      <a:pt x="8" y="5"/>
                      <a:pt x="17" y="10"/>
                      <a:pt x="17" y="13"/>
                    </a:cubicBezTo>
                    <a:cubicBezTo>
                      <a:pt x="17" y="17"/>
                      <a:pt x="3" y="13"/>
                      <a:pt x="1" y="16"/>
                    </a:cubicBezTo>
                    <a:cubicBezTo>
                      <a:pt x="0" y="18"/>
                      <a:pt x="6" y="20"/>
                      <a:pt x="12" y="19"/>
                    </a:cubicBezTo>
                    <a:cubicBezTo>
                      <a:pt x="16" y="17"/>
                      <a:pt x="20" y="19"/>
                      <a:pt x="23" y="20"/>
                    </a:cubicBezTo>
                    <a:cubicBezTo>
                      <a:pt x="23" y="15"/>
                      <a:pt x="24" y="9"/>
                      <a:pt x="24" y="5"/>
                    </a:cubicBezTo>
                    <a:cubicBezTo>
                      <a:pt x="20" y="3"/>
                      <a:pt x="14" y="0"/>
                      <a:pt x="12" y="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9" name="Freeform 105">
                <a:extLst>
                  <a:ext uri="{FF2B5EF4-FFF2-40B4-BE49-F238E27FC236}">
                    <a16:creationId xmlns:a16="http://schemas.microsoft.com/office/drawing/2014/main" id="{4A9F74F2-B7E6-4DEC-92BA-2679E40D6C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79667" y="3710871"/>
                <a:ext cx="61482" cy="43915"/>
              </a:xfrm>
              <a:custGeom>
                <a:avLst/>
                <a:gdLst>
                  <a:gd name="T0" fmla="*/ 10 w 27"/>
                  <a:gd name="T1" fmla="*/ 14 h 19"/>
                  <a:gd name="T2" fmla="*/ 27 w 27"/>
                  <a:gd name="T3" fmla="*/ 11 h 19"/>
                  <a:gd name="T4" fmla="*/ 6 w 27"/>
                  <a:gd name="T5" fmla="*/ 2 h 19"/>
                  <a:gd name="T6" fmla="*/ 1 w 27"/>
                  <a:gd name="T7" fmla="*/ 2 h 19"/>
                  <a:gd name="T8" fmla="*/ 0 w 27"/>
                  <a:gd name="T9" fmla="*/ 17 h 19"/>
                  <a:gd name="T10" fmla="*/ 0 w 27"/>
                  <a:gd name="T11" fmla="*/ 17 h 19"/>
                  <a:gd name="T12" fmla="*/ 10 w 27"/>
                  <a:gd name="T13" fmla="*/ 14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7" h="19">
                    <a:moveTo>
                      <a:pt x="10" y="14"/>
                    </a:moveTo>
                    <a:cubicBezTo>
                      <a:pt x="17" y="12"/>
                      <a:pt x="27" y="16"/>
                      <a:pt x="27" y="11"/>
                    </a:cubicBezTo>
                    <a:cubicBezTo>
                      <a:pt x="27" y="6"/>
                      <a:pt x="10" y="0"/>
                      <a:pt x="6" y="2"/>
                    </a:cubicBezTo>
                    <a:cubicBezTo>
                      <a:pt x="4" y="2"/>
                      <a:pt x="3" y="2"/>
                      <a:pt x="1" y="2"/>
                    </a:cubicBezTo>
                    <a:cubicBezTo>
                      <a:pt x="1" y="6"/>
                      <a:pt x="0" y="12"/>
                      <a:pt x="0" y="17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3" y="19"/>
                      <a:pt x="4" y="16"/>
                      <a:pt x="10" y="14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0" name="Freeform 106">
                <a:extLst>
                  <a:ext uri="{FF2B5EF4-FFF2-40B4-BE49-F238E27FC236}">
                    <a16:creationId xmlns:a16="http://schemas.microsoft.com/office/drawing/2014/main" id="{63DD974E-D568-4065-81AF-94C0F61024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88571" y="3804975"/>
                <a:ext cx="77793" cy="81557"/>
              </a:xfrm>
              <a:custGeom>
                <a:avLst/>
                <a:gdLst>
                  <a:gd name="T0" fmla="*/ 18 w 34"/>
                  <a:gd name="T1" fmla="*/ 33 h 35"/>
                  <a:gd name="T2" fmla="*/ 26 w 34"/>
                  <a:gd name="T3" fmla="*/ 35 h 35"/>
                  <a:gd name="T4" fmla="*/ 30 w 34"/>
                  <a:gd name="T5" fmla="*/ 35 h 35"/>
                  <a:gd name="T6" fmla="*/ 29 w 34"/>
                  <a:gd name="T7" fmla="*/ 34 h 35"/>
                  <a:gd name="T8" fmla="*/ 31 w 34"/>
                  <a:gd name="T9" fmla="*/ 23 h 35"/>
                  <a:gd name="T10" fmla="*/ 32 w 34"/>
                  <a:gd name="T11" fmla="*/ 9 h 35"/>
                  <a:gd name="T12" fmla="*/ 34 w 34"/>
                  <a:gd name="T13" fmla="*/ 1 h 35"/>
                  <a:gd name="T14" fmla="*/ 34 w 34"/>
                  <a:gd name="T15" fmla="*/ 0 h 35"/>
                  <a:gd name="T16" fmla="*/ 24 w 34"/>
                  <a:gd name="T17" fmla="*/ 4 h 35"/>
                  <a:gd name="T18" fmla="*/ 17 w 34"/>
                  <a:gd name="T19" fmla="*/ 6 h 35"/>
                  <a:gd name="T20" fmla="*/ 8 w 34"/>
                  <a:gd name="T21" fmla="*/ 10 h 35"/>
                  <a:gd name="T22" fmla="*/ 5 w 34"/>
                  <a:gd name="T23" fmla="*/ 15 h 35"/>
                  <a:gd name="T24" fmla="*/ 3 w 34"/>
                  <a:gd name="T25" fmla="*/ 17 h 35"/>
                  <a:gd name="T26" fmla="*/ 0 w 34"/>
                  <a:gd name="T27" fmla="*/ 17 h 35"/>
                  <a:gd name="T28" fmla="*/ 1 w 34"/>
                  <a:gd name="T29" fmla="*/ 21 h 35"/>
                  <a:gd name="T30" fmla="*/ 11 w 34"/>
                  <a:gd name="T31" fmla="*/ 30 h 35"/>
                  <a:gd name="T32" fmla="*/ 14 w 34"/>
                  <a:gd name="T33" fmla="*/ 33 h 35"/>
                  <a:gd name="T34" fmla="*/ 18 w 34"/>
                  <a:gd name="T35" fmla="*/ 33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4" h="35">
                    <a:moveTo>
                      <a:pt x="18" y="33"/>
                    </a:moveTo>
                    <a:cubicBezTo>
                      <a:pt x="20" y="34"/>
                      <a:pt x="24" y="33"/>
                      <a:pt x="26" y="35"/>
                    </a:cubicBezTo>
                    <a:cubicBezTo>
                      <a:pt x="27" y="35"/>
                      <a:pt x="28" y="35"/>
                      <a:pt x="30" y="35"/>
                    </a:cubicBezTo>
                    <a:cubicBezTo>
                      <a:pt x="30" y="35"/>
                      <a:pt x="29" y="34"/>
                      <a:pt x="29" y="34"/>
                    </a:cubicBezTo>
                    <a:cubicBezTo>
                      <a:pt x="28" y="31"/>
                      <a:pt x="30" y="27"/>
                      <a:pt x="31" y="23"/>
                    </a:cubicBezTo>
                    <a:cubicBezTo>
                      <a:pt x="32" y="20"/>
                      <a:pt x="30" y="12"/>
                      <a:pt x="32" y="9"/>
                    </a:cubicBezTo>
                    <a:cubicBezTo>
                      <a:pt x="34" y="7"/>
                      <a:pt x="33" y="6"/>
                      <a:pt x="34" y="1"/>
                    </a:cubicBezTo>
                    <a:cubicBezTo>
                      <a:pt x="34" y="1"/>
                      <a:pt x="34" y="1"/>
                      <a:pt x="34" y="0"/>
                    </a:cubicBezTo>
                    <a:cubicBezTo>
                      <a:pt x="30" y="0"/>
                      <a:pt x="26" y="4"/>
                      <a:pt x="24" y="4"/>
                    </a:cubicBezTo>
                    <a:cubicBezTo>
                      <a:pt x="23" y="4"/>
                      <a:pt x="17" y="3"/>
                      <a:pt x="17" y="6"/>
                    </a:cubicBezTo>
                    <a:cubicBezTo>
                      <a:pt x="16" y="9"/>
                      <a:pt x="12" y="9"/>
                      <a:pt x="8" y="10"/>
                    </a:cubicBezTo>
                    <a:cubicBezTo>
                      <a:pt x="3" y="10"/>
                      <a:pt x="6" y="14"/>
                      <a:pt x="5" y="15"/>
                    </a:cubicBezTo>
                    <a:cubicBezTo>
                      <a:pt x="5" y="15"/>
                      <a:pt x="3" y="17"/>
                      <a:pt x="3" y="17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19"/>
                      <a:pt x="0" y="20"/>
                      <a:pt x="1" y="21"/>
                    </a:cubicBezTo>
                    <a:cubicBezTo>
                      <a:pt x="4" y="22"/>
                      <a:pt x="8" y="28"/>
                      <a:pt x="11" y="30"/>
                    </a:cubicBezTo>
                    <a:cubicBezTo>
                      <a:pt x="12" y="31"/>
                      <a:pt x="13" y="32"/>
                      <a:pt x="14" y="33"/>
                    </a:cubicBezTo>
                    <a:cubicBezTo>
                      <a:pt x="15" y="33"/>
                      <a:pt x="17" y="33"/>
                      <a:pt x="18" y="3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1" name="Freeform 108">
                <a:extLst>
                  <a:ext uri="{FF2B5EF4-FFF2-40B4-BE49-F238E27FC236}">
                    <a16:creationId xmlns:a16="http://schemas.microsoft.com/office/drawing/2014/main" id="{690BBC24-8B53-4B58-B171-19CB1E2736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28103" y="4669481"/>
                <a:ext cx="91595" cy="101633"/>
              </a:xfrm>
              <a:custGeom>
                <a:avLst/>
                <a:gdLst>
                  <a:gd name="T0" fmla="*/ 40 w 40"/>
                  <a:gd name="T1" fmla="*/ 21 h 44"/>
                  <a:gd name="T2" fmla="*/ 34 w 40"/>
                  <a:gd name="T3" fmla="*/ 15 h 44"/>
                  <a:gd name="T4" fmla="*/ 25 w 40"/>
                  <a:gd name="T5" fmla="*/ 8 h 44"/>
                  <a:gd name="T6" fmla="*/ 21 w 40"/>
                  <a:gd name="T7" fmla="*/ 9 h 44"/>
                  <a:gd name="T8" fmla="*/ 17 w 40"/>
                  <a:gd name="T9" fmla="*/ 3 h 44"/>
                  <a:gd name="T10" fmla="*/ 10 w 40"/>
                  <a:gd name="T11" fmla="*/ 1 h 44"/>
                  <a:gd name="T12" fmla="*/ 8 w 40"/>
                  <a:gd name="T13" fmla="*/ 1 h 44"/>
                  <a:gd name="T14" fmla="*/ 5 w 40"/>
                  <a:gd name="T15" fmla="*/ 6 h 44"/>
                  <a:gd name="T16" fmla="*/ 3 w 40"/>
                  <a:gd name="T17" fmla="*/ 19 h 44"/>
                  <a:gd name="T18" fmla="*/ 0 w 40"/>
                  <a:gd name="T19" fmla="*/ 30 h 44"/>
                  <a:gd name="T20" fmla="*/ 3 w 40"/>
                  <a:gd name="T21" fmla="*/ 35 h 44"/>
                  <a:gd name="T22" fmla="*/ 2 w 40"/>
                  <a:gd name="T23" fmla="*/ 38 h 44"/>
                  <a:gd name="T24" fmla="*/ 5 w 40"/>
                  <a:gd name="T25" fmla="*/ 40 h 44"/>
                  <a:gd name="T26" fmla="*/ 16 w 40"/>
                  <a:gd name="T27" fmla="*/ 42 h 44"/>
                  <a:gd name="T28" fmla="*/ 22 w 40"/>
                  <a:gd name="T29" fmla="*/ 42 h 44"/>
                  <a:gd name="T30" fmla="*/ 34 w 40"/>
                  <a:gd name="T31" fmla="*/ 41 h 44"/>
                  <a:gd name="T32" fmla="*/ 40 w 40"/>
                  <a:gd name="T33" fmla="*/ 33 h 44"/>
                  <a:gd name="T34" fmla="*/ 40 w 40"/>
                  <a:gd name="T35" fmla="*/ 21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0" h="44">
                    <a:moveTo>
                      <a:pt x="40" y="21"/>
                    </a:moveTo>
                    <a:cubicBezTo>
                      <a:pt x="40" y="17"/>
                      <a:pt x="35" y="16"/>
                      <a:pt x="34" y="15"/>
                    </a:cubicBezTo>
                    <a:cubicBezTo>
                      <a:pt x="33" y="13"/>
                      <a:pt x="27" y="11"/>
                      <a:pt x="25" y="8"/>
                    </a:cubicBezTo>
                    <a:cubicBezTo>
                      <a:pt x="23" y="5"/>
                      <a:pt x="22" y="9"/>
                      <a:pt x="21" y="9"/>
                    </a:cubicBezTo>
                    <a:cubicBezTo>
                      <a:pt x="20" y="9"/>
                      <a:pt x="20" y="7"/>
                      <a:pt x="17" y="3"/>
                    </a:cubicBezTo>
                    <a:cubicBezTo>
                      <a:pt x="14" y="0"/>
                      <a:pt x="12" y="0"/>
                      <a:pt x="10" y="1"/>
                    </a:cubicBezTo>
                    <a:cubicBezTo>
                      <a:pt x="10" y="1"/>
                      <a:pt x="9" y="1"/>
                      <a:pt x="8" y="1"/>
                    </a:cubicBezTo>
                    <a:cubicBezTo>
                      <a:pt x="6" y="3"/>
                      <a:pt x="5" y="4"/>
                      <a:pt x="5" y="6"/>
                    </a:cubicBezTo>
                    <a:cubicBezTo>
                      <a:pt x="5" y="9"/>
                      <a:pt x="3" y="13"/>
                      <a:pt x="3" y="19"/>
                    </a:cubicBezTo>
                    <a:cubicBezTo>
                      <a:pt x="2" y="26"/>
                      <a:pt x="1" y="25"/>
                      <a:pt x="0" y="30"/>
                    </a:cubicBezTo>
                    <a:cubicBezTo>
                      <a:pt x="0" y="35"/>
                      <a:pt x="2" y="34"/>
                      <a:pt x="3" y="35"/>
                    </a:cubicBezTo>
                    <a:cubicBezTo>
                      <a:pt x="3" y="35"/>
                      <a:pt x="3" y="37"/>
                      <a:pt x="2" y="38"/>
                    </a:cubicBezTo>
                    <a:cubicBezTo>
                      <a:pt x="3" y="39"/>
                      <a:pt x="4" y="40"/>
                      <a:pt x="5" y="40"/>
                    </a:cubicBezTo>
                    <a:cubicBezTo>
                      <a:pt x="9" y="39"/>
                      <a:pt x="12" y="41"/>
                      <a:pt x="16" y="42"/>
                    </a:cubicBezTo>
                    <a:cubicBezTo>
                      <a:pt x="20" y="44"/>
                      <a:pt x="18" y="42"/>
                      <a:pt x="22" y="42"/>
                    </a:cubicBezTo>
                    <a:cubicBezTo>
                      <a:pt x="26" y="43"/>
                      <a:pt x="30" y="43"/>
                      <a:pt x="34" y="41"/>
                    </a:cubicBezTo>
                    <a:cubicBezTo>
                      <a:pt x="37" y="39"/>
                      <a:pt x="38" y="36"/>
                      <a:pt x="40" y="33"/>
                    </a:cubicBezTo>
                    <a:cubicBezTo>
                      <a:pt x="38" y="29"/>
                      <a:pt x="40" y="24"/>
                      <a:pt x="40" y="2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2" name="Freeform 109">
                <a:extLst>
                  <a:ext uri="{FF2B5EF4-FFF2-40B4-BE49-F238E27FC236}">
                    <a16:creationId xmlns:a16="http://schemas.microsoft.com/office/drawing/2014/main" id="{99E2CA1F-A1D0-4B23-B3F8-DC21D7D13DD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542025" y="4501348"/>
                <a:ext cx="376418" cy="740288"/>
              </a:xfrm>
              <a:custGeom>
                <a:avLst/>
                <a:gdLst>
                  <a:gd name="T0" fmla="*/ 46 w 163"/>
                  <a:gd name="T1" fmla="*/ 304 h 321"/>
                  <a:gd name="T2" fmla="*/ 43 w 163"/>
                  <a:gd name="T3" fmla="*/ 297 h 321"/>
                  <a:gd name="T4" fmla="*/ 40 w 163"/>
                  <a:gd name="T5" fmla="*/ 319 h 321"/>
                  <a:gd name="T6" fmla="*/ 58 w 163"/>
                  <a:gd name="T7" fmla="*/ 320 h 321"/>
                  <a:gd name="T8" fmla="*/ 62 w 163"/>
                  <a:gd name="T9" fmla="*/ 315 h 321"/>
                  <a:gd name="T10" fmla="*/ 156 w 163"/>
                  <a:gd name="T11" fmla="*/ 33 h 321"/>
                  <a:gd name="T12" fmla="*/ 152 w 163"/>
                  <a:gd name="T13" fmla="*/ 46 h 321"/>
                  <a:gd name="T14" fmla="*/ 138 w 163"/>
                  <a:gd name="T15" fmla="*/ 50 h 321"/>
                  <a:gd name="T16" fmla="*/ 123 w 163"/>
                  <a:gd name="T17" fmla="*/ 48 h 321"/>
                  <a:gd name="T18" fmla="*/ 132 w 163"/>
                  <a:gd name="T19" fmla="*/ 32 h 321"/>
                  <a:gd name="T20" fmla="*/ 108 w 163"/>
                  <a:gd name="T21" fmla="*/ 20 h 321"/>
                  <a:gd name="T22" fmla="*/ 88 w 163"/>
                  <a:gd name="T23" fmla="*/ 3 h 321"/>
                  <a:gd name="T24" fmla="*/ 75 w 163"/>
                  <a:gd name="T25" fmla="*/ 7 h 321"/>
                  <a:gd name="T26" fmla="*/ 59 w 163"/>
                  <a:gd name="T27" fmla="*/ 4 h 321"/>
                  <a:gd name="T28" fmla="*/ 52 w 163"/>
                  <a:gd name="T29" fmla="*/ 18 h 321"/>
                  <a:gd name="T30" fmla="*/ 42 w 163"/>
                  <a:gd name="T31" fmla="*/ 31 h 321"/>
                  <a:gd name="T32" fmla="*/ 43 w 163"/>
                  <a:gd name="T33" fmla="*/ 45 h 321"/>
                  <a:gd name="T34" fmla="*/ 36 w 163"/>
                  <a:gd name="T35" fmla="*/ 56 h 321"/>
                  <a:gd name="T36" fmla="*/ 30 w 163"/>
                  <a:gd name="T37" fmla="*/ 67 h 321"/>
                  <a:gd name="T38" fmla="*/ 26 w 163"/>
                  <a:gd name="T39" fmla="*/ 82 h 321"/>
                  <a:gd name="T40" fmla="*/ 29 w 163"/>
                  <a:gd name="T41" fmla="*/ 98 h 321"/>
                  <a:gd name="T42" fmla="*/ 29 w 163"/>
                  <a:gd name="T43" fmla="*/ 112 h 321"/>
                  <a:gd name="T44" fmla="*/ 26 w 163"/>
                  <a:gd name="T45" fmla="*/ 128 h 321"/>
                  <a:gd name="T46" fmla="*/ 21 w 163"/>
                  <a:gd name="T47" fmla="*/ 147 h 321"/>
                  <a:gd name="T48" fmla="*/ 18 w 163"/>
                  <a:gd name="T49" fmla="*/ 154 h 321"/>
                  <a:gd name="T50" fmla="*/ 15 w 163"/>
                  <a:gd name="T51" fmla="*/ 166 h 321"/>
                  <a:gd name="T52" fmla="*/ 15 w 163"/>
                  <a:gd name="T53" fmla="*/ 177 h 321"/>
                  <a:gd name="T54" fmla="*/ 13 w 163"/>
                  <a:gd name="T55" fmla="*/ 194 h 321"/>
                  <a:gd name="T56" fmla="*/ 15 w 163"/>
                  <a:gd name="T57" fmla="*/ 203 h 321"/>
                  <a:gd name="T58" fmla="*/ 19 w 163"/>
                  <a:gd name="T59" fmla="*/ 211 h 321"/>
                  <a:gd name="T60" fmla="*/ 17 w 163"/>
                  <a:gd name="T61" fmla="*/ 218 h 321"/>
                  <a:gd name="T62" fmla="*/ 15 w 163"/>
                  <a:gd name="T63" fmla="*/ 231 h 321"/>
                  <a:gd name="T64" fmla="*/ 10 w 163"/>
                  <a:gd name="T65" fmla="*/ 241 h 321"/>
                  <a:gd name="T66" fmla="*/ 6 w 163"/>
                  <a:gd name="T67" fmla="*/ 253 h 321"/>
                  <a:gd name="T68" fmla="*/ 2 w 163"/>
                  <a:gd name="T69" fmla="*/ 266 h 321"/>
                  <a:gd name="T70" fmla="*/ 11 w 163"/>
                  <a:gd name="T71" fmla="*/ 274 h 321"/>
                  <a:gd name="T72" fmla="*/ 16 w 163"/>
                  <a:gd name="T73" fmla="*/ 286 h 321"/>
                  <a:gd name="T74" fmla="*/ 34 w 163"/>
                  <a:gd name="T75" fmla="*/ 289 h 321"/>
                  <a:gd name="T76" fmla="*/ 38 w 163"/>
                  <a:gd name="T77" fmla="*/ 282 h 321"/>
                  <a:gd name="T78" fmla="*/ 38 w 163"/>
                  <a:gd name="T79" fmla="*/ 269 h 321"/>
                  <a:gd name="T80" fmla="*/ 47 w 163"/>
                  <a:gd name="T81" fmla="*/ 260 h 321"/>
                  <a:gd name="T82" fmla="*/ 63 w 163"/>
                  <a:gd name="T83" fmla="*/ 243 h 321"/>
                  <a:gd name="T84" fmla="*/ 56 w 163"/>
                  <a:gd name="T85" fmla="*/ 233 h 321"/>
                  <a:gd name="T86" fmla="*/ 64 w 163"/>
                  <a:gd name="T87" fmla="*/ 213 h 321"/>
                  <a:gd name="T88" fmla="*/ 68 w 163"/>
                  <a:gd name="T89" fmla="*/ 203 h 321"/>
                  <a:gd name="T90" fmla="*/ 73 w 163"/>
                  <a:gd name="T91" fmla="*/ 192 h 321"/>
                  <a:gd name="T92" fmla="*/ 78 w 163"/>
                  <a:gd name="T93" fmla="*/ 192 h 321"/>
                  <a:gd name="T94" fmla="*/ 76 w 163"/>
                  <a:gd name="T95" fmla="*/ 187 h 321"/>
                  <a:gd name="T96" fmla="*/ 70 w 163"/>
                  <a:gd name="T97" fmla="*/ 179 h 321"/>
                  <a:gd name="T98" fmla="*/ 82 w 163"/>
                  <a:gd name="T99" fmla="*/ 175 h 321"/>
                  <a:gd name="T100" fmla="*/ 92 w 163"/>
                  <a:gd name="T101" fmla="*/ 162 h 321"/>
                  <a:gd name="T102" fmla="*/ 95 w 163"/>
                  <a:gd name="T103" fmla="*/ 154 h 321"/>
                  <a:gd name="T104" fmla="*/ 131 w 163"/>
                  <a:gd name="T105" fmla="*/ 145 h 321"/>
                  <a:gd name="T106" fmla="*/ 135 w 163"/>
                  <a:gd name="T107" fmla="*/ 129 h 321"/>
                  <a:gd name="T108" fmla="*/ 129 w 163"/>
                  <a:gd name="T109" fmla="*/ 117 h 321"/>
                  <a:gd name="T110" fmla="*/ 126 w 163"/>
                  <a:gd name="T111" fmla="*/ 111 h 321"/>
                  <a:gd name="T112" fmla="*/ 124 w 163"/>
                  <a:gd name="T113" fmla="*/ 103 h 321"/>
                  <a:gd name="T114" fmla="*/ 129 w 163"/>
                  <a:gd name="T115" fmla="*/ 79 h 321"/>
                  <a:gd name="T116" fmla="*/ 153 w 163"/>
                  <a:gd name="T117" fmla="*/ 51 h 321"/>
                  <a:gd name="T118" fmla="*/ 161 w 163"/>
                  <a:gd name="T119" fmla="*/ 33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63" h="321">
                    <a:moveTo>
                      <a:pt x="62" y="315"/>
                    </a:moveTo>
                    <a:cubicBezTo>
                      <a:pt x="58" y="315"/>
                      <a:pt x="49" y="307"/>
                      <a:pt x="46" y="304"/>
                    </a:cubicBezTo>
                    <a:cubicBezTo>
                      <a:pt x="44" y="302"/>
                      <a:pt x="46" y="300"/>
                      <a:pt x="43" y="301"/>
                    </a:cubicBezTo>
                    <a:cubicBezTo>
                      <a:pt x="39" y="301"/>
                      <a:pt x="41" y="298"/>
                      <a:pt x="43" y="297"/>
                    </a:cubicBezTo>
                    <a:cubicBezTo>
                      <a:pt x="45" y="296"/>
                      <a:pt x="43" y="293"/>
                      <a:pt x="40" y="293"/>
                    </a:cubicBezTo>
                    <a:cubicBezTo>
                      <a:pt x="40" y="298"/>
                      <a:pt x="39" y="319"/>
                      <a:pt x="40" y="319"/>
                    </a:cubicBezTo>
                    <a:cubicBezTo>
                      <a:pt x="42" y="320"/>
                      <a:pt x="51" y="318"/>
                      <a:pt x="54" y="320"/>
                    </a:cubicBezTo>
                    <a:cubicBezTo>
                      <a:pt x="55" y="320"/>
                      <a:pt x="57" y="321"/>
                      <a:pt x="58" y="320"/>
                    </a:cubicBezTo>
                    <a:cubicBezTo>
                      <a:pt x="59" y="318"/>
                      <a:pt x="65" y="319"/>
                      <a:pt x="68" y="317"/>
                    </a:cubicBezTo>
                    <a:cubicBezTo>
                      <a:pt x="71" y="316"/>
                      <a:pt x="67" y="315"/>
                      <a:pt x="62" y="315"/>
                    </a:cubicBezTo>
                    <a:close/>
                    <a:moveTo>
                      <a:pt x="161" y="33"/>
                    </a:moveTo>
                    <a:cubicBezTo>
                      <a:pt x="160" y="33"/>
                      <a:pt x="158" y="33"/>
                      <a:pt x="156" y="33"/>
                    </a:cubicBezTo>
                    <a:cubicBezTo>
                      <a:pt x="156" y="33"/>
                      <a:pt x="156" y="34"/>
                      <a:pt x="156" y="34"/>
                    </a:cubicBezTo>
                    <a:cubicBezTo>
                      <a:pt x="156" y="37"/>
                      <a:pt x="154" y="46"/>
                      <a:pt x="152" y="46"/>
                    </a:cubicBezTo>
                    <a:cubicBezTo>
                      <a:pt x="149" y="45"/>
                      <a:pt x="147" y="49"/>
                      <a:pt x="145" y="49"/>
                    </a:cubicBezTo>
                    <a:cubicBezTo>
                      <a:pt x="144" y="48"/>
                      <a:pt x="141" y="52"/>
                      <a:pt x="138" y="50"/>
                    </a:cubicBezTo>
                    <a:cubicBezTo>
                      <a:pt x="136" y="49"/>
                      <a:pt x="133" y="51"/>
                      <a:pt x="131" y="49"/>
                    </a:cubicBezTo>
                    <a:cubicBezTo>
                      <a:pt x="129" y="48"/>
                      <a:pt x="123" y="49"/>
                      <a:pt x="123" y="48"/>
                    </a:cubicBezTo>
                    <a:cubicBezTo>
                      <a:pt x="123" y="46"/>
                      <a:pt x="126" y="47"/>
                      <a:pt x="126" y="42"/>
                    </a:cubicBezTo>
                    <a:cubicBezTo>
                      <a:pt x="126" y="38"/>
                      <a:pt x="133" y="33"/>
                      <a:pt x="132" y="32"/>
                    </a:cubicBezTo>
                    <a:cubicBezTo>
                      <a:pt x="131" y="30"/>
                      <a:pt x="119" y="26"/>
                      <a:pt x="117" y="24"/>
                    </a:cubicBezTo>
                    <a:cubicBezTo>
                      <a:pt x="116" y="22"/>
                      <a:pt x="113" y="20"/>
                      <a:pt x="108" y="20"/>
                    </a:cubicBezTo>
                    <a:cubicBezTo>
                      <a:pt x="103" y="19"/>
                      <a:pt x="104" y="17"/>
                      <a:pt x="99" y="14"/>
                    </a:cubicBezTo>
                    <a:cubicBezTo>
                      <a:pt x="96" y="12"/>
                      <a:pt x="90" y="6"/>
                      <a:pt x="88" y="3"/>
                    </a:cubicBezTo>
                    <a:cubicBezTo>
                      <a:pt x="85" y="2"/>
                      <a:pt x="81" y="2"/>
                      <a:pt x="80" y="3"/>
                    </a:cubicBezTo>
                    <a:cubicBezTo>
                      <a:pt x="79" y="4"/>
                      <a:pt x="77" y="11"/>
                      <a:pt x="75" y="7"/>
                    </a:cubicBezTo>
                    <a:cubicBezTo>
                      <a:pt x="74" y="4"/>
                      <a:pt x="70" y="4"/>
                      <a:pt x="66" y="4"/>
                    </a:cubicBezTo>
                    <a:cubicBezTo>
                      <a:pt x="63" y="3"/>
                      <a:pt x="63" y="0"/>
                      <a:pt x="59" y="4"/>
                    </a:cubicBezTo>
                    <a:cubicBezTo>
                      <a:pt x="57" y="6"/>
                      <a:pt x="55" y="7"/>
                      <a:pt x="53" y="9"/>
                    </a:cubicBezTo>
                    <a:cubicBezTo>
                      <a:pt x="53" y="13"/>
                      <a:pt x="52" y="17"/>
                      <a:pt x="52" y="18"/>
                    </a:cubicBezTo>
                    <a:cubicBezTo>
                      <a:pt x="51" y="20"/>
                      <a:pt x="43" y="23"/>
                      <a:pt x="42" y="25"/>
                    </a:cubicBezTo>
                    <a:cubicBezTo>
                      <a:pt x="42" y="27"/>
                      <a:pt x="43" y="30"/>
                      <a:pt x="42" y="31"/>
                    </a:cubicBezTo>
                    <a:cubicBezTo>
                      <a:pt x="40" y="32"/>
                      <a:pt x="45" y="38"/>
                      <a:pt x="43" y="40"/>
                    </a:cubicBezTo>
                    <a:cubicBezTo>
                      <a:pt x="40" y="41"/>
                      <a:pt x="45" y="44"/>
                      <a:pt x="43" y="45"/>
                    </a:cubicBezTo>
                    <a:cubicBezTo>
                      <a:pt x="41" y="47"/>
                      <a:pt x="38" y="47"/>
                      <a:pt x="38" y="49"/>
                    </a:cubicBezTo>
                    <a:cubicBezTo>
                      <a:pt x="38" y="51"/>
                      <a:pt x="38" y="55"/>
                      <a:pt x="36" y="56"/>
                    </a:cubicBezTo>
                    <a:cubicBezTo>
                      <a:pt x="33" y="57"/>
                      <a:pt x="32" y="60"/>
                      <a:pt x="32" y="63"/>
                    </a:cubicBezTo>
                    <a:cubicBezTo>
                      <a:pt x="32" y="66"/>
                      <a:pt x="29" y="64"/>
                      <a:pt x="30" y="67"/>
                    </a:cubicBezTo>
                    <a:cubicBezTo>
                      <a:pt x="31" y="71"/>
                      <a:pt x="32" y="75"/>
                      <a:pt x="30" y="76"/>
                    </a:cubicBezTo>
                    <a:cubicBezTo>
                      <a:pt x="27" y="76"/>
                      <a:pt x="28" y="82"/>
                      <a:pt x="26" y="82"/>
                    </a:cubicBezTo>
                    <a:cubicBezTo>
                      <a:pt x="25" y="82"/>
                      <a:pt x="24" y="88"/>
                      <a:pt x="26" y="91"/>
                    </a:cubicBezTo>
                    <a:cubicBezTo>
                      <a:pt x="29" y="93"/>
                      <a:pt x="29" y="96"/>
                      <a:pt x="29" y="98"/>
                    </a:cubicBezTo>
                    <a:cubicBezTo>
                      <a:pt x="29" y="101"/>
                      <a:pt x="32" y="103"/>
                      <a:pt x="31" y="105"/>
                    </a:cubicBezTo>
                    <a:cubicBezTo>
                      <a:pt x="30" y="108"/>
                      <a:pt x="31" y="111"/>
                      <a:pt x="29" y="112"/>
                    </a:cubicBezTo>
                    <a:cubicBezTo>
                      <a:pt x="27" y="113"/>
                      <a:pt x="29" y="117"/>
                      <a:pt x="26" y="118"/>
                    </a:cubicBezTo>
                    <a:cubicBezTo>
                      <a:pt x="24" y="119"/>
                      <a:pt x="28" y="127"/>
                      <a:pt x="26" y="128"/>
                    </a:cubicBezTo>
                    <a:cubicBezTo>
                      <a:pt x="25" y="130"/>
                      <a:pt x="20" y="131"/>
                      <a:pt x="20" y="136"/>
                    </a:cubicBezTo>
                    <a:cubicBezTo>
                      <a:pt x="20" y="141"/>
                      <a:pt x="21" y="144"/>
                      <a:pt x="21" y="147"/>
                    </a:cubicBezTo>
                    <a:cubicBezTo>
                      <a:pt x="20" y="149"/>
                      <a:pt x="23" y="148"/>
                      <a:pt x="23" y="151"/>
                    </a:cubicBezTo>
                    <a:cubicBezTo>
                      <a:pt x="22" y="154"/>
                      <a:pt x="18" y="153"/>
                      <a:pt x="18" y="154"/>
                    </a:cubicBezTo>
                    <a:cubicBezTo>
                      <a:pt x="18" y="156"/>
                      <a:pt x="19" y="160"/>
                      <a:pt x="18" y="161"/>
                    </a:cubicBezTo>
                    <a:cubicBezTo>
                      <a:pt x="16" y="161"/>
                      <a:pt x="15" y="162"/>
                      <a:pt x="15" y="166"/>
                    </a:cubicBezTo>
                    <a:cubicBezTo>
                      <a:pt x="15" y="169"/>
                      <a:pt x="13" y="169"/>
                      <a:pt x="13" y="171"/>
                    </a:cubicBezTo>
                    <a:cubicBezTo>
                      <a:pt x="13" y="173"/>
                      <a:pt x="15" y="175"/>
                      <a:pt x="15" y="177"/>
                    </a:cubicBezTo>
                    <a:cubicBezTo>
                      <a:pt x="15" y="179"/>
                      <a:pt x="16" y="185"/>
                      <a:pt x="14" y="185"/>
                    </a:cubicBezTo>
                    <a:cubicBezTo>
                      <a:pt x="13" y="186"/>
                      <a:pt x="12" y="193"/>
                      <a:pt x="13" y="194"/>
                    </a:cubicBezTo>
                    <a:cubicBezTo>
                      <a:pt x="15" y="195"/>
                      <a:pt x="15" y="197"/>
                      <a:pt x="14" y="198"/>
                    </a:cubicBezTo>
                    <a:cubicBezTo>
                      <a:pt x="13" y="200"/>
                      <a:pt x="17" y="201"/>
                      <a:pt x="15" y="203"/>
                    </a:cubicBezTo>
                    <a:cubicBezTo>
                      <a:pt x="13" y="205"/>
                      <a:pt x="15" y="208"/>
                      <a:pt x="18" y="207"/>
                    </a:cubicBezTo>
                    <a:cubicBezTo>
                      <a:pt x="20" y="207"/>
                      <a:pt x="21" y="211"/>
                      <a:pt x="19" y="211"/>
                    </a:cubicBezTo>
                    <a:cubicBezTo>
                      <a:pt x="16" y="211"/>
                      <a:pt x="13" y="211"/>
                      <a:pt x="16" y="213"/>
                    </a:cubicBezTo>
                    <a:cubicBezTo>
                      <a:pt x="18" y="214"/>
                      <a:pt x="20" y="217"/>
                      <a:pt x="17" y="218"/>
                    </a:cubicBezTo>
                    <a:cubicBezTo>
                      <a:pt x="14" y="219"/>
                      <a:pt x="16" y="221"/>
                      <a:pt x="16" y="224"/>
                    </a:cubicBezTo>
                    <a:cubicBezTo>
                      <a:pt x="15" y="227"/>
                      <a:pt x="18" y="230"/>
                      <a:pt x="15" y="231"/>
                    </a:cubicBezTo>
                    <a:cubicBezTo>
                      <a:pt x="13" y="231"/>
                      <a:pt x="16" y="236"/>
                      <a:pt x="13" y="236"/>
                    </a:cubicBezTo>
                    <a:cubicBezTo>
                      <a:pt x="10" y="237"/>
                      <a:pt x="12" y="240"/>
                      <a:pt x="10" y="241"/>
                    </a:cubicBezTo>
                    <a:cubicBezTo>
                      <a:pt x="7" y="243"/>
                      <a:pt x="12" y="246"/>
                      <a:pt x="10" y="248"/>
                    </a:cubicBezTo>
                    <a:cubicBezTo>
                      <a:pt x="7" y="249"/>
                      <a:pt x="9" y="253"/>
                      <a:pt x="6" y="253"/>
                    </a:cubicBezTo>
                    <a:cubicBezTo>
                      <a:pt x="4" y="253"/>
                      <a:pt x="2" y="257"/>
                      <a:pt x="2" y="259"/>
                    </a:cubicBezTo>
                    <a:cubicBezTo>
                      <a:pt x="2" y="260"/>
                      <a:pt x="0" y="264"/>
                      <a:pt x="2" y="266"/>
                    </a:cubicBezTo>
                    <a:cubicBezTo>
                      <a:pt x="4" y="268"/>
                      <a:pt x="2" y="270"/>
                      <a:pt x="4" y="271"/>
                    </a:cubicBezTo>
                    <a:cubicBezTo>
                      <a:pt x="6" y="272"/>
                      <a:pt x="12" y="271"/>
                      <a:pt x="11" y="274"/>
                    </a:cubicBezTo>
                    <a:cubicBezTo>
                      <a:pt x="10" y="277"/>
                      <a:pt x="11" y="283"/>
                      <a:pt x="12" y="283"/>
                    </a:cubicBezTo>
                    <a:cubicBezTo>
                      <a:pt x="13" y="283"/>
                      <a:pt x="14" y="287"/>
                      <a:pt x="16" y="286"/>
                    </a:cubicBezTo>
                    <a:cubicBezTo>
                      <a:pt x="18" y="286"/>
                      <a:pt x="26" y="285"/>
                      <a:pt x="30" y="286"/>
                    </a:cubicBezTo>
                    <a:cubicBezTo>
                      <a:pt x="32" y="287"/>
                      <a:pt x="33" y="288"/>
                      <a:pt x="34" y="289"/>
                    </a:cubicBezTo>
                    <a:cubicBezTo>
                      <a:pt x="36" y="288"/>
                      <a:pt x="41" y="291"/>
                      <a:pt x="42" y="290"/>
                    </a:cubicBezTo>
                    <a:cubicBezTo>
                      <a:pt x="43" y="288"/>
                      <a:pt x="37" y="284"/>
                      <a:pt x="38" y="282"/>
                    </a:cubicBezTo>
                    <a:cubicBezTo>
                      <a:pt x="38" y="280"/>
                      <a:pt x="37" y="278"/>
                      <a:pt x="37" y="276"/>
                    </a:cubicBezTo>
                    <a:cubicBezTo>
                      <a:pt x="37" y="274"/>
                      <a:pt x="36" y="270"/>
                      <a:pt x="38" y="269"/>
                    </a:cubicBezTo>
                    <a:cubicBezTo>
                      <a:pt x="41" y="267"/>
                      <a:pt x="41" y="265"/>
                      <a:pt x="43" y="265"/>
                    </a:cubicBezTo>
                    <a:cubicBezTo>
                      <a:pt x="44" y="266"/>
                      <a:pt x="47" y="264"/>
                      <a:pt x="47" y="260"/>
                    </a:cubicBezTo>
                    <a:cubicBezTo>
                      <a:pt x="48" y="255"/>
                      <a:pt x="50" y="254"/>
                      <a:pt x="53" y="251"/>
                    </a:cubicBezTo>
                    <a:cubicBezTo>
                      <a:pt x="57" y="247"/>
                      <a:pt x="64" y="244"/>
                      <a:pt x="63" y="243"/>
                    </a:cubicBezTo>
                    <a:cubicBezTo>
                      <a:pt x="62" y="241"/>
                      <a:pt x="64" y="237"/>
                      <a:pt x="64" y="235"/>
                    </a:cubicBezTo>
                    <a:cubicBezTo>
                      <a:pt x="64" y="233"/>
                      <a:pt x="58" y="234"/>
                      <a:pt x="56" y="233"/>
                    </a:cubicBezTo>
                    <a:cubicBezTo>
                      <a:pt x="54" y="232"/>
                      <a:pt x="47" y="227"/>
                      <a:pt x="51" y="221"/>
                    </a:cubicBezTo>
                    <a:cubicBezTo>
                      <a:pt x="54" y="214"/>
                      <a:pt x="62" y="213"/>
                      <a:pt x="64" y="213"/>
                    </a:cubicBezTo>
                    <a:cubicBezTo>
                      <a:pt x="66" y="213"/>
                      <a:pt x="64" y="210"/>
                      <a:pt x="66" y="209"/>
                    </a:cubicBezTo>
                    <a:cubicBezTo>
                      <a:pt x="67" y="208"/>
                      <a:pt x="68" y="206"/>
                      <a:pt x="68" y="203"/>
                    </a:cubicBezTo>
                    <a:cubicBezTo>
                      <a:pt x="68" y="200"/>
                      <a:pt x="68" y="195"/>
                      <a:pt x="71" y="195"/>
                    </a:cubicBezTo>
                    <a:cubicBezTo>
                      <a:pt x="74" y="195"/>
                      <a:pt x="75" y="193"/>
                      <a:pt x="73" y="192"/>
                    </a:cubicBezTo>
                    <a:cubicBezTo>
                      <a:pt x="71" y="192"/>
                      <a:pt x="70" y="190"/>
                      <a:pt x="74" y="189"/>
                    </a:cubicBezTo>
                    <a:cubicBezTo>
                      <a:pt x="77" y="189"/>
                      <a:pt x="76" y="192"/>
                      <a:pt x="78" y="192"/>
                    </a:cubicBezTo>
                    <a:cubicBezTo>
                      <a:pt x="80" y="192"/>
                      <a:pt x="84" y="188"/>
                      <a:pt x="81" y="186"/>
                    </a:cubicBezTo>
                    <a:cubicBezTo>
                      <a:pt x="78" y="183"/>
                      <a:pt x="77" y="187"/>
                      <a:pt x="76" y="187"/>
                    </a:cubicBezTo>
                    <a:cubicBezTo>
                      <a:pt x="74" y="187"/>
                      <a:pt x="73" y="185"/>
                      <a:pt x="71" y="185"/>
                    </a:cubicBezTo>
                    <a:cubicBezTo>
                      <a:pt x="70" y="185"/>
                      <a:pt x="71" y="180"/>
                      <a:pt x="70" y="179"/>
                    </a:cubicBezTo>
                    <a:cubicBezTo>
                      <a:pt x="69" y="177"/>
                      <a:pt x="68" y="173"/>
                      <a:pt x="70" y="171"/>
                    </a:cubicBezTo>
                    <a:cubicBezTo>
                      <a:pt x="71" y="169"/>
                      <a:pt x="77" y="174"/>
                      <a:pt x="82" y="175"/>
                    </a:cubicBezTo>
                    <a:cubicBezTo>
                      <a:pt x="88" y="175"/>
                      <a:pt x="92" y="172"/>
                      <a:pt x="92" y="170"/>
                    </a:cubicBezTo>
                    <a:cubicBezTo>
                      <a:pt x="92" y="168"/>
                      <a:pt x="89" y="165"/>
                      <a:pt x="92" y="162"/>
                    </a:cubicBezTo>
                    <a:cubicBezTo>
                      <a:pt x="96" y="160"/>
                      <a:pt x="93" y="160"/>
                      <a:pt x="92" y="157"/>
                    </a:cubicBezTo>
                    <a:cubicBezTo>
                      <a:pt x="91" y="154"/>
                      <a:pt x="94" y="152"/>
                      <a:pt x="95" y="154"/>
                    </a:cubicBezTo>
                    <a:cubicBezTo>
                      <a:pt x="96" y="155"/>
                      <a:pt x="107" y="154"/>
                      <a:pt x="116" y="152"/>
                    </a:cubicBezTo>
                    <a:cubicBezTo>
                      <a:pt x="124" y="150"/>
                      <a:pt x="130" y="147"/>
                      <a:pt x="131" y="145"/>
                    </a:cubicBezTo>
                    <a:cubicBezTo>
                      <a:pt x="131" y="142"/>
                      <a:pt x="137" y="136"/>
                      <a:pt x="138" y="134"/>
                    </a:cubicBezTo>
                    <a:cubicBezTo>
                      <a:pt x="140" y="132"/>
                      <a:pt x="138" y="129"/>
                      <a:pt x="135" y="129"/>
                    </a:cubicBezTo>
                    <a:cubicBezTo>
                      <a:pt x="131" y="128"/>
                      <a:pt x="131" y="124"/>
                      <a:pt x="133" y="122"/>
                    </a:cubicBezTo>
                    <a:cubicBezTo>
                      <a:pt x="135" y="120"/>
                      <a:pt x="132" y="117"/>
                      <a:pt x="129" y="117"/>
                    </a:cubicBezTo>
                    <a:cubicBezTo>
                      <a:pt x="126" y="117"/>
                      <a:pt x="120" y="114"/>
                      <a:pt x="123" y="112"/>
                    </a:cubicBezTo>
                    <a:cubicBezTo>
                      <a:pt x="125" y="110"/>
                      <a:pt x="125" y="110"/>
                      <a:pt x="126" y="111"/>
                    </a:cubicBezTo>
                    <a:cubicBezTo>
                      <a:pt x="127" y="110"/>
                      <a:pt x="127" y="108"/>
                      <a:pt x="127" y="108"/>
                    </a:cubicBezTo>
                    <a:cubicBezTo>
                      <a:pt x="126" y="107"/>
                      <a:pt x="124" y="108"/>
                      <a:pt x="124" y="103"/>
                    </a:cubicBezTo>
                    <a:cubicBezTo>
                      <a:pt x="125" y="98"/>
                      <a:pt x="126" y="99"/>
                      <a:pt x="127" y="92"/>
                    </a:cubicBezTo>
                    <a:cubicBezTo>
                      <a:pt x="127" y="86"/>
                      <a:pt x="129" y="82"/>
                      <a:pt x="129" y="79"/>
                    </a:cubicBezTo>
                    <a:cubicBezTo>
                      <a:pt x="129" y="75"/>
                      <a:pt x="135" y="71"/>
                      <a:pt x="139" y="66"/>
                    </a:cubicBezTo>
                    <a:cubicBezTo>
                      <a:pt x="142" y="60"/>
                      <a:pt x="150" y="53"/>
                      <a:pt x="153" y="51"/>
                    </a:cubicBezTo>
                    <a:cubicBezTo>
                      <a:pt x="156" y="49"/>
                      <a:pt x="162" y="47"/>
                      <a:pt x="163" y="46"/>
                    </a:cubicBezTo>
                    <a:cubicBezTo>
                      <a:pt x="163" y="44"/>
                      <a:pt x="163" y="34"/>
                      <a:pt x="161" y="3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3" name="Freeform 110">
                <a:extLst>
                  <a:ext uri="{FF2B5EF4-FFF2-40B4-BE49-F238E27FC236}">
                    <a16:creationId xmlns:a16="http://schemas.microsoft.com/office/drawing/2014/main" id="{E4F95AF0-685F-4209-8EC3-F5B3ABB953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03129" y="4418536"/>
                <a:ext cx="163114" cy="836902"/>
              </a:xfrm>
              <a:custGeom>
                <a:avLst/>
                <a:gdLst>
                  <a:gd name="T0" fmla="*/ 28 w 71"/>
                  <a:gd name="T1" fmla="*/ 310 h 363"/>
                  <a:gd name="T2" fmla="*/ 19 w 71"/>
                  <a:gd name="T3" fmla="*/ 295 h 363"/>
                  <a:gd name="T4" fmla="*/ 27 w 71"/>
                  <a:gd name="T5" fmla="*/ 277 h 363"/>
                  <a:gd name="T6" fmla="*/ 33 w 71"/>
                  <a:gd name="T7" fmla="*/ 260 h 363"/>
                  <a:gd name="T8" fmla="*/ 36 w 71"/>
                  <a:gd name="T9" fmla="*/ 247 h 363"/>
                  <a:gd name="T10" fmla="*/ 31 w 71"/>
                  <a:gd name="T11" fmla="*/ 234 h 363"/>
                  <a:gd name="T12" fmla="*/ 32 w 71"/>
                  <a:gd name="T13" fmla="*/ 213 h 363"/>
                  <a:gd name="T14" fmla="*/ 35 w 71"/>
                  <a:gd name="T15" fmla="*/ 197 h 363"/>
                  <a:gd name="T16" fmla="*/ 38 w 71"/>
                  <a:gd name="T17" fmla="*/ 183 h 363"/>
                  <a:gd name="T18" fmla="*/ 43 w 71"/>
                  <a:gd name="T19" fmla="*/ 154 h 363"/>
                  <a:gd name="T20" fmla="*/ 46 w 71"/>
                  <a:gd name="T21" fmla="*/ 134 h 363"/>
                  <a:gd name="T22" fmla="*/ 47 w 71"/>
                  <a:gd name="T23" fmla="*/ 112 h 363"/>
                  <a:gd name="T24" fmla="*/ 53 w 71"/>
                  <a:gd name="T25" fmla="*/ 92 h 363"/>
                  <a:gd name="T26" fmla="*/ 60 w 71"/>
                  <a:gd name="T27" fmla="*/ 76 h 363"/>
                  <a:gd name="T28" fmla="*/ 69 w 71"/>
                  <a:gd name="T29" fmla="*/ 54 h 363"/>
                  <a:gd name="T30" fmla="*/ 63 w 71"/>
                  <a:gd name="T31" fmla="*/ 37 h 363"/>
                  <a:gd name="T32" fmla="*/ 59 w 71"/>
                  <a:gd name="T33" fmla="*/ 18 h 363"/>
                  <a:gd name="T34" fmla="*/ 50 w 71"/>
                  <a:gd name="T35" fmla="*/ 1 h 363"/>
                  <a:gd name="T36" fmla="*/ 45 w 71"/>
                  <a:gd name="T37" fmla="*/ 16 h 363"/>
                  <a:gd name="T38" fmla="*/ 44 w 71"/>
                  <a:gd name="T39" fmla="*/ 53 h 363"/>
                  <a:gd name="T40" fmla="*/ 37 w 71"/>
                  <a:gd name="T41" fmla="*/ 91 h 363"/>
                  <a:gd name="T42" fmla="*/ 34 w 71"/>
                  <a:gd name="T43" fmla="*/ 116 h 363"/>
                  <a:gd name="T44" fmla="*/ 29 w 71"/>
                  <a:gd name="T45" fmla="*/ 149 h 363"/>
                  <a:gd name="T46" fmla="*/ 18 w 71"/>
                  <a:gd name="T47" fmla="*/ 179 h 363"/>
                  <a:gd name="T48" fmla="*/ 17 w 71"/>
                  <a:gd name="T49" fmla="*/ 204 h 363"/>
                  <a:gd name="T50" fmla="*/ 12 w 71"/>
                  <a:gd name="T51" fmla="*/ 227 h 363"/>
                  <a:gd name="T52" fmla="*/ 22 w 71"/>
                  <a:gd name="T53" fmla="*/ 215 h 363"/>
                  <a:gd name="T54" fmla="*/ 24 w 71"/>
                  <a:gd name="T55" fmla="*/ 228 h 363"/>
                  <a:gd name="T56" fmla="*/ 21 w 71"/>
                  <a:gd name="T57" fmla="*/ 244 h 363"/>
                  <a:gd name="T58" fmla="*/ 17 w 71"/>
                  <a:gd name="T59" fmla="*/ 254 h 363"/>
                  <a:gd name="T60" fmla="*/ 16 w 71"/>
                  <a:gd name="T61" fmla="*/ 252 h 363"/>
                  <a:gd name="T62" fmla="*/ 10 w 71"/>
                  <a:gd name="T63" fmla="*/ 255 h 363"/>
                  <a:gd name="T64" fmla="*/ 1 w 71"/>
                  <a:gd name="T65" fmla="*/ 267 h 363"/>
                  <a:gd name="T66" fmla="*/ 11 w 71"/>
                  <a:gd name="T67" fmla="*/ 268 h 363"/>
                  <a:gd name="T68" fmla="*/ 17 w 71"/>
                  <a:gd name="T69" fmla="*/ 277 h 363"/>
                  <a:gd name="T70" fmla="*/ 7 w 71"/>
                  <a:gd name="T71" fmla="*/ 280 h 363"/>
                  <a:gd name="T72" fmla="*/ 9 w 71"/>
                  <a:gd name="T73" fmla="*/ 285 h 363"/>
                  <a:gd name="T74" fmla="*/ 4 w 71"/>
                  <a:gd name="T75" fmla="*/ 294 h 363"/>
                  <a:gd name="T76" fmla="*/ 10 w 71"/>
                  <a:gd name="T77" fmla="*/ 297 h 363"/>
                  <a:gd name="T78" fmla="*/ 11 w 71"/>
                  <a:gd name="T79" fmla="*/ 305 h 363"/>
                  <a:gd name="T80" fmla="*/ 6 w 71"/>
                  <a:gd name="T81" fmla="*/ 315 h 363"/>
                  <a:gd name="T82" fmla="*/ 16 w 71"/>
                  <a:gd name="T83" fmla="*/ 316 h 363"/>
                  <a:gd name="T84" fmla="*/ 20 w 71"/>
                  <a:gd name="T85" fmla="*/ 320 h 363"/>
                  <a:gd name="T86" fmla="*/ 15 w 71"/>
                  <a:gd name="T87" fmla="*/ 329 h 363"/>
                  <a:gd name="T88" fmla="*/ 29 w 71"/>
                  <a:gd name="T89" fmla="*/ 329 h 363"/>
                  <a:gd name="T90" fmla="*/ 19 w 71"/>
                  <a:gd name="T91" fmla="*/ 336 h 363"/>
                  <a:gd name="T92" fmla="*/ 30 w 71"/>
                  <a:gd name="T93" fmla="*/ 335 h 363"/>
                  <a:gd name="T94" fmla="*/ 18 w 71"/>
                  <a:gd name="T95" fmla="*/ 343 h 363"/>
                  <a:gd name="T96" fmla="*/ 29 w 71"/>
                  <a:gd name="T97" fmla="*/ 344 h 363"/>
                  <a:gd name="T98" fmla="*/ 45 w 71"/>
                  <a:gd name="T99" fmla="*/ 328 h 363"/>
                  <a:gd name="T100" fmla="*/ 50 w 71"/>
                  <a:gd name="T101" fmla="*/ 337 h 363"/>
                  <a:gd name="T102" fmla="*/ 43 w 71"/>
                  <a:gd name="T103" fmla="*/ 340 h 363"/>
                  <a:gd name="T104" fmla="*/ 35 w 71"/>
                  <a:gd name="T105" fmla="*/ 347 h 363"/>
                  <a:gd name="T106" fmla="*/ 41 w 71"/>
                  <a:gd name="T107" fmla="*/ 358 h 363"/>
                  <a:gd name="T108" fmla="*/ 52 w 71"/>
                  <a:gd name="T109" fmla="*/ 357 h 363"/>
                  <a:gd name="T110" fmla="*/ 64 w 71"/>
                  <a:gd name="T111" fmla="*/ 357 h 363"/>
                  <a:gd name="T112" fmla="*/ 57 w 71"/>
                  <a:gd name="T113" fmla="*/ 355 h 363"/>
                  <a:gd name="T114" fmla="*/ 50 w 71"/>
                  <a:gd name="T115" fmla="*/ 326 h 363"/>
                  <a:gd name="T116" fmla="*/ 33 w 71"/>
                  <a:gd name="T117" fmla="*/ 322 h 3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71" h="363">
                    <a:moveTo>
                      <a:pt x="33" y="322"/>
                    </a:moveTo>
                    <a:cubicBezTo>
                      <a:pt x="31" y="323"/>
                      <a:pt x="30" y="319"/>
                      <a:pt x="29" y="319"/>
                    </a:cubicBezTo>
                    <a:cubicBezTo>
                      <a:pt x="28" y="319"/>
                      <a:pt x="27" y="313"/>
                      <a:pt x="28" y="310"/>
                    </a:cubicBezTo>
                    <a:cubicBezTo>
                      <a:pt x="29" y="307"/>
                      <a:pt x="23" y="308"/>
                      <a:pt x="21" y="307"/>
                    </a:cubicBezTo>
                    <a:cubicBezTo>
                      <a:pt x="19" y="306"/>
                      <a:pt x="21" y="304"/>
                      <a:pt x="19" y="302"/>
                    </a:cubicBezTo>
                    <a:cubicBezTo>
                      <a:pt x="17" y="300"/>
                      <a:pt x="19" y="296"/>
                      <a:pt x="19" y="295"/>
                    </a:cubicBezTo>
                    <a:cubicBezTo>
                      <a:pt x="19" y="293"/>
                      <a:pt x="21" y="289"/>
                      <a:pt x="23" y="289"/>
                    </a:cubicBezTo>
                    <a:cubicBezTo>
                      <a:pt x="26" y="289"/>
                      <a:pt x="24" y="285"/>
                      <a:pt x="27" y="284"/>
                    </a:cubicBezTo>
                    <a:cubicBezTo>
                      <a:pt x="29" y="282"/>
                      <a:pt x="24" y="279"/>
                      <a:pt x="27" y="277"/>
                    </a:cubicBezTo>
                    <a:cubicBezTo>
                      <a:pt x="29" y="276"/>
                      <a:pt x="27" y="273"/>
                      <a:pt x="30" y="272"/>
                    </a:cubicBezTo>
                    <a:cubicBezTo>
                      <a:pt x="33" y="272"/>
                      <a:pt x="30" y="267"/>
                      <a:pt x="32" y="267"/>
                    </a:cubicBezTo>
                    <a:cubicBezTo>
                      <a:pt x="35" y="266"/>
                      <a:pt x="32" y="263"/>
                      <a:pt x="33" y="260"/>
                    </a:cubicBezTo>
                    <a:cubicBezTo>
                      <a:pt x="33" y="257"/>
                      <a:pt x="31" y="255"/>
                      <a:pt x="34" y="254"/>
                    </a:cubicBezTo>
                    <a:cubicBezTo>
                      <a:pt x="37" y="253"/>
                      <a:pt x="35" y="250"/>
                      <a:pt x="33" y="249"/>
                    </a:cubicBezTo>
                    <a:cubicBezTo>
                      <a:pt x="30" y="247"/>
                      <a:pt x="33" y="247"/>
                      <a:pt x="36" y="247"/>
                    </a:cubicBezTo>
                    <a:cubicBezTo>
                      <a:pt x="38" y="247"/>
                      <a:pt x="37" y="243"/>
                      <a:pt x="35" y="243"/>
                    </a:cubicBezTo>
                    <a:cubicBezTo>
                      <a:pt x="32" y="244"/>
                      <a:pt x="30" y="241"/>
                      <a:pt x="32" y="239"/>
                    </a:cubicBezTo>
                    <a:cubicBezTo>
                      <a:pt x="34" y="237"/>
                      <a:pt x="30" y="236"/>
                      <a:pt x="31" y="234"/>
                    </a:cubicBezTo>
                    <a:cubicBezTo>
                      <a:pt x="32" y="233"/>
                      <a:pt x="32" y="231"/>
                      <a:pt x="30" y="230"/>
                    </a:cubicBezTo>
                    <a:cubicBezTo>
                      <a:pt x="29" y="229"/>
                      <a:pt x="30" y="222"/>
                      <a:pt x="31" y="221"/>
                    </a:cubicBezTo>
                    <a:cubicBezTo>
                      <a:pt x="33" y="221"/>
                      <a:pt x="32" y="215"/>
                      <a:pt x="32" y="213"/>
                    </a:cubicBezTo>
                    <a:cubicBezTo>
                      <a:pt x="32" y="211"/>
                      <a:pt x="30" y="209"/>
                      <a:pt x="30" y="207"/>
                    </a:cubicBezTo>
                    <a:cubicBezTo>
                      <a:pt x="30" y="205"/>
                      <a:pt x="32" y="205"/>
                      <a:pt x="32" y="202"/>
                    </a:cubicBezTo>
                    <a:cubicBezTo>
                      <a:pt x="32" y="198"/>
                      <a:pt x="33" y="197"/>
                      <a:pt x="35" y="197"/>
                    </a:cubicBezTo>
                    <a:cubicBezTo>
                      <a:pt x="36" y="196"/>
                      <a:pt x="35" y="192"/>
                      <a:pt x="35" y="190"/>
                    </a:cubicBezTo>
                    <a:cubicBezTo>
                      <a:pt x="35" y="189"/>
                      <a:pt x="39" y="190"/>
                      <a:pt x="40" y="187"/>
                    </a:cubicBezTo>
                    <a:cubicBezTo>
                      <a:pt x="40" y="184"/>
                      <a:pt x="37" y="185"/>
                      <a:pt x="38" y="183"/>
                    </a:cubicBezTo>
                    <a:cubicBezTo>
                      <a:pt x="38" y="180"/>
                      <a:pt x="37" y="177"/>
                      <a:pt x="37" y="172"/>
                    </a:cubicBezTo>
                    <a:cubicBezTo>
                      <a:pt x="37" y="167"/>
                      <a:pt x="42" y="166"/>
                      <a:pt x="43" y="164"/>
                    </a:cubicBezTo>
                    <a:cubicBezTo>
                      <a:pt x="45" y="163"/>
                      <a:pt x="41" y="155"/>
                      <a:pt x="43" y="154"/>
                    </a:cubicBezTo>
                    <a:cubicBezTo>
                      <a:pt x="46" y="153"/>
                      <a:pt x="44" y="149"/>
                      <a:pt x="46" y="148"/>
                    </a:cubicBezTo>
                    <a:cubicBezTo>
                      <a:pt x="48" y="147"/>
                      <a:pt x="47" y="144"/>
                      <a:pt x="48" y="141"/>
                    </a:cubicBezTo>
                    <a:cubicBezTo>
                      <a:pt x="49" y="139"/>
                      <a:pt x="46" y="137"/>
                      <a:pt x="46" y="134"/>
                    </a:cubicBezTo>
                    <a:cubicBezTo>
                      <a:pt x="46" y="132"/>
                      <a:pt x="46" y="129"/>
                      <a:pt x="43" y="127"/>
                    </a:cubicBezTo>
                    <a:cubicBezTo>
                      <a:pt x="41" y="124"/>
                      <a:pt x="42" y="118"/>
                      <a:pt x="43" y="118"/>
                    </a:cubicBezTo>
                    <a:cubicBezTo>
                      <a:pt x="45" y="118"/>
                      <a:pt x="44" y="112"/>
                      <a:pt x="47" y="112"/>
                    </a:cubicBezTo>
                    <a:cubicBezTo>
                      <a:pt x="49" y="111"/>
                      <a:pt x="48" y="107"/>
                      <a:pt x="47" y="103"/>
                    </a:cubicBezTo>
                    <a:cubicBezTo>
                      <a:pt x="46" y="100"/>
                      <a:pt x="49" y="102"/>
                      <a:pt x="49" y="99"/>
                    </a:cubicBezTo>
                    <a:cubicBezTo>
                      <a:pt x="49" y="96"/>
                      <a:pt x="50" y="93"/>
                      <a:pt x="53" y="92"/>
                    </a:cubicBezTo>
                    <a:cubicBezTo>
                      <a:pt x="55" y="91"/>
                      <a:pt x="55" y="87"/>
                      <a:pt x="55" y="85"/>
                    </a:cubicBezTo>
                    <a:cubicBezTo>
                      <a:pt x="55" y="83"/>
                      <a:pt x="58" y="83"/>
                      <a:pt x="60" y="81"/>
                    </a:cubicBezTo>
                    <a:cubicBezTo>
                      <a:pt x="62" y="80"/>
                      <a:pt x="57" y="77"/>
                      <a:pt x="60" y="76"/>
                    </a:cubicBezTo>
                    <a:cubicBezTo>
                      <a:pt x="62" y="74"/>
                      <a:pt x="57" y="68"/>
                      <a:pt x="59" y="67"/>
                    </a:cubicBezTo>
                    <a:cubicBezTo>
                      <a:pt x="60" y="66"/>
                      <a:pt x="59" y="63"/>
                      <a:pt x="59" y="61"/>
                    </a:cubicBezTo>
                    <a:cubicBezTo>
                      <a:pt x="60" y="59"/>
                      <a:pt x="68" y="56"/>
                      <a:pt x="69" y="54"/>
                    </a:cubicBezTo>
                    <a:cubicBezTo>
                      <a:pt x="69" y="53"/>
                      <a:pt x="70" y="49"/>
                      <a:pt x="70" y="45"/>
                    </a:cubicBezTo>
                    <a:cubicBezTo>
                      <a:pt x="68" y="46"/>
                      <a:pt x="66" y="47"/>
                      <a:pt x="65" y="46"/>
                    </a:cubicBezTo>
                    <a:cubicBezTo>
                      <a:pt x="64" y="45"/>
                      <a:pt x="65" y="40"/>
                      <a:pt x="63" y="37"/>
                    </a:cubicBezTo>
                    <a:cubicBezTo>
                      <a:pt x="61" y="35"/>
                      <a:pt x="63" y="31"/>
                      <a:pt x="60" y="30"/>
                    </a:cubicBezTo>
                    <a:cubicBezTo>
                      <a:pt x="58" y="29"/>
                      <a:pt x="56" y="25"/>
                      <a:pt x="58" y="23"/>
                    </a:cubicBezTo>
                    <a:cubicBezTo>
                      <a:pt x="59" y="22"/>
                      <a:pt x="58" y="19"/>
                      <a:pt x="59" y="18"/>
                    </a:cubicBezTo>
                    <a:cubicBezTo>
                      <a:pt x="61" y="16"/>
                      <a:pt x="58" y="16"/>
                      <a:pt x="56" y="13"/>
                    </a:cubicBezTo>
                    <a:cubicBezTo>
                      <a:pt x="54" y="10"/>
                      <a:pt x="57" y="7"/>
                      <a:pt x="54" y="5"/>
                    </a:cubicBezTo>
                    <a:cubicBezTo>
                      <a:pt x="51" y="2"/>
                      <a:pt x="51" y="0"/>
                      <a:pt x="50" y="1"/>
                    </a:cubicBezTo>
                    <a:cubicBezTo>
                      <a:pt x="50" y="2"/>
                      <a:pt x="49" y="6"/>
                      <a:pt x="47" y="7"/>
                    </a:cubicBezTo>
                    <a:cubicBezTo>
                      <a:pt x="47" y="8"/>
                      <a:pt x="46" y="8"/>
                      <a:pt x="45" y="9"/>
                    </a:cubicBezTo>
                    <a:cubicBezTo>
                      <a:pt x="45" y="11"/>
                      <a:pt x="45" y="14"/>
                      <a:pt x="45" y="16"/>
                    </a:cubicBezTo>
                    <a:cubicBezTo>
                      <a:pt x="46" y="19"/>
                      <a:pt x="47" y="32"/>
                      <a:pt x="46" y="37"/>
                    </a:cubicBezTo>
                    <a:cubicBezTo>
                      <a:pt x="45" y="42"/>
                      <a:pt x="44" y="46"/>
                      <a:pt x="43" y="49"/>
                    </a:cubicBezTo>
                    <a:cubicBezTo>
                      <a:pt x="42" y="52"/>
                      <a:pt x="45" y="52"/>
                      <a:pt x="44" y="53"/>
                    </a:cubicBezTo>
                    <a:cubicBezTo>
                      <a:pt x="42" y="55"/>
                      <a:pt x="43" y="58"/>
                      <a:pt x="43" y="64"/>
                    </a:cubicBezTo>
                    <a:cubicBezTo>
                      <a:pt x="43" y="70"/>
                      <a:pt x="40" y="79"/>
                      <a:pt x="39" y="83"/>
                    </a:cubicBezTo>
                    <a:cubicBezTo>
                      <a:pt x="39" y="86"/>
                      <a:pt x="37" y="87"/>
                      <a:pt x="37" y="91"/>
                    </a:cubicBezTo>
                    <a:cubicBezTo>
                      <a:pt x="38" y="94"/>
                      <a:pt x="36" y="96"/>
                      <a:pt x="34" y="98"/>
                    </a:cubicBezTo>
                    <a:cubicBezTo>
                      <a:pt x="32" y="99"/>
                      <a:pt x="37" y="105"/>
                      <a:pt x="37" y="107"/>
                    </a:cubicBezTo>
                    <a:cubicBezTo>
                      <a:pt x="36" y="110"/>
                      <a:pt x="33" y="112"/>
                      <a:pt x="34" y="116"/>
                    </a:cubicBezTo>
                    <a:cubicBezTo>
                      <a:pt x="35" y="122"/>
                      <a:pt x="34" y="132"/>
                      <a:pt x="34" y="134"/>
                    </a:cubicBezTo>
                    <a:cubicBezTo>
                      <a:pt x="34" y="136"/>
                      <a:pt x="31" y="136"/>
                      <a:pt x="32" y="139"/>
                    </a:cubicBezTo>
                    <a:cubicBezTo>
                      <a:pt x="32" y="143"/>
                      <a:pt x="30" y="144"/>
                      <a:pt x="29" y="149"/>
                    </a:cubicBezTo>
                    <a:cubicBezTo>
                      <a:pt x="28" y="155"/>
                      <a:pt x="24" y="162"/>
                      <a:pt x="23" y="167"/>
                    </a:cubicBezTo>
                    <a:cubicBezTo>
                      <a:pt x="21" y="171"/>
                      <a:pt x="21" y="173"/>
                      <a:pt x="19" y="173"/>
                    </a:cubicBezTo>
                    <a:cubicBezTo>
                      <a:pt x="17" y="173"/>
                      <a:pt x="16" y="175"/>
                      <a:pt x="18" y="179"/>
                    </a:cubicBezTo>
                    <a:cubicBezTo>
                      <a:pt x="20" y="182"/>
                      <a:pt x="17" y="185"/>
                      <a:pt x="19" y="189"/>
                    </a:cubicBezTo>
                    <a:cubicBezTo>
                      <a:pt x="21" y="193"/>
                      <a:pt x="20" y="194"/>
                      <a:pt x="19" y="197"/>
                    </a:cubicBezTo>
                    <a:cubicBezTo>
                      <a:pt x="18" y="201"/>
                      <a:pt x="17" y="201"/>
                      <a:pt x="17" y="204"/>
                    </a:cubicBezTo>
                    <a:cubicBezTo>
                      <a:pt x="17" y="207"/>
                      <a:pt x="14" y="210"/>
                      <a:pt x="16" y="213"/>
                    </a:cubicBezTo>
                    <a:cubicBezTo>
                      <a:pt x="17" y="217"/>
                      <a:pt x="17" y="218"/>
                      <a:pt x="15" y="218"/>
                    </a:cubicBezTo>
                    <a:cubicBezTo>
                      <a:pt x="13" y="218"/>
                      <a:pt x="12" y="221"/>
                      <a:pt x="12" y="227"/>
                    </a:cubicBezTo>
                    <a:cubicBezTo>
                      <a:pt x="11" y="233"/>
                      <a:pt x="11" y="233"/>
                      <a:pt x="15" y="232"/>
                    </a:cubicBezTo>
                    <a:cubicBezTo>
                      <a:pt x="20" y="232"/>
                      <a:pt x="16" y="218"/>
                      <a:pt x="19" y="218"/>
                    </a:cubicBezTo>
                    <a:cubicBezTo>
                      <a:pt x="22" y="218"/>
                      <a:pt x="19" y="216"/>
                      <a:pt x="22" y="215"/>
                    </a:cubicBezTo>
                    <a:cubicBezTo>
                      <a:pt x="25" y="214"/>
                      <a:pt x="22" y="217"/>
                      <a:pt x="24" y="218"/>
                    </a:cubicBezTo>
                    <a:cubicBezTo>
                      <a:pt x="26" y="218"/>
                      <a:pt x="27" y="220"/>
                      <a:pt x="25" y="221"/>
                    </a:cubicBezTo>
                    <a:cubicBezTo>
                      <a:pt x="22" y="223"/>
                      <a:pt x="25" y="226"/>
                      <a:pt x="24" y="228"/>
                    </a:cubicBezTo>
                    <a:cubicBezTo>
                      <a:pt x="23" y="230"/>
                      <a:pt x="21" y="232"/>
                      <a:pt x="22" y="235"/>
                    </a:cubicBezTo>
                    <a:cubicBezTo>
                      <a:pt x="23" y="237"/>
                      <a:pt x="21" y="237"/>
                      <a:pt x="21" y="240"/>
                    </a:cubicBezTo>
                    <a:cubicBezTo>
                      <a:pt x="20" y="243"/>
                      <a:pt x="22" y="243"/>
                      <a:pt x="21" y="244"/>
                    </a:cubicBezTo>
                    <a:cubicBezTo>
                      <a:pt x="20" y="244"/>
                      <a:pt x="23" y="247"/>
                      <a:pt x="21" y="247"/>
                    </a:cubicBezTo>
                    <a:cubicBezTo>
                      <a:pt x="19" y="247"/>
                      <a:pt x="20" y="250"/>
                      <a:pt x="21" y="252"/>
                    </a:cubicBezTo>
                    <a:cubicBezTo>
                      <a:pt x="22" y="254"/>
                      <a:pt x="19" y="253"/>
                      <a:pt x="17" y="254"/>
                    </a:cubicBezTo>
                    <a:cubicBezTo>
                      <a:pt x="15" y="256"/>
                      <a:pt x="19" y="258"/>
                      <a:pt x="18" y="260"/>
                    </a:cubicBezTo>
                    <a:cubicBezTo>
                      <a:pt x="17" y="262"/>
                      <a:pt x="14" y="259"/>
                      <a:pt x="13" y="257"/>
                    </a:cubicBezTo>
                    <a:cubicBezTo>
                      <a:pt x="11" y="256"/>
                      <a:pt x="15" y="254"/>
                      <a:pt x="16" y="252"/>
                    </a:cubicBezTo>
                    <a:cubicBezTo>
                      <a:pt x="18" y="250"/>
                      <a:pt x="15" y="245"/>
                      <a:pt x="12" y="246"/>
                    </a:cubicBezTo>
                    <a:cubicBezTo>
                      <a:pt x="9" y="247"/>
                      <a:pt x="15" y="250"/>
                      <a:pt x="15" y="253"/>
                    </a:cubicBezTo>
                    <a:cubicBezTo>
                      <a:pt x="15" y="255"/>
                      <a:pt x="10" y="252"/>
                      <a:pt x="10" y="255"/>
                    </a:cubicBezTo>
                    <a:cubicBezTo>
                      <a:pt x="10" y="257"/>
                      <a:pt x="7" y="256"/>
                      <a:pt x="6" y="258"/>
                    </a:cubicBezTo>
                    <a:cubicBezTo>
                      <a:pt x="4" y="260"/>
                      <a:pt x="8" y="261"/>
                      <a:pt x="6" y="262"/>
                    </a:cubicBezTo>
                    <a:cubicBezTo>
                      <a:pt x="4" y="262"/>
                      <a:pt x="1" y="265"/>
                      <a:pt x="1" y="267"/>
                    </a:cubicBezTo>
                    <a:cubicBezTo>
                      <a:pt x="1" y="269"/>
                      <a:pt x="3" y="269"/>
                      <a:pt x="3" y="267"/>
                    </a:cubicBezTo>
                    <a:cubicBezTo>
                      <a:pt x="3" y="265"/>
                      <a:pt x="6" y="265"/>
                      <a:pt x="7" y="267"/>
                    </a:cubicBezTo>
                    <a:cubicBezTo>
                      <a:pt x="8" y="269"/>
                      <a:pt x="9" y="267"/>
                      <a:pt x="11" y="268"/>
                    </a:cubicBezTo>
                    <a:cubicBezTo>
                      <a:pt x="14" y="268"/>
                      <a:pt x="13" y="272"/>
                      <a:pt x="12" y="272"/>
                    </a:cubicBezTo>
                    <a:cubicBezTo>
                      <a:pt x="11" y="272"/>
                      <a:pt x="9" y="274"/>
                      <a:pt x="10" y="277"/>
                    </a:cubicBezTo>
                    <a:cubicBezTo>
                      <a:pt x="10" y="279"/>
                      <a:pt x="15" y="277"/>
                      <a:pt x="17" y="277"/>
                    </a:cubicBezTo>
                    <a:cubicBezTo>
                      <a:pt x="19" y="278"/>
                      <a:pt x="18" y="282"/>
                      <a:pt x="17" y="281"/>
                    </a:cubicBezTo>
                    <a:cubicBezTo>
                      <a:pt x="16" y="279"/>
                      <a:pt x="13" y="277"/>
                      <a:pt x="12" y="279"/>
                    </a:cubicBezTo>
                    <a:cubicBezTo>
                      <a:pt x="11" y="282"/>
                      <a:pt x="9" y="280"/>
                      <a:pt x="7" y="280"/>
                    </a:cubicBezTo>
                    <a:cubicBezTo>
                      <a:pt x="5" y="279"/>
                      <a:pt x="0" y="283"/>
                      <a:pt x="2" y="284"/>
                    </a:cubicBezTo>
                    <a:cubicBezTo>
                      <a:pt x="4" y="286"/>
                      <a:pt x="4" y="288"/>
                      <a:pt x="5" y="288"/>
                    </a:cubicBezTo>
                    <a:cubicBezTo>
                      <a:pt x="6" y="288"/>
                      <a:pt x="8" y="287"/>
                      <a:pt x="9" y="285"/>
                    </a:cubicBezTo>
                    <a:cubicBezTo>
                      <a:pt x="9" y="284"/>
                      <a:pt x="12" y="282"/>
                      <a:pt x="12" y="286"/>
                    </a:cubicBezTo>
                    <a:cubicBezTo>
                      <a:pt x="12" y="289"/>
                      <a:pt x="9" y="287"/>
                      <a:pt x="8" y="289"/>
                    </a:cubicBezTo>
                    <a:cubicBezTo>
                      <a:pt x="7" y="291"/>
                      <a:pt x="6" y="292"/>
                      <a:pt x="4" y="294"/>
                    </a:cubicBezTo>
                    <a:cubicBezTo>
                      <a:pt x="2" y="295"/>
                      <a:pt x="4" y="298"/>
                      <a:pt x="5" y="297"/>
                    </a:cubicBezTo>
                    <a:cubicBezTo>
                      <a:pt x="7" y="296"/>
                      <a:pt x="5" y="299"/>
                      <a:pt x="7" y="300"/>
                    </a:cubicBezTo>
                    <a:cubicBezTo>
                      <a:pt x="10" y="300"/>
                      <a:pt x="10" y="298"/>
                      <a:pt x="10" y="297"/>
                    </a:cubicBezTo>
                    <a:cubicBezTo>
                      <a:pt x="9" y="295"/>
                      <a:pt x="11" y="291"/>
                      <a:pt x="13" y="293"/>
                    </a:cubicBezTo>
                    <a:cubicBezTo>
                      <a:pt x="15" y="295"/>
                      <a:pt x="12" y="297"/>
                      <a:pt x="12" y="298"/>
                    </a:cubicBezTo>
                    <a:cubicBezTo>
                      <a:pt x="12" y="300"/>
                      <a:pt x="11" y="303"/>
                      <a:pt x="11" y="305"/>
                    </a:cubicBezTo>
                    <a:cubicBezTo>
                      <a:pt x="11" y="307"/>
                      <a:pt x="9" y="305"/>
                      <a:pt x="9" y="308"/>
                    </a:cubicBezTo>
                    <a:cubicBezTo>
                      <a:pt x="9" y="310"/>
                      <a:pt x="4" y="308"/>
                      <a:pt x="6" y="310"/>
                    </a:cubicBezTo>
                    <a:cubicBezTo>
                      <a:pt x="8" y="311"/>
                      <a:pt x="5" y="313"/>
                      <a:pt x="6" y="315"/>
                    </a:cubicBezTo>
                    <a:cubicBezTo>
                      <a:pt x="7" y="316"/>
                      <a:pt x="8" y="313"/>
                      <a:pt x="10" y="313"/>
                    </a:cubicBezTo>
                    <a:cubicBezTo>
                      <a:pt x="12" y="314"/>
                      <a:pt x="12" y="315"/>
                      <a:pt x="14" y="313"/>
                    </a:cubicBezTo>
                    <a:cubicBezTo>
                      <a:pt x="17" y="312"/>
                      <a:pt x="18" y="315"/>
                      <a:pt x="16" y="316"/>
                    </a:cubicBezTo>
                    <a:cubicBezTo>
                      <a:pt x="14" y="317"/>
                      <a:pt x="11" y="320"/>
                      <a:pt x="12" y="320"/>
                    </a:cubicBezTo>
                    <a:cubicBezTo>
                      <a:pt x="13" y="320"/>
                      <a:pt x="16" y="318"/>
                      <a:pt x="17" y="320"/>
                    </a:cubicBezTo>
                    <a:cubicBezTo>
                      <a:pt x="18" y="323"/>
                      <a:pt x="20" y="322"/>
                      <a:pt x="20" y="320"/>
                    </a:cubicBezTo>
                    <a:cubicBezTo>
                      <a:pt x="20" y="317"/>
                      <a:pt x="24" y="319"/>
                      <a:pt x="25" y="321"/>
                    </a:cubicBezTo>
                    <a:cubicBezTo>
                      <a:pt x="26" y="323"/>
                      <a:pt x="20" y="325"/>
                      <a:pt x="18" y="324"/>
                    </a:cubicBezTo>
                    <a:cubicBezTo>
                      <a:pt x="15" y="324"/>
                      <a:pt x="14" y="327"/>
                      <a:pt x="15" y="329"/>
                    </a:cubicBezTo>
                    <a:cubicBezTo>
                      <a:pt x="17" y="331"/>
                      <a:pt x="19" y="329"/>
                      <a:pt x="21" y="327"/>
                    </a:cubicBezTo>
                    <a:cubicBezTo>
                      <a:pt x="23" y="325"/>
                      <a:pt x="33" y="326"/>
                      <a:pt x="34" y="328"/>
                    </a:cubicBezTo>
                    <a:cubicBezTo>
                      <a:pt x="34" y="330"/>
                      <a:pt x="29" y="328"/>
                      <a:pt x="29" y="329"/>
                    </a:cubicBezTo>
                    <a:cubicBezTo>
                      <a:pt x="28" y="331"/>
                      <a:pt x="24" y="332"/>
                      <a:pt x="24" y="330"/>
                    </a:cubicBezTo>
                    <a:cubicBezTo>
                      <a:pt x="23" y="329"/>
                      <a:pt x="19" y="331"/>
                      <a:pt x="19" y="333"/>
                    </a:cubicBezTo>
                    <a:cubicBezTo>
                      <a:pt x="19" y="335"/>
                      <a:pt x="16" y="335"/>
                      <a:pt x="19" y="336"/>
                    </a:cubicBezTo>
                    <a:cubicBezTo>
                      <a:pt x="23" y="337"/>
                      <a:pt x="22" y="333"/>
                      <a:pt x="27" y="333"/>
                    </a:cubicBezTo>
                    <a:cubicBezTo>
                      <a:pt x="32" y="334"/>
                      <a:pt x="34" y="329"/>
                      <a:pt x="36" y="331"/>
                    </a:cubicBezTo>
                    <a:cubicBezTo>
                      <a:pt x="37" y="334"/>
                      <a:pt x="32" y="337"/>
                      <a:pt x="30" y="335"/>
                    </a:cubicBezTo>
                    <a:cubicBezTo>
                      <a:pt x="28" y="333"/>
                      <a:pt x="25" y="336"/>
                      <a:pt x="26" y="339"/>
                    </a:cubicBezTo>
                    <a:cubicBezTo>
                      <a:pt x="26" y="341"/>
                      <a:pt x="20" y="338"/>
                      <a:pt x="17" y="338"/>
                    </a:cubicBezTo>
                    <a:cubicBezTo>
                      <a:pt x="14" y="337"/>
                      <a:pt x="15" y="340"/>
                      <a:pt x="18" y="343"/>
                    </a:cubicBezTo>
                    <a:cubicBezTo>
                      <a:pt x="20" y="346"/>
                      <a:pt x="22" y="343"/>
                      <a:pt x="25" y="345"/>
                    </a:cubicBezTo>
                    <a:cubicBezTo>
                      <a:pt x="28" y="347"/>
                      <a:pt x="28" y="349"/>
                      <a:pt x="30" y="347"/>
                    </a:cubicBezTo>
                    <a:cubicBezTo>
                      <a:pt x="32" y="345"/>
                      <a:pt x="30" y="345"/>
                      <a:pt x="29" y="344"/>
                    </a:cubicBezTo>
                    <a:cubicBezTo>
                      <a:pt x="27" y="343"/>
                      <a:pt x="28" y="340"/>
                      <a:pt x="32" y="342"/>
                    </a:cubicBezTo>
                    <a:cubicBezTo>
                      <a:pt x="35" y="343"/>
                      <a:pt x="39" y="340"/>
                      <a:pt x="38" y="336"/>
                    </a:cubicBezTo>
                    <a:cubicBezTo>
                      <a:pt x="37" y="332"/>
                      <a:pt x="41" y="330"/>
                      <a:pt x="45" y="328"/>
                    </a:cubicBezTo>
                    <a:cubicBezTo>
                      <a:pt x="49" y="327"/>
                      <a:pt x="47" y="331"/>
                      <a:pt x="44" y="332"/>
                    </a:cubicBezTo>
                    <a:cubicBezTo>
                      <a:pt x="41" y="334"/>
                      <a:pt x="41" y="335"/>
                      <a:pt x="43" y="337"/>
                    </a:cubicBezTo>
                    <a:cubicBezTo>
                      <a:pt x="45" y="339"/>
                      <a:pt x="48" y="335"/>
                      <a:pt x="50" y="337"/>
                    </a:cubicBezTo>
                    <a:cubicBezTo>
                      <a:pt x="52" y="339"/>
                      <a:pt x="47" y="339"/>
                      <a:pt x="46" y="341"/>
                    </a:cubicBezTo>
                    <a:cubicBezTo>
                      <a:pt x="45" y="343"/>
                      <a:pt x="49" y="345"/>
                      <a:pt x="46" y="347"/>
                    </a:cubicBezTo>
                    <a:cubicBezTo>
                      <a:pt x="43" y="348"/>
                      <a:pt x="45" y="341"/>
                      <a:pt x="43" y="340"/>
                    </a:cubicBezTo>
                    <a:cubicBezTo>
                      <a:pt x="41" y="339"/>
                      <a:pt x="39" y="341"/>
                      <a:pt x="41" y="345"/>
                    </a:cubicBezTo>
                    <a:cubicBezTo>
                      <a:pt x="43" y="349"/>
                      <a:pt x="39" y="346"/>
                      <a:pt x="37" y="344"/>
                    </a:cubicBezTo>
                    <a:cubicBezTo>
                      <a:pt x="35" y="342"/>
                      <a:pt x="33" y="344"/>
                      <a:pt x="35" y="347"/>
                    </a:cubicBezTo>
                    <a:cubicBezTo>
                      <a:pt x="37" y="349"/>
                      <a:pt x="31" y="346"/>
                      <a:pt x="31" y="350"/>
                    </a:cubicBezTo>
                    <a:cubicBezTo>
                      <a:pt x="31" y="353"/>
                      <a:pt x="34" y="350"/>
                      <a:pt x="37" y="351"/>
                    </a:cubicBezTo>
                    <a:cubicBezTo>
                      <a:pt x="40" y="352"/>
                      <a:pt x="39" y="356"/>
                      <a:pt x="41" y="358"/>
                    </a:cubicBezTo>
                    <a:cubicBezTo>
                      <a:pt x="43" y="360"/>
                      <a:pt x="41" y="353"/>
                      <a:pt x="44" y="352"/>
                    </a:cubicBezTo>
                    <a:cubicBezTo>
                      <a:pt x="46" y="351"/>
                      <a:pt x="44" y="358"/>
                      <a:pt x="50" y="359"/>
                    </a:cubicBezTo>
                    <a:cubicBezTo>
                      <a:pt x="55" y="361"/>
                      <a:pt x="50" y="358"/>
                      <a:pt x="52" y="357"/>
                    </a:cubicBezTo>
                    <a:cubicBezTo>
                      <a:pt x="55" y="355"/>
                      <a:pt x="58" y="362"/>
                      <a:pt x="61" y="363"/>
                    </a:cubicBezTo>
                    <a:cubicBezTo>
                      <a:pt x="63" y="363"/>
                      <a:pt x="62" y="359"/>
                      <a:pt x="60" y="357"/>
                    </a:cubicBezTo>
                    <a:cubicBezTo>
                      <a:pt x="58" y="355"/>
                      <a:pt x="62" y="356"/>
                      <a:pt x="64" y="357"/>
                    </a:cubicBezTo>
                    <a:cubicBezTo>
                      <a:pt x="67" y="358"/>
                      <a:pt x="69" y="359"/>
                      <a:pt x="70" y="357"/>
                    </a:cubicBezTo>
                    <a:cubicBezTo>
                      <a:pt x="70" y="356"/>
                      <a:pt x="70" y="356"/>
                      <a:pt x="71" y="356"/>
                    </a:cubicBezTo>
                    <a:cubicBezTo>
                      <a:pt x="68" y="354"/>
                      <a:pt x="59" y="356"/>
                      <a:pt x="57" y="355"/>
                    </a:cubicBezTo>
                    <a:cubicBezTo>
                      <a:pt x="56" y="355"/>
                      <a:pt x="57" y="334"/>
                      <a:pt x="57" y="329"/>
                    </a:cubicBezTo>
                    <a:cubicBezTo>
                      <a:pt x="57" y="329"/>
                      <a:pt x="57" y="329"/>
                      <a:pt x="57" y="329"/>
                    </a:cubicBezTo>
                    <a:cubicBezTo>
                      <a:pt x="55" y="329"/>
                      <a:pt x="49" y="329"/>
                      <a:pt x="50" y="326"/>
                    </a:cubicBezTo>
                    <a:cubicBezTo>
                      <a:pt x="50" y="325"/>
                      <a:pt x="51" y="325"/>
                      <a:pt x="51" y="325"/>
                    </a:cubicBezTo>
                    <a:cubicBezTo>
                      <a:pt x="50" y="324"/>
                      <a:pt x="49" y="323"/>
                      <a:pt x="47" y="322"/>
                    </a:cubicBezTo>
                    <a:cubicBezTo>
                      <a:pt x="43" y="321"/>
                      <a:pt x="35" y="322"/>
                      <a:pt x="33" y="32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4" name="Freeform 111">
                <a:extLst>
                  <a:ext uri="{FF2B5EF4-FFF2-40B4-BE49-F238E27FC236}">
                    <a16:creationId xmlns:a16="http://schemas.microsoft.com/office/drawing/2014/main" id="{B03CEC0E-7512-4246-8F1E-DA7C4B7A2B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5291" y="4454923"/>
                <a:ext cx="163114" cy="166878"/>
              </a:xfrm>
              <a:custGeom>
                <a:avLst/>
                <a:gdLst>
                  <a:gd name="T0" fmla="*/ 69 w 71"/>
                  <a:gd name="T1" fmla="*/ 39 h 72"/>
                  <a:gd name="T2" fmla="*/ 62 w 71"/>
                  <a:gd name="T3" fmla="*/ 40 h 72"/>
                  <a:gd name="T4" fmla="*/ 58 w 71"/>
                  <a:gd name="T5" fmla="*/ 31 h 72"/>
                  <a:gd name="T6" fmla="*/ 52 w 71"/>
                  <a:gd name="T7" fmla="*/ 24 h 72"/>
                  <a:gd name="T8" fmla="*/ 45 w 71"/>
                  <a:gd name="T9" fmla="*/ 24 h 72"/>
                  <a:gd name="T10" fmla="*/ 41 w 71"/>
                  <a:gd name="T11" fmla="*/ 17 h 72"/>
                  <a:gd name="T12" fmla="*/ 40 w 71"/>
                  <a:gd name="T13" fmla="*/ 7 h 72"/>
                  <a:gd name="T14" fmla="*/ 40 w 71"/>
                  <a:gd name="T15" fmla="*/ 3 h 72"/>
                  <a:gd name="T16" fmla="*/ 38 w 71"/>
                  <a:gd name="T17" fmla="*/ 3 h 72"/>
                  <a:gd name="T18" fmla="*/ 31 w 71"/>
                  <a:gd name="T19" fmla="*/ 0 h 72"/>
                  <a:gd name="T20" fmla="*/ 21 w 71"/>
                  <a:gd name="T21" fmla="*/ 1 h 72"/>
                  <a:gd name="T22" fmla="*/ 12 w 71"/>
                  <a:gd name="T23" fmla="*/ 3 h 72"/>
                  <a:gd name="T24" fmla="*/ 5 w 71"/>
                  <a:gd name="T25" fmla="*/ 10 h 72"/>
                  <a:gd name="T26" fmla="*/ 3 w 71"/>
                  <a:gd name="T27" fmla="*/ 23 h 72"/>
                  <a:gd name="T28" fmla="*/ 0 w 71"/>
                  <a:gd name="T29" fmla="*/ 23 h 72"/>
                  <a:gd name="T30" fmla="*/ 11 w 71"/>
                  <a:gd name="T31" fmla="*/ 34 h 72"/>
                  <a:gd name="T32" fmla="*/ 20 w 71"/>
                  <a:gd name="T33" fmla="*/ 40 h 72"/>
                  <a:gd name="T34" fmla="*/ 29 w 71"/>
                  <a:gd name="T35" fmla="*/ 44 h 72"/>
                  <a:gd name="T36" fmla="*/ 44 w 71"/>
                  <a:gd name="T37" fmla="*/ 52 h 72"/>
                  <a:gd name="T38" fmla="*/ 38 w 71"/>
                  <a:gd name="T39" fmla="*/ 62 h 72"/>
                  <a:gd name="T40" fmla="*/ 35 w 71"/>
                  <a:gd name="T41" fmla="*/ 68 h 72"/>
                  <a:gd name="T42" fmla="*/ 43 w 71"/>
                  <a:gd name="T43" fmla="*/ 69 h 72"/>
                  <a:gd name="T44" fmla="*/ 50 w 71"/>
                  <a:gd name="T45" fmla="*/ 70 h 72"/>
                  <a:gd name="T46" fmla="*/ 57 w 71"/>
                  <a:gd name="T47" fmla="*/ 69 h 72"/>
                  <a:gd name="T48" fmla="*/ 64 w 71"/>
                  <a:gd name="T49" fmla="*/ 66 h 72"/>
                  <a:gd name="T50" fmla="*/ 68 w 71"/>
                  <a:gd name="T51" fmla="*/ 54 h 72"/>
                  <a:gd name="T52" fmla="*/ 69 w 71"/>
                  <a:gd name="T53" fmla="*/ 39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1" h="72">
                    <a:moveTo>
                      <a:pt x="69" y="39"/>
                    </a:moveTo>
                    <a:cubicBezTo>
                      <a:pt x="66" y="37"/>
                      <a:pt x="63" y="40"/>
                      <a:pt x="62" y="40"/>
                    </a:cubicBezTo>
                    <a:cubicBezTo>
                      <a:pt x="61" y="40"/>
                      <a:pt x="59" y="34"/>
                      <a:pt x="58" y="31"/>
                    </a:cubicBezTo>
                    <a:cubicBezTo>
                      <a:pt x="57" y="28"/>
                      <a:pt x="54" y="23"/>
                      <a:pt x="52" y="24"/>
                    </a:cubicBezTo>
                    <a:cubicBezTo>
                      <a:pt x="50" y="26"/>
                      <a:pt x="51" y="24"/>
                      <a:pt x="45" y="24"/>
                    </a:cubicBezTo>
                    <a:cubicBezTo>
                      <a:pt x="40" y="23"/>
                      <a:pt x="40" y="22"/>
                      <a:pt x="41" y="17"/>
                    </a:cubicBezTo>
                    <a:cubicBezTo>
                      <a:pt x="43" y="12"/>
                      <a:pt x="38" y="8"/>
                      <a:pt x="40" y="7"/>
                    </a:cubicBezTo>
                    <a:cubicBezTo>
                      <a:pt x="41" y="6"/>
                      <a:pt x="41" y="5"/>
                      <a:pt x="40" y="3"/>
                    </a:cubicBezTo>
                    <a:cubicBezTo>
                      <a:pt x="39" y="3"/>
                      <a:pt x="39" y="3"/>
                      <a:pt x="38" y="3"/>
                    </a:cubicBezTo>
                    <a:cubicBezTo>
                      <a:pt x="36" y="3"/>
                      <a:pt x="34" y="0"/>
                      <a:pt x="31" y="0"/>
                    </a:cubicBezTo>
                    <a:cubicBezTo>
                      <a:pt x="27" y="0"/>
                      <a:pt x="24" y="0"/>
                      <a:pt x="21" y="1"/>
                    </a:cubicBezTo>
                    <a:cubicBezTo>
                      <a:pt x="19" y="2"/>
                      <a:pt x="14" y="1"/>
                      <a:pt x="12" y="3"/>
                    </a:cubicBezTo>
                    <a:cubicBezTo>
                      <a:pt x="9" y="5"/>
                      <a:pt x="5" y="9"/>
                      <a:pt x="5" y="10"/>
                    </a:cubicBezTo>
                    <a:cubicBezTo>
                      <a:pt x="6" y="12"/>
                      <a:pt x="4" y="22"/>
                      <a:pt x="3" y="23"/>
                    </a:cubicBezTo>
                    <a:cubicBezTo>
                      <a:pt x="3" y="23"/>
                      <a:pt x="1" y="23"/>
                      <a:pt x="0" y="23"/>
                    </a:cubicBezTo>
                    <a:cubicBezTo>
                      <a:pt x="2" y="26"/>
                      <a:pt x="8" y="32"/>
                      <a:pt x="11" y="34"/>
                    </a:cubicBezTo>
                    <a:cubicBezTo>
                      <a:pt x="16" y="37"/>
                      <a:pt x="15" y="39"/>
                      <a:pt x="20" y="40"/>
                    </a:cubicBezTo>
                    <a:cubicBezTo>
                      <a:pt x="25" y="40"/>
                      <a:pt x="28" y="42"/>
                      <a:pt x="29" y="44"/>
                    </a:cubicBezTo>
                    <a:cubicBezTo>
                      <a:pt x="31" y="46"/>
                      <a:pt x="43" y="50"/>
                      <a:pt x="44" y="52"/>
                    </a:cubicBezTo>
                    <a:cubicBezTo>
                      <a:pt x="45" y="53"/>
                      <a:pt x="38" y="58"/>
                      <a:pt x="38" y="62"/>
                    </a:cubicBezTo>
                    <a:cubicBezTo>
                      <a:pt x="38" y="67"/>
                      <a:pt x="35" y="66"/>
                      <a:pt x="35" y="68"/>
                    </a:cubicBezTo>
                    <a:cubicBezTo>
                      <a:pt x="35" y="69"/>
                      <a:pt x="41" y="68"/>
                      <a:pt x="43" y="69"/>
                    </a:cubicBezTo>
                    <a:cubicBezTo>
                      <a:pt x="45" y="71"/>
                      <a:pt x="48" y="69"/>
                      <a:pt x="50" y="70"/>
                    </a:cubicBezTo>
                    <a:cubicBezTo>
                      <a:pt x="53" y="72"/>
                      <a:pt x="56" y="68"/>
                      <a:pt x="57" y="69"/>
                    </a:cubicBezTo>
                    <a:cubicBezTo>
                      <a:pt x="59" y="69"/>
                      <a:pt x="61" y="65"/>
                      <a:pt x="64" y="66"/>
                    </a:cubicBezTo>
                    <a:cubicBezTo>
                      <a:pt x="66" y="66"/>
                      <a:pt x="68" y="57"/>
                      <a:pt x="68" y="54"/>
                    </a:cubicBezTo>
                    <a:cubicBezTo>
                      <a:pt x="67" y="50"/>
                      <a:pt x="71" y="40"/>
                      <a:pt x="69" y="3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5" name="Freeform 112">
                <a:extLst>
                  <a:ext uri="{FF2B5EF4-FFF2-40B4-BE49-F238E27FC236}">
                    <a16:creationId xmlns:a16="http://schemas.microsoft.com/office/drawing/2014/main" id="{6B5C1B4F-ECCE-4281-8A4B-D501B43624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13665" y="3881514"/>
                <a:ext cx="62736" cy="50189"/>
              </a:xfrm>
              <a:custGeom>
                <a:avLst/>
                <a:gdLst>
                  <a:gd name="T0" fmla="*/ 26 w 27"/>
                  <a:gd name="T1" fmla="*/ 17 h 22"/>
                  <a:gd name="T2" fmla="*/ 27 w 27"/>
                  <a:gd name="T3" fmla="*/ 12 h 22"/>
                  <a:gd name="T4" fmla="*/ 19 w 27"/>
                  <a:gd name="T5" fmla="*/ 2 h 22"/>
                  <a:gd name="T6" fmla="*/ 15 w 27"/>
                  <a:gd name="T7" fmla="*/ 2 h 22"/>
                  <a:gd name="T8" fmla="*/ 7 w 27"/>
                  <a:gd name="T9" fmla="*/ 0 h 22"/>
                  <a:gd name="T10" fmla="*/ 3 w 27"/>
                  <a:gd name="T11" fmla="*/ 0 h 22"/>
                  <a:gd name="T12" fmla="*/ 2 w 27"/>
                  <a:gd name="T13" fmla="*/ 3 h 22"/>
                  <a:gd name="T14" fmla="*/ 4 w 27"/>
                  <a:gd name="T15" fmla="*/ 10 h 22"/>
                  <a:gd name="T16" fmla="*/ 9 w 27"/>
                  <a:gd name="T17" fmla="*/ 9 h 22"/>
                  <a:gd name="T18" fmla="*/ 12 w 27"/>
                  <a:gd name="T19" fmla="*/ 12 h 22"/>
                  <a:gd name="T20" fmla="*/ 18 w 27"/>
                  <a:gd name="T21" fmla="*/ 17 h 22"/>
                  <a:gd name="T22" fmla="*/ 23 w 27"/>
                  <a:gd name="T23" fmla="*/ 22 h 22"/>
                  <a:gd name="T24" fmla="*/ 25 w 27"/>
                  <a:gd name="T25" fmla="*/ 22 h 22"/>
                  <a:gd name="T26" fmla="*/ 26 w 27"/>
                  <a:gd name="T27" fmla="*/ 17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7" h="22">
                    <a:moveTo>
                      <a:pt x="26" y="17"/>
                    </a:moveTo>
                    <a:cubicBezTo>
                      <a:pt x="25" y="16"/>
                      <a:pt x="26" y="14"/>
                      <a:pt x="27" y="12"/>
                    </a:cubicBezTo>
                    <a:cubicBezTo>
                      <a:pt x="24" y="9"/>
                      <a:pt x="21" y="5"/>
                      <a:pt x="19" y="2"/>
                    </a:cubicBezTo>
                    <a:cubicBezTo>
                      <a:pt x="17" y="2"/>
                      <a:pt x="16" y="2"/>
                      <a:pt x="15" y="2"/>
                    </a:cubicBezTo>
                    <a:cubicBezTo>
                      <a:pt x="13" y="0"/>
                      <a:pt x="9" y="1"/>
                      <a:pt x="7" y="0"/>
                    </a:cubicBezTo>
                    <a:cubicBezTo>
                      <a:pt x="6" y="0"/>
                      <a:pt x="4" y="0"/>
                      <a:pt x="3" y="0"/>
                    </a:cubicBezTo>
                    <a:cubicBezTo>
                      <a:pt x="3" y="2"/>
                      <a:pt x="3" y="3"/>
                      <a:pt x="2" y="3"/>
                    </a:cubicBezTo>
                    <a:cubicBezTo>
                      <a:pt x="0" y="4"/>
                      <a:pt x="0" y="9"/>
                      <a:pt x="4" y="10"/>
                    </a:cubicBezTo>
                    <a:cubicBezTo>
                      <a:pt x="8" y="12"/>
                      <a:pt x="7" y="9"/>
                      <a:pt x="9" y="9"/>
                    </a:cubicBezTo>
                    <a:cubicBezTo>
                      <a:pt x="11" y="9"/>
                      <a:pt x="11" y="12"/>
                      <a:pt x="12" y="12"/>
                    </a:cubicBezTo>
                    <a:cubicBezTo>
                      <a:pt x="14" y="12"/>
                      <a:pt x="18" y="15"/>
                      <a:pt x="18" y="17"/>
                    </a:cubicBezTo>
                    <a:cubicBezTo>
                      <a:pt x="18" y="20"/>
                      <a:pt x="20" y="22"/>
                      <a:pt x="23" y="22"/>
                    </a:cubicBezTo>
                    <a:cubicBezTo>
                      <a:pt x="23" y="22"/>
                      <a:pt x="24" y="22"/>
                      <a:pt x="25" y="22"/>
                    </a:cubicBezTo>
                    <a:cubicBezTo>
                      <a:pt x="25" y="20"/>
                      <a:pt x="26" y="18"/>
                      <a:pt x="26" y="1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6" name="Freeform 113">
                <a:extLst>
                  <a:ext uri="{FF2B5EF4-FFF2-40B4-BE49-F238E27FC236}">
                    <a16:creationId xmlns:a16="http://schemas.microsoft.com/office/drawing/2014/main" id="{E11AF6E2-AF0F-4D82-B08F-14B9C0B30A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71383" y="3906608"/>
                <a:ext cx="109161" cy="50189"/>
              </a:xfrm>
              <a:custGeom>
                <a:avLst/>
                <a:gdLst>
                  <a:gd name="T0" fmla="*/ 42 w 47"/>
                  <a:gd name="T1" fmla="*/ 6 h 22"/>
                  <a:gd name="T2" fmla="*/ 30 w 47"/>
                  <a:gd name="T3" fmla="*/ 1 h 22"/>
                  <a:gd name="T4" fmla="*/ 19 w 47"/>
                  <a:gd name="T5" fmla="*/ 5 h 22"/>
                  <a:gd name="T6" fmla="*/ 6 w 47"/>
                  <a:gd name="T7" fmla="*/ 5 h 22"/>
                  <a:gd name="T8" fmla="*/ 2 w 47"/>
                  <a:gd name="T9" fmla="*/ 1 h 22"/>
                  <a:gd name="T10" fmla="*/ 1 w 47"/>
                  <a:gd name="T11" fmla="*/ 6 h 22"/>
                  <a:gd name="T12" fmla="*/ 0 w 47"/>
                  <a:gd name="T13" fmla="*/ 11 h 22"/>
                  <a:gd name="T14" fmla="*/ 10 w 47"/>
                  <a:gd name="T15" fmla="*/ 15 h 22"/>
                  <a:gd name="T16" fmla="*/ 16 w 47"/>
                  <a:gd name="T17" fmla="*/ 19 h 22"/>
                  <a:gd name="T18" fmla="*/ 22 w 47"/>
                  <a:gd name="T19" fmla="*/ 18 h 22"/>
                  <a:gd name="T20" fmla="*/ 20 w 47"/>
                  <a:gd name="T21" fmla="*/ 13 h 22"/>
                  <a:gd name="T22" fmla="*/ 24 w 47"/>
                  <a:gd name="T23" fmla="*/ 9 h 22"/>
                  <a:gd name="T24" fmla="*/ 33 w 47"/>
                  <a:gd name="T25" fmla="*/ 6 h 22"/>
                  <a:gd name="T26" fmla="*/ 35 w 47"/>
                  <a:gd name="T27" fmla="*/ 12 h 22"/>
                  <a:gd name="T28" fmla="*/ 40 w 47"/>
                  <a:gd name="T29" fmla="*/ 20 h 22"/>
                  <a:gd name="T30" fmla="*/ 46 w 47"/>
                  <a:gd name="T31" fmla="*/ 15 h 22"/>
                  <a:gd name="T32" fmla="*/ 47 w 47"/>
                  <a:gd name="T33" fmla="*/ 13 h 22"/>
                  <a:gd name="T34" fmla="*/ 42 w 47"/>
                  <a:gd name="T35" fmla="*/ 6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7" h="22">
                    <a:moveTo>
                      <a:pt x="42" y="6"/>
                    </a:moveTo>
                    <a:cubicBezTo>
                      <a:pt x="39" y="2"/>
                      <a:pt x="34" y="2"/>
                      <a:pt x="30" y="1"/>
                    </a:cubicBezTo>
                    <a:cubicBezTo>
                      <a:pt x="27" y="0"/>
                      <a:pt x="23" y="1"/>
                      <a:pt x="19" y="5"/>
                    </a:cubicBezTo>
                    <a:cubicBezTo>
                      <a:pt x="15" y="9"/>
                      <a:pt x="10" y="7"/>
                      <a:pt x="6" y="5"/>
                    </a:cubicBezTo>
                    <a:cubicBezTo>
                      <a:pt x="5" y="4"/>
                      <a:pt x="4" y="3"/>
                      <a:pt x="2" y="1"/>
                    </a:cubicBezTo>
                    <a:cubicBezTo>
                      <a:pt x="1" y="3"/>
                      <a:pt x="0" y="5"/>
                      <a:pt x="1" y="6"/>
                    </a:cubicBezTo>
                    <a:cubicBezTo>
                      <a:pt x="1" y="7"/>
                      <a:pt x="0" y="9"/>
                      <a:pt x="0" y="11"/>
                    </a:cubicBezTo>
                    <a:cubicBezTo>
                      <a:pt x="3" y="11"/>
                      <a:pt x="8" y="13"/>
                      <a:pt x="10" y="15"/>
                    </a:cubicBezTo>
                    <a:cubicBezTo>
                      <a:pt x="13" y="19"/>
                      <a:pt x="14" y="16"/>
                      <a:pt x="16" y="19"/>
                    </a:cubicBezTo>
                    <a:cubicBezTo>
                      <a:pt x="18" y="22"/>
                      <a:pt x="21" y="20"/>
                      <a:pt x="22" y="18"/>
                    </a:cubicBezTo>
                    <a:cubicBezTo>
                      <a:pt x="23" y="16"/>
                      <a:pt x="20" y="15"/>
                      <a:pt x="20" y="13"/>
                    </a:cubicBezTo>
                    <a:cubicBezTo>
                      <a:pt x="19" y="11"/>
                      <a:pt x="23" y="12"/>
                      <a:pt x="24" y="9"/>
                    </a:cubicBezTo>
                    <a:cubicBezTo>
                      <a:pt x="25" y="7"/>
                      <a:pt x="31" y="5"/>
                      <a:pt x="33" y="6"/>
                    </a:cubicBezTo>
                    <a:cubicBezTo>
                      <a:pt x="36" y="8"/>
                      <a:pt x="38" y="9"/>
                      <a:pt x="35" y="12"/>
                    </a:cubicBezTo>
                    <a:cubicBezTo>
                      <a:pt x="34" y="14"/>
                      <a:pt x="37" y="18"/>
                      <a:pt x="40" y="20"/>
                    </a:cubicBezTo>
                    <a:cubicBezTo>
                      <a:pt x="42" y="18"/>
                      <a:pt x="45" y="16"/>
                      <a:pt x="46" y="15"/>
                    </a:cubicBezTo>
                    <a:cubicBezTo>
                      <a:pt x="46" y="15"/>
                      <a:pt x="46" y="14"/>
                      <a:pt x="47" y="13"/>
                    </a:cubicBezTo>
                    <a:cubicBezTo>
                      <a:pt x="45" y="12"/>
                      <a:pt x="44" y="9"/>
                      <a:pt x="42" y="6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7" name="Freeform 114">
                <a:extLst>
                  <a:ext uri="{FF2B5EF4-FFF2-40B4-BE49-F238E27FC236}">
                    <a16:creationId xmlns:a16="http://schemas.microsoft.com/office/drawing/2014/main" id="{78F346BA-FA7E-4DF8-ACE9-939A3B8FCA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45411" y="3851400"/>
                <a:ext cx="220832" cy="316191"/>
              </a:xfrm>
              <a:custGeom>
                <a:avLst/>
                <a:gdLst>
                  <a:gd name="T0" fmla="*/ 15 w 96"/>
                  <a:gd name="T1" fmla="*/ 100 h 137"/>
                  <a:gd name="T2" fmla="*/ 21 w 96"/>
                  <a:gd name="T3" fmla="*/ 100 h 137"/>
                  <a:gd name="T4" fmla="*/ 26 w 96"/>
                  <a:gd name="T5" fmla="*/ 105 h 137"/>
                  <a:gd name="T6" fmla="*/ 27 w 96"/>
                  <a:gd name="T7" fmla="*/ 105 h 137"/>
                  <a:gd name="T8" fmla="*/ 34 w 96"/>
                  <a:gd name="T9" fmla="*/ 105 h 137"/>
                  <a:gd name="T10" fmla="*/ 39 w 96"/>
                  <a:gd name="T11" fmla="*/ 112 h 137"/>
                  <a:gd name="T12" fmla="*/ 44 w 96"/>
                  <a:gd name="T13" fmla="*/ 117 h 137"/>
                  <a:gd name="T14" fmla="*/ 47 w 96"/>
                  <a:gd name="T15" fmla="*/ 122 h 137"/>
                  <a:gd name="T16" fmla="*/ 56 w 96"/>
                  <a:gd name="T17" fmla="*/ 123 h 137"/>
                  <a:gd name="T18" fmla="*/ 61 w 96"/>
                  <a:gd name="T19" fmla="*/ 122 h 137"/>
                  <a:gd name="T20" fmla="*/ 66 w 96"/>
                  <a:gd name="T21" fmla="*/ 122 h 137"/>
                  <a:gd name="T22" fmla="*/ 72 w 96"/>
                  <a:gd name="T23" fmla="*/ 127 h 137"/>
                  <a:gd name="T24" fmla="*/ 68 w 96"/>
                  <a:gd name="T25" fmla="*/ 133 h 137"/>
                  <a:gd name="T26" fmla="*/ 72 w 96"/>
                  <a:gd name="T27" fmla="*/ 137 h 137"/>
                  <a:gd name="T28" fmla="*/ 73 w 96"/>
                  <a:gd name="T29" fmla="*/ 137 h 137"/>
                  <a:gd name="T30" fmla="*/ 76 w 96"/>
                  <a:gd name="T31" fmla="*/ 126 h 137"/>
                  <a:gd name="T32" fmla="*/ 78 w 96"/>
                  <a:gd name="T33" fmla="*/ 115 h 137"/>
                  <a:gd name="T34" fmla="*/ 72 w 96"/>
                  <a:gd name="T35" fmla="*/ 102 h 137"/>
                  <a:gd name="T36" fmla="*/ 78 w 96"/>
                  <a:gd name="T37" fmla="*/ 98 h 137"/>
                  <a:gd name="T38" fmla="*/ 76 w 96"/>
                  <a:gd name="T39" fmla="*/ 95 h 137"/>
                  <a:gd name="T40" fmla="*/ 74 w 96"/>
                  <a:gd name="T41" fmla="*/ 90 h 137"/>
                  <a:gd name="T42" fmla="*/ 86 w 96"/>
                  <a:gd name="T43" fmla="*/ 89 h 137"/>
                  <a:gd name="T44" fmla="*/ 95 w 96"/>
                  <a:gd name="T45" fmla="*/ 86 h 137"/>
                  <a:gd name="T46" fmla="*/ 94 w 96"/>
                  <a:gd name="T47" fmla="*/ 82 h 137"/>
                  <a:gd name="T48" fmla="*/ 94 w 96"/>
                  <a:gd name="T49" fmla="*/ 76 h 137"/>
                  <a:gd name="T50" fmla="*/ 91 w 96"/>
                  <a:gd name="T51" fmla="*/ 70 h 137"/>
                  <a:gd name="T52" fmla="*/ 93 w 96"/>
                  <a:gd name="T53" fmla="*/ 55 h 137"/>
                  <a:gd name="T54" fmla="*/ 84 w 96"/>
                  <a:gd name="T55" fmla="*/ 53 h 137"/>
                  <a:gd name="T56" fmla="*/ 72 w 96"/>
                  <a:gd name="T57" fmla="*/ 48 h 137"/>
                  <a:gd name="T58" fmla="*/ 59 w 96"/>
                  <a:gd name="T59" fmla="*/ 47 h 137"/>
                  <a:gd name="T60" fmla="*/ 53 w 96"/>
                  <a:gd name="T61" fmla="*/ 36 h 137"/>
                  <a:gd name="T62" fmla="*/ 50 w 96"/>
                  <a:gd name="T63" fmla="*/ 31 h 137"/>
                  <a:gd name="T64" fmla="*/ 46 w 96"/>
                  <a:gd name="T65" fmla="*/ 29 h 137"/>
                  <a:gd name="T66" fmla="*/ 47 w 96"/>
                  <a:gd name="T67" fmla="*/ 25 h 137"/>
                  <a:gd name="T68" fmla="*/ 48 w 96"/>
                  <a:gd name="T69" fmla="*/ 19 h 137"/>
                  <a:gd name="T70" fmla="*/ 55 w 96"/>
                  <a:gd name="T71" fmla="*/ 10 h 137"/>
                  <a:gd name="T72" fmla="*/ 58 w 96"/>
                  <a:gd name="T73" fmla="*/ 9 h 137"/>
                  <a:gd name="T74" fmla="*/ 60 w 96"/>
                  <a:gd name="T75" fmla="*/ 7 h 137"/>
                  <a:gd name="T76" fmla="*/ 62 w 96"/>
                  <a:gd name="T77" fmla="*/ 2 h 137"/>
                  <a:gd name="T78" fmla="*/ 53 w 96"/>
                  <a:gd name="T79" fmla="*/ 6 h 137"/>
                  <a:gd name="T80" fmla="*/ 46 w 96"/>
                  <a:gd name="T81" fmla="*/ 11 h 137"/>
                  <a:gd name="T82" fmla="*/ 38 w 96"/>
                  <a:gd name="T83" fmla="*/ 13 h 137"/>
                  <a:gd name="T84" fmla="*/ 35 w 96"/>
                  <a:gd name="T85" fmla="*/ 12 h 137"/>
                  <a:gd name="T86" fmla="*/ 27 w 96"/>
                  <a:gd name="T87" fmla="*/ 19 h 137"/>
                  <a:gd name="T88" fmla="*/ 24 w 96"/>
                  <a:gd name="T89" fmla="*/ 27 h 137"/>
                  <a:gd name="T90" fmla="*/ 16 w 96"/>
                  <a:gd name="T91" fmla="*/ 36 h 137"/>
                  <a:gd name="T92" fmla="*/ 15 w 96"/>
                  <a:gd name="T93" fmla="*/ 37 h 137"/>
                  <a:gd name="T94" fmla="*/ 14 w 96"/>
                  <a:gd name="T95" fmla="*/ 39 h 137"/>
                  <a:gd name="T96" fmla="*/ 8 w 96"/>
                  <a:gd name="T97" fmla="*/ 44 h 137"/>
                  <a:gd name="T98" fmla="*/ 11 w 96"/>
                  <a:gd name="T99" fmla="*/ 47 h 137"/>
                  <a:gd name="T100" fmla="*/ 12 w 96"/>
                  <a:gd name="T101" fmla="*/ 53 h 137"/>
                  <a:gd name="T102" fmla="*/ 12 w 96"/>
                  <a:gd name="T103" fmla="*/ 58 h 137"/>
                  <a:gd name="T104" fmla="*/ 14 w 96"/>
                  <a:gd name="T105" fmla="*/ 70 h 137"/>
                  <a:gd name="T106" fmla="*/ 12 w 96"/>
                  <a:gd name="T107" fmla="*/ 77 h 137"/>
                  <a:gd name="T108" fmla="*/ 5 w 96"/>
                  <a:gd name="T109" fmla="*/ 82 h 137"/>
                  <a:gd name="T110" fmla="*/ 1 w 96"/>
                  <a:gd name="T111" fmla="*/ 88 h 137"/>
                  <a:gd name="T112" fmla="*/ 0 w 96"/>
                  <a:gd name="T113" fmla="*/ 91 h 137"/>
                  <a:gd name="T114" fmla="*/ 10 w 96"/>
                  <a:gd name="T115" fmla="*/ 96 h 137"/>
                  <a:gd name="T116" fmla="*/ 15 w 96"/>
                  <a:gd name="T117" fmla="*/ 100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96" h="137">
                    <a:moveTo>
                      <a:pt x="15" y="100"/>
                    </a:moveTo>
                    <a:cubicBezTo>
                      <a:pt x="17" y="102"/>
                      <a:pt x="20" y="101"/>
                      <a:pt x="21" y="100"/>
                    </a:cubicBezTo>
                    <a:cubicBezTo>
                      <a:pt x="21" y="99"/>
                      <a:pt x="23" y="101"/>
                      <a:pt x="26" y="105"/>
                    </a:cubicBezTo>
                    <a:cubicBezTo>
                      <a:pt x="27" y="105"/>
                      <a:pt x="27" y="105"/>
                      <a:pt x="27" y="105"/>
                    </a:cubicBezTo>
                    <a:cubicBezTo>
                      <a:pt x="29" y="105"/>
                      <a:pt x="32" y="104"/>
                      <a:pt x="34" y="105"/>
                    </a:cubicBezTo>
                    <a:cubicBezTo>
                      <a:pt x="36" y="106"/>
                      <a:pt x="35" y="111"/>
                      <a:pt x="39" y="112"/>
                    </a:cubicBezTo>
                    <a:cubicBezTo>
                      <a:pt x="42" y="112"/>
                      <a:pt x="44" y="115"/>
                      <a:pt x="44" y="117"/>
                    </a:cubicBezTo>
                    <a:cubicBezTo>
                      <a:pt x="43" y="118"/>
                      <a:pt x="47" y="119"/>
                      <a:pt x="47" y="122"/>
                    </a:cubicBezTo>
                    <a:cubicBezTo>
                      <a:pt x="46" y="124"/>
                      <a:pt x="55" y="124"/>
                      <a:pt x="56" y="123"/>
                    </a:cubicBezTo>
                    <a:cubicBezTo>
                      <a:pt x="57" y="122"/>
                      <a:pt x="59" y="121"/>
                      <a:pt x="61" y="122"/>
                    </a:cubicBezTo>
                    <a:cubicBezTo>
                      <a:pt x="62" y="123"/>
                      <a:pt x="65" y="121"/>
                      <a:pt x="66" y="122"/>
                    </a:cubicBezTo>
                    <a:cubicBezTo>
                      <a:pt x="67" y="122"/>
                      <a:pt x="73" y="125"/>
                      <a:pt x="72" y="127"/>
                    </a:cubicBezTo>
                    <a:cubicBezTo>
                      <a:pt x="71" y="129"/>
                      <a:pt x="67" y="132"/>
                      <a:pt x="68" y="133"/>
                    </a:cubicBezTo>
                    <a:cubicBezTo>
                      <a:pt x="68" y="135"/>
                      <a:pt x="71" y="136"/>
                      <a:pt x="72" y="137"/>
                    </a:cubicBezTo>
                    <a:cubicBezTo>
                      <a:pt x="73" y="137"/>
                      <a:pt x="73" y="137"/>
                      <a:pt x="73" y="137"/>
                    </a:cubicBezTo>
                    <a:cubicBezTo>
                      <a:pt x="75" y="137"/>
                      <a:pt x="76" y="129"/>
                      <a:pt x="76" y="126"/>
                    </a:cubicBezTo>
                    <a:cubicBezTo>
                      <a:pt x="76" y="124"/>
                      <a:pt x="77" y="118"/>
                      <a:pt x="78" y="115"/>
                    </a:cubicBezTo>
                    <a:cubicBezTo>
                      <a:pt x="79" y="111"/>
                      <a:pt x="72" y="107"/>
                      <a:pt x="72" y="102"/>
                    </a:cubicBezTo>
                    <a:cubicBezTo>
                      <a:pt x="72" y="97"/>
                      <a:pt x="75" y="100"/>
                      <a:pt x="78" y="98"/>
                    </a:cubicBezTo>
                    <a:cubicBezTo>
                      <a:pt x="81" y="96"/>
                      <a:pt x="78" y="95"/>
                      <a:pt x="76" y="95"/>
                    </a:cubicBezTo>
                    <a:cubicBezTo>
                      <a:pt x="75" y="94"/>
                      <a:pt x="74" y="92"/>
                      <a:pt x="74" y="90"/>
                    </a:cubicBezTo>
                    <a:cubicBezTo>
                      <a:pt x="75" y="89"/>
                      <a:pt x="83" y="89"/>
                      <a:pt x="86" y="89"/>
                    </a:cubicBezTo>
                    <a:cubicBezTo>
                      <a:pt x="89" y="89"/>
                      <a:pt x="95" y="87"/>
                      <a:pt x="95" y="86"/>
                    </a:cubicBezTo>
                    <a:cubicBezTo>
                      <a:pt x="95" y="86"/>
                      <a:pt x="96" y="84"/>
                      <a:pt x="94" y="82"/>
                    </a:cubicBezTo>
                    <a:cubicBezTo>
                      <a:pt x="92" y="81"/>
                      <a:pt x="92" y="78"/>
                      <a:pt x="94" y="76"/>
                    </a:cubicBezTo>
                    <a:cubicBezTo>
                      <a:pt x="96" y="74"/>
                      <a:pt x="93" y="72"/>
                      <a:pt x="91" y="70"/>
                    </a:cubicBezTo>
                    <a:cubicBezTo>
                      <a:pt x="89" y="68"/>
                      <a:pt x="91" y="59"/>
                      <a:pt x="93" y="55"/>
                    </a:cubicBezTo>
                    <a:cubicBezTo>
                      <a:pt x="95" y="51"/>
                      <a:pt x="88" y="52"/>
                      <a:pt x="84" y="53"/>
                    </a:cubicBezTo>
                    <a:cubicBezTo>
                      <a:pt x="79" y="53"/>
                      <a:pt x="75" y="52"/>
                      <a:pt x="72" y="48"/>
                    </a:cubicBezTo>
                    <a:cubicBezTo>
                      <a:pt x="69" y="44"/>
                      <a:pt x="65" y="47"/>
                      <a:pt x="59" y="47"/>
                    </a:cubicBezTo>
                    <a:cubicBezTo>
                      <a:pt x="52" y="47"/>
                      <a:pt x="53" y="39"/>
                      <a:pt x="53" y="36"/>
                    </a:cubicBezTo>
                    <a:cubicBezTo>
                      <a:pt x="54" y="33"/>
                      <a:pt x="50" y="33"/>
                      <a:pt x="50" y="31"/>
                    </a:cubicBezTo>
                    <a:cubicBezTo>
                      <a:pt x="50" y="29"/>
                      <a:pt x="48" y="29"/>
                      <a:pt x="46" y="29"/>
                    </a:cubicBezTo>
                    <a:cubicBezTo>
                      <a:pt x="44" y="29"/>
                      <a:pt x="46" y="27"/>
                      <a:pt x="47" y="25"/>
                    </a:cubicBezTo>
                    <a:cubicBezTo>
                      <a:pt x="48" y="24"/>
                      <a:pt x="48" y="23"/>
                      <a:pt x="48" y="19"/>
                    </a:cubicBezTo>
                    <a:cubicBezTo>
                      <a:pt x="49" y="16"/>
                      <a:pt x="53" y="13"/>
                      <a:pt x="55" y="10"/>
                    </a:cubicBezTo>
                    <a:cubicBezTo>
                      <a:pt x="56" y="9"/>
                      <a:pt x="57" y="9"/>
                      <a:pt x="58" y="9"/>
                    </a:cubicBezTo>
                    <a:cubicBezTo>
                      <a:pt x="58" y="8"/>
                      <a:pt x="59" y="7"/>
                      <a:pt x="60" y="7"/>
                    </a:cubicBezTo>
                    <a:cubicBezTo>
                      <a:pt x="63" y="6"/>
                      <a:pt x="65" y="4"/>
                      <a:pt x="62" y="2"/>
                    </a:cubicBezTo>
                    <a:cubicBezTo>
                      <a:pt x="58" y="0"/>
                      <a:pt x="57" y="6"/>
                      <a:pt x="53" y="6"/>
                    </a:cubicBezTo>
                    <a:cubicBezTo>
                      <a:pt x="49" y="7"/>
                      <a:pt x="48" y="9"/>
                      <a:pt x="46" y="11"/>
                    </a:cubicBezTo>
                    <a:cubicBezTo>
                      <a:pt x="43" y="12"/>
                      <a:pt x="39" y="11"/>
                      <a:pt x="38" y="13"/>
                    </a:cubicBezTo>
                    <a:cubicBezTo>
                      <a:pt x="38" y="15"/>
                      <a:pt x="37" y="13"/>
                      <a:pt x="35" y="12"/>
                    </a:cubicBezTo>
                    <a:cubicBezTo>
                      <a:pt x="33" y="12"/>
                      <a:pt x="27" y="17"/>
                      <a:pt x="27" y="19"/>
                    </a:cubicBezTo>
                    <a:cubicBezTo>
                      <a:pt x="27" y="22"/>
                      <a:pt x="28" y="24"/>
                      <a:pt x="24" y="27"/>
                    </a:cubicBezTo>
                    <a:cubicBezTo>
                      <a:pt x="20" y="29"/>
                      <a:pt x="18" y="34"/>
                      <a:pt x="16" y="36"/>
                    </a:cubicBezTo>
                    <a:cubicBezTo>
                      <a:pt x="16" y="37"/>
                      <a:pt x="15" y="37"/>
                      <a:pt x="15" y="37"/>
                    </a:cubicBezTo>
                    <a:cubicBezTo>
                      <a:pt x="14" y="38"/>
                      <a:pt x="14" y="39"/>
                      <a:pt x="14" y="39"/>
                    </a:cubicBezTo>
                    <a:cubicBezTo>
                      <a:pt x="13" y="40"/>
                      <a:pt x="10" y="42"/>
                      <a:pt x="8" y="44"/>
                    </a:cubicBezTo>
                    <a:cubicBezTo>
                      <a:pt x="9" y="45"/>
                      <a:pt x="10" y="46"/>
                      <a:pt x="11" y="47"/>
                    </a:cubicBezTo>
                    <a:cubicBezTo>
                      <a:pt x="13" y="50"/>
                      <a:pt x="12" y="52"/>
                      <a:pt x="12" y="53"/>
                    </a:cubicBezTo>
                    <a:cubicBezTo>
                      <a:pt x="13" y="55"/>
                      <a:pt x="14" y="57"/>
                      <a:pt x="12" y="58"/>
                    </a:cubicBezTo>
                    <a:cubicBezTo>
                      <a:pt x="11" y="58"/>
                      <a:pt x="12" y="68"/>
                      <a:pt x="14" y="70"/>
                    </a:cubicBezTo>
                    <a:cubicBezTo>
                      <a:pt x="15" y="72"/>
                      <a:pt x="14" y="73"/>
                      <a:pt x="12" y="77"/>
                    </a:cubicBezTo>
                    <a:cubicBezTo>
                      <a:pt x="10" y="81"/>
                      <a:pt x="9" y="82"/>
                      <a:pt x="5" y="82"/>
                    </a:cubicBezTo>
                    <a:cubicBezTo>
                      <a:pt x="2" y="83"/>
                      <a:pt x="2" y="88"/>
                      <a:pt x="1" y="88"/>
                    </a:cubicBezTo>
                    <a:cubicBezTo>
                      <a:pt x="0" y="88"/>
                      <a:pt x="0" y="89"/>
                      <a:pt x="0" y="91"/>
                    </a:cubicBezTo>
                    <a:cubicBezTo>
                      <a:pt x="3" y="93"/>
                      <a:pt x="8" y="96"/>
                      <a:pt x="10" y="96"/>
                    </a:cubicBezTo>
                    <a:cubicBezTo>
                      <a:pt x="11" y="96"/>
                      <a:pt x="12" y="99"/>
                      <a:pt x="15" y="10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8" name="Freeform 115">
                <a:extLst>
                  <a:ext uri="{FF2B5EF4-FFF2-40B4-BE49-F238E27FC236}">
                    <a16:creationId xmlns:a16="http://schemas.microsoft.com/office/drawing/2014/main" id="{51396BE7-D131-40D1-A7E9-8BA8F52C49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18564" y="4270479"/>
                <a:ext cx="228360" cy="258473"/>
              </a:xfrm>
              <a:custGeom>
                <a:avLst/>
                <a:gdLst>
                  <a:gd name="T0" fmla="*/ 98 w 99"/>
                  <a:gd name="T1" fmla="*/ 67 h 112"/>
                  <a:gd name="T2" fmla="*/ 93 w 99"/>
                  <a:gd name="T3" fmla="*/ 59 h 112"/>
                  <a:gd name="T4" fmla="*/ 86 w 99"/>
                  <a:gd name="T5" fmla="*/ 55 h 112"/>
                  <a:gd name="T6" fmla="*/ 78 w 99"/>
                  <a:gd name="T7" fmla="*/ 51 h 112"/>
                  <a:gd name="T8" fmla="*/ 77 w 99"/>
                  <a:gd name="T9" fmla="*/ 44 h 112"/>
                  <a:gd name="T10" fmla="*/ 76 w 99"/>
                  <a:gd name="T11" fmla="*/ 38 h 112"/>
                  <a:gd name="T12" fmla="*/ 72 w 99"/>
                  <a:gd name="T13" fmla="*/ 33 h 112"/>
                  <a:gd name="T14" fmla="*/ 64 w 99"/>
                  <a:gd name="T15" fmla="*/ 31 h 112"/>
                  <a:gd name="T16" fmla="*/ 57 w 99"/>
                  <a:gd name="T17" fmla="*/ 28 h 112"/>
                  <a:gd name="T18" fmla="*/ 54 w 99"/>
                  <a:gd name="T19" fmla="*/ 25 h 112"/>
                  <a:gd name="T20" fmla="*/ 48 w 99"/>
                  <a:gd name="T21" fmla="*/ 24 h 112"/>
                  <a:gd name="T22" fmla="*/ 38 w 99"/>
                  <a:gd name="T23" fmla="*/ 18 h 112"/>
                  <a:gd name="T24" fmla="*/ 36 w 99"/>
                  <a:gd name="T25" fmla="*/ 2 h 112"/>
                  <a:gd name="T26" fmla="*/ 28 w 99"/>
                  <a:gd name="T27" fmla="*/ 2 h 112"/>
                  <a:gd name="T28" fmla="*/ 19 w 99"/>
                  <a:gd name="T29" fmla="*/ 6 h 112"/>
                  <a:gd name="T30" fmla="*/ 12 w 99"/>
                  <a:gd name="T31" fmla="*/ 10 h 112"/>
                  <a:gd name="T32" fmla="*/ 5 w 99"/>
                  <a:gd name="T33" fmla="*/ 11 h 112"/>
                  <a:gd name="T34" fmla="*/ 2 w 99"/>
                  <a:gd name="T35" fmla="*/ 11 h 112"/>
                  <a:gd name="T36" fmla="*/ 8 w 99"/>
                  <a:gd name="T37" fmla="*/ 22 h 112"/>
                  <a:gd name="T38" fmla="*/ 6 w 99"/>
                  <a:gd name="T39" fmla="*/ 26 h 112"/>
                  <a:gd name="T40" fmla="*/ 6 w 99"/>
                  <a:gd name="T41" fmla="*/ 38 h 112"/>
                  <a:gd name="T42" fmla="*/ 4 w 99"/>
                  <a:gd name="T43" fmla="*/ 44 h 112"/>
                  <a:gd name="T44" fmla="*/ 3 w 99"/>
                  <a:gd name="T45" fmla="*/ 51 h 112"/>
                  <a:gd name="T46" fmla="*/ 6 w 99"/>
                  <a:gd name="T47" fmla="*/ 55 h 112"/>
                  <a:gd name="T48" fmla="*/ 1 w 99"/>
                  <a:gd name="T49" fmla="*/ 61 h 112"/>
                  <a:gd name="T50" fmla="*/ 1 w 99"/>
                  <a:gd name="T51" fmla="*/ 65 h 112"/>
                  <a:gd name="T52" fmla="*/ 4 w 99"/>
                  <a:gd name="T53" fmla="*/ 69 h 112"/>
                  <a:gd name="T54" fmla="*/ 6 w 99"/>
                  <a:gd name="T55" fmla="*/ 77 h 112"/>
                  <a:gd name="T56" fmla="*/ 9 w 99"/>
                  <a:gd name="T57" fmla="*/ 82 h 112"/>
                  <a:gd name="T58" fmla="*/ 8 w 99"/>
                  <a:gd name="T59" fmla="*/ 87 h 112"/>
                  <a:gd name="T60" fmla="*/ 10 w 99"/>
                  <a:gd name="T61" fmla="*/ 94 h 112"/>
                  <a:gd name="T62" fmla="*/ 13 w 99"/>
                  <a:gd name="T63" fmla="*/ 101 h 112"/>
                  <a:gd name="T64" fmla="*/ 15 w 99"/>
                  <a:gd name="T65" fmla="*/ 110 h 112"/>
                  <a:gd name="T66" fmla="*/ 26 w 99"/>
                  <a:gd name="T67" fmla="*/ 104 h 112"/>
                  <a:gd name="T68" fmla="*/ 33 w 99"/>
                  <a:gd name="T69" fmla="*/ 104 h 112"/>
                  <a:gd name="T70" fmla="*/ 42 w 99"/>
                  <a:gd name="T71" fmla="*/ 107 h 112"/>
                  <a:gd name="T72" fmla="*/ 47 w 99"/>
                  <a:gd name="T73" fmla="*/ 103 h 112"/>
                  <a:gd name="T74" fmla="*/ 58 w 99"/>
                  <a:gd name="T75" fmla="*/ 103 h 112"/>
                  <a:gd name="T76" fmla="*/ 60 w 99"/>
                  <a:gd name="T77" fmla="*/ 90 h 112"/>
                  <a:gd name="T78" fmla="*/ 67 w 99"/>
                  <a:gd name="T79" fmla="*/ 83 h 112"/>
                  <a:gd name="T80" fmla="*/ 76 w 99"/>
                  <a:gd name="T81" fmla="*/ 81 h 112"/>
                  <a:gd name="T82" fmla="*/ 86 w 99"/>
                  <a:gd name="T83" fmla="*/ 80 h 112"/>
                  <a:gd name="T84" fmla="*/ 93 w 99"/>
                  <a:gd name="T85" fmla="*/ 83 h 112"/>
                  <a:gd name="T86" fmla="*/ 97 w 99"/>
                  <a:gd name="T87" fmla="*/ 77 h 112"/>
                  <a:gd name="T88" fmla="*/ 98 w 99"/>
                  <a:gd name="T89" fmla="*/ 67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99" h="112">
                    <a:moveTo>
                      <a:pt x="98" y="67"/>
                    </a:moveTo>
                    <a:cubicBezTo>
                      <a:pt x="97" y="63"/>
                      <a:pt x="93" y="63"/>
                      <a:pt x="93" y="59"/>
                    </a:cubicBezTo>
                    <a:cubicBezTo>
                      <a:pt x="93" y="55"/>
                      <a:pt x="92" y="55"/>
                      <a:pt x="86" y="55"/>
                    </a:cubicBezTo>
                    <a:cubicBezTo>
                      <a:pt x="81" y="55"/>
                      <a:pt x="78" y="54"/>
                      <a:pt x="78" y="51"/>
                    </a:cubicBezTo>
                    <a:cubicBezTo>
                      <a:pt x="77" y="48"/>
                      <a:pt x="74" y="46"/>
                      <a:pt x="77" y="44"/>
                    </a:cubicBezTo>
                    <a:cubicBezTo>
                      <a:pt x="79" y="43"/>
                      <a:pt x="75" y="41"/>
                      <a:pt x="76" y="38"/>
                    </a:cubicBezTo>
                    <a:cubicBezTo>
                      <a:pt x="76" y="35"/>
                      <a:pt x="74" y="34"/>
                      <a:pt x="72" y="33"/>
                    </a:cubicBezTo>
                    <a:cubicBezTo>
                      <a:pt x="71" y="31"/>
                      <a:pt x="64" y="33"/>
                      <a:pt x="64" y="31"/>
                    </a:cubicBezTo>
                    <a:cubicBezTo>
                      <a:pt x="64" y="28"/>
                      <a:pt x="59" y="28"/>
                      <a:pt x="57" y="28"/>
                    </a:cubicBezTo>
                    <a:cubicBezTo>
                      <a:pt x="55" y="28"/>
                      <a:pt x="56" y="25"/>
                      <a:pt x="54" y="25"/>
                    </a:cubicBezTo>
                    <a:cubicBezTo>
                      <a:pt x="51" y="25"/>
                      <a:pt x="52" y="23"/>
                      <a:pt x="48" y="24"/>
                    </a:cubicBezTo>
                    <a:cubicBezTo>
                      <a:pt x="44" y="24"/>
                      <a:pt x="42" y="22"/>
                      <a:pt x="38" y="18"/>
                    </a:cubicBezTo>
                    <a:cubicBezTo>
                      <a:pt x="35" y="13"/>
                      <a:pt x="35" y="5"/>
                      <a:pt x="36" y="2"/>
                    </a:cubicBezTo>
                    <a:cubicBezTo>
                      <a:pt x="37" y="0"/>
                      <a:pt x="31" y="2"/>
                      <a:pt x="28" y="2"/>
                    </a:cubicBezTo>
                    <a:cubicBezTo>
                      <a:pt x="25" y="2"/>
                      <a:pt x="22" y="4"/>
                      <a:pt x="19" y="6"/>
                    </a:cubicBezTo>
                    <a:cubicBezTo>
                      <a:pt x="15" y="8"/>
                      <a:pt x="13" y="8"/>
                      <a:pt x="12" y="10"/>
                    </a:cubicBezTo>
                    <a:cubicBezTo>
                      <a:pt x="10" y="11"/>
                      <a:pt x="8" y="12"/>
                      <a:pt x="5" y="11"/>
                    </a:cubicBezTo>
                    <a:cubicBezTo>
                      <a:pt x="4" y="11"/>
                      <a:pt x="3" y="11"/>
                      <a:pt x="2" y="11"/>
                    </a:cubicBezTo>
                    <a:cubicBezTo>
                      <a:pt x="4" y="14"/>
                      <a:pt x="7" y="20"/>
                      <a:pt x="8" y="22"/>
                    </a:cubicBezTo>
                    <a:cubicBezTo>
                      <a:pt x="9" y="25"/>
                      <a:pt x="7" y="25"/>
                      <a:pt x="6" y="26"/>
                    </a:cubicBezTo>
                    <a:cubicBezTo>
                      <a:pt x="5" y="27"/>
                      <a:pt x="6" y="36"/>
                      <a:pt x="6" y="38"/>
                    </a:cubicBezTo>
                    <a:cubicBezTo>
                      <a:pt x="7" y="40"/>
                      <a:pt x="3" y="43"/>
                      <a:pt x="4" y="44"/>
                    </a:cubicBezTo>
                    <a:cubicBezTo>
                      <a:pt x="6" y="46"/>
                      <a:pt x="3" y="49"/>
                      <a:pt x="3" y="51"/>
                    </a:cubicBezTo>
                    <a:cubicBezTo>
                      <a:pt x="3" y="53"/>
                      <a:pt x="6" y="53"/>
                      <a:pt x="6" y="55"/>
                    </a:cubicBezTo>
                    <a:cubicBezTo>
                      <a:pt x="6" y="57"/>
                      <a:pt x="3" y="61"/>
                      <a:pt x="1" y="61"/>
                    </a:cubicBezTo>
                    <a:cubicBezTo>
                      <a:pt x="0" y="62"/>
                      <a:pt x="0" y="63"/>
                      <a:pt x="1" y="65"/>
                    </a:cubicBezTo>
                    <a:cubicBezTo>
                      <a:pt x="1" y="65"/>
                      <a:pt x="2" y="67"/>
                      <a:pt x="4" y="69"/>
                    </a:cubicBezTo>
                    <a:cubicBezTo>
                      <a:pt x="7" y="71"/>
                      <a:pt x="4" y="74"/>
                      <a:pt x="6" y="77"/>
                    </a:cubicBezTo>
                    <a:cubicBezTo>
                      <a:pt x="8" y="80"/>
                      <a:pt x="11" y="80"/>
                      <a:pt x="9" y="82"/>
                    </a:cubicBezTo>
                    <a:cubicBezTo>
                      <a:pt x="8" y="83"/>
                      <a:pt x="9" y="86"/>
                      <a:pt x="8" y="87"/>
                    </a:cubicBezTo>
                    <a:cubicBezTo>
                      <a:pt x="6" y="89"/>
                      <a:pt x="8" y="93"/>
                      <a:pt x="10" y="94"/>
                    </a:cubicBezTo>
                    <a:cubicBezTo>
                      <a:pt x="13" y="95"/>
                      <a:pt x="11" y="99"/>
                      <a:pt x="13" y="101"/>
                    </a:cubicBezTo>
                    <a:cubicBezTo>
                      <a:pt x="15" y="104"/>
                      <a:pt x="14" y="109"/>
                      <a:pt x="15" y="110"/>
                    </a:cubicBezTo>
                    <a:cubicBezTo>
                      <a:pt x="16" y="112"/>
                      <a:pt x="22" y="108"/>
                      <a:pt x="26" y="104"/>
                    </a:cubicBezTo>
                    <a:cubicBezTo>
                      <a:pt x="30" y="100"/>
                      <a:pt x="30" y="103"/>
                      <a:pt x="33" y="104"/>
                    </a:cubicBezTo>
                    <a:cubicBezTo>
                      <a:pt x="37" y="104"/>
                      <a:pt x="41" y="104"/>
                      <a:pt x="42" y="107"/>
                    </a:cubicBezTo>
                    <a:cubicBezTo>
                      <a:pt x="44" y="111"/>
                      <a:pt x="46" y="104"/>
                      <a:pt x="47" y="103"/>
                    </a:cubicBezTo>
                    <a:cubicBezTo>
                      <a:pt x="48" y="101"/>
                      <a:pt x="57" y="103"/>
                      <a:pt x="58" y="103"/>
                    </a:cubicBezTo>
                    <a:cubicBezTo>
                      <a:pt x="59" y="102"/>
                      <a:pt x="61" y="92"/>
                      <a:pt x="60" y="90"/>
                    </a:cubicBezTo>
                    <a:cubicBezTo>
                      <a:pt x="60" y="89"/>
                      <a:pt x="64" y="85"/>
                      <a:pt x="67" y="83"/>
                    </a:cubicBezTo>
                    <a:cubicBezTo>
                      <a:pt x="69" y="81"/>
                      <a:pt x="74" y="82"/>
                      <a:pt x="76" y="81"/>
                    </a:cubicBezTo>
                    <a:cubicBezTo>
                      <a:pt x="79" y="80"/>
                      <a:pt x="82" y="80"/>
                      <a:pt x="86" y="80"/>
                    </a:cubicBezTo>
                    <a:cubicBezTo>
                      <a:pt x="89" y="80"/>
                      <a:pt x="91" y="83"/>
                      <a:pt x="93" y="83"/>
                    </a:cubicBezTo>
                    <a:cubicBezTo>
                      <a:pt x="95" y="83"/>
                      <a:pt x="97" y="80"/>
                      <a:pt x="97" y="77"/>
                    </a:cubicBezTo>
                    <a:cubicBezTo>
                      <a:pt x="96" y="75"/>
                      <a:pt x="99" y="71"/>
                      <a:pt x="98" y="6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9" name="Freeform 116">
                <a:extLst>
                  <a:ext uri="{FF2B5EF4-FFF2-40B4-BE49-F238E27FC236}">
                    <a16:creationId xmlns:a16="http://schemas.microsoft.com/office/drawing/2014/main" id="{E8319A9F-CD41-4CD4-91DC-0CDBCF7F1E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8987" y="4091053"/>
                <a:ext cx="239653" cy="348814"/>
              </a:xfrm>
              <a:custGeom>
                <a:avLst/>
                <a:gdLst>
                  <a:gd name="T0" fmla="*/ 95 w 104"/>
                  <a:gd name="T1" fmla="*/ 143 h 151"/>
                  <a:gd name="T2" fmla="*/ 96 w 104"/>
                  <a:gd name="T3" fmla="*/ 143 h 151"/>
                  <a:gd name="T4" fmla="*/ 96 w 104"/>
                  <a:gd name="T5" fmla="*/ 139 h 151"/>
                  <a:gd name="T6" fmla="*/ 101 w 104"/>
                  <a:gd name="T7" fmla="*/ 133 h 151"/>
                  <a:gd name="T8" fmla="*/ 98 w 104"/>
                  <a:gd name="T9" fmla="*/ 129 h 151"/>
                  <a:gd name="T10" fmla="*/ 99 w 104"/>
                  <a:gd name="T11" fmla="*/ 122 h 151"/>
                  <a:gd name="T12" fmla="*/ 101 w 104"/>
                  <a:gd name="T13" fmla="*/ 116 h 151"/>
                  <a:gd name="T14" fmla="*/ 101 w 104"/>
                  <a:gd name="T15" fmla="*/ 104 h 151"/>
                  <a:gd name="T16" fmla="*/ 103 w 104"/>
                  <a:gd name="T17" fmla="*/ 100 h 151"/>
                  <a:gd name="T18" fmla="*/ 97 w 104"/>
                  <a:gd name="T19" fmla="*/ 89 h 151"/>
                  <a:gd name="T20" fmla="*/ 89 w 104"/>
                  <a:gd name="T21" fmla="*/ 89 h 151"/>
                  <a:gd name="T22" fmla="*/ 88 w 104"/>
                  <a:gd name="T23" fmla="*/ 79 h 151"/>
                  <a:gd name="T24" fmla="*/ 84 w 104"/>
                  <a:gd name="T25" fmla="*/ 79 h 151"/>
                  <a:gd name="T26" fmla="*/ 75 w 104"/>
                  <a:gd name="T27" fmla="*/ 81 h 151"/>
                  <a:gd name="T28" fmla="*/ 71 w 104"/>
                  <a:gd name="T29" fmla="*/ 76 h 151"/>
                  <a:gd name="T30" fmla="*/ 67 w 104"/>
                  <a:gd name="T31" fmla="*/ 73 h 151"/>
                  <a:gd name="T32" fmla="*/ 64 w 104"/>
                  <a:gd name="T33" fmla="*/ 66 h 151"/>
                  <a:gd name="T34" fmla="*/ 62 w 104"/>
                  <a:gd name="T35" fmla="*/ 59 h 151"/>
                  <a:gd name="T36" fmla="*/ 63 w 104"/>
                  <a:gd name="T37" fmla="*/ 54 h 151"/>
                  <a:gd name="T38" fmla="*/ 66 w 104"/>
                  <a:gd name="T39" fmla="*/ 50 h 151"/>
                  <a:gd name="T40" fmla="*/ 69 w 104"/>
                  <a:gd name="T41" fmla="*/ 42 h 151"/>
                  <a:gd name="T42" fmla="*/ 76 w 104"/>
                  <a:gd name="T43" fmla="*/ 37 h 151"/>
                  <a:gd name="T44" fmla="*/ 86 w 104"/>
                  <a:gd name="T45" fmla="*/ 34 h 151"/>
                  <a:gd name="T46" fmla="*/ 92 w 104"/>
                  <a:gd name="T47" fmla="*/ 33 h 151"/>
                  <a:gd name="T48" fmla="*/ 88 w 104"/>
                  <a:gd name="T49" fmla="*/ 29 h 151"/>
                  <a:gd name="T50" fmla="*/ 92 w 104"/>
                  <a:gd name="T51" fmla="*/ 23 h 151"/>
                  <a:gd name="T52" fmla="*/ 86 w 104"/>
                  <a:gd name="T53" fmla="*/ 18 h 151"/>
                  <a:gd name="T54" fmla="*/ 81 w 104"/>
                  <a:gd name="T55" fmla="*/ 18 h 151"/>
                  <a:gd name="T56" fmla="*/ 76 w 104"/>
                  <a:gd name="T57" fmla="*/ 19 h 151"/>
                  <a:gd name="T58" fmla="*/ 67 w 104"/>
                  <a:gd name="T59" fmla="*/ 18 h 151"/>
                  <a:gd name="T60" fmla="*/ 64 w 104"/>
                  <a:gd name="T61" fmla="*/ 13 h 151"/>
                  <a:gd name="T62" fmla="*/ 59 w 104"/>
                  <a:gd name="T63" fmla="*/ 8 h 151"/>
                  <a:gd name="T64" fmla="*/ 54 w 104"/>
                  <a:gd name="T65" fmla="*/ 1 h 151"/>
                  <a:gd name="T66" fmla="*/ 47 w 104"/>
                  <a:gd name="T67" fmla="*/ 1 h 151"/>
                  <a:gd name="T68" fmla="*/ 49 w 104"/>
                  <a:gd name="T69" fmla="*/ 7 h 151"/>
                  <a:gd name="T70" fmla="*/ 44 w 104"/>
                  <a:gd name="T71" fmla="*/ 15 h 151"/>
                  <a:gd name="T72" fmla="*/ 28 w 104"/>
                  <a:gd name="T73" fmla="*/ 24 h 151"/>
                  <a:gd name="T74" fmla="*/ 21 w 104"/>
                  <a:gd name="T75" fmla="*/ 36 h 151"/>
                  <a:gd name="T76" fmla="*/ 15 w 104"/>
                  <a:gd name="T77" fmla="*/ 37 h 151"/>
                  <a:gd name="T78" fmla="*/ 9 w 104"/>
                  <a:gd name="T79" fmla="*/ 35 h 151"/>
                  <a:gd name="T80" fmla="*/ 9 w 104"/>
                  <a:gd name="T81" fmla="*/ 31 h 151"/>
                  <a:gd name="T82" fmla="*/ 8 w 104"/>
                  <a:gd name="T83" fmla="*/ 27 h 151"/>
                  <a:gd name="T84" fmla="*/ 1 w 104"/>
                  <a:gd name="T85" fmla="*/ 34 h 151"/>
                  <a:gd name="T86" fmla="*/ 4 w 104"/>
                  <a:gd name="T87" fmla="*/ 45 h 151"/>
                  <a:gd name="T88" fmla="*/ 2 w 104"/>
                  <a:gd name="T89" fmla="*/ 47 h 151"/>
                  <a:gd name="T90" fmla="*/ 10 w 104"/>
                  <a:gd name="T91" fmla="*/ 54 h 151"/>
                  <a:gd name="T92" fmla="*/ 18 w 104"/>
                  <a:gd name="T93" fmla="*/ 65 h 151"/>
                  <a:gd name="T94" fmla="*/ 24 w 104"/>
                  <a:gd name="T95" fmla="*/ 77 h 151"/>
                  <a:gd name="T96" fmla="*/ 37 w 104"/>
                  <a:gd name="T97" fmla="*/ 101 h 151"/>
                  <a:gd name="T98" fmla="*/ 41 w 104"/>
                  <a:gd name="T99" fmla="*/ 111 h 151"/>
                  <a:gd name="T100" fmla="*/ 44 w 104"/>
                  <a:gd name="T101" fmla="*/ 119 h 151"/>
                  <a:gd name="T102" fmla="*/ 57 w 104"/>
                  <a:gd name="T103" fmla="*/ 128 h 151"/>
                  <a:gd name="T104" fmla="*/ 80 w 104"/>
                  <a:gd name="T105" fmla="*/ 142 h 151"/>
                  <a:gd name="T106" fmla="*/ 90 w 104"/>
                  <a:gd name="T107" fmla="*/ 149 h 151"/>
                  <a:gd name="T108" fmla="*/ 90 w 104"/>
                  <a:gd name="T109" fmla="*/ 151 h 151"/>
                  <a:gd name="T110" fmla="*/ 92 w 104"/>
                  <a:gd name="T111" fmla="*/ 149 h 151"/>
                  <a:gd name="T112" fmla="*/ 95 w 104"/>
                  <a:gd name="T113" fmla="*/ 143 h 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04" h="151">
                    <a:moveTo>
                      <a:pt x="95" y="143"/>
                    </a:moveTo>
                    <a:cubicBezTo>
                      <a:pt x="96" y="143"/>
                      <a:pt x="96" y="143"/>
                      <a:pt x="96" y="143"/>
                    </a:cubicBezTo>
                    <a:cubicBezTo>
                      <a:pt x="95" y="141"/>
                      <a:pt x="95" y="140"/>
                      <a:pt x="96" y="139"/>
                    </a:cubicBezTo>
                    <a:cubicBezTo>
                      <a:pt x="98" y="139"/>
                      <a:pt x="101" y="135"/>
                      <a:pt x="101" y="133"/>
                    </a:cubicBezTo>
                    <a:cubicBezTo>
                      <a:pt x="101" y="131"/>
                      <a:pt x="98" y="131"/>
                      <a:pt x="98" y="129"/>
                    </a:cubicBezTo>
                    <a:cubicBezTo>
                      <a:pt x="98" y="127"/>
                      <a:pt x="101" y="124"/>
                      <a:pt x="99" y="122"/>
                    </a:cubicBezTo>
                    <a:cubicBezTo>
                      <a:pt x="98" y="121"/>
                      <a:pt x="102" y="118"/>
                      <a:pt x="101" y="116"/>
                    </a:cubicBezTo>
                    <a:cubicBezTo>
                      <a:pt x="101" y="114"/>
                      <a:pt x="100" y="105"/>
                      <a:pt x="101" y="104"/>
                    </a:cubicBezTo>
                    <a:cubicBezTo>
                      <a:pt x="102" y="103"/>
                      <a:pt x="104" y="103"/>
                      <a:pt x="103" y="100"/>
                    </a:cubicBezTo>
                    <a:cubicBezTo>
                      <a:pt x="102" y="98"/>
                      <a:pt x="99" y="92"/>
                      <a:pt x="97" y="89"/>
                    </a:cubicBezTo>
                    <a:cubicBezTo>
                      <a:pt x="95" y="88"/>
                      <a:pt x="91" y="88"/>
                      <a:pt x="89" y="89"/>
                    </a:cubicBezTo>
                    <a:cubicBezTo>
                      <a:pt x="87" y="90"/>
                      <a:pt x="88" y="82"/>
                      <a:pt x="88" y="79"/>
                    </a:cubicBezTo>
                    <a:cubicBezTo>
                      <a:pt x="88" y="76"/>
                      <a:pt x="85" y="77"/>
                      <a:pt x="84" y="79"/>
                    </a:cubicBezTo>
                    <a:cubicBezTo>
                      <a:pt x="83" y="81"/>
                      <a:pt x="79" y="81"/>
                      <a:pt x="75" y="81"/>
                    </a:cubicBezTo>
                    <a:cubicBezTo>
                      <a:pt x="72" y="81"/>
                      <a:pt x="74" y="76"/>
                      <a:pt x="71" y="76"/>
                    </a:cubicBezTo>
                    <a:cubicBezTo>
                      <a:pt x="69" y="76"/>
                      <a:pt x="67" y="75"/>
                      <a:pt x="67" y="73"/>
                    </a:cubicBezTo>
                    <a:cubicBezTo>
                      <a:pt x="67" y="71"/>
                      <a:pt x="65" y="69"/>
                      <a:pt x="64" y="66"/>
                    </a:cubicBezTo>
                    <a:cubicBezTo>
                      <a:pt x="62" y="63"/>
                      <a:pt x="60" y="61"/>
                      <a:pt x="62" y="59"/>
                    </a:cubicBezTo>
                    <a:cubicBezTo>
                      <a:pt x="63" y="57"/>
                      <a:pt x="61" y="56"/>
                      <a:pt x="63" y="54"/>
                    </a:cubicBezTo>
                    <a:cubicBezTo>
                      <a:pt x="65" y="52"/>
                      <a:pt x="67" y="52"/>
                      <a:pt x="66" y="50"/>
                    </a:cubicBezTo>
                    <a:cubicBezTo>
                      <a:pt x="66" y="47"/>
                      <a:pt x="69" y="45"/>
                      <a:pt x="69" y="42"/>
                    </a:cubicBezTo>
                    <a:cubicBezTo>
                      <a:pt x="69" y="39"/>
                      <a:pt x="73" y="40"/>
                      <a:pt x="76" y="37"/>
                    </a:cubicBezTo>
                    <a:cubicBezTo>
                      <a:pt x="79" y="35"/>
                      <a:pt x="83" y="36"/>
                      <a:pt x="86" y="34"/>
                    </a:cubicBezTo>
                    <a:cubicBezTo>
                      <a:pt x="89" y="31"/>
                      <a:pt x="90" y="33"/>
                      <a:pt x="92" y="33"/>
                    </a:cubicBezTo>
                    <a:cubicBezTo>
                      <a:pt x="91" y="32"/>
                      <a:pt x="88" y="31"/>
                      <a:pt x="88" y="29"/>
                    </a:cubicBezTo>
                    <a:cubicBezTo>
                      <a:pt x="87" y="28"/>
                      <a:pt x="91" y="25"/>
                      <a:pt x="92" y="23"/>
                    </a:cubicBezTo>
                    <a:cubicBezTo>
                      <a:pt x="93" y="21"/>
                      <a:pt x="87" y="18"/>
                      <a:pt x="86" y="18"/>
                    </a:cubicBezTo>
                    <a:cubicBezTo>
                      <a:pt x="85" y="17"/>
                      <a:pt x="82" y="19"/>
                      <a:pt x="81" y="18"/>
                    </a:cubicBezTo>
                    <a:cubicBezTo>
                      <a:pt x="79" y="17"/>
                      <a:pt x="77" y="18"/>
                      <a:pt x="76" y="19"/>
                    </a:cubicBezTo>
                    <a:cubicBezTo>
                      <a:pt x="75" y="20"/>
                      <a:pt x="66" y="20"/>
                      <a:pt x="67" y="18"/>
                    </a:cubicBezTo>
                    <a:cubicBezTo>
                      <a:pt x="67" y="15"/>
                      <a:pt x="63" y="14"/>
                      <a:pt x="64" y="13"/>
                    </a:cubicBezTo>
                    <a:cubicBezTo>
                      <a:pt x="64" y="11"/>
                      <a:pt x="62" y="8"/>
                      <a:pt x="59" y="8"/>
                    </a:cubicBezTo>
                    <a:cubicBezTo>
                      <a:pt x="55" y="7"/>
                      <a:pt x="56" y="2"/>
                      <a:pt x="54" y="1"/>
                    </a:cubicBezTo>
                    <a:cubicBezTo>
                      <a:pt x="52" y="0"/>
                      <a:pt x="49" y="1"/>
                      <a:pt x="47" y="1"/>
                    </a:cubicBezTo>
                    <a:cubicBezTo>
                      <a:pt x="50" y="4"/>
                      <a:pt x="50" y="5"/>
                      <a:pt x="49" y="7"/>
                    </a:cubicBezTo>
                    <a:cubicBezTo>
                      <a:pt x="46" y="9"/>
                      <a:pt x="49" y="9"/>
                      <a:pt x="44" y="15"/>
                    </a:cubicBezTo>
                    <a:cubicBezTo>
                      <a:pt x="40" y="21"/>
                      <a:pt x="32" y="22"/>
                      <a:pt x="28" y="24"/>
                    </a:cubicBezTo>
                    <a:cubicBezTo>
                      <a:pt x="25" y="25"/>
                      <a:pt x="23" y="32"/>
                      <a:pt x="21" y="36"/>
                    </a:cubicBezTo>
                    <a:cubicBezTo>
                      <a:pt x="19" y="41"/>
                      <a:pt x="17" y="40"/>
                      <a:pt x="15" y="37"/>
                    </a:cubicBezTo>
                    <a:cubicBezTo>
                      <a:pt x="13" y="34"/>
                      <a:pt x="12" y="37"/>
                      <a:pt x="9" y="35"/>
                    </a:cubicBezTo>
                    <a:cubicBezTo>
                      <a:pt x="7" y="33"/>
                      <a:pt x="8" y="33"/>
                      <a:pt x="9" y="31"/>
                    </a:cubicBezTo>
                    <a:cubicBezTo>
                      <a:pt x="10" y="30"/>
                      <a:pt x="9" y="28"/>
                      <a:pt x="8" y="27"/>
                    </a:cubicBezTo>
                    <a:cubicBezTo>
                      <a:pt x="5" y="27"/>
                      <a:pt x="2" y="31"/>
                      <a:pt x="1" y="34"/>
                    </a:cubicBezTo>
                    <a:cubicBezTo>
                      <a:pt x="0" y="37"/>
                      <a:pt x="4" y="43"/>
                      <a:pt x="4" y="45"/>
                    </a:cubicBezTo>
                    <a:cubicBezTo>
                      <a:pt x="5" y="47"/>
                      <a:pt x="2" y="45"/>
                      <a:pt x="2" y="47"/>
                    </a:cubicBezTo>
                    <a:cubicBezTo>
                      <a:pt x="1" y="49"/>
                      <a:pt x="7" y="52"/>
                      <a:pt x="10" y="54"/>
                    </a:cubicBezTo>
                    <a:cubicBezTo>
                      <a:pt x="13" y="56"/>
                      <a:pt x="16" y="62"/>
                      <a:pt x="18" y="65"/>
                    </a:cubicBezTo>
                    <a:cubicBezTo>
                      <a:pt x="21" y="68"/>
                      <a:pt x="21" y="70"/>
                      <a:pt x="24" y="77"/>
                    </a:cubicBezTo>
                    <a:cubicBezTo>
                      <a:pt x="27" y="84"/>
                      <a:pt x="33" y="96"/>
                      <a:pt x="37" y="101"/>
                    </a:cubicBezTo>
                    <a:cubicBezTo>
                      <a:pt x="40" y="106"/>
                      <a:pt x="42" y="110"/>
                      <a:pt x="41" y="111"/>
                    </a:cubicBezTo>
                    <a:cubicBezTo>
                      <a:pt x="40" y="113"/>
                      <a:pt x="42" y="117"/>
                      <a:pt x="44" y="119"/>
                    </a:cubicBezTo>
                    <a:cubicBezTo>
                      <a:pt x="47" y="121"/>
                      <a:pt x="50" y="124"/>
                      <a:pt x="57" y="128"/>
                    </a:cubicBezTo>
                    <a:cubicBezTo>
                      <a:pt x="65" y="131"/>
                      <a:pt x="78" y="139"/>
                      <a:pt x="80" y="142"/>
                    </a:cubicBezTo>
                    <a:cubicBezTo>
                      <a:pt x="82" y="145"/>
                      <a:pt x="89" y="149"/>
                      <a:pt x="90" y="149"/>
                    </a:cubicBezTo>
                    <a:cubicBezTo>
                      <a:pt x="90" y="149"/>
                      <a:pt x="90" y="150"/>
                      <a:pt x="90" y="151"/>
                    </a:cubicBezTo>
                    <a:cubicBezTo>
                      <a:pt x="91" y="150"/>
                      <a:pt x="92" y="150"/>
                      <a:pt x="92" y="149"/>
                    </a:cubicBezTo>
                    <a:cubicBezTo>
                      <a:pt x="94" y="148"/>
                      <a:pt x="95" y="144"/>
                      <a:pt x="95" y="14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0" name="Freeform 117">
                <a:extLst>
                  <a:ext uri="{FF2B5EF4-FFF2-40B4-BE49-F238E27FC236}">
                    <a16:creationId xmlns:a16="http://schemas.microsoft.com/office/drawing/2014/main" id="{5E4708E0-AE1E-45EE-925E-74560B2A37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47044" y="3860183"/>
                <a:ext cx="258474" cy="217068"/>
              </a:xfrm>
              <a:custGeom>
                <a:avLst/>
                <a:gdLst>
                  <a:gd name="T0" fmla="*/ 11 w 112"/>
                  <a:gd name="T1" fmla="*/ 6 h 94"/>
                  <a:gd name="T2" fmla="*/ 4 w 112"/>
                  <a:gd name="T3" fmla="*/ 15 h 94"/>
                  <a:gd name="T4" fmla="*/ 3 w 112"/>
                  <a:gd name="T5" fmla="*/ 21 h 94"/>
                  <a:gd name="T6" fmla="*/ 2 w 112"/>
                  <a:gd name="T7" fmla="*/ 25 h 94"/>
                  <a:gd name="T8" fmla="*/ 6 w 112"/>
                  <a:gd name="T9" fmla="*/ 27 h 94"/>
                  <a:gd name="T10" fmla="*/ 9 w 112"/>
                  <a:gd name="T11" fmla="*/ 32 h 94"/>
                  <a:gd name="T12" fmla="*/ 15 w 112"/>
                  <a:gd name="T13" fmla="*/ 43 h 94"/>
                  <a:gd name="T14" fmla="*/ 28 w 112"/>
                  <a:gd name="T15" fmla="*/ 44 h 94"/>
                  <a:gd name="T16" fmla="*/ 40 w 112"/>
                  <a:gd name="T17" fmla="*/ 49 h 94"/>
                  <a:gd name="T18" fmla="*/ 49 w 112"/>
                  <a:gd name="T19" fmla="*/ 51 h 94"/>
                  <a:gd name="T20" fmla="*/ 47 w 112"/>
                  <a:gd name="T21" fmla="*/ 66 h 94"/>
                  <a:gd name="T22" fmla="*/ 50 w 112"/>
                  <a:gd name="T23" fmla="*/ 72 h 94"/>
                  <a:gd name="T24" fmla="*/ 50 w 112"/>
                  <a:gd name="T25" fmla="*/ 78 h 94"/>
                  <a:gd name="T26" fmla="*/ 51 w 112"/>
                  <a:gd name="T27" fmla="*/ 82 h 94"/>
                  <a:gd name="T28" fmla="*/ 50 w 112"/>
                  <a:gd name="T29" fmla="*/ 83 h 94"/>
                  <a:gd name="T30" fmla="*/ 56 w 112"/>
                  <a:gd name="T31" fmla="*/ 91 h 94"/>
                  <a:gd name="T32" fmla="*/ 61 w 112"/>
                  <a:gd name="T33" fmla="*/ 93 h 94"/>
                  <a:gd name="T34" fmla="*/ 65 w 112"/>
                  <a:gd name="T35" fmla="*/ 92 h 94"/>
                  <a:gd name="T36" fmla="*/ 71 w 112"/>
                  <a:gd name="T37" fmla="*/ 89 h 94"/>
                  <a:gd name="T38" fmla="*/ 76 w 112"/>
                  <a:gd name="T39" fmla="*/ 87 h 94"/>
                  <a:gd name="T40" fmla="*/ 81 w 112"/>
                  <a:gd name="T41" fmla="*/ 82 h 94"/>
                  <a:gd name="T42" fmla="*/ 82 w 112"/>
                  <a:gd name="T43" fmla="*/ 79 h 94"/>
                  <a:gd name="T44" fmla="*/ 78 w 112"/>
                  <a:gd name="T45" fmla="*/ 78 h 94"/>
                  <a:gd name="T46" fmla="*/ 76 w 112"/>
                  <a:gd name="T47" fmla="*/ 73 h 94"/>
                  <a:gd name="T48" fmla="*/ 72 w 112"/>
                  <a:gd name="T49" fmla="*/ 67 h 94"/>
                  <a:gd name="T50" fmla="*/ 78 w 112"/>
                  <a:gd name="T51" fmla="*/ 66 h 94"/>
                  <a:gd name="T52" fmla="*/ 85 w 112"/>
                  <a:gd name="T53" fmla="*/ 68 h 94"/>
                  <a:gd name="T54" fmla="*/ 88 w 112"/>
                  <a:gd name="T55" fmla="*/ 69 h 94"/>
                  <a:gd name="T56" fmla="*/ 93 w 112"/>
                  <a:gd name="T57" fmla="*/ 66 h 94"/>
                  <a:gd name="T58" fmla="*/ 103 w 112"/>
                  <a:gd name="T59" fmla="*/ 62 h 94"/>
                  <a:gd name="T60" fmla="*/ 106 w 112"/>
                  <a:gd name="T61" fmla="*/ 59 h 94"/>
                  <a:gd name="T62" fmla="*/ 100 w 112"/>
                  <a:gd name="T63" fmla="*/ 52 h 94"/>
                  <a:gd name="T64" fmla="*/ 101 w 112"/>
                  <a:gd name="T65" fmla="*/ 48 h 94"/>
                  <a:gd name="T66" fmla="*/ 105 w 112"/>
                  <a:gd name="T67" fmla="*/ 44 h 94"/>
                  <a:gd name="T68" fmla="*/ 106 w 112"/>
                  <a:gd name="T69" fmla="*/ 40 h 94"/>
                  <a:gd name="T70" fmla="*/ 109 w 112"/>
                  <a:gd name="T71" fmla="*/ 34 h 94"/>
                  <a:gd name="T72" fmla="*/ 112 w 112"/>
                  <a:gd name="T73" fmla="*/ 31 h 94"/>
                  <a:gd name="T74" fmla="*/ 100 w 112"/>
                  <a:gd name="T75" fmla="*/ 29 h 94"/>
                  <a:gd name="T76" fmla="*/ 102 w 112"/>
                  <a:gd name="T77" fmla="*/ 23 h 94"/>
                  <a:gd name="T78" fmla="*/ 90 w 112"/>
                  <a:gd name="T79" fmla="*/ 18 h 94"/>
                  <a:gd name="T80" fmla="*/ 92 w 112"/>
                  <a:gd name="T81" fmla="*/ 14 h 94"/>
                  <a:gd name="T82" fmla="*/ 85 w 112"/>
                  <a:gd name="T83" fmla="*/ 12 h 94"/>
                  <a:gd name="T84" fmla="*/ 69 w 112"/>
                  <a:gd name="T85" fmla="*/ 17 h 94"/>
                  <a:gd name="T86" fmla="*/ 54 w 112"/>
                  <a:gd name="T87" fmla="*/ 13 h 94"/>
                  <a:gd name="T88" fmla="*/ 44 w 112"/>
                  <a:gd name="T89" fmla="*/ 11 h 94"/>
                  <a:gd name="T90" fmla="*/ 37 w 112"/>
                  <a:gd name="T91" fmla="*/ 5 h 94"/>
                  <a:gd name="T92" fmla="*/ 31 w 112"/>
                  <a:gd name="T93" fmla="*/ 0 h 94"/>
                  <a:gd name="T94" fmla="*/ 28 w 112"/>
                  <a:gd name="T95" fmla="*/ 6 h 94"/>
                  <a:gd name="T96" fmla="*/ 17 w 112"/>
                  <a:gd name="T97" fmla="*/ 12 h 94"/>
                  <a:gd name="T98" fmla="*/ 20 w 112"/>
                  <a:gd name="T99" fmla="*/ 24 h 94"/>
                  <a:gd name="T100" fmla="*/ 11 w 112"/>
                  <a:gd name="T101" fmla="*/ 21 h 94"/>
                  <a:gd name="T102" fmla="*/ 15 w 112"/>
                  <a:gd name="T103" fmla="*/ 10 h 94"/>
                  <a:gd name="T104" fmla="*/ 14 w 112"/>
                  <a:gd name="T105" fmla="*/ 5 h 94"/>
                  <a:gd name="T106" fmla="*/ 11 w 112"/>
                  <a:gd name="T107" fmla="*/ 6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12" h="94">
                    <a:moveTo>
                      <a:pt x="11" y="6"/>
                    </a:moveTo>
                    <a:cubicBezTo>
                      <a:pt x="9" y="9"/>
                      <a:pt x="5" y="12"/>
                      <a:pt x="4" y="15"/>
                    </a:cubicBezTo>
                    <a:cubicBezTo>
                      <a:pt x="4" y="19"/>
                      <a:pt x="4" y="20"/>
                      <a:pt x="3" y="21"/>
                    </a:cubicBezTo>
                    <a:cubicBezTo>
                      <a:pt x="2" y="23"/>
                      <a:pt x="0" y="25"/>
                      <a:pt x="2" y="25"/>
                    </a:cubicBezTo>
                    <a:cubicBezTo>
                      <a:pt x="4" y="25"/>
                      <a:pt x="6" y="25"/>
                      <a:pt x="6" y="27"/>
                    </a:cubicBezTo>
                    <a:cubicBezTo>
                      <a:pt x="6" y="29"/>
                      <a:pt x="10" y="29"/>
                      <a:pt x="9" y="32"/>
                    </a:cubicBezTo>
                    <a:cubicBezTo>
                      <a:pt x="9" y="35"/>
                      <a:pt x="8" y="43"/>
                      <a:pt x="15" y="43"/>
                    </a:cubicBezTo>
                    <a:cubicBezTo>
                      <a:pt x="21" y="43"/>
                      <a:pt x="25" y="40"/>
                      <a:pt x="28" y="44"/>
                    </a:cubicBezTo>
                    <a:cubicBezTo>
                      <a:pt x="31" y="48"/>
                      <a:pt x="35" y="49"/>
                      <a:pt x="40" y="49"/>
                    </a:cubicBezTo>
                    <a:cubicBezTo>
                      <a:pt x="44" y="48"/>
                      <a:pt x="51" y="47"/>
                      <a:pt x="49" y="51"/>
                    </a:cubicBezTo>
                    <a:cubicBezTo>
                      <a:pt x="47" y="55"/>
                      <a:pt x="45" y="64"/>
                      <a:pt x="47" y="66"/>
                    </a:cubicBezTo>
                    <a:cubicBezTo>
                      <a:pt x="49" y="68"/>
                      <a:pt x="52" y="70"/>
                      <a:pt x="50" y="72"/>
                    </a:cubicBezTo>
                    <a:cubicBezTo>
                      <a:pt x="48" y="74"/>
                      <a:pt x="48" y="77"/>
                      <a:pt x="50" y="78"/>
                    </a:cubicBezTo>
                    <a:cubicBezTo>
                      <a:pt x="52" y="80"/>
                      <a:pt x="51" y="82"/>
                      <a:pt x="51" y="82"/>
                    </a:cubicBezTo>
                    <a:cubicBezTo>
                      <a:pt x="51" y="82"/>
                      <a:pt x="51" y="83"/>
                      <a:pt x="50" y="83"/>
                    </a:cubicBezTo>
                    <a:cubicBezTo>
                      <a:pt x="53" y="86"/>
                      <a:pt x="55" y="90"/>
                      <a:pt x="56" y="91"/>
                    </a:cubicBezTo>
                    <a:cubicBezTo>
                      <a:pt x="59" y="93"/>
                      <a:pt x="59" y="94"/>
                      <a:pt x="61" y="93"/>
                    </a:cubicBezTo>
                    <a:cubicBezTo>
                      <a:pt x="63" y="92"/>
                      <a:pt x="64" y="91"/>
                      <a:pt x="65" y="92"/>
                    </a:cubicBezTo>
                    <a:cubicBezTo>
                      <a:pt x="67" y="93"/>
                      <a:pt x="69" y="91"/>
                      <a:pt x="71" y="89"/>
                    </a:cubicBezTo>
                    <a:cubicBezTo>
                      <a:pt x="73" y="87"/>
                      <a:pt x="76" y="89"/>
                      <a:pt x="76" y="87"/>
                    </a:cubicBezTo>
                    <a:cubicBezTo>
                      <a:pt x="77" y="84"/>
                      <a:pt x="78" y="83"/>
                      <a:pt x="81" y="82"/>
                    </a:cubicBezTo>
                    <a:cubicBezTo>
                      <a:pt x="84" y="82"/>
                      <a:pt x="84" y="79"/>
                      <a:pt x="82" y="79"/>
                    </a:cubicBezTo>
                    <a:cubicBezTo>
                      <a:pt x="80" y="79"/>
                      <a:pt x="78" y="81"/>
                      <a:pt x="78" y="78"/>
                    </a:cubicBezTo>
                    <a:cubicBezTo>
                      <a:pt x="78" y="75"/>
                      <a:pt x="76" y="76"/>
                      <a:pt x="76" y="73"/>
                    </a:cubicBezTo>
                    <a:cubicBezTo>
                      <a:pt x="76" y="70"/>
                      <a:pt x="75" y="69"/>
                      <a:pt x="72" y="67"/>
                    </a:cubicBezTo>
                    <a:cubicBezTo>
                      <a:pt x="70" y="65"/>
                      <a:pt x="76" y="65"/>
                      <a:pt x="78" y="66"/>
                    </a:cubicBezTo>
                    <a:cubicBezTo>
                      <a:pt x="79" y="67"/>
                      <a:pt x="84" y="66"/>
                      <a:pt x="85" y="68"/>
                    </a:cubicBezTo>
                    <a:cubicBezTo>
                      <a:pt x="85" y="71"/>
                      <a:pt x="88" y="71"/>
                      <a:pt x="88" y="69"/>
                    </a:cubicBezTo>
                    <a:cubicBezTo>
                      <a:pt x="88" y="66"/>
                      <a:pt x="91" y="65"/>
                      <a:pt x="93" y="66"/>
                    </a:cubicBezTo>
                    <a:cubicBezTo>
                      <a:pt x="96" y="66"/>
                      <a:pt x="101" y="62"/>
                      <a:pt x="103" y="62"/>
                    </a:cubicBezTo>
                    <a:cubicBezTo>
                      <a:pt x="105" y="61"/>
                      <a:pt x="105" y="60"/>
                      <a:pt x="106" y="59"/>
                    </a:cubicBezTo>
                    <a:cubicBezTo>
                      <a:pt x="104" y="57"/>
                      <a:pt x="101" y="53"/>
                      <a:pt x="100" y="52"/>
                    </a:cubicBezTo>
                    <a:cubicBezTo>
                      <a:pt x="99" y="51"/>
                      <a:pt x="101" y="50"/>
                      <a:pt x="101" y="48"/>
                    </a:cubicBezTo>
                    <a:cubicBezTo>
                      <a:pt x="101" y="46"/>
                      <a:pt x="101" y="44"/>
                      <a:pt x="105" y="44"/>
                    </a:cubicBezTo>
                    <a:cubicBezTo>
                      <a:pt x="109" y="44"/>
                      <a:pt x="108" y="41"/>
                      <a:pt x="106" y="40"/>
                    </a:cubicBezTo>
                    <a:cubicBezTo>
                      <a:pt x="104" y="39"/>
                      <a:pt x="107" y="36"/>
                      <a:pt x="109" y="34"/>
                    </a:cubicBezTo>
                    <a:cubicBezTo>
                      <a:pt x="110" y="34"/>
                      <a:pt x="111" y="32"/>
                      <a:pt x="112" y="31"/>
                    </a:cubicBezTo>
                    <a:cubicBezTo>
                      <a:pt x="108" y="29"/>
                      <a:pt x="103" y="29"/>
                      <a:pt x="100" y="29"/>
                    </a:cubicBezTo>
                    <a:cubicBezTo>
                      <a:pt x="97" y="30"/>
                      <a:pt x="102" y="26"/>
                      <a:pt x="102" y="23"/>
                    </a:cubicBezTo>
                    <a:cubicBezTo>
                      <a:pt x="103" y="20"/>
                      <a:pt x="94" y="19"/>
                      <a:pt x="90" y="18"/>
                    </a:cubicBezTo>
                    <a:cubicBezTo>
                      <a:pt x="87" y="18"/>
                      <a:pt x="88" y="14"/>
                      <a:pt x="92" y="14"/>
                    </a:cubicBezTo>
                    <a:cubicBezTo>
                      <a:pt x="95" y="14"/>
                      <a:pt x="90" y="11"/>
                      <a:pt x="85" y="12"/>
                    </a:cubicBezTo>
                    <a:cubicBezTo>
                      <a:pt x="80" y="13"/>
                      <a:pt x="73" y="15"/>
                      <a:pt x="69" y="17"/>
                    </a:cubicBezTo>
                    <a:cubicBezTo>
                      <a:pt x="65" y="20"/>
                      <a:pt x="59" y="11"/>
                      <a:pt x="54" y="13"/>
                    </a:cubicBezTo>
                    <a:cubicBezTo>
                      <a:pt x="50" y="15"/>
                      <a:pt x="43" y="15"/>
                      <a:pt x="44" y="11"/>
                    </a:cubicBezTo>
                    <a:cubicBezTo>
                      <a:pt x="44" y="8"/>
                      <a:pt x="42" y="5"/>
                      <a:pt x="37" y="5"/>
                    </a:cubicBezTo>
                    <a:cubicBezTo>
                      <a:pt x="33" y="5"/>
                      <a:pt x="34" y="0"/>
                      <a:pt x="31" y="0"/>
                    </a:cubicBezTo>
                    <a:cubicBezTo>
                      <a:pt x="27" y="0"/>
                      <a:pt x="31" y="5"/>
                      <a:pt x="28" y="6"/>
                    </a:cubicBezTo>
                    <a:cubicBezTo>
                      <a:pt x="26" y="7"/>
                      <a:pt x="18" y="9"/>
                      <a:pt x="17" y="12"/>
                    </a:cubicBezTo>
                    <a:cubicBezTo>
                      <a:pt x="17" y="15"/>
                      <a:pt x="22" y="20"/>
                      <a:pt x="20" y="24"/>
                    </a:cubicBezTo>
                    <a:cubicBezTo>
                      <a:pt x="18" y="27"/>
                      <a:pt x="13" y="24"/>
                      <a:pt x="11" y="21"/>
                    </a:cubicBezTo>
                    <a:cubicBezTo>
                      <a:pt x="10" y="17"/>
                      <a:pt x="16" y="12"/>
                      <a:pt x="15" y="10"/>
                    </a:cubicBezTo>
                    <a:cubicBezTo>
                      <a:pt x="14" y="9"/>
                      <a:pt x="13" y="6"/>
                      <a:pt x="14" y="5"/>
                    </a:cubicBezTo>
                    <a:cubicBezTo>
                      <a:pt x="13" y="5"/>
                      <a:pt x="12" y="5"/>
                      <a:pt x="11" y="6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1" name="Freeform 118">
                <a:extLst>
                  <a:ext uri="{FF2B5EF4-FFF2-40B4-BE49-F238E27FC236}">
                    <a16:creationId xmlns:a16="http://schemas.microsoft.com/office/drawing/2014/main" id="{1F08A624-547B-48B0-8DC1-03FE5729F9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4376" y="3970599"/>
                <a:ext cx="81557" cy="85321"/>
              </a:xfrm>
              <a:custGeom>
                <a:avLst/>
                <a:gdLst>
                  <a:gd name="T0" fmla="*/ 9 w 35"/>
                  <a:gd name="T1" fmla="*/ 8 h 37"/>
                  <a:gd name="T2" fmla="*/ 5 w 35"/>
                  <a:gd name="T3" fmla="*/ 12 h 37"/>
                  <a:gd name="T4" fmla="*/ 2 w 35"/>
                  <a:gd name="T5" fmla="*/ 18 h 37"/>
                  <a:gd name="T6" fmla="*/ 8 w 35"/>
                  <a:gd name="T7" fmla="*/ 27 h 37"/>
                  <a:gd name="T8" fmla="*/ 13 w 35"/>
                  <a:gd name="T9" fmla="*/ 36 h 37"/>
                  <a:gd name="T10" fmla="*/ 17 w 35"/>
                  <a:gd name="T11" fmla="*/ 36 h 37"/>
                  <a:gd name="T12" fmla="*/ 20 w 35"/>
                  <a:gd name="T13" fmla="*/ 31 h 37"/>
                  <a:gd name="T14" fmla="*/ 29 w 35"/>
                  <a:gd name="T15" fmla="*/ 31 h 37"/>
                  <a:gd name="T16" fmla="*/ 30 w 35"/>
                  <a:gd name="T17" fmla="*/ 32 h 37"/>
                  <a:gd name="T18" fmla="*/ 33 w 35"/>
                  <a:gd name="T19" fmla="*/ 29 h 37"/>
                  <a:gd name="T20" fmla="*/ 32 w 35"/>
                  <a:gd name="T21" fmla="*/ 18 h 37"/>
                  <a:gd name="T22" fmla="*/ 33 w 35"/>
                  <a:gd name="T23" fmla="*/ 8 h 37"/>
                  <a:gd name="T24" fmla="*/ 35 w 35"/>
                  <a:gd name="T25" fmla="*/ 4 h 37"/>
                  <a:gd name="T26" fmla="*/ 27 w 35"/>
                  <a:gd name="T27" fmla="*/ 2 h 37"/>
                  <a:gd name="T28" fmla="*/ 16 w 35"/>
                  <a:gd name="T29" fmla="*/ 3 h 37"/>
                  <a:gd name="T30" fmla="*/ 10 w 35"/>
                  <a:gd name="T31" fmla="*/ 2 h 37"/>
                  <a:gd name="T32" fmla="*/ 9 w 35"/>
                  <a:gd name="T33" fmla="*/ 3 h 37"/>
                  <a:gd name="T34" fmla="*/ 9 w 35"/>
                  <a:gd name="T35" fmla="*/ 8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5" h="37">
                    <a:moveTo>
                      <a:pt x="9" y="8"/>
                    </a:moveTo>
                    <a:cubicBezTo>
                      <a:pt x="10" y="10"/>
                      <a:pt x="7" y="11"/>
                      <a:pt x="5" y="12"/>
                    </a:cubicBezTo>
                    <a:cubicBezTo>
                      <a:pt x="2" y="12"/>
                      <a:pt x="3" y="17"/>
                      <a:pt x="2" y="18"/>
                    </a:cubicBezTo>
                    <a:cubicBezTo>
                      <a:pt x="0" y="20"/>
                      <a:pt x="7" y="24"/>
                      <a:pt x="8" y="27"/>
                    </a:cubicBezTo>
                    <a:cubicBezTo>
                      <a:pt x="9" y="29"/>
                      <a:pt x="11" y="33"/>
                      <a:pt x="13" y="36"/>
                    </a:cubicBezTo>
                    <a:cubicBezTo>
                      <a:pt x="15" y="36"/>
                      <a:pt x="16" y="37"/>
                      <a:pt x="17" y="36"/>
                    </a:cubicBezTo>
                    <a:cubicBezTo>
                      <a:pt x="19" y="35"/>
                      <a:pt x="17" y="31"/>
                      <a:pt x="20" y="31"/>
                    </a:cubicBezTo>
                    <a:cubicBezTo>
                      <a:pt x="24" y="31"/>
                      <a:pt x="28" y="29"/>
                      <a:pt x="29" y="31"/>
                    </a:cubicBezTo>
                    <a:cubicBezTo>
                      <a:pt x="30" y="32"/>
                      <a:pt x="30" y="32"/>
                      <a:pt x="30" y="32"/>
                    </a:cubicBezTo>
                    <a:cubicBezTo>
                      <a:pt x="31" y="31"/>
                      <a:pt x="32" y="29"/>
                      <a:pt x="33" y="29"/>
                    </a:cubicBezTo>
                    <a:cubicBezTo>
                      <a:pt x="33" y="27"/>
                      <a:pt x="33" y="21"/>
                      <a:pt x="32" y="18"/>
                    </a:cubicBezTo>
                    <a:cubicBezTo>
                      <a:pt x="30" y="14"/>
                      <a:pt x="31" y="10"/>
                      <a:pt x="33" y="8"/>
                    </a:cubicBezTo>
                    <a:cubicBezTo>
                      <a:pt x="33" y="8"/>
                      <a:pt x="34" y="6"/>
                      <a:pt x="35" y="4"/>
                    </a:cubicBezTo>
                    <a:cubicBezTo>
                      <a:pt x="32" y="3"/>
                      <a:pt x="29" y="2"/>
                      <a:pt x="27" y="2"/>
                    </a:cubicBezTo>
                    <a:cubicBezTo>
                      <a:pt x="22" y="3"/>
                      <a:pt x="18" y="5"/>
                      <a:pt x="16" y="3"/>
                    </a:cubicBezTo>
                    <a:cubicBezTo>
                      <a:pt x="15" y="0"/>
                      <a:pt x="12" y="1"/>
                      <a:pt x="10" y="2"/>
                    </a:cubicBezTo>
                    <a:cubicBezTo>
                      <a:pt x="10" y="3"/>
                      <a:pt x="10" y="3"/>
                      <a:pt x="9" y="3"/>
                    </a:cubicBezTo>
                    <a:cubicBezTo>
                      <a:pt x="9" y="5"/>
                      <a:pt x="8" y="7"/>
                      <a:pt x="9" y="8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2" name="Freeform 119">
                <a:extLst>
                  <a:ext uri="{FF2B5EF4-FFF2-40B4-BE49-F238E27FC236}">
                    <a16:creationId xmlns:a16="http://schemas.microsoft.com/office/drawing/2014/main" id="{74E32B58-E4F8-4E88-A5CB-8EDD35949A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75404" y="3931703"/>
                <a:ext cx="89086" cy="136765"/>
              </a:xfrm>
              <a:custGeom>
                <a:avLst/>
                <a:gdLst>
                  <a:gd name="T0" fmla="*/ 10 w 39"/>
                  <a:gd name="T1" fmla="*/ 3 h 59"/>
                  <a:gd name="T2" fmla="*/ 7 w 39"/>
                  <a:gd name="T3" fmla="*/ 9 h 59"/>
                  <a:gd name="T4" fmla="*/ 6 w 39"/>
                  <a:gd name="T5" fmla="*/ 13 h 59"/>
                  <a:gd name="T6" fmla="*/ 2 w 39"/>
                  <a:gd name="T7" fmla="*/ 17 h 59"/>
                  <a:gd name="T8" fmla="*/ 1 w 39"/>
                  <a:gd name="T9" fmla="*/ 21 h 59"/>
                  <a:gd name="T10" fmla="*/ 7 w 39"/>
                  <a:gd name="T11" fmla="*/ 28 h 59"/>
                  <a:gd name="T12" fmla="*/ 9 w 39"/>
                  <a:gd name="T13" fmla="*/ 26 h 59"/>
                  <a:gd name="T14" fmla="*/ 13 w 39"/>
                  <a:gd name="T15" fmla="*/ 33 h 59"/>
                  <a:gd name="T16" fmla="*/ 14 w 39"/>
                  <a:gd name="T17" fmla="*/ 40 h 59"/>
                  <a:gd name="T18" fmla="*/ 15 w 39"/>
                  <a:gd name="T19" fmla="*/ 54 h 59"/>
                  <a:gd name="T20" fmla="*/ 24 w 39"/>
                  <a:gd name="T21" fmla="*/ 57 h 59"/>
                  <a:gd name="T22" fmla="*/ 29 w 39"/>
                  <a:gd name="T23" fmla="*/ 55 h 59"/>
                  <a:gd name="T24" fmla="*/ 33 w 39"/>
                  <a:gd name="T25" fmla="*/ 53 h 59"/>
                  <a:gd name="T26" fmla="*/ 39 w 39"/>
                  <a:gd name="T27" fmla="*/ 53 h 59"/>
                  <a:gd name="T28" fmla="*/ 34 w 39"/>
                  <a:gd name="T29" fmla="*/ 44 h 59"/>
                  <a:gd name="T30" fmla="*/ 28 w 39"/>
                  <a:gd name="T31" fmla="*/ 35 h 59"/>
                  <a:gd name="T32" fmla="*/ 31 w 39"/>
                  <a:gd name="T33" fmla="*/ 29 h 59"/>
                  <a:gd name="T34" fmla="*/ 35 w 39"/>
                  <a:gd name="T35" fmla="*/ 25 h 59"/>
                  <a:gd name="T36" fmla="*/ 35 w 39"/>
                  <a:gd name="T37" fmla="*/ 20 h 59"/>
                  <a:gd name="T38" fmla="*/ 28 w 39"/>
                  <a:gd name="T39" fmla="*/ 13 h 59"/>
                  <a:gd name="T40" fmla="*/ 24 w 39"/>
                  <a:gd name="T41" fmla="*/ 8 h 59"/>
                  <a:gd name="T42" fmla="*/ 16 w 39"/>
                  <a:gd name="T43" fmla="*/ 1 h 59"/>
                  <a:gd name="T44" fmla="*/ 13 w 39"/>
                  <a:gd name="T45" fmla="*/ 0 h 59"/>
                  <a:gd name="T46" fmla="*/ 10 w 39"/>
                  <a:gd name="T47" fmla="*/ 3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9" h="59">
                    <a:moveTo>
                      <a:pt x="10" y="3"/>
                    </a:moveTo>
                    <a:cubicBezTo>
                      <a:pt x="8" y="5"/>
                      <a:pt x="5" y="8"/>
                      <a:pt x="7" y="9"/>
                    </a:cubicBezTo>
                    <a:cubicBezTo>
                      <a:pt x="9" y="10"/>
                      <a:pt x="10" y="13"/>
                      <a:pt x="6" y="13"/>
                    </a:cubicBezTo>
                    <a:cubicBezTo>
                      <a:pt x="2" y="13"/>
                      <a:pt x="2" y="15"/>
                      <a:pt x="2" y="17"/>
                    </a:cubicBezTo>
                    <a:cubicBezTo>
                      <a:pt x="2" y="19"/>
                      <a:pt x="0" y="20"/>
                      <a:pt x="1" y="21"/>
                    </a:cubicBezTo>
                    <a:cubicBezTo>
                      <a:pt x="2" y="22"/>
                      <a:pt x="5" y="26"/>
                      <a:pt x="7" y="28"/>
                    </a:cubicBezTo>
                    <a:cubicBezTo>
                      <a:pt x="7" y="27"/>
                      <a:pt x="8" y="26"/>
                      <a:pt x="9" y="26"/>
                    </a:cubicBezTo>
                    <a:cubicBezTo>
                      <a:pt x="13" y="27"/>
                      <a:pt x="10" y="32"/>
                      <a:pt x="13" y="33"/>
                    </a:cubicBezTo>
                    <a:cubicBezTo>
                      <a:pt x="16" y="34"/>
                      <a:pt x="16" y="38"/>
                      <a:pt x="14" y="40"/>
                    </a:cubicBezTo>
                    <a:cubicBezTo>
                      <a:pt x="12" y="41"/>
                      <a:pt x="11" y="49"/>
                      <a:pt x="15" y="54"/>
                    </a:cubicBezTo>
                    <a:cubicBezTo>
                      <a:pt x="20" y="59"/>
                      <a:pt x="23" y="58"/>
                      <a:pt x="24" y="57"/>
                    </a:cubicBezTo>
                    <a:cubicBezTo>
                      <a:pt x="25" y="56"/>
                      <a:pt x="28" y="57"/>
                      <a:pt x="29" y="55"/>
                    </a:cubicBezTo>
                    <a:cubicBezTo>
                      <a:pt x="30" y="53"/>
                      <a:pt x="31" y="55"/>
                      <a:pt x="33" y="53"/>
                    </a:cubicBezTo>
                    <a:cubicBezTo>
                      <a:pt x="34" y="52"/>
                      <a:pt x="37" y="52"/>
                      <a:pt x="39" y="53"/>
                    </a:cubicBezTo>
                    <a:cubicBezTo>
                      <a:pt x="37" y="50"/>
                      <a:pt x="35" y="46"/>
                      <a:pt x="34" y="44"/>
                    </a:cubicBezTo>
                    <a:cubicBezTo>
                      <a:pt x="33" y="41"/>
                      <a:pt x="26" y="37"/>
                      <a:pt x="28" y="35"/>
                    </a:cubicBezTo>
                    <a:cubicBezTo>
                      <a:pt x="29" y="34"/>
                      <a:pt x="28" y="29"/>
                      <a:pt x="31" y="29"/>
                    </a:cubicBezTo>
                    <a:cubicBezTo>
                      <a:pt x="33" y="28"/>
                      <a:pt x="36" y="27"/>
                      <a:pt x="35" y="25"/>
                    </a:cubicBezTo>
                    <a:cubicBezTo>
                      <a:pt x="34" y="24"/>
                      <a:pt x="35" y="22"/>
                      <a:pt x="35" y="20"/>
                    </a:cubicBezTo>
                    <a:cubicBezTo>
                      <a:pt x="33" y="19"/>
                      <a:pt x="30" y="13"/>
                      <a:pt x="28" y="13"/>
                    </a:cubicBezTo>
                    <a:cubicBezTo>
                      <a:pt x="26" y="13"/>
                      <a:pt x="23" y="11"/>
                      <a:pt x="24" y="8"/>
                    </a:cubicBezTo>
                    <a:cubicBezTo>
                      <a:pt x="24" y="5"/>
                      <a:pt x="19" y="5"/>
                      <a:pt x="16" y="1"/>
                    </a:cubicBezTo>
                    <a:cubicBezTo>
                      <a:pt x="15" y="1"/>
                      <a:pt x="14" y="0"/>
                      <a:pt x="13" y="0"/>
                    </a:cubicBezTo>
                    <a:cubicBezTo>
                      <a:pt x="12" y="1"/>
                      <a:pt x="11" y="3"/>
                      <a:pt x="10" y="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3" name="Freeform 120">
                <a:extLst>
                  <a:ext uri="{FF2B5EF4-FFF2-40B4-BE49-F238E27FC236}">
                    <a16:creationId xmlns:a16="http://schemas.microsoft.com/office/drawing/2014/main" id="{172AAA69-DB34-4044-9451-5621A8CEDC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4641" y="3980637"/>
                <a:ext cx="56463" cy="71519"/>
              </a:xfrm>
              <a:custGeom>
                <a:avLst/>
                <a:gdLst>
                  <a:gd name="T0" fmla="*/ 2 w 25"/>
                  <a:gd name="T1" fmla="*/ 14 h 31"/>
                  <a:gd name="T2" fmla="*/ 3 w 25"/>
                  <a:gd name="T3" fmla="*/ 25 h 31"/>
                  <a:gd name="T4" fmla="*/ 0 w 25"/>
                  <a:gd name="T5" fmla="*/ 28 h 31"/>
                  <a:gd name="T6" fmla="*/ 7 w 25"/>
                  <a:gd name="T7" fmla="*/ 30 h 31"/>
                  <a:gd name="T8" fmla="*/ 16 w 25"/>
                  <a:gd name="T9" fmla="*/ 26 h 31"/>
                  <a:gd name="T10" fmla="*/ 25 w 25"/>
                  <a:gd name="T11" fmla="*/ 13 h 31"/>
                  <a:gd name="T12" fmla="*/ 25 w 25"/>
                  <a:gd name="T13" fmla="*/ 13 h 31"/>
                  <a:gd name="T14" fmla="*/ 11 w 25"/>
                  <a:gd name="T15" fmla="*/ 2 h 31"/>
                  <a:gd name="T16" fmla="*/ 5 w 25"/>
                  <a:gd name="T17" fmla="*/ 0 h 31"/>
                  <a:gd name="T18" fmla="*/ 3 w 25"/>
                  <a:gd name="T19" fmla="*/ 4 h 31"/>
                  <a:gd name="T20" fmla="*/ 2 w 25"/>
                  <a:gd name="T21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" h="31">
                    <a:moveTo>
                      <a:pt x="2" y="14"/>
                    </a:moveTo>
                    <a:cubicBezTo>
                      <a:pt x="3" y="17"/>
                      <a:pt x="3" y="23"/>
                      <a:pt x="3" y="25"/>
                    </a:cubicBezTo>
                    <a:cubicBezTo>
                      <a:pt x="2" y="25"/>
                      <a:pt x="1" y="27"/>
                      <a:pt x="0" y="28"/>
                    </a:cubicBezTo>
                    <a:cubicBezTo>
                      <a:pt x="1" y="30"/>
                      <a:pt x="4" y="31"/>
                      <a:pt x="7" y="30"/>
                    </a:cubicBezTo>
                    <a:cubicBezTo>
                      <a:pt x="12" y="28"/>
                      <a:pt x="14" y="31"/>
                      <a:pt x="16" y="26"/>
                    </a:cubicBezTo>
                    <a:cubicBezTo>
                      <a:pt x="17" y="22"/>
                      <a:pt x="22" y="17"/>
                      <a:pt x="25" y="13"/>
                    </a:cubicBezTo>
                    <a:cubicBezTo>
                      <a:pt x="25" y="13"/>
                      <a:pt x="25" y="13"/>
                      <a:pt x="25" y="13"/>
                    </a:cubicBezTo>
                    <a:cubicBezTo>
                      <a:pt x="22" y="12"/>
                      <a:pt x="17" y="4"/>
                      <a:pt x="11" y="2"/>
                    </a:cubicBezTo>
                    <a:cubicBezTo>
                      <a:pt x="9" y="2"/>
                      <a:pt x="7" y="1"/>
                      <a:pt x="5" y="0"/>
                    </a:cubicBezTo>
                    <a:cubicBezTo>
                      <a:pt x="4" y="2"/>
                      <a:pt x="3" y="4"/>
                      <a:pt x="3" y="4"/>
                    </a:cubicBezTo>
                    <a:cubicBezTo>
                      <a:pt x="1" y="6"/>
                      <a:pt x="0" y="10"/>
                      <a:pt x="2" y="14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4" name="Freeform 121">
                <a:extLst>
                  <a:ext uri="{FF2B5EF4-FFF2-40B4-BE49-F238E27FC236}">
                    <a16:creationId xmlns:a16="http://schemas.microsoft.com/office/drawing/2014/main" id="{EA3A0EB4-A1E4-49B0-8E77-8B2085E7F5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38760" y="3641861"/>
                <a:ext cx="196992" cy="69010"/>
              </a:xfrm>
              <a:custGeom>
                <a:avLst/>
                <a:gdLst>
                  <a:gd name="T0" fmla="*/ 69 w 85"/>
                  <a:gd name="T1" fmla="*/ 19 h 30"/>
                  <a:gd name="T2" fmla="*/ 30 w 85"/>
                  <a:gd name="T3" fmla="*/ 4 h 30"/>
                  <a:gd name="T4" fmla="*/ 1 w 85"/>
                  <a:gd name="T5" fmla="*/ 14 h 30"/>
                  <a:gd name="T6" fmla="*/ 15 w 85"/>
                  <a:gd name="T7" fmla="*/ 7 h 30"/>
                  <a:gd name="T8" fmla="*/ 23 w 85"/>
                  <a:gd name="T9" fmla="*/ 10 h 30"/>
                  <a:gd name="T10" fmla="*/ 37 w 85"/>
                  <a:gd name="T11" fmla="*/ 14 h 30"/>
                  <a:gd name="T12" fmla="*/ 54 w 85"/>
                  <a:gd name="T13" fmla="*/ 23 h 30"/>
                  <a:gd name="T14" fmla="*/ 58 w 85"/>
                  <a:gd name="T15" fmla="*/ 29 h 30"/>
                  <a:gd name="T16" fmla="*/ 84 w 85"/>
                  <a:gd name="T17" fmla="*/ 28 h 30"/>
                  <a:gd name="T18" fmla="*/ 69 w 85"/>
                  <a:gd name="T19" fmla="*/ 19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5" h="30">
                    <a:moveTo>
                      <a:pt x="69" y="19"/>
                    </a:moveTo>
                    <a:cubicBezTo>
                      <a:pt x="63" y="19"/>
                      <a:pt x="46" y="7"/>
                      <a:pt x="30" y="4"/>
                    </a:cubicBezTo>
                    <a:cubicBezTo>
                      <a:pt x="14" y="0"/>
                      <a:pt x="0" y="12"/>
                      <a:pt x="1" y="14"/>
                    </a:cubicBezTo>
                    <a:cubicBezTo>
                      <a:pt x="3" y="16"/>
                      <a:pt x="11" y="10"/>
                      <a:pt x="15" y="7"/>
                    </a:cubicBezTo>
                    <a:cubicBezTo>
                      <a:pt x="19" y="4"/>
                      <a:pt x="23" y="9"/>
                      <a:pt x="23" y="10"/>
                    </a:cubicBezTo>
                    <a:cubicBezTo>
                      <a:pt x="23" y="12"/>
                      <a:pt x="28" y="13"/>
                      <a:pt x="37" y="14"/>
                    </a:cubicBezTo>
                    <a:cubicBezTo>
                      <a:pt x="45" y="14"/>
                      <a:pt x="46" y="21"/>
                      <a:pt x="54" y="23"/>
                    </a:cubicBezTo>
                    <a:cubicBezTo>
                      <a:pt x="61" y="24"/>
                      <a:pt x="54" y="27"/>
                      <a:pt x="58" y="29"/>
                    </a:cubicBezTo>
                    <a:cubicBezTo>
                      <a:pt x="61" y="30"/>
                      <a:pt x="82" y="30"/>
                      <a:pt x="84" y="28"/>
                    </a:cubicBezTo>
                    <a:cubicBezTo>
                      <a:pt x="85" y="26"/>
                      <a:pt x="74" y="19"/>
                      <a:pt x="69" y="1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5" name="Freeform 122">
                <a:extLst>
                  <a:ext uri="{FF2B5EF4-FFF2-40B4-BE49-F238E27FC236}">
                    <a16:creationId xmlns:a16="http://schemas.microsoft.com/office/drawing/2014/main" id="{2D847BCB-CE0B-47A3-A342-080BC988D3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1685" y="3735965"/>
                <a:ext cx="43915" cy="21330"/>
              </a:xfrm>
              <a:custGeom>
                <a:avLst/>
                <a:gdLst>
                  <a:gd name="T0" fmla="*/ 1 w 19"/>
                  <a:gd name="T1" fmla="*/ 3 h 9"/>
                  <a:gd name="T2" fmla="*/ 18 w 19"/>
                  <a:gd name="T3" fmla="*/ 6 h 9"/>
                  <a:gd name="T4" fmla="*/ 1 w 19"/>
                  <a:gd name="T5" fmla="*/ 3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9" h="9">
                    <a:moveTo>
                      <a:pt x="1" y="3"/>
                    </a:moveTo>
                    <a:cubicBezTo>
                      <a:pt x="3" y="5"/>
                      <a:pt x="16" y="9"/>
                      <a:pt x="18" y="6"/>
                    </a:cubicBezTo>
                    <a:cubicBezTo>
                      <a:pt x="19" y="3"/>
                      <a:pt x="0" y="0"/>
                      <a:pt x="1" y="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6" name="Freeform 123">
                <a:extLst>
                  <a:ext uri="{FF2B5EF4-FFF2-40B4-BE49-F238E27FC236}">
                    <a16:creationId xmlns:a16="http://schemas.microsoft.com/office/drawing/2014/main" id="{57A08BF3-BA9E-4B6E-BC54-44D43F883E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59970" y="3733456"/>
                <a:ext cx="41406" cy="23840"/>
              </a:xfrm>
              <a:custGeom>
                <a:avLst/>
                <a:gdLst>
                  <a:gd name="T0" fmla="*/ 3 w 18"/>
                  <a:gd name="T1" fmla="*/ 5 h 10"/>
                  <a:gd name="T2" fmla="*/ 16 w 18"/>
                  <a:gd name="T3" fmla="*/ 5 h 10"/>
                  <a:gd name="T4" fmla="*/ 3 w 18"/>
                  <a:gd name="T5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10">
                    <a:moveTo>
                      <a:pt x="3" y="5"/>
                    </a:moveTo>
                    <a:cubicBezTo>
                      <a:pt x="6" y="10"/>
                      <a:pt x="15" y="7"/>
                      <a:pt x="16" y="5"/>
                    </a:cubicBezTo>
                    <a:cubicBezTo>
                      <a:pt x="18" y="1"/>
                      <a:pt x="0" y="0"/>
                      <a:pt x="3" y="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7" name="Freeform 124">
                <a:extLst>
                  <a:ext uri="{FF2B5EF4-FFF2-40B4-BE49-F238E27FC236}">
                    <a16:creationId xmlns:a16="http://schemas.microsoft.com/office/drawing/2014/main" id="{637D32A7-F7AA-428E-AA41-97308E4D8C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4005" y="4060939"/>
                <a:ext cx="112925" cy="124218"/>
              </a:xfrm>
              <a:custGeom>
                <a:avLst/>
                <a:gdLst>
                  <a:gd name="T0" fmla="*/ 44 w 49"/>
                  <a:gd name="T1" fmla="*/ 14 h 54"/>
                  <a:gd name="T2" fmla="*/ 39 w 49"/>
                  <a:gd name="T3" fmla="*/ 9 h 54"/>
                  <a:gd name="T4" fmla="*/ 33 w 49"/>
                  <a:gd name="T5" fmla="*/ 9 h 54"/>
                  <a:gd name="T6" fmla="*/ 28 w 49"/>
                  <a:gd name="T7" fmla="*/ 5 h 54"/>
                  <a:gd name="T8" fmla="*/ 18 w 49"/>
                  <a:gd name="T9" fmla="*/ 0 h 54"/>
                  <a:gd name="T10" fmla="*/ 18 w 49"/>
                  <a:gd name="T11" fmla="*/ 1 h 54"/>
                  <a:gd name="T12" fmla="*/ 12 w 49"/>
                  <a:gd name="T13" fmla="*/ 4 h 54"/>
                  <a:gd name="T14" fmla="*/ 9 w 49"/>
                  <a:gd name="T15" fmla="*/ 10 h 54"/>
                  <a:gd name="T16" fmla="*/ 6 w 49"/>
                  <a:gd name="T17" fmla="*/ 15 h 54"/>
                  <a:gd name="T18" fmla="*/ 4 w 49"/>
                  <a:gd name="T19" fmla="*/ 19 h 54"/>
                  <a:gd name="T20" fmla="*/ 2 w 49"/>
                  <a:gd name="T21" fmla="*/ 24 h 54"/>
                  <a:gd name="T22" fmla="*/ 1 w 49"/>
                  <a:gd name="T23" fmla="*/ 30 h 54"/>
                  <a:gd name="T24" fmla="*/ 6 w 49"/>
                  <a:gd name="T25" fmla="*/ 34 h 54"/>
                  <a:gd name="T26" fmla="*/ 10 w 49"/>
                  <a:gd name="T27" fmla="*/ 35 h 54"/>
                  <a:gd name="T28" fmla="*/ 6 w 49"/>
                  <a:gd name="T29" fmla="*/ 40 h 54"/>
                  <a:gd name="T30" fmla="*/ 6 w 49"/>
                  <a:gd name="T31" fmla="*/ 40 h 54"/>
                  <a:gd name="T32" fmla="*/ 7 w 49"/>
                  <a:gd name="T33" fmla="*/ 44 h 54"/>
                  <a:gd name="T34" fmla="*/ 7 w 49"/>
                  <a:gd name="T35" fmla="*/ 48 h 54"/>
                  <a:gd name="T36" fmla="*/ 13 w 49"/>
                  <a:gd name="T37" fmla="*/ 50 h 54"/>
                  <a:gd name="T38" fmla="*/ 19 w 49"/>
                  <a:gd name="T39" fmla="*/ 49 h 54"/>
                  <a:gd name="T40" fmla="*/ 26 w 49"/>
                  <a:gd name="T41" fmla="*/ 37 h 54"/>
                  <a:gd name="T42" fmla="*/ 42 w 49"/>
                  <a:gd name="T43" fmla="*/ 28 h 54"/>
                  <a:gd name="T44" fmla="*/ 47 w 49"/>
                  <a:gd name="T45" fmla="*/ 20 h 54"/>
                  <a:gd name="T46" fmla="*/ 44 w 49"/>
                  <a:gd name="T47" fmla="*/ 1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9" h="54">
                    <a:moveTo>
                      <a:pt x="44" y="14"/>
                    </a:moveTo>
                    <a:cubicBezTo>
                      <a:pt x="41" y="10"/>
                      <a:pt x="39" y="8"/>
                      <a:pt x="39" y="9"/>
                    </a:cubicBezTo>
                    <a:cubicBezTo>
                      <a:pt x="38" y="10"/>
                      <a:pt x="35" y="11"/>
                      <a:pt x="33" y="9"/>
                    </a:cubicBezTo>
                    <a:cubicBezTo>
                      <a:pt x="30" y="8"/>
                      <a:pt x="29" y="5"/>
                      <a:pt x="28" y="5"/>
                    </a:cubicBezTo>
                    <a:cubicBezTo>
                      <a:pt x="26" y="5"/>
                      <a:pt x="21" y="2"/>
                      <a:pt x="18" y="0"/>
                    </a:cubicBezTo>
                    <a:cubicBezTo>
                      <a:pt x="18" y="0"/>
                      <a:pt x="18" y="1"/>
                      <a:pt x="18" y="1"/>
                    </a:cubicBezTo>
                    <a:cubicBezTo>
                      <a:pt x="18" y="3"/>
                      <a:pt x="15" y="4"/>
                      <a:pt x="12" y="4"/>
                    </a:cubicBezTo>
                    <a:cubicBezTo>
                      <a:pt x="9" y="4"/>
                      <a:pt x="9" y="7"/>
                      <a:pt x="9" y="10"/>
                    </a:cubicBezTo>
                    <a:cubicBezTo>
                      <a:pt x="9" y="12"/>
                      <a:pt x="7" y="12"/>
                      <a:pt x="6" y="15"/>
                    </a:cubicBezTo>
                    <a:cubicBezTo>
                      <a:pt x="5" y="17"/>
                      <a:pt x="6" y="18"/>
                      <a:pt x="4" y="19"/>
                    </a:cubicBezTo>
                    <a:cubicBezTo>
                      <a:pt x="1" y="20"/>
                      <a:pt x="0" y="22"/>
                      <a:pt x="2" y="24"/>
                    </a:cubicBezTo>
                    <a:cubicBezTo>
                      <a:pt x="3" y="27"/>
                      <a:pt x="2" y="28"/>
                      <a:pt x="1" y="30"/>
                    </a:cubicBezTo>
                    <a:cubicBezTo>
                      <a:pt x="1" y="31"/>
                      <a:pt x="4" y="32"/>
                      <a:pt x="6" y="34"/>
                    </a:cubicBezTo>
                    <a:cubicBezTo>
                      <a:pt x="9" y="36"/>
                      <a:pt x="9" y="33"/>
                      <a:pt x="10" y="35"/>
                    </a:cubicBezTo>
                    <a:cubicBezTo>
                      <a:pt x="11" y="37"/>
                      <a:pt x="9" y="40"/>
                      <a:pt x="6" y="40"/>
                    </a:cubicBezTo>
                    <a:cubicBezTo>
                      <a:pt x="6" y="40"/>
                      <a:pt x="6" y="40"/>
                      <a:pt x="6" y="40"/>
                    </a:cubicBezTo>
                    <a:cubicBezTo>
                      <a:pt x="7" y="41"/>
                      <a:pt x="8" y="43"/>
                      <a:pt x="7" y="44"/>
                    </a:cubicBezTo>
                    <a:cubicBezTo>
                      <a:pt x="6" y="46"/>
                      <a:pt x="5" y="46"/>
                      <a:pt x="7" y="48"/>
                    </a:cubicBezTo>
                    <a:cubicBezTo>
                      <a:pt x="10" y="50"/>
                      <a:pt x="11" y="47"/>
                      <a:pt x="13" y="50"/>
                    </a:cubicBezTo>
                    <a:cubicBezTo>
                      <a:pt x="15" y="53"/>
                      <a:pt x="17" y="54"/>
                      <a:pt x="19" y="49"/>
                    </a:cubicBezTo>
                    <a:cubicBezTo>
                      <a:pt x="21" y="45"/>
                      <a:pt x="23" y="38"/>
                      <a:pt x="26" y="37"/>
                    </a:cubicBezTo>
                    <a:cubicBezTo>
                      <a:pt x="30" y="35"/>
                      <a:pt x="38" y="34"/>
                      <a:pt x="42" y="28"/>
                    </a:cubicBezTo>
                    <a:cubicBezTo>
                      <a:pt x="47" y="22"/>
                      <a:pt x="44" y="22"/>
                      <a:pt x="47" y="20"/>
                    </a:cubicBezTo>
                    <a:cubicBezTo>
                      <a:pt x="49" y="18"/>
                      <a:pt x="47" y="17"/>
                      <a:pt x="44" y="14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8" name="Freeform 125">
                <a:extLst>
                  <a:ext uri="{FF2B5EF4-FFF2-40B4-BE49-F238E27FC236}">
                    <a16:creationId xmlns:a16="http://schemas.microsoft.com/office/drawing/2014/main" id="{72613661-F14C-43F3-80EC-589B945A73D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563356" y="1960529"/>
                <a:ext cx="1135527" cy="848194"/>
              </a:xfrm>
              <a:custGeom>
                <a:avLst/>
                <a:gdLst>
                  <a:gd name="T0" fmla="*/ 432 w 493"/>
                  <a:gd name="T1" fmla="*/ 42 h 368"/>
                  <a:gd name="T2" fmla="*/ 396 w 493"/>
                  <a:gd name="T3" fmla="*/ 59 h 368"/>
                  <a:gd name="T4" fmla="*/ 394 w 493"/>
                  <a:gd name="T5" fmla="*/ 37 h 368"/>
                  <a:gd name="T6" fmla="*/ 352 w 493"/>
                  <a:gd name="T7" fmla="*/ 34 h 368"/>
                  <a:gd name="T8" fmla="*/ 393 w 493"/>
                  <a:gd name="T9" fmla="*/ 27 h 368"/>
                  <a:gd name="T10" fmla="*/ 390 w 493"/>
                  <a:gd name="T11" fmla="*/ 12 h 368"/>
                  <a:gd name="T12" fmla="*/ 333 w 493"/>
                  <a:gd name="T13" fmla="*/ 0 h 368"/>
                  <a:gd name="T14" fmla="*/ 280 w 493"/>
                  <a:gd name="T15" fmla="*/ 7 h 368"/>
                  <a:gd name="T16" fmla="*/ 240 w 493"/>
                  <a:gd name="T17" fmla="*/ 7 h 368"/>
                  <a:gd name="T18" fmla="*/ 207 w 493"/>
                  <a:gd name="T19" fmla="*/ 22 h 368"/>
                  <a:gd name="T20" fmla="*/ 199 w 493"/>
                  <a:gd name="T21" fmla="*/ 26 h 368"/>
                  <a:gd name="T22" fmla="*/ 176 w 493"/>
                  <a:gd name="T23" fmla="*/ 33 h 368"/>
                  <a:gd name="T24" fmla="*/ 154 w 493"/>
                  <a:gd name="T25" fmla="*/ 41 h 368"/>
                  <a:gd name="T26" fmla="*/ 116 w 493"/>
                  <a:gd name="T27" fmla="*/ 34 h 368"/>
                  <a:gd name="T28" fmla="*/ 95 w 493"/>
                  <a:gd name="T29" fmla="*/ 50 h 368"/>
                  <a:gd name="T30" fmla="*/ 63 w 493"/>
                  <a:gd name="T31" fmla="*/ 70 h 368"/>
                  <a:gd name="T32" fmla="*/ 0 w 493"/>
                  <a:gd name="T33" fmla="*/ 101 h 368"/>
                  <a:gd name="T34" fmla="*/ 40 w 493"/>
                  <a:gd name="T35" fmla="*/ 113 h 368"/>
                  <a:gd name="T36" fmla="*/ 11 w 493"/>
                  <a:gd name="T37" fmla="*/ 123 h 368"/>
                  <a:gd name="T38" fmla="*/ 36 w 493"/>
                  <a:gd name="T39" fmla="*/ 138 h 368"/>
                  <a:gd name="T40" fmla="*/ 67 w 493"/>
                  <a:gd name="T41" fmla="*/ 137 h 368"/>
                  <a:gd name="T42" fmla="*/ 116 w 493"/>
                  <a:gd name="T43" fmla="*/ 150 h 368"/>
                  <a:gd name="T44" fmla="*/ 140 w 493"/>
                  <a:gd name="T45" fmla="*/ 183 h 368"/>
                  <a:gd name="T46" fmla="*/ 144 w 493"/>
                  <a:gd name="T47" fmla="*/ 212 h 368"/>
                  <a:gd name="T48" fmla="*/ 174 w 493"/>
                  <a:gd name="T49" fmla="*/ 222 h 368"/>
                  <a:gd name="T50" fmla="*/ 171 w 493"/>
                  <a:gd name="T51" fmla="*/ 234 h 368"/>
                  <a:gd name="T52" fmla="*/ 167 w 493"/>
                  <a:gd name="T53" fmla="*/ 254 h 368"/>
                  <a:gd name="T54" fmla="*/ 161 w 493"/>
                  <a:gd name="T55" fmla="*/ 278 h 368"/>
                  <a:gd name="T56" fmla="*/ 168 w 493"/>
                  <a:gd name="T57" fmla="*/ 311 h 368"/>
                  <a:gd name="T58" fmla="*/ 183 w 493"/>
                  <a:gd name="T59" fmla="*/ 330 h 368"/>
                  <a:gd name="T60" fmla="*/ 205 w 493"/>
                  <a:gd name="T61" fmla="*/ 355 h 368"/>
                  <a:gd name="T62" fmla="*/ 236 w 493"/>
                  <a:gd name="T63" fmla="*/ 367 h 368"/>
                  <a:gd name="T64" fmla="*/ 245 w 493"/>
                  <a:gd name="T65" fmla="*/ 336 h 368"/>
                  <a:gd name="T66" fmla="*/ 259 w 493"/>
                  <a:gd name="T67" fmla="*/ 320 h 368"/>
                  <a:gd name="T68" fmla="*/ 261 w 493"/>
                  <a:gd name="T69" fmla="*/ 305 h 368"/>
                  <a:gd name="T70" fmla="*/ 274 w 493"/>
                  <a:gd name="T71" fmla="*/ 295 h 368"/>
                  <a:gd name="T72" fmla="*/ 286 w 493"/>
                  <a:gd name="T73" fmla="*/ 292 h 368"/>
                  <a:gd name="T74" fmla="*/ 329 w 493"/>
                  <a:gd name="T75" fmla="*/ 263 h 368"/>
                  <a:gd name="T76" fmla="*/ 356 w 493"/>
                  <a:gd name="T77" fmla="*/ 256 h 368"/>
                  <a:gd name="T78" fmla="*/ 411 w 493"/>
                  <a:gd name="T79" fmla="*/ 232 h 368"/>
                  <a:gd name="T80" fmla="*/ 381 w 493"/>
                  <a:gd name="T81" fmla="*/ 225 h 368"/>
                  <a:gd name="T82" fmla="*/ 412 w 493"/>
                  <a:gd name="T83" fmla="*/ 227 h 368"/>
                  <a:gd name="T84" fmla="*/ 406 w 493"/>
                  <a:gd name="T85" fmla="*/ 200 h 368"/>
                  <a:gd name="T86" fmla="*/ 390 w 493"/>
                  <a:gd name="T87" fmla="*/ 186 h 368"/>
                  <a:gd name="T88" fmla="*/ 425 w 493"/>
                  <a:gd name="T89" fmla="*/ 181 h 368"/>
                  <a:gd name="T90" fmla="*/ 434 w 493"/>
                  <a:gd name="T91" fmla="*/ 164 h 368"/>
                  <a:gd name="T92" fmla="*/ 430 w 493"/>
                  <a:gd name="T93" fmla="*/ 138 h 368"/>
                  <a:gd name="T94" fmla="*/ 421 w 493"/>
                  <a:gd name="T95" fmla="*/ 127 h 368"/>
                  <a:gd name="T96" fmla="*/ 424 w 493"/>
                  <a:gd name="T97" fmla="*/ 115 h 368"/>
                  <a:gd name="T98" fmla="*/ 412 w 493"/>
                  <a:gd name="T99" fmla="*/ 110 h 368"/>
                  <a:gd name="T100" fmla="*/ 445 w 493"/>
                  <a:gd name="T101" fmla="*/ 76 h 368"/>
                  <a:gd name="T102" fmla="*/ 437 w 493"/>
                  <a:gd name="T103" fmla="*/ 67 h 368"/>
                  <a:gd name="T104" fmla="*/ 446 w 493"/>
                  <a:gd name="T105" fmla="*/ 58 h 368"/>
                  <a:gd name="T106" fmla="*/ 493 w 493"/>
                  <a:gd name="T107" fmla="*/ 41 h 368"/>
                  <a:gd name="T108" fmla="*/ 162 w 493"/>
                  <a:gd name="T109" fmla="*/ 235 h 368"/>
                  <a:gd name="T110" fmla="*/ 154 w 493"/>
                  <a:gd name="T111" fmla="*/ 244 h 3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493" h="368">
                    <a:moveTo>
                      <a:pt x="465" y="34"/>
                    </a:moveTo>
                    <a:cubicBezTo>
                      <a:pt x="456" y="34"/>
                      <a:pt x="449" y="35"/>
                      <a:pt x="449" y="41"/>
                    </a:cubicBezTo>
                    <a:cubicBezTo>
                      <a:pt x="448" y="47"/>
                      <a:pt x="437" y="40"/>
                      <a:pt x="432" y="42"/>
                    </a:cubicBezTo>
                    <a:cubicBezTo>
                      <a:pt x="427" y="44"/>
                      <a:pt x="430" y="37"/>
                      <a:pt x="425" y="40"/>
                    </a:cubicBezTo>
                    <a:cubicBezTo>
                      <a:pt x="420" y="42"/>
                      <a:pt x="415" y="48"/>
                      <a:pt x="409" y="50"/>
                    </a:cubicBezTo>
                    <a:cubicBezTo>
                      <a:pt x="404" y="52"/>
                      <a:pt x="399" y="58"/>
                      <a:pt x="396" y="59"/>
                    </a:cubicBezTo>
                    <a:cubicBezTo>
                      <a:pt x="392" y="59"/>
                      <a:pt x="403" y="48"/>
                      <a:pt x="409" y="42"/>
                    </a:cubicBezTo>
                    <a:cubicBezTo>
                      <a:pt x="415" y="36"/>
                      <a:pt x="412" y="30"/>
                      <a:pt x="404" y="31"/>
                    </a:cubicBezTo>
                    <a:cubicBezTo>
                      <a:pt x="397" y="31"/>
                      <a:pt x="398" y="36"/>
                      <a:pt x="394" y="37"/>
                    </a:cubicBezTo>
                    <a:cubicBezTo>
                      <a:pt x="390" y="38"/>
                      <a:pt x="369" y="48"/>
                      <a:pt x="368" y="45"/>
                    </a:cubicBezTo>
                    <a:cubicBezTo>
                      <a:pt x="367" y="42"/>
                      <a:pt x="385" y="37"/>
                      <a:pt x="385" y="35"/>
                    </a:cubicBezTo>
                    <a:cubicBezTo>
                      <a:pt x="385" y="32"/>
                      <a:pt x="362" y="32"/>
                      <a:pt x="352" y="34"/>
                    </a:cubicBezTo>
                    <a:cubicBezTo>
                      <a:pt x="342" y="35"/>
                      <a:pt x="325" y="41"/>
                      <a:pt x="325" y="38"/>
                    </a:cubicBezTo>
                    <a:cubicBezTo>
                      <a:pt x="324" y="35"/>
                      <a:pt x="345" y="31"/>
                      <a:pt x="355" y="30"/>
                    </a:cubicBezTo>
                    <a:cubicBezTo>
                      <a:pt x="366" y="29"/>
                      <a:pt x="385" y="31"/>
                      <a:pt x="393" y="27"/>
                    </a:cubicBezTo>
                    <a:cubicBezTo>
                      <a:pt x="401" y="24"/>
                      <a:pt x="413" y="24"/>
                      <a:pt x="416" y="21"/>
                    </a:cubicBezTo>
                    <a:cubicBezTo>
                      <a:pt x="418" y="18"/>
                      <a:pt x="406" y="15"/>
                      <a:pt x="401" y="15"/>
                    </a:cubicBezTo>
                    <a:cubicBezTo>
                      <a:pt x="395" y="15"/>
                      <a:pt x="389" y="15"/>
                      <a:pt x="390" y="12"/>
                    </a:cubicBezTo>
                    <a:cubicBezTo>
                      <a:pt x="390" y="9"/>
                      <a:pt x="381" y="8"/>
                      <a:pt x="380" y="6"/>
                    </a:cubicBezTo>
                    <a:cubicBezTo>
                      <a:pt x="379" y="4"/>
                      <a:pt x="361" y="6"/>
                      <a:pt x="357" y="3"/>
                    </a:cubicBezTo>
                    <a:cubicBezTo>
                      <a:pt x="354" y="1"/>
                      <a:pt x="342" y="0"/>
                      <a:pt x="333" y="0"/>
                    </a:cubicBezTo>
                    <a:cubicBezTo>
                      <a:pt x="323" y="1"/>
                      <a:pt x="304" y="1"/>
                      <a:pt x="299" y="1"/>
                    </a:cubicBezTo>
                    <a:cubicBezTo>
                      <a:pt x="295" y="2"/>
                      <a:pt x="292" y="3"/>
                      <a:pt x="288" y="3"/>
                    </a:cubicBezTo>
                    <a:cubicBezTo>
                      <a:pt x="284" y="3"/>
                      <a:pt x="278" y="4"/>
                      <a:pt x="280" y="7"/>
                    </a:cubicBezTo>
                    <a:cubicBezTo>
                      <a:pt x="284" y="12"/>
                      <a:pt x="274" y="14"/>
                      <a:pt x="274" y="10"/>
                    </a:cubicBezTo>
                    <a:cubicBezTo>
                      <a:pt x="275" y="6"/>
                      <a:pt x="265" y="5"/>
                      <a:pt x="262" y="7"/>
                    </a:cubicBezTo>
                    <a:cubicBezTo>
                      <a:pt x="258" y="10"/>
                      <a:pt x="242" y="4"/>
                      <a:pt x="240" y="7"/>
                    </a:cubicBezTo>
                    <a:cubicBezTo>
                      <a:pt x="238" y="11"/>
                      <a:pt x="219" y="10"/>
                      <a:pt x="213" y="11"/>
                    </a:cubicBezTo>
                    <a:cubicBezTo>
                      <a:pt x="208" y="11"/>
                      <a:pt x="222" y="16"/>
                      <a:pt x="222" y="18"/>
                    </a:cubicBezTo>
                    <a:cubicBezTo>
                      <a:pt x="221" y="20"/>
                      <a:pt x="204" y="18"/>
                      <a:pt x="207" y="22"/>
                    </a:cubicBezTo>
                    <a:cubicBezTo>
                      <a:pt x="211" y="26"/>
                      <a:pt x="222" y="30"/>
                      <a:pt x="228" y="35"/>
                    </a:cubicBezTo>
                    <a:cubicBezTo>
                      <a:pt x="233" y="40"/>
                      <a:pt x="223" y="37"/>
                      <a:pt x="217" y="33"/>
                    </a:cubicBezTo>
                    <a:cubicBezTo>
                      <a:pt x="211" y="29"/>
                      <a:pt x="203" y="31"/>
                      <a:pt x="199" y="26"/>
                    </a:cubicBezTo>
                    <a:cubicBezTo>
                      <a:pt x="196" y="22"/>
                      <a:pt x="181" y="19"/>
                      <a:pt x="178" y="22"/>
                    </a:cubicBezTo>
                    <a:cubicBezTo>
                      <a:pt x="174" y="25"/>
                      <a:pt x="188" y="30"/>
                      <a:pt x="188" y="33"/>
                    </a:cubicBezTo>
                    <a:cubicBezTo>
                      <a:pt x="188" y="36"/>
                      <a:pt x="178" y="32"/>
                      <a:pt x="176" y="33"/>
                    </a:cubicBezTo>
                    <a:cubicBezTo>
                      <a:pt x="175" y="35"/>
                      <a:pt x="166" y="25"/>
                      <a:pt x="162" y="25"/>
                    </a:cubicBezTo>
                    <a:cubicBezTo>
                      <a:pt x="157" y="25"/>
                      <a:pt x="161" y="30"/>
                      <a:pt x="161" y="36"/>
                    </a:cubicBezTo>
                    <a:cubicBezTo>
                      <a:pt x="161" y="41"/>
                      <a:pt x="152" y="45"/>
                      <a:pt x="154" y="41"/>
                    </a:cubicBezTo>
                    <a:cubicBezTo>
                      <a:pt x="157" y="37"/>
                      <a:pt x="155" y="26"/>
                      <a:pt x="150" y="25"/>
                    </a:cubicBezTo>
                    <a:cubicBezTo>
                      <a:pt x="145" y="23"/>
                      <a:pt x="132" y="29"/>
                      <a:pt x="125" y="28"/>
                    </a:cubicBezTo>
                    <a:cubicBezTo>
                      <a:pt x="119" y="28"/>
                      <a:pt x="110" y="30"/>
                      <a:pt x="116" y="34"/>
                    </a:cubicBezTo>
                    <a:cubicBezTo>
                      <a:pt x="121" y="37"/>
                      <a:pt x="115" y="39"/>
                      <a:pt x="110" y="35"/>
                    </a:cubicBezTo>
                    <a:cubicBezTo>
                      <a:pt x="105" y="32"/>
                      <a:pt x="89" y="35"/>
                      <a:pt x="92" y="38"/>
                    </a:cubicBezTo>
                    <a:cubicBezTo>
                      <a:pt x="96" y="40"/>
                      <a:pt x="97" y="47"/>
                      <a:pt x="95" y="50"/>
                    </a:cubicBezTo>
                    <a:cubicBezTo>
                      <a:pt x="93" y="53"/>
                      <a:pt x="86" y="47"/>
                      <a:pt x="79" y="47"/>
                    </a:cubicBezTo>
                    <a:cubicBezTo>
                      <a:pt x="73" y="48"/>
                      <a:pt x="41" y="63"/>
                      <a:pt x="43" y="67"/>
                    </a:cubicBezTo>
                    <a:cubicBezTo>
                      <a:pt x="45" y="71"/>
                      <a:pt x="58" y="68"/>
                      <a:pt x="63" y="70"/>
                    </a:cubicBezTo>
                    <a:cubicBezTo>
                      <a:pt x="67" y="73"/>
                      <a:pt x="61" y="81"/>
                      <a:pt x="56" y="85"/>
                    </a:cubicBezTo>
                    <a:cubicBezTo>
                      <a:pt x="51" y="89"/>
                      <a:pt x="31" y="85"/>
                      <a:pt x="31" y="89"/>
                    </a:cubicBezTo>
                    <a:cubicBezTo>
                      <a:pt x="30" y="94"/>
                      <a:pt x="0" y="94"/>
                      <a:pt x="0" y="101"/>
                    </a:cubicBezTo>
                    <a:cubicBezTo>
                      <a:pt x="0" y="104"/>
                      <a:pt x="2" y="107"/>
                      <a:pt x="5" y="107"/>
                    </a:cubicBezTo>
                    <a:cubicBezTo>
                      <a:pt x="9" y="108"/>
                      <a:pt x="14" y="107"/>
                      <a:pt x="18" y="111"/>
                    </a:cubicBezTo>
                    <a:cubicBezTo>
                      <a:pt x="22" y="115"/>
                      <a:pt x="33" y="116"/>
                      <a:pt x="40" y="113"/>
                    </a:cubicBezTo>
                    <a:cubicBezTo>
                      <a:pt x="47" y="110"/>
                      <a:pt x="53" y="113"/>
                      <a:pt x="53" y="118"/>
                    </a:cubicBezTo>
                    <a:cubicBezTo>
                      <a:pt x="52" y="122"/>
                      <a:pt x="36" y="116"/>
                      <a:pt x="31" y="119"/>
                    </a:cubicBezTo>
                    <a:cubicBezTo>
                      <a:pt x="26" y="122"/>
                      <a:pt x="11" y="119"/>
                      <a:pt x="11" y="123"/>
                    </a:cubicBezTo>
                    <a:cubicBezTo>
                      <a:pt x="12" y="126"/>
                      <a:pt x="20" y="125"/>
                      <a:pt x="26" y="127"/>
                    </a:cubicBezTo>
                    <a:cubicBezTo>
                      <a:pt x="32" y="128"/>
                      <a:pt x="26" y="130"/>
                      <a:pt x="26" y="133"/>
                    </a:cubicBezTo>
                    <a:cubicBezTo>
                      <a:pt x="26" y="136"/>
                      <a:pt x="29" y="135"/>
                      <a:pt x="36" y="138"/>
                    </a:cubicBezTo>
                    <a:cubicBezTo>
                      <a:pt x="42" y="141"/>
                      <a:pt x="52" y="143"/>
                      <a:pt x="49" y="140"/>
                    </a:cubicBezTo>
                    <a:cubicBezTo>
                      <a:pt x="45" y="136"/>
                      <a:pt x="55" y="137"/>
                      <a:pt x="57" y="139"/>
                    </a:cubicBezTo>
                    <a:cubicBezTo>
                      <a:pt x="58" y="141"/>
                      <a:pt x="63" y="136"/>
                      <a:pt x="67" y="137"/>
                    </a:cubicBezTo>
                    <a:cubicBezTo>
                      <a:pt x="72" y="138"/>
                      <a:pt x="74" y="133"/>
                      <a:pt x="77" y="135"/>
                    </a:cubicBezTo>
                    <a:cubicBezTo>
                      <a:pt x="81" y="137"/>
                      <a:pt x="97" y="139"/>
                      <a:pt x="103" y="142"/>
                    </a:cubicBezTo>
                    <a:cubicBezTo>
                      <a:pt x="109" y="145"/>
                      <a:pt x="117" y="146"/>
                      <a:pt x="116" y="150"/>
                    </a:cubicBezTo>
                    <a:cubicBezTo>
                      <a:pt x="115" y="155"/>
                      <a:pt x="121" y="158"/>
                      <a:pt x="127" y="161"/>
                    </a:cubicBezTo>
                    <a:cubicBezTo>
                      <a:pt x="134" y="164"/>
                      <a:pt x="135" y="170"/>
                      <a:pt x="135" y="174"/>
                    </a:cubicBezTo>
                    <a:cubicBezTo>
                      <a:pt x="134" y="178"/>
                      <a:pt x="141" y="181"/>
                      <a:pt x="140" y="183"/>
                    </a:cubicBezTo>
                    <a:cubicBezTo>
                      <a:pt x="139" y="185"/>
                      <a:pt x="140" y="187"/>
                      <a:pt x="144" y="191"/>
                    </a:cubicBezTo>
                    <a:cubicBezTo>
                      <a:pt x="149" y="195"/>
                      <a:pt x="138" y="198"/>
                      <a:pt x="140" y="201"/>
                    </a:cubicBezTo>
                    <a:cubicBezTo>
                      <a:pt x="143" y="204"/>
                      <a:pt x="136" y="211"/>
                      <a:pt x="144" y="212"/>
                    </a:cubicBezTo>
                    <a:cubicBezTo>
                      <a:pt x="152" y="213"/>
                      <a:pt x="150" y="207"/>
                      <a:pt x="156" y="207"/>
                    </a:cubicBezTo>
                    <a:cubicBezTo>
                      <a:pt x="162" y="207"/>
                      <a:pt x="156" y="212"/>
                      <a:pt x="159" y="215"/>
                    </a:cubicBezTo>
                    <a:cubicBezTo>
                      <a:pt x="162" y="218"/>
                      <a:pt x="169" y="217"/>
                      <a:pt x="174" y="222"/>
                    </a:cubicBezTo>
                    <a:cubicBezTo>
                      <a:pt x="180" y="227"/>
                      <a:pt x="177" y="230"/>
                      <a:pt x="171" y="226"/>
                    </a:cubicBezTo>
                    <a:cubicBezTo>
                      <a:pt x="166" y="221"/>
                      <a:pt x="150" y="222"/>
                      <a:pt x="150" y="224"/>
                    </a:cubicBezTo>
                    <a:cubicBezTo>
                      <a:pt x="150" y="225"/>
                      <a:pt x="167" y="235"/>
                      <a:pt x="171" y="234"/>
                    </a:cubicBezTo>
                    <a:cubicBezTo>
                      <a:pt x="175" y="232"/>
                      <a:pt x="181" y="240"/>
                      <a:pt x="178" y="242"/>
                    </a:cubicBezTo>
                    <a:cubicBezTo>
                      <a:pt x="176" y="245"/>
                      <a:pt x="177" y="250"/>
                      <a:pt x="177" y="253"/>
                    </a:cubicBezTo>
                    <a:cubicBezTo>
                      <a:pt x="176" y="256"/>
                      <a:pt x="170" y="253"/>
                      <a:pt x="167" y="254"/>
                    </a:cubicBezTo>
                    <a:cubicBezTo>
                      <a:pt x="163" y="254"/>
                      <a:pt x="160" y="255"/>
                      <a:pt x="160" y="260"/>
                    </a:cubicBezTo>
                    <a:cubicBezTo>
                      <a:pt x="160" y="264"/>
                      <a:pt x="154" y="266"/>
                      <a:pt x="154" y="271"/>
                    </a:cubicBezTo>
                    <a:cubicBezTo>
                      <a:pt x="153" y="276"/>
                      <a:pt x="158" y="276"/>
                      <a:pt x="161" y="278"/>
                    </a:cubicBezTo>
                    <a:cubicBezTo>
                      <a:pt x="164" y="280"/>
                      <a:pt x="156" y="282"/>
                      <a:pt x="155" y="285"/>
                    </a:cubicBezTo>
                    <a:cubicBezTo>
                      <a:pt x="155" y="289"/>
                      <a:pt x="163" y="295"/>
                      <a:pt x="166" y="297"/>
                    </a:cubicBezTo>
                    <a:cubicBezTo>
                      <a:pt x="169" y="299"/>
                      <a:pt x="167" y="307"/>
                      <a:pt x="168" y="311"/>
                    </a:cubicBezTo>
                    <a:cubicBezTo>
                      <a:pt x="169" y="315"/>
                      <a:pt x="173" y="310"/>
                      <a:pt x="173" y="315"/>
                    </a:cubicBezTo>
                    <a:cubicBezTo>
                      <a:pt x="172" y="320"/>
                      <a:pt x="176" y="320"/>
                      <a:pt x="177" y="323"/>
                    </a:cubicBezTo>
                    <a:cubicBezTo>
                      <a:pt x="177" y="326"/>
                      <a:pt x="184" y="326"/>
                      <a:pt x="183" y="330"/>
                    </a:cubicBezTo>
                    <a:cubicBezTo>
                      <a:pt x="181" y="334"/>
                      <a:pt x="185" y="338"/>
                      <a:pt x="187" y="340"/>
                    </a:cubicBezTo>
                    <a:cubicBezTo>
                      <a:pt x="188" y="342"/>
                      <a:pt x="194" y="346"/>
                      <a:pt x="196" y="349"/>
                    </a:cubicBezTo>
                    <a:cubicBezTo>
                      <a:pt x="197" y="352"/>
                      <a:pt x="200" y="357"/>
                      <a:pt x="205" y="355"/>
                    </a:cubicBezTo>
                    <a:cubicBezTo>
                      <a:pt x="209" y="354"/>
                      <a:pt x="209" y="358"/>
                      <a:pt x="213" y="358"/>
                    </a:cubicBezTo>
                    <a:cubicBezTo>
                      <a:pt x="216" y="357"/>
                      <a:pt x="221" y="359"/>
                      <a:pt x="222" y="362"/>
                    </a:cubicBezTo>
                    <a:cubicBezTo>
                      <a:pt x="223" y="364"/>
                      <a:pt x="233" y="367"/>
                      <a:pt x="236" y="367"/>
                    </a:cubicBezTo>
                    <a:cubicBezTo>
                      <a:pt x="239" y="368"/>
                      <a:pt x="239" y="362"/>
                      <a:pt x="242" y="361"/>
                    </a:cubicBezTo>
                    <a:cubicBezTo>
                      <a:pt x="245" y="360"/>
                      <a:pt x="244" y="349"/>
                      <a:pt x="246" y="348"/>
                    </a:cubicBezTo>
                    <a:cubicBezTo>
                      <a:pt x="248" y="348"/>
                      <a:pt x="248" y="337"/>
                      <a:pt x="245" y="336"/>
                    </a:cubicBezTo>
                    <a:cubicBezTo>
                      <a:pt x="243" y="335"/>
                      <a:pt x="244" y="331"/>
                      <a:pt x="249" y="332"/>
                    </a:cubicBezTo>
                    <a:cubicBezTo>
                      <a:pt x="255" y="333"/>
                      <a:pt x="253" y="327"/>
                      <a:pt x="256" y="326"/>
                    </a:cubicBezTo>
                    <a:cubicBezTo>
                      <a:pt x="258" y="326"/>
                      <a:pt x="257" y="321"/>
                      <a:pt x="259" y="320"/>
                    </a:cubicBezTo>
                    <a:cubicBezTo>
                      <a:pt x="261" y="320"/>
                      <a:pt x="261" y="316"/>
                      <a:pt x="259" y="314"/>
                    </a:cubicBezTo>
                    <a:cubicBezTo>
                      <a:pt x="258" y="313"/>
                      <a:pt x="259" y="311"/>
                      <a:pt x="262" y="311"/>
                    </a:cubicBezTo>
                    <a:cubicBezTo>
                      <a:pt x="265" y="310"/>
                      <a:pt x="264" y="306"/>
                      <a:pt x="261" y="305"/>
                    </a:cubicBezTo>
                    <a:cubicBezTo>
                      <a:pt x="257" y="303"/>
                      <a:pt x="258" y="299"/>
                      <a:pt x="262" y="302"/>
                    </a:cubicBezTo>
                    <a:cubicBezTo>
                      <a:pt x="266" y="304"/>
                      <a:pt x="268" y="302"/>
                      <a:pt x="266" y="299"/>
                    </a:cubicBezTo>
                    <a:cubicBezTo>
                      <a:pt x="264" y="297"/>
                      <a:pt x="269" y="295"/>
                      <a:pt x="274" y="295"/>
                    </a:cubicBezTo>
                    <a:cubicBezTo>
                      <a:pt x="279" y="294"/>
                      <a:pt x="281" y="292"/>
                      <a:pt x="281" y="288"/>
                    </a:cubicBezTo>
                    <a:cubicBezTo>
                      <a:pt x="280" y="284"/>
                      <a:pt x="286" y="284"/>
                      <a:pt x="285" y="288"/>
                    </a:cubicBezTo>
                    <a:cubicBezTo>
                      <a:pt x="283" y="291"/>
                      <a:pt x="284" y="294"/>
                      <a:pt x="286" y="292"/>
                    </a:cubicBezTo>
                    <a:cubicBezTo>
                      <a:pt x="289" y="289"/>
                      <a:pt x="293" y="291"/>
                      <a:pt x="301" y="289"/>
                    </a:cubicBezTo>
                    <a:cubicBezTo>
                      <a:pt x="309" y="286"/>
                      <a:pt x="317" y="280"/>
                      <a:pt x="319" y="273"/>
                    </a:cubicBezTo>
                    <a:cubicBezTo>
                      <a:pt x="321" y="267"/>
                      <a:pt x="330" y="268"/>
                      <a:pt x="329" y="263"/>
                    </a:cubicBezTo>
                    <a:cubicBezTo>
                      <a:pt x="328" y="259"/>
                      <a:pt x="331" y="257"/>
                      <a:pt x="337" y="260"/>
                    </a:cubicBezTo>
                    <a:cubicBezTo>
                      <a:pt x="343" y="263"/>
                      <a:pt x="338" y="258"/>
                      <a:pt x="344" y="258"/>
                    </a:cubicBezTo>
                    <a:cubicBezTo>
                      <a:pt x="351" y="258"/>
                      <a:pt x="350" y="256"/>
                      <a:pt x="356" y="256"/>
                    </a:cubicBezTo>
                    <a:cubicBezTo>
                      <a:pt x="363" y="255"/>
                      <a:pt x="379" y="253"/>
                      <a:pt x="385" y="248"/>
                    </a:cubicBezTo>
                    <a:cubicBezTo>
                      <a:pt x="391" y="243"/>
                      <a:pt x="403" y="239"/>
                      <a:pt x="408" y="236"/>
                    </a:cubicBezTo>
                    <a:cubicBezTo>
                      <a:pt x="413" y="233"/>
                      <a:pt x="414" y="230"/>
                      <a:pt x="411" y="232"/>
                    </a:cubicBezTo>
                    <a:cubicBezTo>
                      <a:pt x="408" y="234"/>
                      <a:pt x="402" y="234"/>
                      <a:pt x="397" y="233"/>
                    </a:cubicBezTo>
                    <a:cubicBezTo>
                      <a:pt x="392" y="231"/>
                      <a:pt x="384" y="227"/>
                      <a:pt x="379" y="230"/>
                    </a:cubicBezTo>
                    <a:cubicBezTo>
                      <a:pt x="373" y="234"/>
                      <a:pt x="377" y="226"/>
                      <a:pt x="381" y="225"/>
                    </a:cubicBezTo>
                    <a:cubicBezTo>
                      <a:pt x="386" y="225"/>
                      <a:pt x="384" y="222"/>
                      <a:pt x="383" y="218"/>
                    </a:cubicBezTo>
                    <a:cubicBezTo>
                      <a:pt x="382" y="213"/>
                      <a:pt x="390" y="216"/>
                      <a:pt x="394" y="221"/>
                    </a:cubicBezTo>
                    <a:cubicBezTo>
                      <a:pt x="398" y="227"/>
                      <a:pt x="405" y="229"/>
                      <a:pt x="412" y="227"/>
                    </a:cubicBezTo>
                    <a:cubicBezTo>
                      <a:pt x="418" y="226"/>
                      <a:pt x="412" y="220"/>
                      <a:pt x="415" y="217"/>
                    </a:cubicBezTo>
                    <a:cubicBezTo>
                      <a:pt x="417" y="213"/>
                      <a:pt x="395" y="202"/>
                      <a:pt x="394" y="198"/>
                    </a:cubicBezTo>
                    <a:cubicBezTo>
                      <a:pt x="393" y="194"/>
                      <a:pt x="399" y="197"/>
                      <a:pt x="406" y="200"/>
                    </a:cubicBezTo>
                    <a:cubicBezTo>
                      <a:pt x="412" y="202"/>
                      <a:pt x="413" y="195"/>
                      <a:pt x="413" y="191"/>
                    </a:cubicBezTo>
                    <a:cubicBezTo>
                      <a:pt x="413" y="188"/>
                      <a:pt x="400" y="188"/>
                      <a:pt x="394" y="191"/>
                    </a:cubicBezTo>
                    <a:cubicBezTo>
                      <a:pt x="388" y="194"/>
                      <a:pt x="382" y="187"/>
                      <a:pt x="390" y="186"/>
                    </a:cubicBezTo>
                    <a:cubicBezTo>
                      <a:pt x="398" y="185"/>
                      <a:pt x="391" y="182"/>
                      <a:pt x="393" y="179"/>
                    </a:cubicBezTo>
                    <a:cubicBezTo>
                      <a:pt x="396" y="177"/>
                      <a:pt x="406" y="186"/>
                      <a:pt x="411" y="184"/>
                    </a:cubicBezTo>
                    <a:cubicBezTo>
                      <a:pt x="417" y="183"/>
                      <a:pt x="420" y="185"/>
                      <a:pt x="425" y="181"/>
                    </a:cubicBezTo>
                    <a:cubicBezTo>
                      <a:pt x="429" y="177"/>
                      <a:pt x="417" y="174"/>
                      <a:pt x="414" y="171"/>
                    </a:cubicBezTo>
                    <a:cubicBezTo>
                      <a:pt x="412" y="168"/>
                      <a:pt x="427" y="169"/>
                      <a:pt x="432" y="169"/>
                    </a:cubicBezTo>
                    <a:cubicBezTo>
                      <a:pt x="437" y="170"/>
                      <a:pt x="438" y="162"/>
                      <a:pt x="434" y="164"/>
                    </a:cubicBezTo>
                    <a:cubicBezTo>
                      <a:pt x="430" y="165"/>
                      <a:pt x="417" y="159"/>
                      <a:pt x="420" y="155"/>
                    </a:cubicBezTo>
                    <a:cubicBezTo>
                      <a:pt x="422" y="151"/>
                      <a:pt x="428" y="156"/>
                      <a:pt x="434" y="152"/>
                    </a:cubicBezTo>
                    <a:cubicBezTo>
                      <a:pt x="440" y="149"/>
                      <a:pt x="434" y="138"/>
                      <a:pt x="430" y="138"/>
                    </a:cubicBezTo>
                    <a:cubicBezTo>
                      <a:pt x="426" y="138"/>
                      <a:pt x="416" y="136"/>
                      <a:pt x="416" y="134"/>
                    </a:cubicBezTo>
                    <a:cubicBezTo>
                      <a:pt x="416" y="132"/>
                      <a:pt x="407" y="130"/>
                      <a:pt x="410" y="128"/>
                    </a:cubicBezTo>
                    <a:cubicBezTo>
                      <a:pt x="412" y="126"/>
                      <a:pt x="415" y="131"/>
                      <a:pt x="421" y="127"/>
                    </a:cubicBezTo>
                    <a:cubicBezTo>
                      <a:pt x="426" y="123"/>
                      <a:pt x="437" y="128"/>
                      <a:pt x="442" y="127"/>
                    </a:cubicBezTo>
                    <a:cubicBezTo>
                      <a:pt x="447" y="126"/>
                      <a:pt x="440" y="116"/>
                      <a:pt x="437" y="118"/>
                    </a:cubicBezTo>
                    <a:cubicBezTo>
                      <a:pt x="435" y="120"/>
                      <a:pt x="425" y="120"/>
                      <a:pt x="424" y="115"/>
                    </a:cubicBezTo>
                    <a:cubicBezTo>
                      <a:pt x="423" y="110"/>
                      <a:pt x="433" y="115"/>
                      <a:pt x="435" y="113"/>
                    </a:cubicBezTo>
                    <a:cubicBezTo>
                      <a:pt x="437" y="110"/>
                      <a:pt x="421" y="104"/>
                      <a:pt x="419" y="109"/>
                    </a:cubicBezTo>
                    <a:cubicBezTo>
                      <a:pt x="417" y="114"/>
                      <a:pt x="408" y="113"/>
                      <a:pt x="412" y="110"/>
                    </a:cubicBezTo>
                    <a:cubicBezTo>
                      <a:pt x="417" y="107"/>
                      <a:pt x="418" y="99"/>
                      <a:pt x="417" y="95"/>
                    </a:cubicBezTo>
                    <a:cubicBezTo>
                      <a:pt x="417" y="91"/>
                      <a:pt x="434" y="90"/>
                      <a:pt x="432" y="84"/>
                    </a:cubicBezTo>
                    <a:cubicBezTo>
                      <a:pt x="430" y="77"/>
                      <a:pt x="440" y="76"/>
                      <a:pt x="445" y="76"/>
                    </a:cubicBezTo>
                    <a:cubicBezTo>
                      <a:pt x="451" y="76"/>
                      <a:pt x="445" y="69"/>
                      <a:pt x="440" y="69"/>
                    </a:cubicBezTo>
                    <a:cubicBezTo>
                      <a:pt x="434" y="70"/>
                      <a:pt x="429" y="76"/>
                      <a:pt x="426" y="74"/>
                    </a:cubicBezTo>
                    <a:cubicBezTo>
                      <a:pt x="424" y="71"/>
                      <a:pt x="432" y="67"/>
                      <a:pt x="437" y="67"/>
                    </a:cubicBezTo>
                    <a:cubicBezTo>
                      <a:pt x="442" y="67"/>
                      <a:pt x="453" y="66"/>
                      <a:pt x="457" y="64"/>
                    </a:cubicBezTo>
                    <a:cubicBezTo>
                      <a:pt x="461" y="62"/>
                      <a:pt x="450" y="60"/>
                      <a:pt x="443" y="60"/>
                    </a:cubicBezTo>
                    <a:cubicBezTo>
                      <a:pt x="435" y="61"/>
                      <a:pt x="435" y="58"/>
                      <a:pt x="446" y="58"/>
                    </a:cubicBezTo>
                    <a:cubicBezTo>
                      <a:pt x="458" y="58"/>
                      <a:pt x="456" y="55"/>
                      <a:pt x="464" y="54"/>
                    </a:cubicBezTo>
                    <a:cubicBezTo>
                      <a:pt x="472" y="53"/>
                      <a:pt x="470" y="50"/>
                      <a:pt x="475" y="50"/>
                    </a:cubicBezTo>
                    <a:cubicBezTo>
                      <a:pt x="480" y="50"/>
                      <a:pt x="493" y="44"/>
                      <a:pt x="493" y="41"/>
                    </a:cubicBezTo>
                    <a:cubicBezTo>
                      <a:pt x="493" y="39"/>
                      <a:pt x="474" y="34"/>
                      <a:pt x="465" y="34"/>
                    </a:cubicBezTo>
                    <a:close/>
                    <a:moveTo>
                      <a:pt x="169" y="241"/>
                    </a:moveTo>
                    <a:cubicBezTo>
                      <a:pt x="169" y="237"/>
                      <a:pt x="165" y="239"/>
                      <a:pt x="162" y="235"/>
                    </a:cubicBezTo>
                    <a:cubicBezTo>
                      <a:pt x="160" y="230"/>
                      <a:pt x="148" y="228"/>
                      <a:pt x="147" y="232"/>
                    </a:cubicBezTo>
                    <a:cubicBezTo>
                      <a:pt x="146" y="233"/>
                      <a:pt x="142" y="235"/>
                      <a:pt x="145" y="239"/>
                    </a:cubicBezTo>
                    <a:cubicBezTo>
                      <a:pt x="149" y="242"/>
                      <a:pt x="151" y="241"/>
                      <a:pt x="154" y="244"/>
                    </a:cubicBezTo>
                    <a:cubicBezTo>
                      <a:pt x="158" y="247"/>
                      <a:pt x="169" y="245"/>
                      <a:pt x="169" y="24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9" name="Freeform 127">
                <a:extLst>
                  <a:ext uri="{FF2B5EF4-FFF2-40B4-BE49-F238E27FC236}">
                    <a16:creationId xmlns:a16="http://schemas.microsoft.com/office/drawing/2014/main" id="{7F1FC9B7-0096-47E5-A400-B2BBDD7BE3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5409" y="2456146"/>
                <a:ext cx="718958" cy="495617"/>
              </a:xfrm>
              <a:custGeom>
                <a:avLst/>
                <a:gdLst>
                  <a:gd name="T0" fmla="*/ 285 w 312"/>
                  <a:gd name="T1" fmla="*/ 178 h 215"/>
                  <a:gd name="T2" fmla="*/ 249 w 312"/>
                  <a:gd name="T3" fmla="*/ 163 h 215"/>
                  <a:gd name="T4" fmla="*/ 230 w 312"/>
                  <a:gd name="T5" fmla="*/ 147 h 215"/>
                  <a:gd name="T6" fmla="*/ 218 w 312"/>
                  <a:gd name="T7" fmla="*/ 25 h 215"/>
                  <a:gd name="T8" fmla="*/ 182 w 312"/>
                  <a:gd name="T9" fmla="*/ 20 h 215"/>
                  <a:gd name="T10" fmla="*/ 132 w 312"/>
                  <a:gd name="T11" fmla="*/ 14 h 215"/>
                  <a:gd name="T12" fmla="*/ 110 w 312"/>
                  <a:gd name="T13" fmla="*/ 8 h 215"/>
                  <a:gd name="T14" fmla="*/ 96 w 312"/>
                  <a:gd name="T15" fmla="*/ 7 h 215"/>
                  <a:gd name="T16" fmla="*/ 85 w 312"/>
                  <a:gd name="T17" fmla="*/ 6 h 215"/>
                  <a:gd name="T18" fmla="*/ 66 w 312"/>
                  <a:gd name="T19" fmla="*/ 15 h 215"/>
                  <a:gd name="T20" fmla="*/ 39 w 312"/>
                  <a:gd name="T21" fmla="*/ 24 h 215"/>
                  <a:gd name="T22" fmla="*/ 13 w 312"/>
                  <a:gd name="T23" fmla="*/ 42 h 215"/>
                  <a:gd name="T24" fmla="*/ 49 w 312"/>
                  <a:gd name="T25" fmla="*/ 62 h 215"/>
                  <a:gd name="T26" fmla="*/ 50 w 312"/>
                  <a:gd name="T27" fmla="*/ 73 h 215"/>
                  <a:gd name="T28" fmla="*/ 33 w 312"/>
                  <a:gd name="T29" fmla="*/ 69 h 215"/>
                  <a:gd name="T30" fmla="*/ 12 w 312"/>
                  <a:gd name="T31" fmla="*/ 75 h 215"/>
                  <a:gd name="T32" fmla="*/ 11 w 312"/>
                  <a:gd name="T33" fmla="*/ 90 h 215"/>
                  <a:gd name="T34" fmla="*/ 42 w 312"/>
                  <a:gd name="T35" fmla="*/ 97 h 215"/>
                  <a:gd name="T36" fmla="*/ 55 w 312"/>
                  <a:gd name="T37" fmla="*/ 108 h 215"/>
                  <a:gd name="T38" fmla="*/ 30 w 312"/>
                  <a:gd name="T39" fmla="*/ 112 h 215"/>
                  <a:gd name="T40" fmla="*/ 15 w 312"/>
                  <a:gd name="T41" fmla="*/ 134 h 215"/>
                  <a:gd name="T42" fmla="*/ 32 w 312"/>
                  <a:gd name="T43" fmla="*/ 156 h 215"/>
                  <a:gd name="T44" fmla="*/ 49 w 312"/>
                  <a:gd name="T45" fmla="*/ 160 h 215"/>
                  <a:gd name="T46" fmla="*/ 68 w 312"/>
                  <a:gd name="T47" fmla="*/ 168 h 215"/>
                  <a:gd name="T48" fmla="*/ 85 w 312"/>
                  <a:gd name="T49" fmla="*/ 166 h 215"/>
                  <a:gd name="T50" fmla="*/ 73 w 312"/>
                  <a:gd name="T51" fmla="*/ 191 h 215"/>
                  <a:gd name="T52" fmla="*/ 41 w 312"/>
                  <a:gd name="T53" fmla="*/ 212 h 215"/>
                  <a:gd name="T54" fmla="*/ 60 w 312"/>
                  <a:gd name="T55" fmla="*/ 204 h 215"/>
                  <a:gd name="T56" fmla="*/ 78 w 312"/>
                  <a:gd name="T57" fmla="*/ 196 h 215"/>
                  <a:gd name="T58" fmla="*/ 104 w 312"/>
                  <a:gd name="T59" fmla="*/ 178 h 215"/>
                  <a:gd name="T60" fmla="*/ 117 w 312"/>
                  <a:gd name="T61" fmla="*/ 166 h 215"/>
                  <a:gd name="T62" fmla="*/ 123 w 312"/>
                  <a:gd name="T63" fmla="*/ 152 h 215"/>
                  <a:gd name="T64" fmla="*/ 139 w 312"/>
                  <a:gd name="T65" fmla="*/ 136 h 215"/>
                  <a:gd name="T66" fmla="*/ 136 w 312"/>
                  <a:gd name="T67" fmla="*/ 143 h 215"/>
                  <a:gd name="T68" fmla="*/ 130 w 312"/>
                  <a:gd name="T69" fmla="*/ 160 h 215"/>
                  <a:gd name="T70" fmla="*/ 161 w 312"/>
                  <a:gd name="T71" fmla="*/ 153 h 215"/>
                  <a:gd name="T72" fmla="*/ 160 w 312"/>
                  <a:gd name="T73" fmla="*/ 140 h 215"/>
                  <a:gd name="T74" fmla="*/ 177 w 312"/>
                  <a:gd name="T75" fmla="*/ 143 h 215"/>
                  <a:gd name="T76" fmla="*/ 181 w 312"/>
                  <a:gd name="T77" fmla="*/ 148 h 215"/>
                  <a:gd name="T78" fmla="*/ 196 w 312"/>
                  <a:gd name="T79" fmla="*/ 151 h 215"/>
                  <a:gd name="T80" fmla="*/ 231 w 312"/>
                  <a:gd name="T81" fmla="*/ 153 h 215"/>
                  <a:gd name="T82" fmla="*/ 243 w 312"/>
                  <a:gd name="T83" fmla="*/ 165 h 215"/>
                  <a:gd name="T84" fmla="*/ 263 w 312"/>
                  <a:gd name="T85" fmla="*/ 172 h 215"/>
                  <a:gd name="T86" fmla="*/ 268 w 312"/>
                  <a:gd name="T87" fmla="*/ 177 h 215"/>
                  <a:gd name="T88" fmla="*/ 263 w 312"/>
                  <a:gd name="T89" fmla="*/ 185 h 215"/>
                  <a:gd name="T90" fmla="*/ 268 w 312"/>
                  <a:gd name="T91" fmla="*/ 186 h 215"/>
                  <a:gd name="T92" fmla="*/ 275 w 312"/>
                  <a:gd name="T93" fmla="*/ 184 h 215"/>
                  <a:gd name="T94" fmla="*/ 277 w 312"/>
                  <a:gd name="T95" fmla="*/ 187 h 215"/>
                  <a:gd name="T96" fmla="*/ 277 w 312"/>
                  <a:gd name="T97" fmla="*/ 195 h 215"/>
                  <a:gd name="T98" fmla="*/ 286 w 312"/>
                  <a:gd name="T99" fmla="*/ 195 h 215"/>
                  <a:gd name="T100" fmla="*/ 288 w 312"/>
                  <a:gd name="T101" fmla="*/ 203 h 215"/>
                  <a:gd name="T102" fmla="*/ 282 w 312"/>
                  <a:gd name="T103" fmla="*/ 214 h 215"/>
                  <a:gd name="T104" fmla="*/ 291 w 312"/>
                  <a:gd name="T105" fmla="*/ 208 h 215"/>
                  <a:gd name="T106" fmla="*/ 300 w 312"/>
                  <a:gd name="T107" fmla="*/ 213 h 215"/>
                  <a:gd name="T108" fmla="*/ 309 w 312"/>
                  <a:gd name="T109" fmla="*/ 211 h 2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312" h="215">
                    <a:moveTo>
                      <a:pt x="307" y="203"/>
                    </a:moveTo>
                    <a:cubicBezTo>
                      <a:pt x="308" y="200"/>
                      <a:pt x="308" y="198"/>
                      <a:pt x="299" y="195"/>
                    </a:cubicBezTo>
                    <a:cubicBezTo>
                      <a:pt x="290" y="191"/>
                      <a:pt x="291" y="189"/>
                      <a:pt x="285" y="178"/>
                    </a:cubicBezTo>
                    <a:cubicBezTo>
                      <a:pt x="279" y="167"/>
                      <a:pt x="268" y="162"/>
                      <a:pt x="268" y="158"/>
                    </a:cubicBezTo>
                    <a:cubicBezTo>
                      <a:pt x="268" y="154"/>
                      <a:pt x="257" y="155"/>
                      <a:pt x="257" y="158"/>
                    </a:cubicBezTo>
                    <a:cubicBezTo>
                      <a:pt x="257" y="161"/>
                      <a:pt x="252" y="162"/>
                      <a:pt x="249" y="163"/>
                    </a:cubicBezTo>
                    <a:cubicBezTo>
                      <a:pt x="247" y="165"/>
                      <a:pt x="246" y="162"/>
                      <a:pt x="243" y="159"/>
                    </a:cubicBezTo>
                    <a:cubicBezTo>
                      <a:pt x="241" y="156"/>
                      <a:pt x="235" y="153"/>
                      <a:pt x="235" y="151"/>
                    </a:cubicBezTo>
                    <a:cubicBezTo>
                      <a:pt x="235" y="149"/>
                      <a:pt x="234" y="145"/>
                      <a:pt x="230" y="147"/>
                    </a:cubicBezTo>
                    <a:cubicBezTo>
                      <a:pt x="226" y="149"/>
                      <a:pt x="224" y="147"/>
                      <a:pt x="222" y="149"/>
                    </a:cubicBezTo>
                    <a:cubicBezTo>
                      <a:pt x="221" y="150"/>
                      <a:pt x="218" y="148"/>
                      <a:pt x="218" y="148"/>
                    </a:cubicBezTo>
                    <a:cubicBezTo>
                      <a:pt x="218" y="25"/>
                      <a:pt x="218" y="25"/>
                      <a:pt x="218" y="25"/>
                    </a:cubicBezTo>
                    <a:cubicBezTo>
                      <a:pt x="217" y="24"/>
                      <a:pt x="215" y="24"/>
                      <a:pt x="214" y="24"/>
                    </a:cubicBezTo>
                    <a:cubicBezTo>
                      <a:pt x="209" y="22"/>
                      <a:pt x="202" y="18"/>
                      <a:pt x="197" y="19"/>
                    </a:cubicBezTo>
                    <a:cubicBezTo>
                      <a:pt x="193" y="20"/>
                      <a:pt x="185" y="21"/>
                      <a:pt x="182" y="20"/>
                    </a:cubicBezTo>
                    <a:cubicBezTo>
                      <a:pt x="179" y="18"/>
                      <a:pt x="175" y="17"/>
                      <a:pt x="170" y="18"/>
                    </a:cubicBezTo>
                    <a:cubicBezTo>
                      <a:pt x="164" y="19"/>
                      <a:pt x="160" y="15"/>
                      <a:pt x="152" y="13"/>
                    </a:cubicBezTo>
                    <a:cubicBezTo>
                      <a:pt x="145" y="11"/>
                      <a:pt x="134" y="13"/>
                      <a:pt x="132" y="14"/>
                    </a:cubicBezTo>
                    <a:cubicBezTo>
                      <a:pt x="129" y="15"/>
                      <a:pt x="130" y="12"/>
                      <a:pt x="127" y="12"/>
                    </a:cubicBezTo>
                    <a:cubicBezTo>
                      <a:pt x="124" y="12"/>
                      <a:pt x="126" y="11"/>
                      <a:pt x="124" y="8"/>
                    </a:cubicBezTo>
                    <a:cubicBezTo>
                      <a:pt x="123" y="5"/>
                      <a:pt x="114" y="8"/>
                      <a:pt x="110" y="8"/>
                    </a:cubicBezTo>
                    <a:cubicBezTo>
                      <a:pt x="107" y="8"/>
                      <a:pt x="106" y="6"/>
                      <a:pt x="106" y="5"/>
                    </a:cubicBezTo>
                    <a:cubicBezTo>
                      <a:pt x="107" y="3"/>
                      <a:pt x="104" y="4"/>
                      <a:pt x="102" y="6"/>
                    </a:cubicBezTo>
                    <a:cubicBezTo>
                      <a:pt x="101" y="8"/>
                      <a:pt x="98" y="8"/>
                      <a:pt x="96" y="7"/>
                    </a:cubicBezTo>
                    <a:cubicBezTo>
                      <a:pt x="95" y="6"/>
                      <a:pt x="99" y="5"/>
                      <a:pt x="99" y="3"/>
                    </a:cubicBezTo>
                    <a:cubicBezTo>
                      <a:pt x="100" y="2"/>
                      <a:pt x="95" y="1"/>
                      <a:pt x="93" y="0"/>
                    </a:cubicBezTo>
                    <a:cubicBezTo>
                      <a:pt x="91" y="0"/>
                      <a:pt x="88" y="2"/>
                      <a:pt x="85" y="6"/>
                    </a:cubicBezTo>
                    <a:cubicBezTo>
                      <a:pt x="81" y="9"/>
                      <a:pt x="75" y="9"/>
                      <a:pt x="72" y="8"/>
                    </a:cubicBezTo>
                    <a:cubicBezTo>
                      <a:pt x="68" y="8"/>
                      <a:pt x="64" y="9"/>
                      <a:pt x="64" y="11"/>
                    </a:cubicBezTo>
                    <a:cubicBezTo>
                      <a:pt x="65" y="13"/>
                      <a:pt x="69" y="12"/>
                      <a:pt x="66" y="15"/>
                    </a:cubicBezTo>
                    <a:cubicBezTo>
                      <a:pt x="64" y="17"/>
                      <a:pt x="63" y="11"/>
                      <a:pt x="60" y="14"/>
                    </a:cubicBezTo>
                    <a:cubicBezTo>
                      <a:pt x="58" y="17"/>
                      <a:pt x="50" y="17"/>
                      <a:pt x="48" y="16"/>
                    </a:cubicBezTo>
                    <a:cubicBezTo>
                      <a:pt x="47" y="16"/>
                      <a:pt x="41" y="22"/>
                      <a:pt x="39" y="24"/>
                    </a:cubicBezTo>
                    <a:cubicBezTo>
                      <a:pt x="37" y="26"/>
                      <a:pt x="40" y="28"/>
                      <a:pt x="36" y="33"/>
                    </a:cubicBezTo>
                    <a:cubicBezTo>
                      <a:pt x="31" y="38"/>
                      <a:pt x="18" y="37"/>
                      <a:pt x="15" y="37"/>
                    </a:cubicBezTo>
                    <a:cubicBezTo>
                      <a:pt x="13" y="37"/>
                      <a:pt x="15" y="40"/>
                      <a:pt x="13" y="42"/>
                    </a:cubicBezTo>
                    <a:cubicBezTo>
                      <a:pt x="12" y="44"/>
                      <a:pt x="15" y="46"/>
                      <a:pt x="22" y="47"/>
                    </a:cubicBezTo>
                    <a:cubicBezTo>
                      <a:pt x="29" y="49"/>
                      <a:pt x="34" y="59"/>
                      <a:pt x="35" y="61"/>
                    </a:cubicBezTo>
                    <a:cubicBezTo>
                      <a:pt x="36" y="64"/>
                      <a:pt x="45" y="61"/>
                      <a:pt x="49" y="62"/>
                    </a:cubicBezTo>
                    <a:cubicBezTo>
                      <a:pt x="52" y="62"/>
                      <a:pt x="48" y="67"/>
                      <a:pt x="52" y="69"/>
                    </a:cubicBezTo>
                    <a:cubicBezTo>
                      <a:pt x="55" y="70"/>
                      <a:pt x="59" y="68"/>
                      <a:pt x="60" y="70"/>
                    </a:cubicBezTo>
                    <a:cubicBezTo>
                      <a:pt x="61" y="73"/>
                      <a:pt x="54" y="70"/>
                      <a:pt x="50" y="73"/>
                    </a:cubicBezTo>
                    <a:cubicBezTo>
                      <a:pt x="47" y="76"/>
                      <a:pt x="45" y="77"/>
                      <a:pt x="44" y="75"/>
                    </a:cubicBezTo>
                    <a:cubicBezTo>
                      <a:pt x="42" y="73"/>
                      <a:pt x="36" y="74"/>
                      <a:pt x="33" y="75"/>
                    </a:cubicBezTo>
                    <a:cubicBezTo>
                      <a:pt x="30" y="75"/>
                      <a:pt x="33" y="71"/>
                      <a:pt x="33" y="69"/>
                    </a:cubicBezTo>
                    <a:cubicBezTo>
                      <a:pt x="34" y="67"/>
                      <a:pt x="29" y="66"/>
                      <a:pt x="23" y="70"/>
                    </a:cubicBezTo>
                    <a:cubicBezTo>
                      <a:pt x="17" y="73"/>
                      <a:pt x="20" y="72"/>
                      <a:pt x="19" y="74"/>
                    </a:cubicBezTo>
                    <a:cubicBezTo>
                      <a:pt x="18" y="77"/>
                      <a:pt x="16" y="73"/>
                      <a:pt x="12" y="75"/>
                    </a:cubicBezTo>
                    <a:cubicBezTo>
                      <a:pt x="8" y="77"/>
                      <a:pt x="2" y="79"/>
                      <a:pt x="1" y="81"/>
                    </a:cubicBezTo>
                    <a:cubicBezTo>
                      <a:pt x="0" y="84"/>
                      <a:pt x="9" y="85"/>
                      <a:pt x="13" y="86"/>
                    </a:cubicBezTo>
                    <a:cubicBezTo>
                      <a:pt x="16" y="87"/>
                      <a:pt x="8" y="89"/>
                      <a:pt x="11" y="90"/>
                    </a:cubicBezTo>
                    <a:cubicBezTo>
                      <a:pt x="14" y="91"/>
                      <a:pt x="13" y="93"/>
                      <a:pt x="17" y="96"/>
                    </a:cubicBezTo>
                    <a:cubicBezTo>
                      <a:pt x="22" y="98"/>
                      <a:pt x="32" y="96"/>
                      <a:pt x="34" y="96"/>
                    </a:cubicBezTo>
                    <a:cubicBezTo>
                      <a:pt x="37" y="96"/>
                      <a:pt x="40" y="99"/>
                      <a:pt x="42" y="97"/>
                    </a:cubicBezTo>
                    <a:cubicBezTo>
                      <a:pt x="44" y="94"/>
                      <a:pt x="52" y="88"/>
                      <a:pt x="56" y="92"/>
                    </a:cubicBezTo>
                    <a:cubicBezTo>
                      <a:pt x="60" y="95"/>
                      <a:pt x="52" y="95"/>
                      <a:pt x="54" y="97"/>
                    </a:cubicBezTo>
                    <a:cubicBezTo>
                      <a:pt x="56" y="100"/>
                      <a:pt x="58" y="105"/>
                      <a:pt x="55" y="108"/>
                    </a:cubicBezTo>
                    <a:cubicBezTo>
                      <a:pt x="51" y="111"/>
                      <a:pt x="47" y="109"/>
                      <a:pt x="45" y="109"/>
                    </a:cubicBezTo>
                    <a:cubicBezTo>
                      <a:pt x="43" y="108"/>
                      <a:pt x="44" y="113"/>
                      <a:pt x="40" y="115"/>
                    </a:cubicBezTo>
                    <a:cubicBezTo>
                      <a:pt x="37" y="118"/>
                      <a:pt x="35" y="112"/>
                      <a:pt x="30" y="112"/>
                    </a:cubicBezTo>
                    <a:cubicBezTo>
                      <a:pt x="26" y="112"/>
                      <a:pt x="27" y="118"/>
                      <a:pt x="27" y="121"/>
                    </a:cubicBezTo>
                    <a:cubicBezTo>
                      <a:pt x="27" y="123"/>
                      <a:pt x="21" y="120"/>
                      <a:pt x="19" y="126"/>
                    </a:cubicBezTo>
                    <a:cubicBezTo>
                      <a:pt x="17" y="133"/>
                      <a:pt x="11" y="127"/>
                      <a:pt x="15" y="134"/>
                    </a:cubicBezTo>
                    <a:cubicBezTo>
                      <a:pt x="20" y="140"/>
                      <a:pt x="19" y="136"/>
                      <a:pt x="22" y="138"/>
                    </a:cubicBezTo>
                    <a:cubicBezTo>
                      <a:pt x="26" y="141"/>
                      <a:pt x="19" y="145"/>
                      <a:pt x="22" y="146"/>
                    </a:cubicBezTo>
                    <a:cubicBezTo>
                      <a:pt x="26" y="147"/>
                      <a:pt x="30" y="153"/>
                      <a:pt x="32" y="156"/>
                    </a:cubicBezTo>
                    <a:cubicBezTo>
                      <a:pt x="35" y="158"/>
                      <a:pt x="38" y="154"/>
                      <a:pt x="42" y="154"/>
                    </a:cubicBezTo>
                    <a:cubicBezTo>
                      <a:pt x="45" y="154"/>
                      <a:pt x="44" y="149"/>
                      <a:pt x="46" y="151"/>
                    </a:cubicBezTo>
                    <a:cubicBezTo>
                      <a:pt x="48" y="153"/>
                      <a:pt x="51" y="158"/>
                      <a:pt x="49" y="160"/>
                    </a:cubicBezTo>
                    <a:cubicBezTo>
                      <a:pt x="47" y="161"/>
                      <a:pt x="48" y="166"/>
                      <a:pt x="48" y="168"/>
                    </a:cubicBezTo>
                    <a:cubicBezTo>
                      <a:pt x="48" y="170"/>
                      <a:pt x="56" y="169"/>
                      <a:pt x="57" y="167"/>
                    </a:cubicBezTo>
                    <a:cubicBezTo>
                      <a:pt x="57" y="164"/>
                      <a:pt x="64" y="164"/>
                      <a:pt x="68" y="168"/>
                    </a:cubicBezTo>
                    <a:cubicBezTo>
                      <a:pt x="72" y="172"/>
                      <a:pt x="73" y="172"/>
                      <a:pt x="73" y="169"/>
                    </a:cubicBezTo>
                    <a:cubicBezTo>
                      <a:pt x="73" y="166"/>
                      <a:pt x="76" y="163"/>
                      <a:pt x="76" y="165"/>
                    </a:cubicBezTo>
                    <a:cubicBezTo>
                      <a:pt x="76" y="168"/>
                      <a:pt x="80" y="169"/>
                      <a:pt x="85" y="166"/>
                    </a:cubicBezTo>
                    <a:cubicBezTo>
                      <a:pt x="91" y="164"/>
                      <a:pt x="88" y="166"/>
                      <a:pt x="85" y="170"/>
                    </a:cubicBezTo>
                    <a:cubicBezTo>
                      <a:pt x="81" y="175"/>
                      <a:pt x="85" y="182"/>
                      <a:pt x="82" y="183"/>
                    </a:cubicBezTo>
                    <a:cubicBezTo>
                      <a:pt x="80" y="183"/>
                      <a:pt x="77" y="191"/>
                      <a:pt x="73" y="191"/>
                    </a:cubicBezTo>
                    <a:cubicBezTo>
                      <a:pt x="68" y="192"/>
                      <a:pt x="60" y="201"/>
                      <a:pt x="59" y="202"/>
                    </a:cubicBezTo>
                    <a:cubicBezTo>
                      <a:pt x="58" y="203"/>
                      <a:pt x="48" y="199"/>
                      <a:pt x="47" y="203"/>
                    </a:cubicBezTo>
                    <a:cubicBezTo>
                      <a:pt x="45" y="207"/>
                      <a:pt x="39" y="210"/>
                      <a:pt x="41" y="212"/>
                    </a:cubicBezTo>
                    <a:cubicBezTo>
                      <a:pt x="42" y="213"/>
                      <a:pt x="50" y="209"/>
                      <a:pt x="50" y="207"/>
                    </a:cubicBezTo>
                    <a:cubicBezTo>
                      <a:pt x="51" y="205"/>
                      <a:pt x="52" y="205"/>
                      <a:pt x="53" y="207"/>
                    </a:cubicBezTo>
                    <a:cubicBezTo>
                      <a:pt x="55" y="208"/>
                      <a:pt x="58" y="206"/>
                      <a:pt x="60" y="204"/>
                    </a:cubicBezTo>
                    <a:cubicBezTo>
                      <a:pt x="61" y="203"/>
                      <a:pt x="64" y="204"/>
                      <a:pt x="66" y="204"/>
                    </a:cubicBezTo>
                    <a:cubicBezTo>
                      <a:pt x="67" y="204"/>
                      <a:pt x="68" y="202"/>
                      <a:pt x="73" y="201"/>
                    </a:cubicBezTo>
                    <a:cubicBezTo>
                      <a:pt x="78" y="200"/>
                      <a:pt x="76" y="199"/>
                      <a:pt x="78" y="196"/>
                    </a:cubicBezTo>
                    <a:cubicBezTo>
                      <a:pt x="79" y="194"/>
                      <a:pt x="90" y="188"/>
                      <a:pt x="92" y="188"/>
                    </a:cubicBezTo>
                    <a:cubicBezTo>
                      <a:pt x="94" y="187"/>
                      <a:pt x="93" y="184"/>
                      <a:pt x="95" y="183"/>
                    </a:cubicBezTo>
                    <a:cubicBezTo>
                      <a:pt x="98" y="183"/>
                      <a:pt x="101" y="180"/>
                      <a:pt x="104" y="178"/>
                    </a:cubicBezTo>
                    <a:cubicBezTo>
                      <a:pt x="107" y="175"/>
                      <a:pt x="108" y="176"/>
                      <a:pt x="110" y="176"/>
                    </a:cubicBezTo>
                    <a:cubicBezTo>
                      <a:pt x="113" y="175"/>
                      <a:pt x="111" y="170"/>
                      <a:pt x="113" y="170"/>
                    </a:cubicBezTo>
                    <a:cubicBezTo>
                      <a:pt x="116" y="169"/>
                      <a:pt x="117" y="168"/>
                      <a:pt x="117" y="166"/>
                    </a:cubicBezTo>
                    <a:cubicBezTo>
                      <a:pt x="117" y="164"/>
                      <a:pt x="111" y="164"/>
                      <a:pt x="111" y="162"/>
                    </a:cubicBezTo>
                    <a:cubicBezTo>
                      <a:pt x="110" y="161"/>
                      <a:pt x="116" y="156"/>
                      <a:pt x="118" y="157"/>
                    </a:cubicBezTo>
                    <a:cubicBezTo>
                      <a:pt x="119" y="157"/>
                      <a:pt x="123" y="155"/>
                      <a:pt x="123" y="152"/>
                    </a:cubicBezTo>
                    <a:cubicBezTo>
                      <a:pt x="123" y="149"/>
                      <a:pt x="126" y="148"/>
                      <a:pt x="128" y="146"/>
                    </a:cubicBezTo>
                    <a:cubicBezTo>
                      <a:pt x="131" y="143"/>
                      <a:pt x="130" y="141"/>
                      <a:pt x="132" y="141"/>
                    </a:cubicBezTo>
                    <a:cubicBezTo>
                      <a:pt x="135" y="141"/>
                      <a:pt x="137" y="138"/>
                      <a:pt x="139" y="136"/>
                    </a:cubicBezTo>
                    <a:cubicBezTo>
                      <a:pt x="142" y="135"/>
                      <a:pt x="139" y="138"/>
                      <a:pt x="144" y="138"/>
                    </a:cubicBezTo>
                    <a:cubicBezTo>
                      <a:pt x="149" y="138"/>
                      <a:pt x="148" y="143"/>
                      <a:pt x="144" y="141"/>
                    </a:cubicBezTo>
                    <a:cubicBezTo>
                      <a:pt x="141" y="140"/>
                      <a:pt x="139" y="140"/>
                      <a:pt x="136" y="143"/>
                    </a:cubicBezTo>
                    <a:cubicBezTo>
                      <a:pt x="133" y="146"/>
                      <a:pt x="135" y="147"/>
                      <a:pt x="133" y="150"/>
                    </a:cubicBezTo>
                    <a:cubicBezTo>
                      <a:pt x="130" y="154"/>
                      <a:pt x="130" y="156"/>
                      <a:pt x="133" y="156"/>
                    </a:cubicBezTo>
                    <a:cubicBezTo>
                      <a:pt x="136" y="156"/>
                      <a:pt x="133" y="159"/>
                      <a:pt x="130" y="160"/>
                    </a:cubicBezTo>
                    <a:cubicBezTo>
                      <a:pt x="127" y="161"/>
                      <a:pt x="129" y="162"/>
                      <a:pt x="134" y="162"/>
                    </a:cubicBezTo>
                    <a:cubicBezTo>
                      <a:pt x="138" y="162"/>
                      <a:pt x="144" y="156"/>
                      <a:pt x="149" y="154"/>
                    </a:cubicBezTo>
                    <a:cubicBezTo>
                      <a:pt x="155" y="151"/>
                      <a:pt x="159" y="154"/>
                      <a:pt x="161" y="153"/>
                    </a:cubicBezTo>
                    <a:cubicBezTo>
                      <a:pt x="163" y="153"/>
                      <a:pt x="159" y="150"/>
                      <a:pt x="161" y="149"/>
                    </a:cubicBezTo>
                    <a:cubicBezTo>
                      <a:pt x="163" y="148"/>
                      <a:pt x="159" y="148"/>
                      <a:pt x="158" y="144"/>
                    </a:cubicBezTo>
                    <a:cubicBezTo>
                      <a:pt x="156" y="141"/>
                      <a:pt x="160" y="143"/>
                      <a:pt x="160" y="140"/>
                    </a:cubicBezTo>
                    <a:cubicBezTo>
                      <a:pt x="161" y="138"/>
                      <a:pt x="163" y="139"/>
                      <a:pt x="165" y="140"/>
                    </a:cubicBezTo>
                    <a:cubicBezTo>
                      <a:pt x="167" y="141"/>
                      <a:pt x="169" y="139"/>
                      <a:pt x="171" y="142"/>
                    </a:cubicBezTo>
                    <a:cubicBezTo>
                      <a:pt x="172" y="145"/>
                      <a:pt x="174" y="141"/>
                      <a:pt x="177" y="143"/>
                    </a:cubicBezTo>
                    <a:cubicBezTo>
                      <a:pt x="180" y="146"/>
                      <a:pt x="176" y="145"/>
                      <a:pt x="173" y="146"/>
                    </a:cubicBezTo>
                    <a:cubicBezTo>
                      <a:pt x="170" y="147"/>
                      <a:pt x="172" y="151"/>
                      <a:pt x="174" y="149"/>
                    </a:cubicBezTo>
                    <a:cubicBezTo>
                      <a:pt x="177" y="147"/>
                      <a:pt x="179" y="146"/>
                      <a:pt x="181" y="148"/>
                    </a:cubicBezTo>
                    <a:cubicBezTo>
                      <a:pt x="183" y="150"/>
                      <a:pt x="184" y="149"/>
                      <a:pt x="185" y="147"/>
                    </a:cubicBezTo>
                    <a:cubicBezTo>
                      <a:pt x="187" y="145"/>
                      <a:pt x="187" y="147"/>
                      <a:pt x="187" y="149"/>
                    </a:cubicBezTo>
                    <a:cubicBezTo>
                      <a:pt x="187" y="150"/>
                      <a:pt x="191" y="151"/>
                      <a:pt x="196" y="151"/>
                    </a:cubicBezTo>
                    <a:cubicBezTo>
                      <a:pt x="202" y="152"/>
                      <a:pt x="211" y="151"/>
                      <a:pt x="214" y="151"/>
                    </a:cubicBezTo>
                    <a:cubicBezTo>
                      <a:pt x="216" y="151"/>
                      <a:pt x="215" y="155"/>
                      <a:pt x="221" y="156"/>
                    </a:cubicBezTo>
                    <a:cubicBezTo>
                      <a:pt x="226" y="157"/>
                      <a:pt x="228" y="150"/>
                      <a:pt x="231" y="153"/>
                    </a:cubicBezTo>
                    <a:cubicBezTo>
                      <a:pt x="234" y="155"/>
                      <a:pt x="231" y="156"/>
                      <a:pt x="229" y="158"/>
                    </a:cubicBezTo>
                    <a:cubicBezTo>
                      <a:pt x="228" y="159"/>
                      <a:pt x="231" y="159"/>
                      <a:pt x="233" y="160"/>
                    </a:cubicBezTo>
                    <a:cubicBezTo>
                      <a:pt x="235" y="161"/>
                      <a:pt x="240" y="163"/>
                      <a:pt x="243" y="165"/>
                    </a:cubicBezTo>
                    <a:cubicBezTo>
                      <a:pt x="245" y="167"/>
                      <a:pt x="246" y="170"/>
                      <a:pt x="252" y="173"/>
                    </a:cubicBezTo>
                    <a:cubicBezTo>
                      <a:pt x="258" y="176"/>
                      <a:pt x="252" y="166"/>
                      <a:pt x="257" y="169"/>
                    </a:cubicBezTo>
                    <a:cubicBezTo>
                      <a:pt x="261" y="172"/>
                      <a:pt x="259" y="169"/>
                      <a:pt x="263" y="172"/>
                    </a:cubicBezTo>
                    <a:cubicBezTo>
                      <a:pt x="267" y="175"/>
                      <a:pt x="265" y="171"/>
                      <a:pt x="264" y="165"/>
                    </a:cubicBezTo>
                    <a:cubicBezTo>
                      <a:pt x="262" y="160"/>
                      <a:pt x="265" y="164"/>
                      <a:pt x="267" y="166"/>
                    </a:cubicBezTo>
                    <a:cubicBezTo>
                      <a:pt x="269" y="169"/>
                      <a:pt x="269" y="173"/>
                      <a:pt x="268" y="177"/>
                    </a:cubicBezTo>
                    <a:cubicBezTo>
                      <a:pt x="266" y="180"/>
                      <a:pt x="261" y="177"/>
                      <a:pt x="262" y="175"/>
                    </a:cubicBezTo>
                    <a:cubicBezTo>
                      <a:pt x="262" y="174"/>
                      <a:pt x="256" y="174"/>
                      <a:pt x="256" y="177"/>
                    </a:cubicBezTo>
                    <a:cubicBezTo>
                      <a:pt x="256" y="179"/>
                      <a:pt x="260" y="184"/>
                      <a:pt x="263" y="185"/>
                    </a:cubicBezTo>
                    <a:cubicBezTo>
                      <a:pt x="266" y="185"/>
                      <a:pt x="263" y="190"/>
                      <a:pt x="265" y="190"/>
                    </a:cubicBezTo>
                    <a:cubicBezTo>
                      <a:pt x="268" y="191"/>
                      <a:pt x="268" y="196"/>
                      <a:pt x="269" y="195"/>
                    </a:cubicBezTo>
                    <a:cubicBezTo>
                      <a:pt x="270" y="194"/>
                      <a:pt x="270" y="189"/>
                      <a:pt x="268" y="186"/>
                    </a:cubicBezTo>
                    <a:cubicBezTo>
                      <a:pt x="267" y="184"/>
                      <a:pt x="267" y="180"/>
                      <a:pt x="269" y="181"/>
                    </a:cubicBezTo>
                    <a:cubicBezTo>
                      <a:pt x="272" y="181"/>
                      <a:pt x="269" y="185"/>
                      <a:pt x="271" y="186"/>
                    </a:cubicBezTo>
                    <a:cubicBezTo>
                      <a:pt x="272" y="188"/>
                      <a:pt x="273" y="185"/>
                      <a:pt x="275" y="184"/>
                    </a:cubicBezTo>
                    <a:cubicBezTo>
                      <a:pt x="278" y="182"/>
                      <a:pt x="274" y="178"/>
                      <a:pt x="275" y="176"/>
                    </a:cubicBezTo>
                    <a:cubicBezTo>
                      <a:pt x="276" y="174"/>
                      <a:pt x="279" y="178"/>
                      <a:pt x="280" y="182"/>
                    </a:cubicBezTo>
                    <a:cubicBezTo>
                      <a:pt x="281" y="185"/>
                      <a:pt x="277" y="185"/>
                      <a:pt x="277" y="187"/>
                    </a:cubicBezTo>
                    <a:cubicBezTo>
                      <a:pt x="277" y="189"/>
                      <a:pt x="274" y="188"/>
                      <a:pt x="273" y="189"/>
                    </a:cubicBezTo>
                    <a:cubicBezTo>
                      <a:pt x="272" y="190"/>
                      <a:pt x="272" y="197"/>
                      <a:pt x="274" y="198"/>
                    </a:cubicBezTo>
                    <a:cubicBezTo>
                      <a:pt x="275" y="198"/>
                      <a:pt x="276" y="192"/>
                      <a:pt x="277" y="195"/>
                    </a:cubicBezTo>
                    <a:cubicBezTo>
                      <a:pt x="278" y="198"/>
                      <a:pt x="281" y="191"/>
                      <a:pt x="282" y="194"/>
                    </a:cubicBezTo>
                    <a:cubicBezTo>
                      <a:pt x="283" y="197"/>
                      <a:pt x="287" y="200"/>
                      <a:pt x="289" y="199"/>
                    </a:cubicBezTo>
                    <a:cubicBezTo>
                      <a:pt x="291" y="198"/>
                      <a:pt x="288" y="195"/>
                      <a:pt x="286" y="195"/>
                    </a:cubicBezTo>
                    <a:cubicBezTo>
                      <a:pt x="283" y="195"/>
                      <a:pt x="284" y="191"/>
                      <a:pt x="286" y="191"/>
                    </a:cubicBezTo>
                    <a:cubicBezTo>
                      <a:pt x="288" y="191"/>
                      <a:pt x="292" y="197"/>
                      <a:pt x="292" y="199"/>
                    </a:cubicBezTo>
                    <a:cubicBezTo>
                      <a:pt x="292" y="201"/>
                      <a:pt x="290" y="201"/>
                      <a:pt x="288" y="203"/>
                    </a:cubicBezTo>
                    <a:cubicBezTo>
                      <a:pt x="286" y="205"/>
                      <a:pt x="283" y="199"/>
                      <a:pt x="281" y="199"/>
                    </a:cubicBezTo>
                    <a:cubicBezTo>
                      <a:pt x="279" y="200"/>
                      <a:pt x="281" y="203"/>
                      <a:pt x="282" y="206"/>
                    </a:cubicBezTo>
                    <a:cubicBezTo>
                      <a:pt x="283" y="208"/>
                      <a:pt x="279" y="212"/>
                      <a:pt x="282" y="214"/>
                    </a:cubicBezTo>
                    <a:cubicBezTo>
                      <a:pt x="285" y="215"/>
                      <a:pt x="284" y="212"/>
                      <a:pt x="285" y="211"/>
                    </a:cubicBezTo>
                    <a:cubicBezTo>
                      <a:pt x="286" y="209"/>
                      <a:pt x="288" y="211"/>
                      <a:pt x="289" y="212"/>
                    </a:cubicBezTo>
                    <a:cubicBezTo>
                      <a:pt x="291" y="214"/>
                      <a:pt x="291" y="210"/>
                      <a:pt x="291" y="208"/>
                    </a:cubicBezTo>
                    <a:cubicBezTo>
                      <a:pt x="291" y="206"/>
                      <a:pt x="294" y="207"/>
                      <a:pt x="295" y="209"/>
                    </a:cubicBezTo>
                    <a:cubicBezTo>
                      <a:pt x="297" y="212"/>
                      <a:pt x="297" y="207"/>
                      <a:pt x="299" y="207"/>
                    </a:cubicBezTo>
                    <a:cubicBezTo>
                      <a:pt x="301" y="208"/>
                      <a:pt x="300" y="211"/>
                      <a:pt x="300" y="213"/>
                    </a:cubicBezTo>
                    <a:cubicBezTo>
                      <a:pt x="300" y="215"/>
                      <a:pt x="304" y="212"/>
                      <a:pt x="303" y="214"/>
                    </a:cubicBezTo>
                    <a:cubicBezTo>
                      <a:pt x="303" y="214"/>
                      <a:pt x="303" y="214"/>
                      <a:pt x="303" y="215"/>
                    </a:cubicBezTo>
                    <a:cubicBezTo>
                      <a:pt x="305" y="213"/>
                      <a:pt x="307" y="212"/>
                      <a:pt x="309" y="211"/>
                    </a:cubicBezTo>
                    <a:cubicBezTo>
                      <a:pt x="312" y="208"/>
                      <a:pt x="306" y="206"/>
                      <a:pt x="307" y="20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0" name="Freeform 128">
                <a:extLst>
                  <a:ext uri="{FF2B5EF4-FFF2-40B4-BE49-F238E27FC236}">
                    <a16:creationId xmlns:a16="http://schemas.microsoft.com/office/drawing/2014/main" id="{81581C3C-7292-4593-A1AD-C818691678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92937" y="2963055"/>
                <a:ext cx="20076" cy="23840"/>
              </a:xfrm>
              <a:custGeom>
                <a:avLst/>
                <a:gdLst>
                  <a:gd name="T0" fmla="*/ 3 w 9"/>
                  <a:gd name="T1" fmla="*/ 9 h 10"/>
                  <a:gd name="T2" fmla="*/ 7 w 9"/>
                  <a:gd name="T3" fmla="*/ 3 h 10"/>
                  <a:gd name="T4" fmla="*/ 3 w 9"/>
                  <a:gd name="T5" fmla="*/ 9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10">
                    <a:moveTo>
                      <a:pt x="3" y="9"/>
                    </a:moveTo>
                    <a:cubicBezTo>
                      <a:pt x="7" y="7"/>
                      <a:pt x="9" y="5"/>
                      <a:pt x="7" y="3"/>
                    </a:cubicBezTo>
                    <a:cubicBezTo>
                      <a:pt x="6" y="0"/>
                      <a:pt x="0" y="10"/>
                      <a:pt x="3" y="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1" name="Freeform 129">
                <a:extLst>
                  <a:ext uri="{FF2B5EF4-FFF2-40B4-BE49-F238E27FC236}">
                    <a16:creationId xmlns:a16="http://schemas.microsoft.com/office/drawing/2014/main" id="{9B93C8CC-7488-4D0C-A7AA-FC3F17EAA4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36853" y="2942979"/>
                <a:ext cx="41406" cy="16311"/>
              </a:xfrm>
              <a:custGeom>
                <a:avLst/>
                <a:gdLst>
                  <a:gd name="T0" fmla="*/ 14 w 18"/>
                  <a:gd name="T1" fmla="*/ 2 h 7"/>
                  <a:gd name="T2" fmla="*/ 4 w 18"/>
                  <a:gd name="T3" fmla="*/ 7 h 7"/>
                  <a:gd name="T4" fmla="*/ 10 w 18"/>
                  <a:gd name="T5" fmla="*/ 5 h 7"/>
                  <a:gd name="T6" fmla="*/ 14 w 18"/>
                  <a:gd name="T7" fmla="*/ 2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" h="7">
                    <a:moveTo>
                      <a:pt x="14" y="2"/>
                    </a:moveTo>
                    <a:cubicBezTo>
                      <a:pt x="10" y="0"/>
                      <a:pt x="0" y="6"/>
                      <a:pt x="4" y="7"/>
                    </a:cubicBezTo>
                    <a:cubicBezTo>
                      <a:pt x="6" y="7"/>
                      <a:pt x="7" y="5"/>
                      <a:pt x="10" y="5"/>
                    </a:cubicBezTo>
                    <a:cubicBezTo>
                      <a:pt x="13" y="5"/>
                      <a:pt x="18" y="3"/>
                      <a:pt x="14" y="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2" name="Freeform 130">
                <a:extLst>
                  <a:ext uri="{FF2B5EF4-FFF2-40B4-BE49-F238E27FC236}">
                    <a16:creationId xmlns:a16="http://schemas.microsoft.com/office/drawing/2014/main" id="{E7F1CA81-F826-4DAE-B28D-137A2EF8D7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30081" y="2846365"/>
                <a:ext cx="55208" cy="50189"/>
              </a:xfrm>
              <a:custGeom>
                <a:avLst/>
                <a:gdLst>
                  <a:gd name="T0" fmla="*/ 21 w 24"/>
                  <a:gd name="T1" fmla="*/ 2 h 22"/>
                  <a:gd name="T2" fmla="*/ 15 w 24"/>
                  <a:gd name="T3" fmla="*/ 4 h 22"/>
                  <a:gd name="T4" fmla="*/ 7 w 24"/>
                  <a:gd name="T5" fmla="*/ 12 h 22"/>
                  <a:gd name="T6" fmla="*/ 2 w 24"/>
                  <a:gd name="T7" fmla="*/ 14 h 22"/>
                  <a:gd name="T8" fmla="*/ 5 w 24"/>
                  <a:gd name="T9" fmla="*/ 21 h 22"/>
                  <a:gd name="T10" fmla="*/ 9 w 24"/>
                  <a:gd name="T11" fmla="*/ 21 h 22"/>
                  <a:gd name="T12" fmla="*/ 20 w 24"/>
                  <a:gd name="T13" fmla="*/ 13 h 22"/>
                  <a:gd name="T14" fmla="*/ 17 w 24"/>
                  <a:gd name="T15" fmla="*/ 8 h 22"/>
                  <a:gd name="T16" fmla="*/ 22 w 24"/>
                  <a:gd name="T17" fmla="*/ 6 h 22"/>
                  <a:gd name="T18" fmla="*/ 21 w 24"/>
                  <a:gd name="T19" fmla="*/ 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" h="22">
                    <a:moveTo>
                      <a:pt x="21" y="2"/>
                    </a:moveTo>
                    <a:cubicBezTo>
                      <a:pt x="21" y="0"/>
                      <a:pt x="18" y="0"/>
                      <a:pt x="15" y="4"/>
                    </a:cubicBezTo>
                    <a:cubicBezTo>
                      <a:pt x="11" y="8"/>
                      <a:pt x="8" y="10"/>
                      <a:pt x="7" y="12"/>
                    </a:cubicBezTo>
                    <a:cubicBezTo>
                      <a:pt x="7" y="14"/>
                      <a:pt x="3" y="12"/>
                      <a:pt x="2" y="14"/>
                    </a:cubicBezTo>
                    <a:cubicBezTo>
                      <a:pt x="0" y="17"/>
                      <a:pt x="2" y="22"/>
                      <a:pt x="5" y="21"/>
                    </a:cubicBezTo>
                    <a:cubicBezTo>
                      <a:pt x="7" y="19"/>
                      <a:pt x="8" y="21"/>
                      <a:pt x="9" y="21"/>
                    </a:cubicBezTo>
                    <a:cubicBezTo>
                      <a:pt x="11" y="21"/>
                      <a:pt x="18" y="16"/>
                      <a:pt x="20" y="13"/>
                    </a:cubicBezTo>
                    <a:cubicBezTo>
                      <a:pt x="21" y="11"/>
                      <a:pt x="17" y="10"/>
                      <a:pt x="17" y="8"/>
                    </a:cubicBezTo>
                    <a:cubicBezTo>
                      <a:pt x="17" y="7"/>
                      <a:pt x="20" y="7"/>
                      <a:pt x="22" y="6"/>
                    </a:cubicBezTo>
                    <a:cubicBezTo>
                      <a:pt x="24" y="5"/>
                      <a:pt x="21" y="4"/>
                      <a:pt x="21" y="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3" name="Freeform 131">
                <a:extLst>
                  <a:ext uri="{FF2B5EF4-FFF2-40B4-BE49-F238E27FC236}">
                    <a16:creationId xmlns:a16="http://schemas.microsoft.com/office/drawing/2014/main" id="{6EAE9BEC-8817-40D2-B774-6FCD4B5C29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96702" y="2794921"/>
                <a:ext cx="37642" cy="23840"/>
              </a:xfrm>
              <a:custGeom>
                <a:avLst/>
                <a:gdLst>
                  <a:gd name="T0" fmla="*/ 8 w 16"/>
                  <a:gd name="T1" fmla="*/ 3 h 10"/>
                  <a:gd name="T2" fmla="*/ 1 w 16"/>
                  <a:gd name="T3" fmla="*/ 5 h 10"/>
                  <a:gd name="T4" fmla="*/ 12 w 16"/>
                  <a:gd name="T5" fmla="*/ 9 h 10"/>
                  <a:gd name="T6" fmla="*/ 14 w 16"/>
                  <a:gd name="T7" fmla="*/ 3 h 10"/>
                  <a:gd name="T8" fmla="*/ 8 w 16"/>
                  <a:gd name="T9" fmla="*/ 3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0">
                    <a:moveTo>
                      <a:pt x="8" y="3"/>
                    </a:moveTo>
                    <a:cubicBezTo>
                      <a:pt x="8" y="0"/>
                      <a:pt x="0" y="2"/>
                      <a:pt x="1" y="5"/>
                    </a:cubicBezTo>
                    <a:cubicBezTo>
                      <a:pt x="2" y="8"/>
                      <a:pt x="9" y="10"/>
                      <a:pt x="12" y="9"/>
                    </a:cubicBezTo>
                    <a:cubicBezTo>
                      <a:pt x="15" y="8"/>
                      <a:pt x="16" y="5"/>
                      <a:pt x="14" y="3"/>
                    </a:cubicBezTo>
                    <a:cubicBezTo>
                      <a:pt x="12" y="1"/>
                      <a:pt x="9" y="6"/>
                      <a:pt x="8" y="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4" name="Freeform 132">
                <a:extLst>
                  <a:ext uri="{FF2B5EF4-FFF2-40B4-BE49-F238E27FC236}">
                    <a16:creationId xmlns:a16="http://schemas.microsoft.com/office/drawing/2014/main" id="{771D0C1C-5981-4DF3-ADDA-87C59B9FAA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94707" y="3077235"/>
                <a:ext cx="1076555" cy="537022"/>
              </a:xfrm>
              <a:custGeom>
                <a:avLst/>
                <a:gdLst>
                  <a:gd name="T0" fmla="*/ 439 w 467"/>
                  <a:gd name="T1" fmla="*/ 36 h 233"/>
                  <a:gd name="T2" fmla="*/ 391 w 467"/>
                  <a:gd name="T3" fmla="*/ 55 h 233"/>
                  <a:gd name="T4" fmla="*/ 369 w 467"/>
                  <a:gd name="T5" fmla="*/ 64 h 233"/>
                  <a:gd name="T6" fmla="*/ 348 w 467"/>
                  <a:gd name="T7" fmla="*/ 81 h 233"/>
                  <a:gd name="T8" fmla="*/ 342 w 467"/>
                  <a:gd name="T9" fmla="*/ 74 h 233"/>
                  <a:gd name="T10" fmla="*/ 329 w 467"/>
                  <a:gd name="T11" fmla="*/ 59 h 233"/>
                  <a:gd name="T12" fmla="*/ 311 w 467"/>
                  <a:gd name="T13" fmla="*/ 49 h 233"/>
                  <a:gd name="T14" fmla="*/ 297 w 467"/>
                  <a:gd name="T15" fmla="*/ 63 h 233"/>
                  <a:gd name="T16" fmla="*/ 328 w 467"/>
                  <a:gd name="T17" fmla="*/ 35 h 233"/>
                  <a:gd name="T18" fmla="*/ 323 w 467"/>
                  <a:gd name="T19" fmla="*/ 32 h 233"/>
                  <a:gd name="T20" fmla="*/ 295 w 467"/>
                  <a:gd name="T21" fmla="*/ 27 h 233"/>
                  <a:gd name="T22" fmla="*/ 264 w 467"/>
                  <a:gd name="T23" fmla="*/ 29 h 233"/>
                  <a:gd name="T24" fmla="*/ 272 w 467"/>
                  <a:gd name="T25" fmla="*/ 15 h 233"/>
                  <a:gd name="T26" fmla="*/ 251 w 467"/>
                  <a:gd name="T27" fmla="*/ 11 h 233"/>
                  <a:gd name="T28" fmla="*/ 238 w 467"/>
                  <a:gd name="T29" fmla="*/ 6 h 233"/>
                  <a:gd name="T30" fmla="*/ 19 w 467"/>
                  <a:gd name="T31" fmla="*/ 17 h 233"/>
                  <a:gd name="T32" fmla="*/ 14 w 467"/>
                  <a:gd name="T33" fmla="*/ 16 h 233"/>
                  <a:gd name="T34" fmla="*/ 0 w 467"/>
                  <a:gd name="T35" fmla="*/ 13 h 233"/>
                  <a:gd name="T36" fmla="*/ 8 w 467"/>
                  <a:gd name="T37" fmla="*/ 34 h 233"/>
                  <a:gd name="T38" fmla="*/ 3 w 467"/>
                  <a:gd name="T39" fmla="*/ 74 h 233"/>
                  <a:gd name="T40" fmla="*/ 9 w 467"/>
                  <a:gd name="T41" fmla="*/ 108 h 233"/>
                  <a:gd name="T42" fmla="*/ 22 w 467"/>
                  <a:gd name="T43" fmla="*/ 124 h 233"/>
                  <a:gd name="T44" fmla="*/ 36 w 467"/>
                  <a:gd name="T45" fmla="*/ 147 h 233"/>
                  <a:gd name="T46" fmla="*/ 60 w 467"/>
                  <a:gd name="T47" fmla="*/ 162 h 233"/>
                  <a:gd name="T48" fmla="*/ 89 w 467"/>
                  <a:gd name="T49" fmla="*/ 169 h 233"/>
                  <a:gd name="T50" fmla="*/ 136 w 467"/>
                  <a:gd name="T51" fmla="*/ 173 h 233"/>
                  <a:gd name="T52" fmla="*/ 162 w 467"/>
                  <a:gd name="T53" fmla="*/ 187 h 233"/>
                  <a:gd name="T54" fmla="*/ 181 w 467"/>
                  <a:gd name="T55" fmla="*/ 190 h 233"/>
                  <a:gd name="T56" fmla="*/ 205 w 467"/>
                  <a:gd name="T57" fmla="*/ 215 h 233"/>
                  <a:gd name="T58" fmla="*/ 222 w 467"/>
                  <a:gd name="T59" fmla="*/ 225 h 233"/>
                  <a:gd name="T60" fmla="*/ 227 w 467"/>
                  <a:gd name="T61" fmla="*/ 202 h 233"/>
                  <a:gd name="T62" fmla="*/ 244 w 467"/>
                  <a:gd name="T63" fmla="*/ 192 h 233"/>
                  <a:gd name="T64" fmla="*/ 257 w 467"/>
                  <a:gd name="T65" fmla="*/ 190 h 233"/>
                  <a:gd name="T66" fmla="*/ 276 w 467"/>
                  <a:gd name="T67" fmla="*/ 195 h 233"/>
                  <a:gd name="T68" fmla="*/ 284 w 467"/>
                  <a:gd name="T69" fmla="*/ 193 h 233"/>
                  <a:gd name="T70" fmla="*/ 295 w 467"/>
                  <a:gd name="T71" fmla="*/ 183 h 233"/>
                  <a:gd name="T72" fmla="*/ 317 w 467"/>
                  <a:gd name="T73" fmla="*/ 190 h 233"/>
                  <a:gd name="T74" fmla="*/ 338 w 467"/>
                  <a:gd name="T75" fmla="*/ 197 h 233"/>
                  <a:gd name="T76" fmla="*/ 345 w 467"/>
                  <a:gd name="T77" fmla="*/ 222 h 233"/>
                  <a:gd name="T78" fmla="*/ 360 w 467"/>
                  <a:gd name="T79" fmla="*/ 221 h 233"/>
                  <a:gd name="T80" fmla="*/ 349 w 467"/>
                  <a:gd name="T81" fmla="*/ 181 h 233"/>
                  <a:gd name="T82" fmla="*/ 372 w 467"/>
                  <a:gd name="T83" fmla="*/ 154 h 233"/>
                  <a:gd name="T84" fmla="*/ 386 w 467"/>
                  <a:gd name="T85" fmla="*/ 141 h 233"/>
                  <a:gd name="T86" fmla="*/ 395 w 467"/>
                  <a:gd name="T87" fmla="*/ 134 h 233"/>
                  <a:gd name="T88" fmla="*/ 390 w 467"/>
                  <a:gd name="T89" fmla="*/ 122 h 233"/>
                  <a:gd name="T90" fmla="*/ 389 w 467"/>
                  <a:gd name="T91" fmla="*/ 101 h 233"/>
                  <a:gd name="T92" fmla="*/ 393 w 467"/>
                  <a:gd name="T93" fmla="*/ 119 h 233"/>
                  <a:gd name="T94" fmla="*/ 398 w 467"/>
                  <a:gd name="T95" fmla="*/ 103 h 233"/>
                  <a:gd name="T96" fmla="*/ 413 w 467"/>
                  <a:gd name="T97" fmla="*/ 90 h 233"/>
                  <a:gd name="T98" fmla="*/ 425 w 467"/>
                  <a:gd name="T99" fmla="*/ 82 h 233"/>
                  <a:gd name="T100" fmla="*/ 434 w 467"/>
                  <a:gd name="T101" fmla="*/ 73 h 233"/>
                  <a:gd name="T102" fmla="*/ 445 w 467"/>
                  <a:gd name="T103" fmla="*/ 58 h 233"/>
                  <a:gd name="T104" fmla="*/ 467 w 467"/>
                  <a:gd name="T105" fmla="*/ 48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467" h="233">
                    <a:moveTo>
                      <a:pt x="460" y="25"/>
                    </a:moveTo>
                    <a:cubicBezTo>
                      <a:pt x="460" y="23"/>
                      <a:pt x="452" y="25"/>
                      <a:pt x="449" y="22"/>
                    </a:cubicBezTo>
                    <a:cubicBezTo>
                      <a:pt x="446" y="19"/>
                      <a:pt x="440" y="31"/>
                      <a:pt x="439" y="36"/>
                    </a:cubicBezTo>
                    <a:cubicBezTo>
                      <a:pt x="438" y="41"/>
                      <a:pt x="429" y="47"/>
                      <a:pt x="429" y="47"/>
                    </a:cubicBezTo>
                    <a:cubicBezTo>
                      <a:pt x="429" y="47"/>
                      <a:pt x="404" y="47"/>
                      <a:pt x="401" y="47"/>
                    </a:cubicBezTo>
                    <a:cubicBezTo>
                      <a:pt x="400" y="47"/>
                      <a:pt x="394" y="52"/>
                      <a:pt x="391" y="55"/>
                    </a:cubicBezTo>
                    <a:cubicBezTo>
                      <a:pt x="391" y="55"/>
                      <a:pt x="391" y="55"/>
                      <a:pt x="391" y="56"/>
                    </a:cubicBezTo>
                    <a:cubicBezTo>
                      <a:pt x="393" y="60"/>
                      <a:pt x="384" y="63"/>
                      <a:pt x="375" y="63"/>
                    </a:cubicBezTo>
                    <a:cubicBezTo>
                      <a:pt x="372" y="64"/>
                      <a:pt x="370" y="64"/>
                      <a:pt x="369" y="64"/>
                    </a:cubicBezTo>
                    <a:cubicBezTo>
                      <a:pt x="369" y="65"/>
                      <a:pt x="369" y="66"/>
                      <a:pt x="369" y="67"/>
                    </a:cubicBezTo>
                    <a:cubicBezTo>
                      <a:pt x="369" y="68"/>
                      <a:pt x="368" y="69"/>
                      <a:pt x="367" y="69"/>
                    </a:cubicBezTo>
                    <a:cubicBezTo>
                      <a:pt x="366" y="72"/>
                      <a:pt x="355" y="77"/>
                      <a:pt x="348" y="81"/>
                    </a:cubicBezTo>
                    <a:cubicBezTo>
                      <a:pt x="342" y="84"/>
                      <a:pt x="332" y="82"/>
                      <a:pt x="332" y="77"/>
                    </a:cubicBezTo>
                    <a:cubicBezTo>
                      <a:pt x="332" y="72"/>
                      <a:pt x="337" y="73"/>
                      <a:pt x="338" y="75"/>
                    </a:cubicBezTo>
                    <a:cubicBezTo>
                      <a:pt x="339" y="76"/>
                      <a:pt x="340" y="76"/>
                      <a:pt x="342" y="74"/>
                    </a:cubicBezTo>
                    <a:cubicBezTo>
                      <a:pt x="340" y="73"/>
                      <a:pt x="340" y="70"/>
                      <a:pt x="340" y="68"/>
                    </a:cubicBezTo>
                    <a:cubicBezTo>
                      <a:pt x="338" y="67"/>
                      <a:pt x="342" y="59"/>
                      <a:pt x="337" y="58"/>
                    </a:cubicBezTo>
                    <a:cubicBezTo>
                      <a:pt x="333" y="56"/>
                      <a:pt x="328" y="64"/>
                      <a:pt x="329" y="59"/>
                    </a:cubicBezTo>
                    <a:cubicBezTo>
                      <a:pt x="330" y="55"/>
                      <a:pt x="336" y="51"/>
                      <a:pt x="332" y="45"/>
                    </a:cubicBezTo>
                    <a:cubicBezTo>
                      <a:pt x="328" y="39"/>
                      <a:pt x="321" y="39"/>
                      <a:pt x="320" y="43"/>
                    </a:cubicBezTo>
                    <a:cubicBezTo>
                      <a:pt x="318" y="48"/>
                      <a:pt x="313" y="46"/>
                      <a:pt x="311" y="49"/>
                    </a:cubicBezTo>
                    <a:cubicBezTo>
                      <a:pt x="310" y="53"/>
                      <a:pt x="308" y="61"/>
                      <a:pt x="309" y="66"/>
                    </a:cubicBezTo>
                    <a:cubicBezTo>
                      <a:pt x="311" y="72"/>
                      <a:pt x="309" y="75"/>
                      <a:pt x="304" y="78"/>
                    </a:cubicBezTo>
                    <a:cubicBezTo>
                      <a:pt x="298" y="81"/>
                      <a:pt x="295" y="73"/>
                      <a:pt x="297" y="63"/>
                    </a:cubicBezTo>
                    <a:cubicBezTo>
                      <a:pt x="299" y="56"/>
                      <a:pt x="303" y="49"/>
                      <a:pt x="299" y="49"/>
                    </a:cubicBezTo>
                    <a:cubicBezTo>
                      <a:pt x="296" y="49"/>
                      <a:pt x="304" y="40"/>
                      <a:pt x="311" y="39"/>
                    </a:cubicBezTo>
                    <a:cubicBezTo>
                      <a:pt x="319" y="37"/>
                      <a:pt x="328" y="37"/>
                      <a:pt x="328" y="35"/>
                    </a:cubicBezTo>
                    <a:cubicBezTo>
                      <a:pt x="328" y="35"/>
                      <a:pt x="328" y="35"/>
                      <a:pt x="329" y="34"/>
                    </a:cubicBezTo>
                    <a:cubicBezTo>
                      <a:pt x="328" y="33"/>
                      <a:pt x="326" y="32"/>
                      <a:pt x="324" y="31"/>
                    </a:cubicBezTo>
                    <a:cubicBezTo>
                      <a:pt x="324" y="32"/>
                      <a:pt x="324" y="32"/>
                      <a:pt x="323" y="32"/>
                    </a:cubicBezTo>
                    <a:cubicBezTo>
                      <a:pt x="321" y="34"/>
                      <a:pt x="321" y="29"/>
                      <a:pt x="316" y="29"/>
                    </a:cubicBezTo>
                    <a:cubicBezTo>
                      <a:pt x="311" y="29"/>
                      <a:pt x="305" y="34"/>
                      <a:pt x="301" y="32"/>
                    </a:cubicBezTo>
                    <a:cubicBezTo>
                      <a:pt x="297" y="30"/>
                      <a:pt x="299" y="27"/>
                      <a:pt x="295" y="27"/>
                    </a:cubicBezTo>
                    <a:cubicBezTo>
                      <a:pt x="291" y="27"/>
                      <a:pt x="298" y="20"/>
                      <a:pt x="292" y="23"/>
                    </a:cubicBezTo>
                    <a:cubicBezTo>
                      <a:pt x="286" y="26"/>
                      <a:pt x="278" y="34"/>
                      <a:pt x="274" y="30"/>
                    </a:cubicBezTo>
                    <a:cubicBezTo>
                      <a:pt x="270" y="27"/>
                      <a:pt x="266" y="31"/>
                      <a:pt x="264" y="29"/>
                    </a:cubicBezTo>
                    <a:cubicBezTo>
                      <a:pt x="261" y="26"/>
                      <a:pt x="274" y="18"/>
                      <a:pt x="280" y="18"/>
                    </a:cubicBezTo>
                    <a:cubicBezTo>
                      <a:pt x="281" y="18"/>
                      <a:pt x="282" y="18"/>
                      <a:pt x="284" y="17"/>
                    </a:cubicBezTo>
                    <a:cubicBezTo>
                      <a:pt x="281" y="15"/>
                      <a:pt x="274" y="13"/>
                      <a:pt x="272" y="15"/>
                    </a:cubicBezTo>
                    <a:cubicBezTo>
                      <a:pt x="270" y="18"/>
                      <a:pt x="267" y="16"/>
                      <a:pt x="265" y="14"/>
                    </a:cubicBezTo>
                    <a:cubicBezTo>
                      <a:pt x="264" y="12"/>
                      <a:pt x="262" y="14"/>
                      <a:pt x="259" y="11"/>
                    </a:cubicBezTo>
                    <a:cubicBezTo>
                      <a:pt x="256" y="8"/>
                      <a:pt x="253" y="10"/>
                      <a:pt x="251" y="11"/>
                    </a:cubicBezTo>
                    <a:cubicBezTo>
                      <a:pt x="250" y="12"/>
                      <a:pt x="248" y="10"/>
                      <a:pt x="244" y="9"/>
                    </a:cubicBezTo>
                    <a:cubicBezTo>
                      <a:pt x="241" y="7"/>
                      <a:pt x="244" y="4"/>
                      <a:pt x="241" y="2"/>
                    </a:cubicBezTo>
                    <a:cubicBezTo>
                      <a:pt x="238" y="0"/>
                      <a:pt x="238" y="6"/>
                      <a:pt x="238" y="6"/>
                    </a:cubicBezTo>
                    <a:cubicBezTo>
                      <a:pt x="17" y="7"/>
                      <a:pt x="17" y="7"/>
                      <a:pt x="17" y="7"/>
                    </a:cubicBezTo>
                    <a:cubicBezTo>
                      <a:pt x="17" y="8"/>
                      <a:pt x="17" y="8"/>
                      <a:pt x="17" y="8"/>
                    </a:cubicBezTo>
                    <a:cubicBezTo>
                      <a:pt x="20" y="11"/>
                      <a:pt x="18" y="13"/>
                      <a:pt x="19" y="17"/>
                    </a:cubicBezTo>
                    <a:cubicBezTo>
                      <a:pt x="20" y="20"/>
                      <a:pt x="19" y="25"/>
                      <a:pt x="16" y="25"/>
                    </a:cubicBezTo>
                    <a:cubicBezTo>
                      <a:pt x="14" y="25"/>
                      <a:pt x="13" y="22"/>
                      <a:pt x="15" y="21"/>
                    </a:cubicBezTo>
                    <a:cubicBezTo>
                      <a:pt x="17" y="20"/>
                      <a:pt x="16" y="16"/>
                      <a:pt x="14" y="16"/>
                    </a:cubicBezTo>
                    <a:cubicBezTo>
                      <a:pt x="13" y="16"/>
                      <a:pt x="13" y="14"/>
                      <a:pt x="13" y="13"/>
                    </a:cubicBezTo>
                    <a:cubicBezTo>
                      <a:pt x="9" y="14"/>
                      <a:pt x="5" y="13"/>
                      <a:pt x="0" y="13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16"/>
                      <a:pt x="1" y="20"/>
                      <a:pt x="4" y="24"/>
                    </a:cubicBezTo>
                    <a:cubicBezTo>
                      <a:pt x="7" y="28"/>
                      <a:pt x="5" y="30"/>
                      <a:pt x="8" y="32"/>
                    </a:cubicBezTo>
                    <a:cubicBezTo>
                      <a:pt x="10" y="33"/>
                      <a:pt x="10" y="35"/>
                      <a:pt x="8" y="34"/>
                    </a:cubicBezTo>
                    <a:cubicBezTo>
                      <a:pt x="5" y="34"/>
                      <a:pt x="7" y="36"/>
                      <a:pt x="6" y="42"/>
                    </a:cubicBezTo>
                    <a:cubicBezTo>
                      <a:pt x="5" y="47"/>
                      <a:pt x="5" y="58"/>
                      <a:pt x="5" y="61"/>
                    </a:cubicBezTo>
                    <a:cubicBezTo>
                      <a:pt x="4" y="65"/>
                      <a:pt x="1" y="70"/>
                      <a:pt x="3" y="74"/>
                    </a:cubicBezTo>
                    <a:cubicBezTo>
                      <a:pt x="5" y="77"/>
                      <a:pt x="7" y="82"/>
                      <a:pt x="5" y="87"/>
                    </a:cubicBezTo>
                    <a:cubicBezTo>
                      <a:pt x="4" y="91"/>
                      <a:pt x="4" y="94"/>
                      <a:pt x="6" y="97"/>
                    </a:cubicBezTo>
                    <a:cubicBezTo>
                      <a:pt x="8" y="101"/>
                      <a:pt x="7" y="107"/>
                      <a:pt x="9" y="108"/>
                    </a:cubicBezTo>
                    <a:cubicBezTo>
                      <a:pt x="11" y="109"/>
                      <a:pt x="13" y="112"/>
                      <a:pt x="15" y="115"/>
                    </a:cubicBezTo>
                    <a:cubicBezTo>
                      <a:pt x="17" y="118"/>
                      <a:pt x="19" y="116"/>
                      <a:pt x="19" y="119"/>
                    </a:cubicBezTo>
                    <a:cubicBezTo>
                      <a:pt x="19" y="123"/>
                      <a:pt x="19" y="123"/>
                      <a:pt x="22" y="124"/>
                    </a:cubicBezTo>
                    <a:cubicBezTo>
                      <a:pt x="25" y="126"/>
                      <a:pt x="23" y="129"/>
                      <a:pt x="23" y="131"/>
                    </a:cubicBezTo>
                    <a:cubicBezTo>
                      <a:pt x="23" y="132"/>
                      <a:pt x="27" y="136"/>
                      <a:pt x="32" y="140"/>
                    </a:cubicBezTo>
                    <a:cubicBezTo>
                      <a:pt x="36" y="144"/>
                      <a:pt x="32" y="147"/>
                      <a:pt x="36" y="147"/>
                    </a:cubicBezTo>
                    <a:cubicBezTo>
                      <a:pt x="39" y="147"/>
                      <a:pt x="42" y="149"/>
                      <a:pt x="46" y="151"/>
                    </a:cubicBezTo>
                    <a:cubicBezTo>
                      <a:pt x="49" y="153"/>
                      <a:pt x="50" y="152"/>
                      <a:pt x="53" y="153"/>
                    </a:cubicBezTo>
                    <a:cubicBezTo>
                      <a:pt x="55" y="153"/>
                      <a:pt x="59" y="158"/>
                      <a:pt x="60" y="162"/>
                    </a:cubicBezTo>
                    <a:cubicBezTo>
                      <a:pt x="60" y="163"/>
                      <a:pt x="61" y="165"/>
                      <a:pt x="62" y="167"/>
                    </a:cubicBezTo>
                    <a:cubicBezTo>
                      <a:pt x="80" y="164"/>
                      <a:pt x="80" y="164"/>
                      <a:pt x="80" y="164"/>
                    </a:cubicBezTo>
                    <a:cubicBezTo>
                      <a:pt x="80" y="164"/>
                      <a:pt x="86" y="168"/>
                      <a:pt x="89" y="169"/>
                    </a:cubicBezTo>
                    <a:cubicBezTo>
                      <a:pt x="93" y="170"/>
                      <a:pt x="110" y="176"/>
                      <a:pt x="110" y="176"/>
                    </a:cubicBezTo>
                    <a:cubicBezTo>
                      <a:pt x="133" y="176"/>
                      <a:pt x="133" y="176"/>
                      <a:pt x="133" y="176"/>
                    </a:cubicBezTo>
                    <a:cubicBezTo>
                      <a:pt x="136" y="173"/>
                      <a:pt x="136" y="173"/>
                      <a:pt x="136" y="173"/>
                    </a:cubicBezTo>
                    <a:cubicBezTo>
                      <a:pt x="148" y="173"/>
                      <a:pt x="148" y="173"/>
                      <a:pt x="148" y="173"/>
                    </a:cubicBezTo>
                    <a:cubicBezTo>
                      <a:pt x="148" y="173"/>
                      <a:pt x="156" y="180"/>
                      <a:pt x="157" y="181"/>
                    </a:cubicBezTo>
                    <a:cubicBezTo>
                      <a:pt x="158" y="181"/>
                      <a:pt x="162" y="185"/>
                      <a:pt x="162" y="187"/>
                    </a:cubicBezTo>
                    <a:cubicBezTo>
                      <a:pt x="162" y="189"/>
                      <a:pt x="163" y="191"/>
                      <a:pt x="165" y="192"/>
                    </a:cubicBezTo>
                    <a:cubicBezTo>
                      <a:pt x="167" y="193"/>
                      <a:pt x="174" y="197"/>
                      <a:pt x="175" y="197"/>
                    </a:cubicBezTo>
                    <a:cubicBezTo>
                      <a:pt x="176" y="197"/>
                      <a:pt x="178" y="189"/>
                      <a:pt x="181" y="190"/>
                    </a:cubicBezTo>
                    <a:cubicBezTo>
                      <a:pt x="184" y="190"/>
                      <a:pt x="194" y="192"/>
                      <a:pt x="195" y="198"/>
                    </a:cubicBezTo>
                    <a:cubicBezTo>
                      <a:pt x="197" y="203"/>
                      <a:pt x="201" y="207"/>
                      <a:pt x="203" y="209"/>
                    </a:cubicBezTo>
                    <a:cubicBezTo>
                      <a:pt x="204" y="210"/>
                      <a:pt x="204" y="213"/>
                      <a:pt x="205" y="215"/>
                    </a:cubicBezTo>
                    <a:cubicBezTo>
                      <a:pt x="206" y="216"/>
                      <a:pt x="206" y="220"/>
                      <a:pt x="207" y="220"/>
                    </a:cubicBezTo>
                    <a:cubicBezTo>
                      <a:pt x="208" y="220"/>
                      <a:pt x="215" y="224"/>
                      <a:pt x="218" y="224"/>
                    </a:cubicBezTo>
                    <a:cubicBezTo>
                      <a:pt x="219" y="224"/>
                      <a:pt x="220" y="224"/>
                      <a:pt x="222" y="225"/>
                    </a:cubicBezTo>
                    <a:cubicBezTo>
                      <a:pt x="222" y="219"/>
                      <a:pt x="215" y="217"/>
                      <a:pt x="219" y="215"/>
                    </a:cubicBezTo>
                    <a:cubicBezTo>
                      <a:pt x="224" y="211"/>
                      <a:pt x="219" y="208"/>
                      <a:pt x="221" y="207"/>
                    </a:cubicBezTo>
                    <a:cubicBezTo>
                      <a:pt x="223" y="205"/>
                      <a:pt x="227" y="204"/>
                      <a:pt x="227" y="202"/>
                    </a:cubicBezTo>
                    <a:cubicBezTo>
                      <a:pt x="227" y="200"/>
                      <a:pt x="229" y="200"/>
                      <a:pt x="232" y="200"/>
                    </a:cubicBezTo>
                    <a:cubicBezTo>
                      <a:pt x="235" y="200"/>
                      <a:pt x="240" y="195"/>
                      <a:pt x="240" y="193"/>
                    </a:cubicBezTo>
                    <a:cubicBezTo>
                      <a:pt x="239" y="192"/>
                      <a:pt x="240" y="191"/>
                      <a:pt x="244" y="192"/>
                    </a:cubicBezTo>
                    <a:cubicBezTo>
                      <a:pt x="247" y="193"/>
                      <a:pt x="247" y="188"/>
                      <a:pt x="249" y="189"/>
                    </a:cubicBezTo>
                    <a:cubicBezTo>
                      <a:pt x="251" y="189"/>
                      <a:pt x="253" y="191"/>
                      <a:pt x="253" y="189"/>
                    </a:cubicBezTo>
                    <a:cubicBezTo>
                      <a:pt x="253" y="187"/>
                      <a:pt x="255" y="188"/>
                      <a:pt x="257" y="190"/>
                    </a:cubicBezTo>
                    <a:cubicBezTo>
                      <a:pt x="258" y="192"/>
                      <a:pt x="263" y="193"/>
                      <a:pt x="263" y="190"/>
                    </a:cubicBezTo>
                    <a:cubicBezTo>
                      <a:pt x="264" y="188"/>
                      <a:pt x="266" y="190"/>
                      <a:pt x="269" y="193"/>
                    </a:cubicBezTo>
                    <a:cubicBezTo>
                      <a:pt x="271" y="195"/>
                      <a:pt x="272" y="194"/>
                      <a:pt x="276" y="195"/>
                    </a:cubicBezTo>
                    <a:cubicBezTo>
                      <a:pt x="279" y="195"/>
                      <a:pt x="279" y="194"/>
                      <a:pt x="279" y="192"/>
                    </a:cubicBezTo>
                    <a:cubicBezTo>
                      <a:pt x="279" y="190"/>
                      <a:pt x="283" y="196"/>
                      <a:pt x="286" y="197"/>
                    </a:cubicBezTo>
                    <a:cubicBezTo>
                      <a:pt x="290" y="197"/>
                      <a:pt x="287" y="195"/>
                      <a:pt x="284" y="193"/>
                    </a:cubicBezTo>
                    <a:cubicBezTo>
                      <a:pt x="282" y="191"/>
                      <a:pt x="285" y="190"/>
                      <a:pt x="283" y="188"/>
                    </a:cubicBezTo>
                    <a:cubicBezTo>
                      <a:pt x="281" y="187"/>
                      <a:pt x="286" y="184"/>
                      <a:pt x="290" y="185"/>
                    </a:cubicBezTo>
                    <a:cubicBezTo>
                      <a:pt x="294" y="185"/>
                      <a:pt x="294" y="186"/>
                      <a:pt x="295" y="183"/>
                    </a:cubicBezTo>
                    <a:cubicBezTo>
                      <a:pt x="297" y="181"/>
                      <a:pt x="299" y="183"/>
                      <a:pt x="299" y="185"/>
                    </a:cubicBezTo>
                    <a:cubicBezTo>
                      <a:pt x="299" y="188"/>
                      <a:pt x="306" y="184"/>
                      <a:pt x="309" y="184"/>
                    </a:cubicBezTo>
                    <a:cubicBezTo>
                      <a:pt x="313" y="184"/>
                      <a:pt x="317" y="187"/>
                      <a:pt x="317" y="190"/>
                    </a:cubicBezTo>
                    <a:cubicBezTo>
                      <a:pt x="317" y="192"/>
                      <a:pt x="320" y="193"/>
                      <a:pt x="322" y="190"/>
                    </a:cubicBezTo>
                    <a:cubicBezTo>
                      <a:pt x="325" y="188"/>
                      <a:pt x="327" y="185"/>
                      <a:pt x="330" y="188"/>
                    </a:cubicBezTo>
                    <a:cubicBezTo>
                      <a:pt x="332" y="190"/>
                      <a:pt x="335" y="194"/>
                      <a:pt x="338" y="197"/>
                    </a:cubicBezTo>
                    <a:cubicBezTo>
                      <a:pt x="341" y="200"/>
                      <a:pt x="337" y="204"/>
                      <a:pt x="338" y="206"/>
                    </a:cubicBezTo>
                    <a:cubicBezTo>
                      <a:pt x="340" y="208"/>
                      <a:pt x="338" y="212"/>
                      <a:pt x="342" y="214"/>
                    </a:cubicBezTo>
                    <a:cubicBezTo>
                      <a:pt x="345" y="216"/>
                      <a:pt x="342" y="222"/>
                      <a:pt x="345" y="222"/>
                    </a:cubicBezTo>
                    <a:cubicBezTo>
                      <a:pt x="348" y="223"/>
                      <a:pt x="350" y="228"/>
                      <a:pt x="350" y="229"/>
                    </a:cubicBezTo>
                    <a:cubicBezTo>
                      <a:pt x="351" y="231"/>
                      <a:pt x="356" y="233"/>
                      <a:pt x="356" y="230"/>
                    </a:cubicBezTo>
                    <a:cubicBezTo>
                      <a:pt x="357" y="227"/>
                      <a:pt x="360" y="224"/>
                      <a:pt x="360" y="221"/>
                    </a:cubicBezTo>
                    <a:cubicBezTo>
                      <a:pt x="360" y="218"/>
                      <a:pt x="358" y="208"/>
                      <a:pt x="355" y="205"/>
                    </a:cubicBezTo>
                    <a:cubicBezTo>
                      <a:pt x="353" y="202"/>
                      <a:pt x="356" y="201"/>
                      <a:pt x="353" y="197"/>
                    </a:cubicBezTo>
                    <a:cubicBezTo>
                      <a:pt x="350" y="193"/>
                      <a:pt x="348" y="187"/>
                      <a:pt x="349" y="181"/>
                    </a:cubicBezTo>
                    <a:cubicBezTo>
                      <a:pt x="349" y="176"/>
                      <a:pt x="355" y="167"/>
                      <a:pt x="358" y="165"/>
                    </a:cubicBezTo>
                    <a:cubicBezTo>
                      <a:pt x="361" y="162"/>
                      <a:pt x="365" y="163"/>
                      <a:pt x="365" y="160"/>
                    </a:cubicBezTo>
                    <a:cubicBezTo>
                      <a:pt x="366" y="158"/>
                      <a:pt x="370" y="154"/>
                      <a:pt x="372" y="154"/>
                    </a:cubicBezTo>
                    <a:cubicBezTo>
                      <a:pt x="374" y="154"/>
                      <a:pt x="376" y="155"/>
                      <a:pt x="377" y="152"/>
                    </a:cubicBezTo>
                    <a:cubicBezTo>
                      <a:pt x="377" y="150"/>
                      <a:pt x="381" y="147"/>
                      <a:pt x="385" y="146"/>
                    </a:cubicBezTo>
                    <a:cubicBezTo>
                      <a:pt x="390" y="146"/>
                      <a:pt x="387" y="143"/>
                      <a:pt x="386" y="141"/>
                    </a:cubicBezTo>
                    <a:cubicBezTo>
                      <a:pt x="385" y="139"/>
                      <a:pt x="387" y="137"/>
                      <a:pt x="388" y="138"/>
                    </a:cubicBezTo>
                    <a:cubicBezTo>
                      <a:pt x="389" y="140"/>
                      <a:pt x="392" y="140"/>
                      <a:pt x="393" y="139"/>
                    </a:cubicBezTo>
                    <a:cubicBezTo>
                      <a:pt x="395" y="137"/>
                      <a:pt x="399" y="134"/>
                      <a:pt x="395" y="134"/>
                    </a:cubicBezTo>
                    <a:cubicBezTo>
                      <a:pt x="391" y="134"/>
                      <a:pt x="391" y="132"/>
                      <a:pt x="393" y="131"/>
                    </a:cubicBezTo>
                    <a:cubicBezTo>
                      <a:pt x="395" y="130"/>
                      <a:pt x="393" y="126"/>
                      <a:pt x="390" y="126"/>
                    </a:cubicBezTo>
                    <a:cubicBezTo>
                      <a:pt x="387" y="125"/>
                      <a:pt x="388" y="124"/>
                      <a:pt x="390" y="122"/>
                    </a:cubicBezTo>
                    <a:cubicBezTo>
                      <a:pt x="392" y="120"/>
                      <a:pt x="387" y="116"/>
                      <a:pt x="385" y="115"/>
                    </a:cubicBezTo>
                    <a:cubicBezTo>
                      <a:pt x="382" y="113"/>
                      <a:pt x="386" y="112"/>
                      <a:pt x="388" y="112"/>
                    </a:cubicBezTo>
                    <a:cubicBezTo>
                      <a:pt x="390" y="112"/>
                      <a:pt x="388" y="103"/>
                      <a:pt x="389" y="101"/>
                    </a:cubicBezTo>
                    <a:cubicBezTo>
                      <a:pt x="390" y="100"/>
                      <a:pt x="393" y="100"/>
                      <a:pt x="392" y="101"/>
                    </a:cubicBezTo>
                    <a:cubicBezTo>
                      <a:pt x="391" y="103"/>
                      <a:pt x="389" y="107"/>
                      <a:pt x="391" y="109"/>
                    </a:cubicBezTo>
                    <a:cubicBezTo>
                      <a:pt x="393" y="112"/>
                      <a:pt x="394" y="115"/>
                      <a:pt x="393" y="119"/>
                    </a:cubicBezTo>
                    <a:cubicBezTo>
                      <a:pt x="392" y="123"/>
                      <a:pt x="394" y="122"/>
                      <a:pt x="397" y="117"/>
                    </a:cubicBezTo>
                    <a:cubicBezTo>
                      <a:pt x="399" y="111"/>
                      <a:pt x="400" y="107"/>
                      <a:pt x="398" y="106"/>
                    </a:cubicBezTo>
                    <a:cubicBezTo>
                      <a:pt x="396" y="106"/>
                      <a:pt x="396" y="100"/>
                      <a:pt x="398" y="103"/>
                    </a:cubicBezTo>
                    <a:cubicBezTo>
                      <a:pt x="400" y="105"/>
                      <a:pt x="401" y="106"/>
                      <a:pt x="404" y="102"/>
                    </a:cubicBezTo>
                    <a:cubicBezTo>
                      <a:pt x="407" y="99"/>
                      <a:pt x="410" y="94"/>
                      <a:pt x="408" y="92"/>
                    </a:cubicBezTo>
                    <a:cubicBezTo>
                      <a:pt x="406" y="91"/>
                      <a:pt x="409" y="90"/>
                      <a:pt x="413" y="90"/>
                    </a:cubicBezTo>
                    <a:cubicBezTo>
                      <a:pt x="416" y="90"/>
                      <a:pt x="424" y="88"/>
                      <a:pt x="425" y="87"/>
                    </a:cubicBezTo>
                    <a:cubicBezTo>
                      <a:pt x="426" y="83"/>
                      <a:pt x="412" y="88"/>
                      <a:pt x="412" y="86"/>
                    </a:cubicBezTo>
                    <a:cubicBezTo>
                      <a:pt x="412" y="85"/>
                      <a:pt x="421" y="83"/>
                      <a:pt x="425" y="82"/>
                    </a:cubicBezTo>
                    <a:cubicBezTo>
                      <a:pt x="429" y="82"/>
                      <a:pt x="427" y="77"/>
                      <a:pt x="429" y="79"/>
                    </a:cubicBezTo>
                    <a:cubicBezTo>
                      <a:pt x="431" y="81"/>
                      <a:pt x="434" y="81"/>
                      <a:pt x="436" y="80"/>
                    </a:cubicBezTo>
                    <a:cubicBezTo>
                      <a:pt x="438" y="78"/>
                      <a:pt x="437" y="74"/>
                      <a:pt x="434" y="73"/>
                    </a:cubicBezTo>
                    <a:cubicBezTo>
                      <a:pt x="431" y="73"/>
                      <a:pt x="436" y="71"/>
                      <a:pt x="435" y="69"/>
                    </a:cubicBezTo>
                    <a:cubicBezTo>
                      <a:pt x="434" y="68"/>
                      <a:pt x="437" y="61"/>
                      <a:pt x="440" y="60"/>
                    </a:cubicBezTo>
                    <a:cubicBezTo>
                      <a:pt x="444" y="60"/>
                      <a:pt x="442" y="58"/>
                      <a:pt x="445" y="58"/>
                    </a:cubicBezTo>
                    <a:cubicBezTo>
                      <a:pt x="448" y="58"/>
                      <a:pt x="448" y="54"/>
                      <a:pt x="451" y="52"/>
                    </a:cubicBezTo>
                    <a:cubicBezTo>
                      <a:pt x="453" y="49"/>
                      <a:pt x="457" y="56"/>
                      <a:pt x="461" y="52"/>
                    </a:cubicBezTo>
                    <a:cubicBezTo>
                      <a:pt x="462" y="51"/>
                      <a:pt x="464" y="49"/>
                      <a:pt x="467" y="48"/>
                    </a:cubicBezTo>
                    <a:cubicBezTo>
                      <a:pt x="457" y="35"/>
                      <a:pt x="460" y="27"/>
                      <a:pt x="460" y="2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5" name="Freeform 133">
                <a:extLst>
                  <a:ext uri="{FF2B5EF4-FFF2-40B4-BE49-F238E27FC236}">
                    <a16:creationId xmlns:a16="http://schemas.microsoft.com/office/drawing/2014/main" id="{160F79A8-FA2A-4FD8-93A6-964048DEC7C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47817" y="3212745"/>
                <a:ext cx="239653" cy="170643"/>
              </a:xfrm>
              <a:custGeom>
                <a:avLst/>
                <a:gdLst>
                  <a:gd name="T0" fmla="*/ 102 w 104"/>
                  <a:gd name="T1" fmla="*/ 13 h 74"/>
                  <a:gd name="T2" fmla="*/ 94 w 104"/>
                  <a:gd name="T3" fmla="*/ 13 h 74"/>
                  <a:gd name="T4" fmla="*/ 85 w 104"/>
                  <a:gd name="T5" fmla="*/ 11 h 74"/>
                  <a:gd name="T6" fmla="*/ 81 w 104"/>
                  <a:gd name="T7" fmla="*/ 10 h 74"/>
                  <a:gd name="T8" fmla="*/ 74 w 104"/>
                  <a:gd name="T9" fmla="*/ 11 h 74"/>
                  <a:gd name="T10" fmla="*/ 67 w 104"/>
                  <a:gd name="T11" fmla="*/ 7 h 74"/>
                  <a:gd name="T12" fmla="*/ 62 w 104"/>
                  <a:gd name="T13" fmla="*/ 5 h 74"/>
                  <a:gd name="T14" fmla="*/ 48 w 104"/>
                  <a:gd name="T15" fmla="*/ 3 h 74"/>
                  <a:gd name="T16" fmla="*/ 22 w 104"/>
                  <a:gd name="T17" fmla="*/ 3 h 74"/>
                  <a:gd name="T18" fmla="*/ 12 w 104"/>
                  <a:gd name="T19" fmla="*/ 0 h 74"/>
                  <a:gd name="T20" fmla="*/ 5 w 104"/>
                  <a:gd name="T21" fmla="*/ 4 h 74"/>
                  <a:gd name="T22" fmla="*/ 3 w 104"/>
                  <a:gd name="T23" fmla="*/ 10 h 74"/>
                  <a:gd name="T24" fmla="*/ 5 w 104"/>
                  <a:gd name="T25" fmla="*/ 18 h 74"/>
                  <a:gd name="T26" fmla="*/ 7 w 104"/>
                  <a:gd name="T27" fmla="*/ 17 h 74"/>
                  <a:gd name="T28" fmla="*/ 10 w 104"/>
                  <a:gd name="T29" fmla="*/ 18 h 74"/>
                  <a:gd name="T30" fmla="*/ 15 w 104"/>
                  <a:gd name="T31" fmla="*/ 19 h 74"/>
                  <a:gd name="T32" fmla="*/ 18 w 104"/>
                  <a:gd name="T33" fmla="*/ 19 h 74"/>
                  <a:gd name="T34" fmla="*/ 23 w 104"/>
                  <a:gd name="T35" fmla="*/ 20 h 74"/>
                  <a:gd name="T36" fmla="*/ 25 w 104"/>
                  <a:gd name="T37" fmla="*/ 23 h 74"/>
                  <a:gd name="T38" fmla="*/ 20 w 104"/>
                  <a:gd name="T39" fmla="*/ 27 h 74"/>
                  <a:gd name="T40" fmla="*/ 20 w 104"/>
                  <a:gd name="T41" fmla="*/ 35 h 74"/>
                  <a:gd name="T42" fmla="*/ 19 w 104"/>
                  <a:gd name="T43" fmla="*/ 40 h 74"/>
                  <a:gd name="T44" fmla="*/ 17 w 104"/>
                  <a:gd name="T45" fmla="*/ 44 h 74"/>
                  <a:gd name="T46" fmla="*/ 19 w 104"/>
                  <a:gd name="T47" fmla="*/ 48 h 74"/>
                  <a:gd name="T48" fmla="*/ 17 w 104"/>
                  <a:gd name="T49" fmla="*/ 52 h 74"/>
                  <a:gd name="T50" fmla="*/ 19 w 104"/>
                  <a:gd name="T51" fmla="*/ 56 h 74"/>
                  <a:gd name="T52" fmla="*/ 16 w 104"/>
                  <a:gd name="T53" fmla="*/ 61 h 74"/>
                  <a:gd name="T54" fmla="*/ 17 w 104"/>
                  <a:gd name="T55" fmla="*/ 64 h 74"/>
                  <a:gd name="T56" fmla="*/ 21 w 104"/>
                  <a:gd name="T57" fmla="*/ 64 h 74"/>
                  <a:gd name="T58" fmla="*/ 31 w 104"/>
                  <a:gd name="T59" fmla="*/ 73 h 74"/>
                  <a:gd name="T60" fmla="*/ 33 w 104"/>
                  <a:gd name="T61" fmla="*/ 71 h 74"/>
                  <a:gd name="T62" fmla="*/ 37 w 104"/>
                  <a:gd name="T63" fmla="*/ 71 h 74"/>
                  <a:gd name="T64" fmla="*/ 45 w 104"/>
                  <a:gd name="T65" fmla="*/ 68 h 74"/>
                  <a:gd name="T66" fmla="*/ 55 w 104"/>
                  <a:gd name="T67" fmla="*/ 67 h 74"/>
                  <a:gd name="T68" fmla="*/ 61 w 104"/>
                  <a:gd name="T69" fmla="*/ 65 h 74"/>
                  <a:gd name="T70" fmla="*/ 67 w 104"/>
                  <a:gd name="T71" fmla="*/ 60 h 74"/>
                  <a:gd name="T72" fmla="*/ 70 w 104"/>
                  <a:gd name="T73" fmla="*/ 55 h 74"/>
                  <a:gd name="T74" fmla="*/ 76 w 104"/>
                  <a:gd name="T75" fmla="*/ 48 h 74"/>
                  <a:gd name="T76" fmla="*/ 76 w 104"/>
                  <a:gd name="T77" fmla="*/ 37 h 74"/>
                  <a:gd name="T78" fmla="*/ 83 w 104"/>
                  <a:gd name="T79" fmla="*/ 29 h 74"/>
                  <a:gd name="T80" fmla="*/ 90 w 104"/>
                  <a:gd name="T81" fmla="*/ 25 h 74"/>
                  <a:gd name="T82" fmla="*/ 99 w 104"/>
                  <a:gd name="T83" fmla="*/ 20 h 74"/>
                  <a:gd name="T84" fmla="*/ 102 w 104"/>
                  <a:gd name="T85" fmla="*/ 13 h 74"/>
                  <a:gd name="T86" fmla="*/ 103 w 104"/>
                  <a:gd name="T87" fmla="*/ 39 h 74"/>
                  <a:gd name="T88" fmla="*/ 96 w 104"/>
                  <a:gd name="T89" fmla="*/ 42 h 74"/>
                  <a:gd name="T90" fmla="*/ 103 w 104"/>
                  <a:gd name="T91" fmla="*/ 39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04" h="74">
                    <a:moveTo>
                      <a:pt x="102" y="13"/>
                    </a:moveTo>
                    <a:cubicBezTo>
                      <a:pt x="100" y="13"/>
                      <a:pt x="96" y="14"/>
                      <a:pt x="94" y="13"/>
                    </a:cubicBezTo>
                    <a:cubicBezTo>
                      <a:pt x="92" y="13"/>
                      <a:pt x="86" y="12"/>
                      <a:pt x="85" y="11"/>
                    </a:cubicBezTo>
                    <a:cubicBezTo>
                      <a:pt x="83" y="9"/>
                      <a:pt x="81" y="8"/>
                      <a:pt x="81" y="10"/>
                    </a:cubicBezTo>
                    <a:cubicBezTo>
                      <a:pt x="81" y="12"/>
                      <a:pt x="77" y="12"/>
                      <a:pt x="74" y="11"/>
                    </a:cubicBezTo>
                    <a:cubicBezTo>
                      <a:pt x="72" y="9"/>
                      <a:pt x="68" y="8"/>
                      <a:pt x="67" y="7"/>
                    </a:cubicBezTo>
                    <a:cubicBezTo>
                      <a:pt x="66" y="6"/>
                      <a:pt x="64" y="5"/>
                      <a:pt x="62" y="5"/>
                    </a:cubicBezTo>
                    <a:cubicBezTo>
                      <a:pt x="60" y="5"/>
                      <a:pt x="53" y="2"/>
                      <a:pt x="48" y="3"/>
                    </a:cubicBezTo>
                    <a:cubicBezTo>
                      <a:pt x="43" y="4"/>
                      <a:pt x="28" y="2"/>
                      <a:pt x="22" y="3"/>
                    </a:cubicBezTo>
                    <a:cubicBezTo>
                      <a:pt x="16" y="3"/>
                      <a:pt x="15" y="0"/>
                      <a:pt x="12" y="0"/>
                    </a:cubicBezTo>
                    <a:cubicBezTo>
                      <a:pt x="9" y="0"/>
                      <a:pt x="10" y="4"/>
                      <a:pt x="5" y="4"/>
                    </a:cubicBezTo>
                    <a:cubicBezTo>
                      <a:pt x="1" y="5"/>
                      <a:pt x="0" y="8"/>
                      <a:pt x="3" y="10"/>
                    </a:cubicBezTo>
                    <a:cubicBezTo>
                      <a:pt x="5" y="12"/>
                      <a:pt x="5" y="15"/>
                      <a:pt x="5" y="18"/>
                    </a:cubicBezTo>
                    <a:cubicBezTo>
                      <a:pt x="6" y="18"/>
                      <a:pt x="7" y="18"/>
                      <a:pt x="7" y="17"/>
                    </a:cubicBezTo>
                    <a:cubicBezTo>
                      <a:pt x="9" y="16"/>
                      <a:pt x="10" y="16"/>
                      <a:pt x="10" y="18"/>
                    </a:cubicBezTo>
                    <a:cubicBezTo>
                      <a:pt x="10" y="19"/>
                      <a:pt x="13" y="19"/>
                      <a:pt x="15" y="19"/>
                    </a:cubicBezTo>
                    <a:cubicBezTo>
                      <a:pt x="17" y="19"/>
                      <a:pt x="16" y="20"/>
                      <a:pt x="18" y="19"/>
                    </a:cubicBezTo>
                    <a:cubicBezTo>
                      <a:pt x="20" y="17"/>
                      <a:pt x="23" y="18"/>
                      <a:pt x="23" y="20"/>
                    </a:cubicBezTo>
                    <a:cubicBezTo>
                      <a:pt x="23" y="21"/>
                      <a:pt x="27" y="20"/>
                      <a:pt x="25" y="23"/>
                    </a:cubicBezTo>
                    <a:cubicBezTo>
                      <a:pt x="23" y="25"/>
                      <a:pt x="20" y="26"/>
                      <a:pt x="20" y="27"/>
                    </a:cubicBezTo>
                    <a:cubicBezTo>
                      <a:pt x="20" y="29"/>
                      <a:pt x="22" y="33"/>
                      <a:pt x="20" y="35"/>
                    </a:cubicBezTo>
                    <a:cubicBezTo>
                      <a:pt x="18" y="37"/>
                      <a:pt x="21" y="40"/>
                      <a:pt x="19" y="40"/>
                    </a:cubicBezTo>
                    <a:cubicBezTo>
                      <a:pt x="17" y="40"/>
                      <a:pt x="15" y="41"/>
                      <a:pt x="17" y="44"/>
                    </a:cubicBezTo>
                    <a:cubicBezTo>
                      <a:pt x="19" y="46"/>
                      <a:pt x="21" y="48"/>
                      <a:pt x="19" y="48"/>
                    </a:cubicBezTo>
                    <a:cubicBezTo>
                      <a:pt x="17" y="48"/>
                      <a:pt x="16" y="51"/>
                      <a:pt x="17" y="52"/>
                    </a:cubicBezTo>
                    <a:cubicBezTo>
                      <a:pt x="18" y="53"/>
                      <a:pt x="22" y="56"/>
                      <a:pt x="19" y="56"/>
                    </a:cubicBezTo>
                    <a:cubicBezTo>
                      <a:pt x="16" y="57"/>
                      <a:pt x="16" y="59"/>
                      <a:pt x="16" y="61"/>
                    </a:cubicBezTo>
                    <a:cubicBezTo>
                      <a:pt x="16" y="62"/>
                      <a:pt x="16" y="63"/>
                      <a:pt x="17" y="64"/>
                    </a:cubicBezTo>
                    <a:cubicBezTo>
                      <a:pt x="18" y="64"/>
                      <a:pt x="20" y="64"/>
                      <a:pt x="21" y="64"/>
                    </a:cubicBezTo>
                    <a:cubicBezTo>
                      <a:pt x="25" y="66"/>
                      <a:pt x="26" y="74"/>
                      <a:pt x="31" y="73"/>
                    </a:cubicBezTo>
                    <a:cubicBezTo>
                      <a:pt x="33" y="73"/>
                      <a:pt x="32" y="72"/>
                      <a:pt x="33" y="71"/>
                    </a:cubicBezTo>
                    <a:cubicBezTo>
                      <a:pt x="34" y="70"/>
                      <a:pt x="36" y="71"/>
                      <a:pt x="37" y="71"/>
                    </a:cubicBezTo>
                    <a:cubicBezTo>
                      <a:pt x="39" y="71"/>
                      <a:pt x="40" y="68"/>
                      <a:pt x="45" y="68"/>
                    </a:cubicBezTo>
                    <a:cubicBezTo>
                      <a:pt x="49" y="68"/>
                      <a:pt x="52" y="67"/>
                      <a:pt x="55" y="67"/>
                    </a:cubicBezTo>
                    <a:cubicBezTo>
                      <a:pt x="58" y="67"/>
                      <a:pt x="60" y="67"/>
                      <a:pt x="61" y="65"/>
                    </a:cubicBezTo>
                    <a:cubicBezTo>
                      <a:pt x="62" y="62"/>
                      <a:pt x="64" y="61"/>
                      <a:pt x="67" y="60"/>
                    </a:cubicBezTo>
                    <a:cubicBezTo>
                      <a:pt x="70" y="60"/>
                      <a:pt x="70" y="56"/>
                      <a:pt x="70" y="55"/>
                    </a:cubicBezTo>
                    <a:cubicBezTo>
                      <a:pt x="70" y="53"/>
                      <a:pt x="76" y="50"/>
                      <a:pt x="76" y="48"/>
                    </a:cubicBezTo>
                    <a:cubicBezTo>
                      <a:pt x="76" y="47"/>
                      <a:pt x="73" y="41"/>
                      <a:pt x="76" y="37"/>
                    </a:cubicBezTo>
                    <a:cubicBezTo>
                      <a:pt x="79" y="32"/>
                      <a:pt x="83" y="31"/>
                      <a:pt x="83" y="29"/>
                    </a:cubicBezTo>
                    <a:cubicBezTo>
                      <a:pt x="83" y="26"/>
                      <a:pt x="86" y="25"/>
                      <a:pt x="90" y="25"/>
                    </a:cubicBezTo>
                    <a:cubicBezTo>
                      <a:pt x="94" y="24"/>
                      <a:pt x="96" y="22"/>
                      <a:pt x="99" y="20"/>
                    </a:cubicBezTo>
                    <a:cubicBezTo>
                      <a:pt x="102" y="19"/>
                      <a:pt x="103" y="17"/>
                      <a:pt x="102" y="13"/>
                    </a:cubicBezTo>
                    <a:close/>
                    <a:moveTo>
                      <a:pt x="103" y="39"/>
                    </a:moveTo>
                    <a:cubicBezTo>
                      <a:pt x="103" y="35"/>
                      <a:pt x="94" y="41"/>
                      <a:pt x="96" y="42"/>
                    </a:cubicBezTo>
                    <a:cubicBezTo>
                      <a:pt x="100" y="44"/>
                      <a:pt x="104" y="43"/>
                      <a:pt x="103" y="3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6" name="Freeform 134">
                <a:extLst>
                  <a:ext uri="{FF2B5EF4-FFF2-40B4-BE49-F238E27FC236}">
                    <a16:creationId xmlns:a16="http://schemas.microsoft.com/office/drawing/2014/main" id="{6A00554E-8FCA-46B9-B6EA-AA3F52C767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63131" y="3138716"/>
                <a:ext cx="61482" cy="37642"/>
              </a:xfrm>
              <a:custGeom>
                <a:avLst/>
                <a:gdLst>
                  <a:gd name="T0" fmla="*/ 0 w 27"/>
                  <a:gd name="T1" fmla="*/ 14 h 16"/>
                  <a:gd name="T2" fmla="*/ 5 w 27"/>
                  <a:gd name="T3" fmla="*/ 13 h 16"/>
                  <a:gd name="T4" fmla="*/ 7 w 27"/>
                  <a:gd name="T5" fmla="*/ 15 h 16"/>
                  <a:gd name="T6" fmla="*/ 12 w 27"/>
                  <a:gd name="T7" fmla="*/ 14 h 16"/>
                  <a:gd name="T8" fmla="*/ 17 w 27"/>
                  <a:gd name="T9" fmla="*/ 15 h 16"/>
                  <a:gd name="T10" fmla="*/ 20 w 27"/>
                  <a:gd name="T11" fmla="*/ 11 h 16"/>
                  <a:gd name="T12" fmla="*/ 22 w 27"/>
                  <a:gd name="T13" fmla="*/ 7 h 16"/>
                  <a:gd name="T14" fmla="*/ 27 w 27"/>
                  <a:gd name="T15" fmla="*/ 4 h 16"/>
                  <a:gd name="T16" fmla="*/ 25 w 27"/>
                  <a:gd name="T17" fmla="*/ 1 h 16"/>
                  <a:gd name="T18" fmla="*/ 20 w 27"/>
                  <a:gd name="T19" fmla="*/ 2 h 16"/>
                  <a:gd name="T20" fmla="*/ 13 w 27"/>
                  <a:gd name="T21" fmla="*/ 5 h 16"/>
                  <a:gd name="T22" fmla="*/ 4 w 27"/>
                  <a:gd name="T23" fmla="*/ 3 h 16"/>
                  <a:gd name="T24" fmla="*/ 0 w 27"/>
                  <a:gd name="T25" fmla="*/ 3 h 16"/>
                  <a:gd name="T26" fmla="*/ 0 w 27"/>
                  <a:gd name="T27" fmla="*/ 14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7" h="16">
                    <a:moveTo>
                      <a:pt x="0" y="14"/>
                    </a:moveTo>
                    <a:cubicBezTo>
                      <a:pt x="2" y="13"/>
                      <a:pt x="4" y="13"/>
                      <a:pt x="5" y="13"/>
                    </a:cubicBezTo>
                    <a:cubicBezTo>
                      <a:pt x="6" y="13"/>
                      <a:pt x="6" y="14"/>
                      <a:pt x="7" y="15"/>
                    </a:cubicBezTo>
                    <a:cubicBezTo>
                      <a:pt x="8" y="15"/>
                      <a:pt x="11" y="15"/>
                      <a:pt x="12" y="14"/>
                    </a:cubicBezTo>
                    <a:cubicBezTo>
                      <a:pt x="14" y="14"/>
                      <a:pt x="17" y="16"/>
                      <a:pt x="17" y="15"/>
                    </a:cubicBezTo>
                    <a:cubicBezTo>
                      <a:pt x="18" y="13"/>
                      <a:pt x="19" y="11"/>
                      <a:pt x="20" y="11"/>
                    </a:cubicBezTo>
                    <a:cubicBezTo>
                      <a:pt x="21" y="11"/>
                      <a:pt x="21" y="7"/>
                      <a:pt x="22" y="7"/>
                    </a:cubicBezTo>
                    <a:cubicBezTo>
                      <a:pt x="23" y="7"/>
                      <a:pt x="27" y="4"/>
                      <a:pt x="27" y="4"/>
                    </a:cubicBezTo>
                    <a:cubicBezTo>
                      <a:pt x="27" y="4"/>
                      <a:pt x="26" y="1"/>
                      <a:pt x="25" y="1"/>
                    </a:cubicBezTo>
                    <a:cubicBezTo>
                      <a:pt x="25" y="0"/>
                      <a:pt x="23" y="2"/>
                      <a:pt x="20" y="2"/>
                    </a:cubicBezTo>
                    <a:cubicBezTo>
                      <a:pt x="16" y="2"/>
                      <a:pt x="14" y="5"/>
                      <a:pt x="13" y="5"/>
                    </a:cubicBezTo>
                    <a:cubicBezTo>
                      <a:pt x="11" y="5"/>
                      <a:pt x="7" y="3"/>
                      <a:pt x="4" y="3"/>
                    </a:cubicBezTo>
                    <a:cubicBezTo>
                      <a:pt x="3" y="3"/>
                      <a:pt x="1" y="3"/>
                      <a:pt x="0" y="3"/>
                    </a:cubicBezTo>
                    <a:cubicBezTo>
                      <a:pt x="0" y="6"/>
                      <a:pt x="0" y="10"/>
                      <a:pt x="0" y="14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7" name="Freeform 135">
                <a:extLst>
                  <a:ext uri="{FF2B5EF4-FFF2-40B4-BE49-F238E27FC236}">
                    <a16:creationId xmlns:a16="http://schemas.microsoft.com/office/drawing/2014/main" id="{F927DA4D-607F-403D-80DF-724738CD1C1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91113" y="3259170"/>
                <a:ext cx="117944" cy="144293"/>
              </a:xfrm>
              <a:custGeom>
                <a:avLst/>
                <a:gdLst>
                  <a:gd name="T0" fmla="*/ 50 w 51"/>
                  <a:gd name="T1" fmla="*/ 0 h 63"/>
                  <a:gd name="T2" fmla="*/ 46 w 51"/>
                  <a:gd name="T3" fmla="*/ 1 h 63"/>
                  <a:gd name="T4" fmla="*/ 43 w 51"/>
                  <a:gd name="T5" fmla="*/ 3 h 63"/>
                  <a:gd name="T6" fmla="*/ 34 w 51"/>
                  <a:gd name="T7" fmla="*/ 2 h 63"/>
                  <a:gd name="T8" fmla="*/ 24 w 51"/>
                  <a:gd name="T9" fmla="*/ 2 h 63"/>
                  <a:gd name="T10" fmla="*/ 23 w 51"/>
                  <a:gd name="T11" fmla="*/ 2 h 63"/>
                  <a:gd name="T12" fmla="*/ 16 w 51"/>
                  <a:gd name="T13" fmla="*/ 6 h 63"/>
                  <a:gd name="T14" fmla="*/ 12 w 51"/>
                  <a:gd name="T15" fmla="*/ 8 h 63"/>
                  <a:gd name="T16" fmla="*/ 7 w 51"/>
                  <a:gd name="T17" fmla="*/ 9 h 63"/>
                  <a:gd name="T18" fmla="*/ 4 w 51"/>
                  <a:gd name="T19" fmla="*/ 13 h 63"/>
                  <a:gd name="T20" fmla="*/ 2 w 51"/>
                  <a:gd name="T21" fmla="*/ 16 h 63"/>
                  <a:gd name="T22" fmla="*/ 0 w 51"/>
                  <a:gd name="T23" fmla="*/ 21 h 63"/>
                  <a:gd name="T24" fmla="*/ 0 w 51"/>
                  <a:gd name="T25" fmla="*/ 21 h 63"/>
                  <a:gd name="T26" fmla="*/ 4 w 51"/>
                  <a:gd name="T27" fmla="*/ 28 h 63"/>
                  <a:gd name="T28" fmla="*/ 10 w 51"/>
                  <a:gd name="T29" fmla="*/ 30 h 63"/>
                  <a:gd name="T30" fmla="*/ 17 w 51"/>
                  <a:gd name="T31" fmla="*/ 32 h 63"/>
                  <a:gd name="T32" fmla="*/ 9 w 51"/>
                  <a:gd name="T33" fmla="*/ 33 h 63"/>
                  <a:gd name="T34" fmla="*/ 10 w 51"/>
                  <a:gd name="T35" fmla="*/ 40 h 63"/>
                  <a:gd name="T36" fmla="*/ 14 w 51"/>
                  <a:gd name="T37" fmla="*/ 45 h 63"/>
                  <a:gd name="T38" fmla="*/ 22 w 51"/>
                  <a:gd name="T39" fmla="*/ 49 h 63"/>
                  <a:gd name="T40" fmla="*/ 20 w 51"/>
                  <a:gd name="T41" fmla="*/ 41 h 63"/>
                  <a:gd name="T42" fmla="*/ 26 w 51"/>
                  <a:gd name="T43" fmla="*/ 40 h 63"/>
                  <a:gd name="T44" fmla="*/ 22 w 51"/>
                  <a:gd name="T45" fmla="*/ 37 h 63"/>
                  <a:gd name="T46" fmla="*/ 25 w 51"/>
                  <a:gd name="T47" fmla="*/ 36 h 63"/>
                  <a:gd name="T48" fmla="*/ 31 w 51"/>
                  <a:gd name="T49" fmla="*/ 35 h 63"/>
                  <a:gd name="T50" fmla="*/ 28 w 51"/>
                  <a:gd name="T51" fmla="*/ 28 h 63"/>
                  <a:gd name="T52" fmla="*/ 22 w 51"/>
                  <a:gd name="T53" fmla="*/ 29 h 63"/>
                  <a:gd name="T54" fmla="*/ 24 w 51"/>
                  <a:gd name="T55" fmla="*/ 24 h 63"/>
                  <a:gd name="T56" fmla="*/ 18 w 51"/>
                  <a:gd name="T57" fmla="*/ 15 h 63"/>
                  <a:gd name="T58" fmla="*/ 22 w 51"/>
                  <a:gd name="T59" fmla="*/ 13 h 63"/>
                  <a:gd name="T60" fmla="*/ 28 w 51"/>
                  <a:gd name="T61" fmla="*/ 14 h 63"/>
                  <a:gd name="T62" fmla="*/ 30 w 51"/>
                  <a:gd name="T63" fmla="*/ 8 h 63"/>
                  <a:gd name="T64" fmla="*/ 35 w 51"/>
                  <a:gd name="T65" fmla="*/ 10 h 63"/>
                  <a:gd name="T66" fmla="*/ 41 w 51"/>
                  <a:gd name="T67" fmla="*/ 7 h 63"/>
                  <a:gd name="T68" fmla="*/ 46 w 51"/>
                  <a:gd name="T69" fmla="*/ 9 h 63"/>
                  <a:gd name="T70" fmla="*/ 48 w 51"/>
                  <a:gd name="T71" fmla="*/ 6 h 63"/>
                  <a:gd name="T72" fmla="*/ 51 w 51"/>
                  <a:gd name="T73" fmla="*/ 3 h 63"/>
                  <a:gd name="T74" fmla="*/ 50 w 51"/>
                  <a:gd name="T75" fmla="*/ 0 h 63"/>
                  <a:gd name="T76" fmla="*/ 43 w 51"/>
                  <a:gd name="T77" fmla="*/ 59 h 63"/>
                  <a:gd name="T78" fmla="*/ 30 w 51"/>
                  <a:gd name="T79" fmla="*/ 58 h 63"/>
                  <a:gd name="T80" fmla="*/ 26 w 51"/>
                  <a:gd name="T81" fmla="*/ 60 h 63"/>
                  <a:gd name="T82" fmla="*/ 37 w 51"/>
                  <a:gd name="T83" fmla="*/ 63 h 63"/>
                  <a:gd name="T84" fmla="*/ 48 w 51"/>
                  <a:gd name="T85" fmla="*/ 60 h 63"/>
                  <a:gd name="T86" fmla="*/ 43 w 51"/>
                  <a:gd name="T87" fmla="*/ 59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51" h="63">
                    <a:moveTo>
                      <a:pt x="50" y="0"/>
                    </a:moveTo>
                    <a:cubicBezTo>
                      <a:pt x="48" y="0"/>
                      <a:pt x="46" y="0"/>
                      <a:pt x="46" y="1"/>
                    </a:cubicBezTo>
                    <a:cubicBezTo>
                      <a:pt x="47" y="3"/>
                      <a:pt x="45" y="3"/>
                      <a:pt x="43" y="3"/>
                    </a:cubicBezTo>
                    <a:cubicBezTo>
                      <a:pt x="43" y="3"/>
                      <a:pt x="36" y="3"/>
                      <a:pt x="34" y="2"/>
                    </a:cubicBezTo>
                    <a:cubicBezTo>
                      <a:pt x="33" y="1"/>
                      <a:pt x="27" y="1"/>
                      <a:pt x="24" y="2"/>
                    </a:cubicBezTo>
                    <a:cubicBezTo>
                      <a:pt x="24" y="2"/>
                      <a:pt x="24" y="2"/>
                      <a:pt x="23" y="2"/>
                    </a:cubicBezTo>
                    <a:cubicBezTo>
                      <a:pt x="23" y="3"/>
                      <a:pt x="17" y="6"/>
                      <a:pt x="16" y="6"/>
                    </a:cubicBezTo>
                    <a:cubicBezTo>
                      <a:pt x="15" y="5"/>
                      <a:pt x="14" y="7"/>
                      <a:pt x="12" y="8"/>
                    </a:cubicBezTo>
                    <a:cubicBezTo>
                      <a:pt x="10" y="8"/>
                      <a:pt x="7" y="8"/>
                      <a:pt x="7" y="9"/>
                    </a:cubicBezTo>
                    <a:cubicBezTo>
                      <a:pt x="7" y="9"/>
                      <a:pt x="5" y="12"/>
                      <a:pt x="4" y="13"/>
                    </a:cubicBezTo>
                    <a:cubicBezTo>
                      <a:pt x="3" y="14"/>
                      <a:pt x="4" y="16"/>
                      <a:pt x="2" y="16"/>
                    </a:cubicBezTo>
                    <a:cubicBezTo>
                      <a:pt x="1" y="16"/>
                      <a:pt x="0" y="19"/>
                      <a:pt x="0" y="21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3" y="22"/>
                      <a:pt x="5" y="25"/>
                      <a:pt x="4" y="28"/>
                    </a:cubicBezTo>
                    <a:cubicBezTo>
                      <a:pt x="4" y="31"/>
                      <a:pt x="8" y="32"/>
                      <a:pt x="10" y="30"/>
                    </a:cubicBezTo>
                    <a:cubicBezTo>
                      <a:pt x="12" y="27"/>
                      <a:pt x="17" y="31"/>
                      <a:pt x="17" y="32"/>
                    </a:cubicBezTo>
                    <a:cubicBezTo>
                      <a:pt x="17" y="34"/>
                      <a:pt x="12" y="31"/>
                      <a:pt x="9" y="33"/>
                    </a:cubicBezTo>
                    <a:cubicBezTo>
                      <a:pt x="6" y="35"/>
                      <a:pt x="11" y="37"/>
                      <a:pt x="10" y="40"/>
                    </a:cubicBezTo>
                    <a:cubicBezTo>
                      <a:pt x="10" y="42"/>
                      <a:pt x="12" y="45"/>
                      <a:pt x="14" y="45"/>
                    </a:cubicBezTo>
                    <a:cubicBezTo>
                      <a:pt x="17" y="45"/>
                      <a:pt x="20" y="50"/>
                      <a:pt x="22" y="49"/>
                    </a:cubicBezTo>
                    <a:cubicBezTo>
                      <a:pt x="24" y="48"/>
                      <a:pt x="20" y="42"/>
                      <a:pt x="20" y="41"/>
                    </a:cubicBezTo>
                    <a:cubicBezTo>
                      <a:pt x="21" y="40"/>
                      <a:pt x="24" y="42"/>
                      <a:pt x="26" y="40"/>
                    </a:cubicBezTo>
                    <a:cubicBezTo>
                      <a:pt x="28" y="39"/>
                      <a:pt x="25" y="37"/>
                      <a:pt x="22" y="37"/>
                    </a:cubicBezTo>
                    <a:cubicBezTo>
                      <a:pt x="20" y="37"/>
                      <a:pt x="22" y="34"/>
                      <a:pt x="25" y="36"/>
                    </a:cubicBezTo>
                    <a:cubicBezTo>
                      <a:pt x="28" y="37"/>
                      <a:pt x="30" y="35"/>
                      <a:pt x="31" y="35"/>
                    </a:cubicBezTo>
                    <a:cubicBezTo>
                      <a:pt x="32" y="35"/>
                      <a:pt x="33" y="30"/>
                      <a:pt x="28" y="28"/>
                    </a:cubicBezTo>
                    <a:cubicBezTo>
                      <a:pt x="24" y="27"/>
                      <a:pt x="25" y="32"/>
                      <a:pt x="22" y="29"/>
                    </a:cubicBezTo>
                    <a:cubicBezTo>
                      <a:pt x="19" y="26"/>
                      <a:pt x="24" y="27"/>
                      <a:pt x="24" y="24"/>
                    </a:cubicBezTo>
                    <a:cubicBezTo>
                      <a:pt x="24" y="22"/>
                      <a:pt x="20" y="18"/>
                      <a:pt x="18" y="15"/>
                    </a:cubicBezTo>
                    <a:cubicBezTo>
                      <a:pt x="16" y="12"/>
                      <a:pt x="21" y="11"/>
                      <a:pt x="22" y="13"/>
                    </a:cubicBezTo>
                    <a:cubicBezTo>
                      <a:pt x="23" y="15"/>
                      <a:pt x="26" y="15"/>
                      <a:pt x="28" y="14"/>
                    </a:cubicBezTo>
                    <a:cubicBezTo>
                      <a:pt x="30" y="13"/>
                      <a:pt x="26" y="9"/>
                      <a:pt x="30" y="8"/>
                    </a:cubicBezTo>
                    <a:cubicBezTo>
                      <a:pt x="34" y="7"/>
                      <a:pt x="34" y="9"/>
                      <a:pt x="35" y="10"/>
                    </a:cubicBezTo>
                    <a:cubicBezTo>
                      <a:pt x="36" y="10"/>
                      <a:pt x="37" y="7"/>
                      <a:pt x="41" y="7"/>
                    </a:cubicBezTo>
                    <a:cubicBezTo>
                      <a:pt x="43" y="7"/>
                      <a:pt x="45" y="8"/>
                      <a:pt x="46" y="9"/>
                    </a:cubicBezTo>
                    <a:cubicBezTo>
                      <a:pt x="47" y="8"/>
                      <a:pt x="48" y="7"/>
                      <a:pt x="48" y="6"/>
                    </a:cubicBezTo>
                    <a:cubicBezTo>
                      <a:pt x="48" y="5"/>
                      <a:pt x="51" y="5"/>
                      <a:pt x="51" y="3"/>
                    </a:cubicBezTo>
                    <a:cubicBezTo>
                      <a:pt x="51" y="2"/>
                      <a:pt x="50" y="1"/>
                      <a:pt x="50" y="0"/>
                    </a:cubicBezTo>
                    <a:close/>
                    <a:moveTo>
                      <a:pt x="43" y="59"/>
                    </a:moveTo>
                    <a:cubicBezTo>
                      <a:pt x="41" y="58"/>
                      <a:pt x="33" y="60"/>
                      <a:pt x="30" y="58"/>
                    </a:cubicBezTo>
                    <a:cubicBezTo>
                      <a:pt x="28" y="56"/>
                      <a:pt x="24" y="60"/>
                      <a:pt x="26" y="60"/>
                    </a:cubicBezTo>
                    <a:cubicBezTo>
                      <a:pt x="28" y="61"/>
                      <a:pt x="33" y="63"/>
                      <a:pt x="37" y="63"/>
                    </a:cubicBezTo>
                    <a:cubicBezTo>
                      <a:pt x="42" y="63"/>
                      <a:pt x="48" y="61"/>
                      <a:pt x="48" y="60"/>
                    </a:cubicBezTo>
                    <a:cubicBezTo>
                      <a:pt x="48" y="59"/>
                      <a:pt x="45" y="61"/>
                      <a:pt x="43" y="5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8" name="Freeform 136">
                <a:extLst>
                  <a:ext uri="{FF2B5EF4-FFF2-40B4-BE49-F238E27FC236}">
                    <a16:creationId xmlns:a16="http://schemas.microsoft.com/office/drawing/2014/main" id="{8CFF5FC1-29C9-45FF-A044-EF75EEA746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8181" y="3385897"/>
                <a:ext cx="48934" cy="30113"/>
              </a:xfrm>
              <a:custGeom>
                <a:avLst/>
                <a:gdLst>
                  <a:gd name="T0" fmla="*/ 14 w 21"/>
                  <a:gd name="T1" fmla="*/ 8 h 13"/>
                  <a:gd name="T2" fmla="*/ 19 w 21"/>
                  <a:gd name="T3" fmla="*/ 3 h 13"/>
                  <a:gd name="T4" fmla="*/ 19 w 21"/>
                  <a:gd name="T5" fmla="*/ 1 h 13"/>
                  <a:gd name="T6" fmla="*/ 7 w 21"/>
                  <a:gd name="T7" fmla="*/ 5 h 13"/>
                  <a:gd name="T8" fmla="*/ 4 w 21"/>
                  <a:gd name="T9" fmla="*/ 10 h 13"/>
                  <a:gd name="T10" fmla="*/ 14 w 21"/>
                  <a:gd name="T11" fmla="*/ 8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1" h="13">
                    <a:moveTo>
                      <a:pt x="14" y="8"/>
                    </a:moveTo>
                    <a:cubicBezTo>
                      <a:pt x="14" y="7"/>
                      <a:pt x="16" y="4"/>
                      <a:pt x="19" y="3"/>
                    </a:cubicBezTo>
                    <a:cubicBezTo>
                      <a:pt x="21" y="2"/>
                      <a:pt x="20" y="0"/>
                      <a:pt x="19" y="1"/>
                    </a:cubicBezTo>
                    <a:cubicBezTo>
                      <a:pt x="17" y="3"/>
                      <a:pt x="13" y="4"/>
                      <a:pt x="7" y="5"/>
                    </a:cubicBezTo>
                    <a:cubicBezTo>
                      <a:pt x="2" y="5"/>
                      <a:pt x="0" y="8"/>
                      <a:pt x="4" y="10"/>
                    </a:cubicBezTo>
                    <a:cubicBezTo>
                      <a:pt x="8" y="13"/>
                      <a:pt x="15" y="9"/>
                      <a:pt x="14" y="8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9" name="Freeform 137">
                <a:extLst>
                  <a:ext uri="{FF2B5EF4-FFF2-40B4-BE49-F238E27FC236}">
                    <a16:creationId xmlns:a16="http://schemas.microsoft.com/office/drawing/2014/main" id="{45733734-1382-49B3-B225-B3C64C2FC5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73032" y="2610477"/>
                <a:ext cx="198247" cy="99123"/>
              </a:xfrm>
              <a:custGeom>
                <a:avLst/>
                <a:gdLst>
                  <a:gd name="T0" fmla="*/ 72 w 86"/>
                  <a:gd name="T1" fmla="*/ 31 h 43"/>
                  <a:gd name="T2" fmla="*/ 79 w 86"/>
                  <a:gd name="T3" fmla="*/ 26 h 43"/>
                  <a:gd name="T4" fmla="*/ 85 w 86"/>
                  <a:gd name="T5" fmla="*/ 20 h 43"/>
                  <a:gd name="T6" fmla="*/ 81 w 86"/>
                  <a:gd name="T7" fmla="*/ 13 h 43"/>
                  <a:gd name="T8" fmla="*/ 76 w 86"/>
                  <a:gd name="T9" fmla="*/ 9 h 43"/>
                  <a:gd name="T10" fmla="*/ 75 w 86"/>
                  <a:gd name="T11" fmla="*/ 4 h 43"/>
                  <a:gd name="T12" fmla="*/ 69 w 86"/>
                  <a:gd name="T13" fmla="*/ 4 h 43"/>
                  <a:gd name="T14" fmla="*/ 62 w 86"/>
                  <a:gd name="T15" fmla="*/ 1 h 43"/>
                  <a:gd name="T16" fmla="*/ 61 w 86"/>
                  <a:gd name="T17" fmla="*/ 6 h 43"/>
                  <a:gd name="T18" fmla="*/ 56 w 86"/>
                  <a:gd name="T19" fmla="*/ 6 h 43"/>
                  <a:gd name="T20" fmla="*/ 53 w 86"/>
                  <a:gd name="T21" fmla="*/ 6 h 43"/>
                  <a:gd name="T22" fmla="*/ 48 w 86"/>
                  <a:gd name="T23" fmla="*/ 7 h 43"/>
                  <a:gd name="T24" fmla="*/ 44 w 86"/>
                  <a:gd name="T25" fmla="*/ 5 h 43"/>
                  <a:gd name="T26" fmla="*/ 39 w 86"/>
                  <a:gd name="T27" fmla="*/ 9 h 43"/>
                  <a:gd name="T28" fmla="*/ 35 w 86"/>
                  <a:gd name="T29" fmla="*/ 7 h 43"/>
                  <a:gd name="T30" fmla="*/ 32 w 86"/>
                  <a:gd name="T31" fmla="*/ 10 h 43"/>
                  <a:gd name="T32" fmla="*/ 31 w 86"/>
                  <a:gd name="T33" fmla="*/ 14 h 43"/>
                  <a:gd name="T34" fmla="*/ 25 w 86"/>
                  <a:gd name="T35" fmla="*/ 16 h 43"/>
                  <a:gd name="T36" fmla="*/ 23 w 86"/>
                  <a:gd name="T37" fmla="*/ 10 h 43"/>
                  <a:gd name="T38" fmla="*/ 11 w 86"/>
                  <a:gd name="T39" fmla="*/ 2 h 43"/>
                  <a:gd name="T40" fmla="*/ 12 w 86"/>
                  <a:gd name="T41" fmla="*/ 6 h 43"/>
                  <a:gd name="T42" fmla="*/ 9 w 86"/>
                  <a:gd name="T43" fmla="*/ 6 h 43"/>
                  <a:gd name="T44" fmla="*/ 4 w 86"/>
                  <a:gd name="T45" fmla="*/ 8 h 43"/>
                  <a:gd name="T46" fmla="*/ 0 w 86"/>
                  <a:gd name="T47" fmla="*/ 13 h 43"/>
                  <a:gd name="T48" fmla="*/ 8 w 86"/>
                  <a:gd name="T49" fmla="*/ 15 h 43"/>
                  <a:gd name="T50" fmla="*/ 17 w 86"/>
                  <a:gd name="T51" fmla="*/ 15 h 43"/>
                  <a:gd name="T52" fmla="*/ 16 w 86"/>
                  <a:gd name="T53" fmla="*/ 19 h 43"/>
                  <a:gd name="T54" fmla="*/ 12 w 86"/>
                  <a:gd name="T55" fmla="*/ 21 h 43"/>
                  <a:gd name="T56" fmla="*/ 3 w 86"/>
                  <a:gd name="T57" fmla="*/ 24 h 43"/>
                  <a:gd name="T58" fmla="*/ 14 w 86"/>
                  <a:gd name="T59" fmla="*/ 24 h 43"/>
                  <a:gd name="T60" fmla="*/ 17 w 86"/>
                  <a:gd name="T61" fmla="*/ 27 h 43"/>
                  <a:gd name="T62" fmla="*/ 19 w 86"/>
                  <a:gd name="T63" fmla="*/ 30 h 43"/>
                  <a:gd name="T64" fmla="*/ 17 w 86"/>
                  <a:gd name="T65" fmla="*/ 33 h 43"/>
                  <a:gd name="T66" fmla="*/ 13 w 86"/>
                  <a:gd name="T67" fmla="*/ 36 h 43"/>
                  <a:gd name="T68" fmla="*/ 23 w 86"/>
                  <a:gd name="T69" fmla="*/ 36 h 43"/>
                  <a:gd name="T70" fmla="*/ 37 w 86"/>
                  <a:gd name="T71" fmla="*/ 41 h 43"/>
                  <a:gd name="T72" fmla="*/ 51 w 86"/>
                  <a:gd name="T73" fmla="*/ 38 h 43"/>
                  <a:gd name="T74" fmla="*/ 61 w 86"/>
                  <a:gd name="T75" fmla="*/ 35 h 43"/>
                  <a:gd name="T76" fmla="*/ 72 w 86"/>
                  <a:gd name="T77" fmla="*/ 31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86" h="43">
                    <a:moveTo>
                      <a:pt x="72" y="31"/>
                    </a:moveTo>
                    <a:cubicBezTo>
                      <a:pt x="77" y="31"/>
                      <a:pt x="77" y="25"/>
                      <a:pt x="79" y="26"/>
                    </a:cubicBezTo>
                    <a:cubicBezTo>
                      <a:pt x="81" y="26"/>
                      <a:pt x="84" y="22"/>
                      <a:pt x="85" y="20"/>
                    </a:cubicBezTo>
                    <a:cubicBezTo>
                      <a:pt x="86" y="17"/>
                      <a:pt x="83" y="13"/>
                      <a:pt x="81" y="13"/>
                    </a:cubicBezTo>
                    <a:cubicBezTo>
                      <a:pt x="78" y="13"/>
                      <a:pt x="76" y="11"/>
                      <a:pt x="76" y="9"/>
                    </a:cubicBezTo>
                    <a:cubicBezTo>
                      <a:pt x="77" y="7"/>
                      <a:pt x="75" y="5"/>
                      <a:pt x="75" y="4"/>
                    </a:cubicBezTo>
                    <a:cubicBezTo>
                      <a:pt x="75" y="3"/>
                      <a:pt x="71" y="4"/>
                      <a:pt x="69" y="4"/>
                    </a:cubicBezTo>
                    <a:cubicBezTo>
                      <a:pt x="67" y="5"/>
                      <a:pt x="63" y="0"/>
                      <a:pt x="62" y="1"/>
                    </a:cubicBezTo>
                    <a:cubicBezTo>
                      <a:pt x="60" y="2"/>
                      <a:pt x="61" y="4"/>
                      <a:pt x="61" y="6"/>
                    </a:cubicBezTo>
                    <a:cubicBezTo>
                      <a:pt x="60" y="7"/>
                      <a:pt x="56" y="4"/>
                      <a:pt x="56" y="6"/>
                    </a:cubicBezTo>
                    <a:cubicBezTo>
                      <a:pt x="56" y="8"/>
                      <a:pt x="54" y="8"/>
                      <a:pt x="53" y="6"/>
                    </a:cubicBezTo>
                    <a:cubicBezTo>
                      <a:pt x="51" y="4"/>
                      <a:pt x="48" y="5"/>
                      <a:pt x="48" y="7"/>
                    </a:cubicBezTo>
                    <a:cubicBezTo>
                      <a:pt x="48" y="8"/>
                      <a:pt x="47" y="7"/>
                      <a:pt x="44" y="5"/>
                    </a:cubicBezTo>
                    <a:cubicBezTo>
                      <a:pt x="41" y="4"/>
                      <a:pt x="38" y="7"/>
                      <a:pt x="39" y="9"/>
                    </a:cubicBezTo>
                    <a:cubicBezTo>
                      <a:pt x="39" y="11"/>
                      <a:pt x="38" y="11"/>
                      <a:pt x="35" y="7"/>
                    </a:cubicBezTo>
                    <a:cubicBezTo>
                      <a:pt x="33" y="4"/>
                      <a:pt x="30" y="8"/>
                      <a:pt x="32" y="10"/>
                    </a:cubicBezTo>
                    <a:cubicBezTo>
                      <a:pt x="33" y="12"/>
                      <a:pt x="32" y="15"/>
                      <a:pt x="31" y="14"/>
                    </a:cubicBezTo>
                    <a:cubicBezTo>
                      <a:pt x="29" y="13"/>
                      <a:pt x="26" y="14"/>
                      <a:pt x="25" y="16"/>
                    </a:cubicBezTo>
                    <a:cubicBezTo>
                      <a:pt x="24" y="18"/>
                      <a:pt x="20" y="11"/>
                      <a:pt x="23" y="10"/>
                    </a:cubicBezTo>
                    <a:cubicBezTo>
                      <a:pt x="26" y="8"/>
                      <a:pt x="15" y="2"/>
                      <a:pt x="11" y="2"/>
                    </a:cubicBezTo>
                    <a:cubicBezTo>
                      <a:pt x="7" y="2"/>
                      <a:pt x="10" y="4"/>
                      <a:pt x="12" y="6"/>
                    </a:cubicBezTo>
                    <a:cubicBezTo>
                      <a:pt x="15" y="8"/>
                      <a:pt x="10" y="7"/>
                      <a:pt x="9" y="6"/>
                    </a:cubicBezTo>
                    <a:cubicBezTo>
                      <a:pt x="8" y="4"/>
                      <a:pt x="5" y="5"/>
                      <a:pt x="4" y="8"/>
                    </a:cubicBezTo>
                    <a:cubicBezTo>
                      <a:pt x="3" y="10"/>
                      <a:pt x="0" y="12"/>
                      <a:pt x="0" y="13"/>
                    </a:cubicBezTo>
                    <a:cubicBezTo>
                      <a:pt x="0" y="15"/>
                      <a:pt x="4" y="17"/>
                      <a:pt x="8" y="15"/>
                    </a:cubicBezTo>
                    <a:cubicBezTo>
                      <a:pt x="11" y="14"/>
                      <a:pt x="15" y="13"/>
                      <a:pt x="17" y="15"/>
                    </a:cubicBezTo>
                    <a:cubicBezTo>
                      <a:pt x="19" y="17"/>
                      <a:pt x="14" y="18"/>
                      <a:pt x="16" y="19"/>
                    </a:cubicBezTo>
                    <a:cubicBezTo>
                      <a:pt x="18" y="20"/>
                      <a:pt x="16" y="22"/>
                      <a:pt x="12" y="21"/>
                    </a:cubicBezTo>
                    <a:cubicBezTo>
                      <a:pt x="7" y="21"/>
                      <a:pt x="2" y="22"/>
                      <a:pt x="3" y="24"/>
                    </a:cubicBezTo>
                    <a:cubicBezTo>
                      <a:pt x="3" y="25"/>
                      <a:pt x="14" y="22"/>
                      <a:pt x="14" y="24"/>
                    </a:cubicBezTo>
                    <a:cubicBezTo>
                      <a:pt x="14" y="26"/>
                      <a:pt x="14" y="28"/>
                      <a:pt x="17" y="27"/>
                    </a:cubicBezTo>
                    <a:cubicBezTo>
                      <a:pt x="20" y="26"/>
                      <a:pt x="18" y="29"/>
                      <a:pt x="19" y="30"/>
                    </a:cubicBezTo>
                    <a:cubicBezTo>
                      <a:pt x="21" y="30"/>
                      <a:pt x="20" y="33"/>
                      <a:pt x="17" y="33"/>
                    </a:cubicBezTo>
                    <a:cubicBezTo>
                      <a:pt x="13" y="34"/>
                      <a:pt x="11" y="34"/>
                      <a:pt x="13" y="36"/>
                    </a:cubicBezTo>
                    <a:cubicBezTo>
                      <a:pt x="15" y="38"/>
                      <a:pt x="19" y="37"/>
                      <a:pt x="23" y="36"/>
                    </a:cubicBezTo>
                    <a:cubicBezTo>
                      <a:pt x="27" y="35"/>
                      <a:pt x="33" y="40"/>
                      <a:pt x="37" y="41"/>
                    </a:cubicBezTo>
                    <a:cubicBezTo>
                      <a:pt x="42" y="43"/>
                      <a:pt x="50" y="41"/>
                      <a:pt x="51" y="38"/>
                    </a:cubicBezTo>
                    <a:cubicBezTo>
                      <a:pt x="52" y="36"/>
                      <a:pt x="59" y="37"/>
                      <a:pt x="61" y="35"/>
                    </a:cubicBezTo>
                    <a:cubicBezTo>
                      <a:pt x="64" y="33"/>
                      <a:pt x="68" y="31"/>
                      <a:pt x="72" y="3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0" name="Freeform 138">
                <a:extLst>
                  <a:ext uri="{FF2B5EF4-FFF2-40B4-BE49-F238E27FC236}">
                    <a16:creationId xmlns:a16="http://schemas.microsoft.com/office/drawing/2014/main" id="{8C4A3A08-F715-4BD7-8837-6C807A9853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26487" y="2935451"/>
                <a:ext cx="85321" cy="92850"/>
              </a:xfrm>
              <a:custGeom>
                <a:avLst/>
                <a:gdLst>
                  <a:gd name="T0" fmla="*/ 33 w 37"/>
                  <a:gd name="T1" fmla="*/ 12 h 40"/>
                  <a:gd name="T2" fmla="*/ 30 w 37"/>
                  <a:gd name="T3" fmla="*/ 10 h 40"/>
                  <a:gd name="T4" fmla="*/ 26 w 37"/>
                  <a:gd name="T5" fmla="*/ 11 h 40"/>
                  <a:gd name="T6" fmla="*/ 21 w 37"/>
                  <a:gd name="T7" fmla="*/ 10 h 40"/>
                  <a:gd name="T8" fmla="*/ 22 w 37"/>
                  <a:gd name="T9" fmla="*/ 6 h 40"/>
                  <a:gd name="T10" fmla="*/ 25 w 37"/>
                  <a:gd name="T11" fmla="*/ 1 h 40"/>
                  <a:gd name="T12" fmla="*/ 24 w 37"/>
                  <a:gd name="T13" fmla="*/ 1 h 40"/>
                  <a:gd name="T14" fmla="*/ 16 w 37"/>
                  <a:gd name="T15" fmla="*/ 3 h 40"/>
                  <a:gd name="T16" fmla="*/ 19 w 37"/>
                  <a:gd name="T17" fmla="*/ 6 h 40"/>
                  <a:gd name="T18" fmla="*/ 13 w 37"/>
                  <a:gd name="T19" fmla="*/ 10 h 40"/>
                  <a:gd name="T20" fmla="*/ 4 w 37"/>
                  <a:gd name="T21" fmla="*/ 10 h 40"/>
                  <a:gd name="T22" fmla="*/ 5 w 37"/>
                  <a:gd name="T23" fmla="*/ 16 h 40"/>
                  <a:gd name="T24" fmla="*/ 9 w 37"/>
                  <a:gd name="T25" fmla="*/ 22 h 40"/>
                  <a:gd name="T26" fmla="*/ 7 w 37"/>
                  <a:gd name="T27" fmla="*/ 28 h 40"/>
                  <a:gd name="T28" fmla="*/ 1 w 37"/>
                  <a:gd name="T29" fmla="*/ 34 h 40"/>
                  <a:gd name="T30" fmla="*/ 9 w 37"/>
                  <a:gd name="T31" fmla="*/ 40 h 40"/>
                  <a:gd name="T32" fmla="*/ 23 w 37"/>
                  <a:gd name="T33" fmla="*/ 34 h 40"/>
                  <a:gd name="T34" fmla="*/ 33 w 37"/>
                  <a:gd name="T35" fmla="*/ 32 h 40"/>
                  <a:gd name="T36" fmla="*/ 33 w 37"/>
                  <a:gd name="T37" fmla="*/ 14 h 40"/>
                  <a:gd name="T38" fmla="*/ 33 w 37"/>
                  <a:gd name="T39" fmla="*/ 12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37" h="40">
                    <a:moveTo>
                      <a:pt x="33" y="12"/>
                    </a:moveTo>
                    <a:cubicBezTo>
                      <a:pt x="32" y="12"/>
                      <a:pt x="31" y="11"/>
                      <a:pt x="30" y="10"/>
                    </a:cubicBezTo>
                    <a:cubicBezTo>
                      <a:pt x="27" y="6"/>
                      <a:pt x="26" y="9"/>
                      <a:pt x="26" y="11"/>
                    </a:cubicBezTo>
                    <a:cubicBezTo>
                      <a:pt x="25" y="14"/>
                      <a:pt x="22" y="11"/>
                      <a:pt x="21" y="10"/>
                    </a:cubicBezTo>
                    <a:cubicBezTo>
                      <a:pt x="19" y="10"/>
                      <a:pt x="21" y="7"/>
                      <a:pt x="22" y="6"/>
                    </a:cubicBezTo>
                    <a:cubicBezTo>
                      <a:pt x="23" y="5"/>
                      <a:pt x="24" y="3"/>
                      <a:pt x="25" y="1"/>
                    </a:cubicBezTo>
                    <a:cubicBezTo>
                      <a:pt x="24" y="1"/>
                      <a:pt x="24" y="1"/>
                      <a:pt x="24" y="1"/>
                    </a:cubicBezTo>
                    <a:cubicBezTo>
                      <a:pt x="20" y="0"/>
                      <a:pt x="16" y="0"/>
                      <a:pt x="16" y="3"/>
                    </a:cubicBezTo>
                    <a:cubicBezTo>
                      <a:pt x="15" y="6"/>
                      <a:pt x="19" y="5"/>
                      <a:pt x="19" y="6"/>
                    </a:cubicBezTo>
                    <a:cubicBezTo>
                      <a:pt x="19" y="8"/>
                      <a:pt x="16" y="8"/>
                      <a:pt x="13" y="10"/>
                    </a:cubicBezTo>
                    <a:cubicBezTo>
                      <a:pt x="10" y="12"/>
                      <a:pt x="7" y="8"/>
                      <a:pt x="4" y="10"/>
                    </a:cubicBezTo>
                    <a:cubicBezTo>
                      <a:pt x="1" y="11"/>
                      <a:pt x="7" y="13"/>
                      <a:pt x="5" y="16"/>
                    </a:cubicBezTo>
                    <a:cubicBezTo>
                      <a:pt x="3" y="19"/>
                      <a:pt x="5" y="19"/>
                      <a:pt x="9" y="22"/>
                    </a:cubicBezTo>
                    <a:cubicBezTo>
                      <a:pt x="12" y="24"/>
                      <a:pt x="7" y="25"/>
                      <a:pt x="7" y="28"/>
                    </a:cubicBezTo>
                    <a:cubicBezTo>
                      <a:pt x="7" y="32"/>
                      <a:pt x="2" y="31"/>
                      <a:pt x="1" y="34"/>
                    </a:cubicBezTo>
                    <a:cubicBezTo>
                      <a:pt x="0" y="36"/>
                      <a:pt x="5" y="40"/>
                      <a:pt x="9" y="40"/>
                    </a:cubicBezTo>
                    <a:cubicBezTo>
                      <a:pt x="12" y="40"/>
                      <a:pt x="19" y="38"/>
                      <a:pt x="23" y="34"/>
                    </a:cubicBezTo>
                    <a:cubicBezTo>
                      <a:pt x="27" y="31"/>
                      <a:pt x="29" y="34"/>
                      <a:pt x="33" y="32"/>
                    </a:cubicBezTo>
                    <a:cubicBezTo>
                      <a:pt x="37" y="30"/>
                      <a:pt x="35" y="17"/>
                      <a:pt x="33" y="14"/>
                    </a:cubicBezTo>
                    <a:cubicBezTo>
                      <a:pt x="33" y="13"/>
                      <a:pt x="33" y="13"/>
                      <a:pt x="33" y="1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1" name="Freeform 139">
                <a:extLst>
                  <a:ext uri="{FF2B5EF4-FFF2-40B4-BE49-F238E27FC236}">
                    <a16:creationId xmlns:a16="http://schemas.microsoft.com/office/drawing/2014/main" id="{ABCD9A74-554E-4DE1-A2BF-B1F5C64068F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70402" y="2783629"/>
                <a:ext cx="186954" cy="286077"/>
              </a:xfrm>
              <a:custGeom>
                <a:avLst/>
                <a:gdLst>
                  <a:gd name="T0" fmla="*/ 6 w 81"/>
                  <a:gd name="T1" fmla="*/ 67 h 124"/>
                  <a:gd name="T2" fmla="*/ 2 w 81"/>
                  <a:gd name="T3" fmla="*/ 76 h 124"/>
                  <a:gd name="T4" fmla="*/ 11 w 81"/>
                  <a:gd name="T5" fmla="*/ 76 h 124"/>
                  <a:gd name="T6" fmla="*/ 20 w 81"/>
                  <a:gd name="T7" fmla="*/ 75 h 124"/>
                  <a:gd name="T8" fmla="*/ 81 w 81"/>
                  <a:gd name="T9" fmla="*/ 95 h 124"/>
                  <a:gd name="T10" fmla="*/ 68 w 81"/>
                  <a:gd name="T11" fmla="*/ 90 h 124"/>
                  <a:gd name="T12" fmla="*/ 66 w 81"/>
                  <a:gd name="T13" fmla="*/ 82 h 124"/>
                  <a:gd name="T14" fmla="*/ 54 w 81"/>
                  <a:gd name="T15" fmla="*/ 62 h 124"/>
                  <a:gd name="T16" fmla="*/ 42 w 81"/>
                  <a:gd name="T17" fmla="*/ 57 h 124"/>
                  <a:gd name="T18" fmla="*/ 51 w 81"/>
                  <a:gd name="T19" fmla="*/ 38 h 124"/>
                  <a:gd name="T20" fmla="*/ 33 w 81"/>
                  <a:gd name="T21" fmla="*/ 34 h 124"/>
                  <a:gd name="T22" fmla="*/ 40 w 81"/>
                  <a:gd name="T23" fmla="*/ 23 h 124"/>
                  <a:gd name="T24" fmla="*/ 28 w 81"/>
                  <a:gd name="T25" fmla="*/ 26 h 124"/>
                  <a:gd name="T26" fmla="*/ 20 w 81"/>
                  <a:gd name="T27" fmla="*/ 38 h 124"/>
                  <a:gd name="T28" fmla="*/ 13 w 81"/>
                  <a:gd name="T29" fmla="*/ 39 h 124"/>
                  <a:gd name="T30" fmla="*/ 15 w 81"/>
                  <a:gd name="T31" fmla="*/ 50 h 124"/>
                  <a:gd name="T32" fmla="*/ 13 w 81"/>
                  <a:gd name="T33" fmla="*/ 59 h 124"/>
                  <a:gd name="T34" fmla="*/ 22 w 81"/>
                  <a:gd name="T35" fmla="*/ 62 h 124"/>
                  <a:gd name="T36" fmla="*/ 27 w 81"/>
                  <a:gd name="T37" fmla="*/ 61 h 124"/>
                  <a:gd name="T38" fmla="*/ 36 w 81"/>
                  <a:gd name="T39" fmla="*/ 68 h 124"/>
                  <a:gd name="T40" fmla="*/ 39 w 81"/>
                  <a:gd name="T41" fmla="*/ 75 h 124"/>
                  <a:gd name="T42" fmla="*/ 41 w 81"/>
                  <a:gd name="T43" fmla="*/ 86 h 124"/>
                  <a:gd name="T44" fmla="*/ 30 w 81"/>
                  <a:gd name="T45" fmla="*/ 87 h 124"/>
                  <a:gd name="T46" fmla="*/ 33 w 81"/>
                  <a:gd name="T47" fmla="*/ 95 h 124"/>
                  <a:gd name="T48" fmla="*/ 28 w 81"/>
                  <a:gd name="T49" fmla="*/ 104 h 124"/>
                  <a:gd name="T50" fmla="*/ 41 w 81"/>
                  <a:gd name="T51" fmla="*/ 106 h 124"/>
                  <a:gd name="T52" fmla="*/ 33 w 81"/>
                  <a:gd name="T53" fmla="*/ 110 h 124"/>
                  <a:gd name="T54" fmla="*/ 29 w 81"/>
                  <a:gd name="T55" fmla="*/ 119 h 124"/>
                  <a:gd name="T56" fmla="*/ 38 w 81"/>
                  <a:gd name="T57" fmla="*/ 117 h 124"/>
                  <a:gd name="T58" fmla="*/ 50 w 81"/>
                  <a:gd name="T59" fmla="*/ 114 h 124"/>
                  <a:gd name="T60" fmla="*/ 66 w 81"/>
                  <a:gd name="T61" fmla="*/ 114 h 124"/>
                  <a:gd name="T62" fmla="*/ 73 w 81"/>
                  <a:gd name="T63" fmla="*/ 107 h 124"/>
                  <a:gd name="T64" fmla="*/ 81 w 81"/>
                  <a:gd name="T65" fmla="*/ 95 h 124"/>
                  <a:gd name="T66" fmla="*/ 15 w 81"/>
                  <a:gd name="T67" fmla="*/ 28 h 124"/>
                  <a:gd name="T68" fmla="*/ 55 w 81"/>
                  <a:gd name="T69" fmla="*/ 10 h 124"/>
                  <a:gd name="T70" fmla="*/ 55 w 81"/>
                  <a:gd name="T71" fmla="*/ 10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81" h="124">
                    <a:moveTo>
                      <a:pt x="16" y="66"/>
                    </a:moveTo>
                    <a:cubicBezTo>
                      <a:pt x="13" y="63"/>
                      <a:pt x="9" y="67"/>
                      <a:pt x="6" y="67"/>
                    </a:cubicBezTo>
                    <a:cubicBezTo>
                      <a:pt x="5" y="69"/>
                      <a:pt x="4" y="71"/>
                      <a:pt x="3" y="72"/>
                    </a:cubicBezTo>
                    <a:cubicBezTo>
                      <a:pt x="2" y="73"/>
                      <a:pt x="0" y="76"/>
                      <a:pt x="2" y="76"/>
                    </a:cubicBezTo>
                    <a:cubicBezTo>
                      <a:pt x="3" y="77"/>
                      <a:pt x="6" y="80"/>
                      <a:pt x="7" y="77"/>
                    </a:cubicBezTo>
                    <a:cubicBezTo>
                      <a:pt x="7" y="75"/>
                      <a:pt x="8" y="72"/>
                      <a:pt x="11" y="76"/>
                    </a:cubicBezTo>
                    <a:cubicBezTo>
                      <a:pt x="12" y="77"/>
                      <a:pt x="13" y="78"/>
                      <a:pt x="14" y="78"/>
                    </a:cubicBezTo>
                    <a:cubicBezTo>
                      <a:pt x="15" y="77"/>
                      <a:pt x="18" y="77"/>
                      <a:pt x="20" y="75"/>
                    </a:cubicBezTo>
                    <a:cubicBezTo>
                      <a:pt x="23" y="72"/>
                      <a:pt x="19" y="69"/>
                      <a:pt x="16" y="66"/>
                    </a:cubicBezTo>
                    <a:close/>
                    <a:moveTo>
                      <a:pt x="81" y="95"/>
                    </a:moveTo>
                    <a:cubicBezTo>
                      <a:pt x="81" y="91"/>
                      <a:pt x="73" y="89"/>
                      <a:pt x="72" y="91"/>
                    </a:cubicBezTo>
                    <a:cubicBezTo>
                      <a:pt x="71" y="93"/>
                      <a:pt x="70" y="93"/>
                      <a:pt x="68" y="90"/>
                    </a:cubicBezTo>
                    <a:cubicBezTo>
                      <a:pt x="67" y="88"/>
                      <a:pt x="70" y="86"/>
                      <a:pt x="68" y="86"/>
                    </a:cubicBezTo>
                    <a:cubicBezTo>
                      <a:pt x="67" y="86"/>
                      <a:pt x="65" y="83"/>
                      <a:pt x="66" y="82"/>
                    </a:cubicBezTo>
                    <a:cubicBezTo>
                      <a:pt x="66" y="80"/>
                      <a:pt x="64" y="73"/>
                      <a:pt x="60" y="72"/>
                    </a:cubicBezTo>
                    <a:cubicBezTo>
                      <a:pt x="56" y="71"/>
                      <a:pt x="55" y="65"/>
                      <a:pt x="54" y="62"/>
                    </a:cubicBezTo>
                    <a:cubicBezTo>
                      <a:pt x="54" y="59"/>
                      <a:pt x="51" y="61"/>
                      <a:pt x="49" y="58"/>
                    </a:cubicBezTo>
                    <a:cubicBezTo>
                      <a:pt x="47" y="55"/>
                      <a:pt x="43" y="57"/>
                      <a:pt x="42" y="57"/>
                    </a:cubicBezTo>
                    <a:cubicBezTo>
                      <a:pt x="40" y="57"/>
                      <a:pt x="42" y="53"/>
                      <a:pt x="44" y="52"/>
                    </a:cubicBezTo>
                    <a:cubicBezTo>
                      <a:pt x="47" y="50"/>
                      <a:pt x="51" y="40"/>
                      <a:pt x="51" y="38"/>
                    </a:cubicBezTo>
                    <a:cubicBezTo>
                      <a:pt x="51" y="36"/>
                      <a:pt x="38" y="36"/>
                      <a:pt x="36" y="37"/>
                    </a:cubicBezTo>
                    <a:cubicBezTo>
                      <a:pt x="33" y="38"/>
                      <a:pt x="31" y="35"/>
                      <a:pt x="33" y="34"/>
                    </a:cubicBezTo>
                    <a:cubicBezTo>
                      <a:pt x="35" y="33"/>
                      <a:pt x="39" y="29"/>
                      <a:pt x="39" y="28"/>
                    </a:cubicBezTo>
                    <a:cubicBezTo>
                      <a:pt x="39" y="26"/>
                      <a:pt x="42" y="24"/>
                      <a:pt x="40" y="23"/>
                    </a:cubicBezTo>
                    <a:cubicBezTo>
                      <a:pt x="39" y="21"/>
                      <a:pt x="38" y="25"/>
                      <a:pt x="37" y="26"/>
                    </a:cubicBezTo>
                    <a:cubicBezTo>
                      <a:pt x="35" y="27"/>
                      <a:pt x="32" y="27"/>
                      <a:pt x="28" y="26"/>
                    </a:cubicBezTo>
                    <a:cubicBezTo>
                      <a:pt x="24" y="25"/>
                      <a:pt x="23" y="31"/>
                      <a:pt x="23" y="33"/>
                    </a:cubicBezTo>
                    <a:cubicBezTo>
                      <a:pt x="23" y="35"/>
                      <a:pt x="19" y="37"/>
                      <a:pt x="20" y="38"/>
                    </a:cubicBezTo>
                    <a:cubicBezTo>
                      <a:pt x="20" y="40"/>
                      <a:pt x="19" y="42"/>
                      <a:pt x="17" y="41"/>
                    </a:cubicBezTo>
                    <a:cubicBezTo>
                      <a:pt x="16" y="40"/>
                      <a:pt x="15" y="37"/>
                      <a:pt x="13" y="39"/>
                    </a:cubicBezTo>
                    <a:cubicBezTo>
                      <a:pt x="10" y="41"/>
                      <a:pt x="15" y="43"/>
                      <a:pt x="18" y="44"/>
                    </a:cubicBezTo>
                    <a:cubicBezTo>
                      <a:pt x="22" y="44"/>
                      <a:pt x="16" y="46"/>
                      <a:pt x="15" y="50"/>
                    </a:cubicBezTo>
                    <a:cubicBezTo>
                      <a:pt x="15" y="53"/>
                      <a:pt x="20" y="51"/>
                      <a:pt x="20" y="54"/>
                    </a:cubicBezTo>
                    <a:cubicBezTo>
                      <a:pt x="20" y="56"/>
                      <a:pt x="13" y="57"/>
                      <a:pt x="13" y="59"/>
                    </a:cubicBezTo>
                    <a:cubicBezTo>
                      <a:pt x="13" y="61"/>
                      <a:pt x="17" y="58"/>
                      <a:pt x="19" y="57"/>
                    </a:cubicBezTo>
                    <a:cubicBezTo>
                      <a:pt x="21" y="56"/>
                      <a:pt x="18" y="62"/>
                      <a:pt x="22" y="62"/>
                    </a:cubicBezTo>
                    <a:cubicBezTo>
                      <a:pt x="26" y="61"/>
                      <a:pt x="25" y="55"/>
                      <a:pt x="27" y="55"/>
                    </a:cubicBezTo>
                    <a:cubicBezTo>
                      <a:pt x="28" y="56"/>
                      <a:pt x="26" y="58"/>
                      <a:pt x="27" y="61"/>
                    </a:cubicBezTo>
                    <a:cubicBezTo>
                      <a:pt x="29" y="63"/>
                      <a:pt x="24" y="67"/>
                      <a:pt x="25" y="69"/>
                    </a:cubicBezTo>
                    <a:cubicBezTo>
                      <a:pt x="25" y="71"/>
                      <a:pt x="33" y="71"/>
                      <a:pt x="36" y="68"/>
                    </a:cubicBezTo>
                    <a:cubicBezTo>
                      <a:pt x="39" y="65"/>
                      <a:pt x="40" y="68"/>
                      <a:pt x="38" y="70"/>
                    </a:cubicBezTo>
                    <a:cubicBezTo>
                      <a:pt x="36" y="73"/>
                      <a:pt x="37" y="75"/>
                      <a:pt x="39" y="75"/>
                    </a:cubicBezTo>
                    <a:cubicBezTo>
                      <a:pt x="42" y="76"/>
                      <a:pt x="43" y="76"/>
                      <a:pt x="42" y="78"/>
                    </a:cubicBezTo>
                    <a:cubicBezTo>
                      <a:pt x="41" y="80"/>
                      <a:pt x="42" y="84"/>
                      <a:pt x="41" y="86"/>
                    </a:cubicBezTo>
                    <a:cubicBezTo>
                      <a:pt x="40" y="87"/>
                      <a:pt x="33" y="87"/>
                      <a:pt x="33" y="86"/>
                    </a:cubicBezTo>
                    <a:cubicBezTo>
                      <a:pt x="32" y="85"/>
                      <a:pt x="29" y="86"/>
                      <a:pt x="30" y="87"/>
                    </a:cubicBezTo>
                    <a:cubicBezTo>
                      <a:pt x="31" y="89"/>
                      <a:pt x="28" y="91"/>
                      <a:pt x="28" y="92"/>
                    </a:cubicBezTo>
                    <a:cubicBezTo>
                      <a:pt x="28" y="94"/>
                      <a:pt x="32" y="93"/>
                      <a:pt x="33" y="95"/>
                    </a:cubicBezTo>
                    <a:cubicBezTo>
                      <a:pt x="33" y="97"/>
                      <a:pt x="29" y="100"/>
                      <a:pt x="25" y="101"/>
                    </a:cubicBezTo>
                    <a:cubicBezTo>
                      <a:pt x="20" y="102"/>
                      <a:pt x="26" y="106"/>
                      <a:pt x="28" y="104"/>
                    </a:cubicBezTo>
                    <a:cubicBezTo>
                      <a:pt x="30" y="103"/>
                      <a:pt x="30" y="105"/>
                      <a:pt x="33" y="105"/>
                    </a:cubicBezTo>
                    <a:cubicBezTo>
                      <a:pt x="36" y="105"/>
                      <a:pt x="38" y="108"/>
                      <a:pt x="41" y="106"/>
                    </a:cubicBezTo>
                    <a:cubicBezTo>
                      <a:pt x="45" y="105"/>
                      <a:pt x="44" y="106"/>
                      <a:pt x="42" y="108"/>
                    </a:cubicBezTo>
                    <a:cubicBezTo>
                      <a:pt x="39" y="110"/>
                      <a:pt x="35" y="108"/>
                      <a:pt x="33" y="110"/>
                    </a:cubicBezTo>
                    <a:cubicBezTo>
                      <a:pt x="31" y="111"/>
                      <a:pt x="21" y="120"/>
                      <a:pt x="23" y="122"/>
                    </a:cubicBezTo>
                    <a:cubicBezTo>
                      <a:pt x="24" y="124"/>
                      <a:pt x="25" y="120"/>
                      <a:pt x="29" y="119"/>
                    </a:cubicBezTo>
                    <a:cubicBezTo>
                      <a:pt x="32" y="117"/>
                      <a:pt x="33" y="120"/>
                      <a:pt x="35" y="120"/>
                    </a:cubicBezTo>
                    <a:cubicBezTo>
                      <a:pt x="37" y="120"/>
                      <a:pt x="37" y="116"/>
                      <a:pt x="38" y="117"/>
                    </a:cubicBezTo>
                    <a:cubicBezTo>
                      <a:pt x="40" y="117"/>
                      <a:pt x="41" y="115"/>
                      <a:pt x="44" y="116"/>
                    </a:cubicBezTo>
                    <a:cubicBezTo>
                      <a:pt x="47" y="116"/>
                      <a:pt x="49" y="115"/>
                      <a:pt x="50" y="114"/>
                    </a:cubicBezTo>
                    <a:cubicBezTo>
                      <a:pt x="52" y="113"/>
                      <a:pt x="56" y="116"/>
                      <a:pt x="57" y="115"/>
                    </a:cubicBezTo>
                    <a:cubicBezTo>
                      <a:pt x="58" y="115"/>
                      <a:pt x="63" y="114"/>
                      <a:pt x="66" y="114"/>
                    </a:cubicBezTo>
                    <a:cubicBezTo>
                      <a:pt x="68" y="114"/>
                      <a:pt x="75" y="111"/>
                      <a:pt x="77" y="109"/>
                    </a:cubicBezTo>
                    <a:cubicBezTo>
                      <a:pt x="79" y="107"/>
                      <a:pt x="76" y="107"/>
                      <a:pt x="73" y="107"/>
                    </a:cubicBezTo>
                    <a:cubicBezTo>
                      <a:pt x="71" y="108"/>
                      <a:pt x="72" y="105"/>
                      <a:pt x="74" y="103"/>
                    </a:cubicBezTo>
                    <a:cubicBezTo>
                      <a:pt x="77" y="100"/>
                      <a:pt x="81" y="99"/>
                      <a:pt x="81" y="95"/>
                    </a:cubicBezTo>
                    <a:close/>
                    <a:moveTo>
                      <a:pt x="9" y="35"/>
                    </a:moveTo>
                    <a:cubicBezTo>
                      <a:pt x="13" y="35"/>
                      <a:pt x="16" y="30"/>
                      <a:pt x="15" y="28"/>
                    </a:cubicBezTo>
                    <a:cubicBezTo>
                      <a:pt x="13" y="27"/>
                      <a:pt x="7" y="35"/>
                      <a:pt x="9" y="35"/>
                    </a:cubicBezTo>
                    <a:close/>
                    <a:moveTo>
                      <a:pt x="55" y="10"/>
                    </a:moveTo>
                    <a:cubicBezTo>
                      <a:pt x="57" y="7"/>
                      <a:pt x="60" y="0"/>
                      <a:pt x="57" y="1"/>
                    </a:cubicBezTo>
                    <a:cubicBezTo>
                      <a:pt x="54" y="1"/>
                      <a:pt x="54" y="10"/>
                      <a:pt x="55" y="1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2" name="Freeform 140">
                <a:extLst>
                  <a:ext uri="{FF2B5EF4-FFF2-40B4-BE49-F238E27FC236}">
                    <a16:creationId xmlns:a16="http://schemas.microsoft.com/office/drawing/2014/main" id="{3A975E57-CE4B-4A56-82D6-B0D503BED4C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70402" y="2783629"/>
                <a:ext cx="186954" cy="286077"/>
              </a:xfrm>
              <a:custGeom>
                <a:avLst/>
                <a:gdLst>
                  <a:gd name="T0" fmla="*/ 6 w 81"/>
                  <a:gd name="T1" fmla="*/ 67 h 124"/>
                  <a:gd name="T2" fmla="*/ 2 w 81"/>
                  <a:gd name="T3" fmla="*/ 76 h 124"/>
                  <a:gd name="T4" fmla="*/ 11 w 81"/>
                  <a:gd name="T5" fmla="*/ 76 h 124"/>
                  <a:gd name="T6" fmla="*/ 20 w 81"/>
                  <a:gd name="T7" fmla="*/ 75 h 124"/>
                  <a:gd name="T8" fmla="*/ 81 w 81"/>
                  <a:gd name="T9" fmla="*/ 95 h 124"/>
                  <a:gd name="T10" fmla="*/ 68 w 81"/>
                  <a:gd name="T11" fmla="*/ 90 h 124"/>
                  <a:gd name="T12" fmla="*/ 66 w 81"/>
                  <a:gd name="T13" fmla="*/ 82 h 124"/>
                  <a:gd name="T14" fmla="*/ 54 w 81"/>
                  <a:gd name="T15" fmla="*/ 62 h 124"/>
                  <a:gd name="T16" fmla="*/ 42 w 81"/>
                  <a:gd name="T17" fmla="*/ 57 h 124"/>
                  <a:gd name="T18" fmla="*/ 51 w 81"/>
                  <a:gd name="T19" fmla="*/ 38 h 124"/>
                  <a:gd name="T20" fmla="*/ 33 w 81"/>
                  <a:gd name="T21" fmla="*/ 34 h 124"/>
                  <a:gd name="T22" fmla="*/ 40 w 81"/>
                  <a:gd name="T23" fmla="*/ 23 h 124"/>
                  <a:gd name="T24" fmla="*/ 28 w 81"/>
                  <a:gd name="T25" fmla="*/ 26 h 124"/>
                  <a:gd name="T26" fmla="*/ 20 w 81"/>
                  <a:gd name="T27" fmla="*/ 38 h 124"/>
                  <a:gd name="T28" fmla="*/ 13 w 81"/>
                  <a:gd name="T29" fmla="*/ 39 h 124"/>
                  <a:gd name="T30" fmla="*/ 15 w 81"/>
                  <a:gd name="T31" fmla="*/ 50 h 124"/>
                  <a:gd name="T32" fmla="*/ 13 w 81"/>
                  <a:gd name="T33" fmla="*/ 59 h 124"/>
                  <a:gd name="T34" fmla="*/ 22 w 81"/>
                  <a:gd name="T35" fmla="*/ 62 h 124"/>
                  <a:gd name="T36" fmla="*/ 27 w 81"/>
                  <a:gd name="T37" fmla="*/ 61 h 124"/>
                  <a:gd name="T38" fmla="*/ 36 w 81"/>
                  <a:gd name="T39" fmla="*/ 68 h 124"/>
                  <a:gd name="T40" fmla="*/ 39 w 81"/>
                  <a:gd name="T41" fmla="*/ 75 h 124"/>
                  <a:gd name="T42" fmla="*/ 41 w 81"/>
                  <a:gd name="T43" fmla="*/ 86 h 124"/>
                  <a:gd name="T44" fmla="*/ 30 w 81"/>
                  <a:gd name="T45" fmla="*/ 87 h 124"/>
                  <a:gd name="T46" fmla="*/ 33 w 81"/>
                  <a:gd name="T47" fmla="*/ 95 h 124"/>
                  <a:gd name="T48" fmla="*/ 28 w 81"/>
                  <a:gd name="T49" fmla="*/ 104 h 124"/>
                  <a:gd name="T50" fmla="*/ 41 w 81"/>
                  <a:gd name="T51" fmla="*/ 106 h 124"/>
                  <a:gd name="T52" fmla="*/ 33 w 81"/>
                  <a:gd name="T53" fmla="*/ 110 h 124"/>
                  <a:gd name="T54" fmla="*/ 29 w 81"/>
                  <a:gd name="T55" fmla="*/ 119 h 124"/>
                  <a:gd name="T56" fmla="*/ 38 w 81"/>
                  <a:gd name="T57" fmla="*/ 117 h 124"/>
                  <a:gd name="T58" fmla="*/ 50 w 81"/>
                  <a:gd name="T59" fmla="*/ 114 h 124"/>
                  <a:gd name="T60" fmla="*/ 66 w 81"/>
                  <a:gd name="T61" fmla="*/ 114 h 124"/>
                  <a:gd name="T62" fmla="*/ 73 w 81"/>
                  <a:gd name="T63" fmla="*/ 107 h 124"/>
                  <a:gd name="T64" fmla="*/ 81 w 81"/>
                  <a:gd name="T65" fmla="*/ 95 h 124"/>
                  <a:gd name="T66" fmla="*/ 15 w 81"/>
                  <a:gd name="T67" fmla="*/ 28 h 124"/>
                  <a:gd name="T68" fmla="*/ 55 w 81"/>
                  <a:gd name="T69" fmla="*/ 10 h 124"/>
                  <a:gd name="T70" fmla="*/ 55 w 81"/>
                  <a:gd name="T71" fmla="*/ 10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81" h="124">
                    <a:moveTo>
                      <a:pt x="16" y="66"/>
                    </a:moveTo>
                    <a:cubicBezTo>
                      <a:pt x="13" y="63"/>
                      <a:pt x="9" y="67"/>
                      <a:pt x="6" y="67"/>
                    </a:cubicBezTo>
                    <a:cubicBezTo>
                      <a:pt x="5" y="69"/>
                      <a:pt x="4" y="71"/>
                      <a:pt x="3" y="72"/>
                    </a:cubicBezTo>
                    <a:cubicBezTo>
                      <a:pt x="2" y="73"/>
                      <a:pt x="0" y="76"/>
                      <a:pt x="2" y="76"/>
                    </a:cubicBezTo>
                    <a:cubicBezTo>
                      <a:pt x="3" y="77"/>
                      <a:pt x="6" y="80"/>
                      <a:pt x="7" y="77"/>
                    </a:cubicBezTo>
                    <a:cubicBezTo>
                      <a:pt x="7" y="75"/>
                      <a:pt x="8" y="72"/>
                      <a:pt x="11" y="76"/>
                    </a:cubicBezTo>
                    <a:cubicBezTo>
                      <a:pt x="12" y="77"/>
                      <a:pt x="13" y="78"/>
                      <a:pt x="14" y="78"/>
                    </a:cubicBezTo>
                    <a:cubicBezTo>
                      <a:pt x="15" y="77"/>
                      <a:pt x="18" y="77"/>
                      <a:pt x="20" y="75"/>
                    </a:cubicBezTo>
                    <a:cubicBezTo>
                      <a:pt x="23" y="72"/>
                      <a:pt x="19" y="69"/>
                      <a:pt x="16" y="66"/>
                    </a:cubicBezTo>
                    <a:close/>
                    <a:moveTo>
                      <a:pt x="81" y="95"/>
                    </a:moveTo>
                    <a:cubicBezTo>
                      <a:pt x="81" y="91"/>
                      <a:pt x="73" y="89"/>
                      <a:pt x="72" y="91"/>
                    </a:cubicBezTo>
                    <a:cubicBezTo>
                      <a:pt x="71" y="93"/>
                      <a:pt x="70" y="93"/>
                      <a:pt x="68" y="90"/>
                    </a:cubicBezTo>
                    <a:cubicBezTo>
                      <a:pt x="67" y="88"/>
                      <a:pt x="70" y="86"/>
                      <a:pt x="68" y="86"/>
                    </a:cubicBezTo>
                    <a:cubicBezTo>
                      <a:pt x="67" y="86"/>
                      <a:pt x="65" y="83"/>
                      <a:pt x="66" y="82"/>
                    </a:cubicBezTo>
                    <a:cubicBezTo>
                      <a:pt x="66" y="80"/>
                      <a:pt x="64" y="73"/>
                      <a:pt x="60" y="72"/>
                    </a:cubicBezTo>
                    <a:cubicBezTo>
                      <a:pt x="56" y="71"/>
                      <a:pt x="55" y="65"/>
                      <a:pt x="54" y="62"/>
                    </a:cubicBezTo>
                    <a:cubicBezTo>
                      <a:pt x="54" y="59"/>
                      <a:pt x="51" y="61"/>
                      <a:pt x="49" y="58"/>
                    </a:cubicBezTo>
                    <a:cubicBezTo>
                      <a:pt x="47" y="55"/>
                      <a:pt x="43" y="57"/>
                      <a:pt x="42" y="57"/>
                    </a:cubicBezTo>
                    <a:cubicBezTo>
                      <a:pt x="40" y="57"/>
                      <a:pt x="42" y="53"/>
                      <a:pt x="44" y="52"/>
                    </a:cubicBezTo>
                    <a:cubicBezTo>
                      <a:pt x="47" y="50"/>
                      <a:pt x="51" y="40"/>
                      <a:pt x="51" y="38"/>
                    </a:cubicBezTo>
                    <a:cubicBezTo>
                      <a:pt x="51" y="36"/>
                      <a:pt x="38" y="36"/>
                      <a:pt x="36" y="37"/>
                    </a:cubicBezTo>
                    <a:cubicBezTo>
                      <a:pt x="33" y="38"/>
                      <a:pt x="31" y="35"/>
                      <a:pt x="33" y="34"/>
                    </a:cubicBezTo>
                    <a:cubicBezTo>
                      <a:pt x="35" y="33"/>
                      <a:pt x="39" y="29"/>
                      <a:pt x="39" y="28"/>
                    </a:cubicBezTo>
                    <a:cubicBezTo>
                      <a:pt x="39" y="26"/>
                      <a:pt x="42" y="24"/>
                      <a:pt x="40" y="23"/>
                    </a:cubicBezTo>
                    <a:cubicBezTo>
                      <a:pt x="39" y="21"/>
                      <a:pt x="38" y="25"/>
                      <a:pt x="37" y="26"/>
                    </a:cubicBezTo>
                    <a:cubicBezTo>
                      <a:pt x="35" y="27"/>
                      <a:pt x="32" y="27"/>
                      <a:pt x="28" y="26"/>
                    </a:cubicBezTo>
                    <a:cubicBezTo>
                      <a:pt x="24" y="25"/>
                      <a:pt x="23" y="31"/>
                      <a:pt x="23" y="33"/>
                    </a:cubicBezTo>
                    <a:cubicBezTo>
                      <a:pt x="23" y="35"/>
                      <a:pt x="19" y="37"/>
                      <a:pt x="20" y="38"/>
                    </a:cubicBezTo>
                    <a:cubicBezTo>
                      <a:pt x="20" y="40"/>
                      <a:pt x="19" y="42"/>
                      <a:pt x="17" y="41"/>
                    </a:cubicBezTo>
                    <a:cubicBezTo>
                      <a:pt x="16" y="40"/>
                      <a:pt x="15" y="37"/>
                      <a:pt x="13" y="39"/>
                    </a:cubicBezTo>
                    <a:cubicBezTo>
                      <a:pt x="10" y="41"/>
                      <a:pt x="15" y="43"/>
                      <a:pt x="18" y="44"/>
                    </a:cubicBezTo>
                    <a:cubicBezTo>
                      <a:pt x="22" y="44"/>
                      <a:pt x="16" y="46"/>
                      <a:pt x="15" y="50"/>
                    </a:cubicBezTo>
                    <a:cubicBezTo>
                      <a:pt x="15" y="53"/>
                      <a:pt x="20" y="51"/>
                      <a:pt x="20" y="54"/>
                    </a:cubicBezTo>
                    <a:cubicBezTo>
                      <a:pt x="20" y="56"/>
                      <a:pt x="13" y="57"/>
                      <a:pt x="13" y="59"/>
                    </a:cubicBezTo>
                    <a:cubicBezTo>
                      <a:pt x="13" y="61"/>
                      <a:pt x="17" y="58"/>
                      <a:pt x="19" y="57"/>
                    </a:cubicBezTo>
                    <a:cubicBezTo>
                      <a:pt x="21" y="56"/>
                      <a:pt x="18" y="62"/>
                      <a:pt x="22" y="62"/>
                    </a:cubicBezTo>
                    <a:cubicBezTo>
                      <a:pt x="26" y="61"/>
                      <a:pt x="25" y="55"/>
                      <a:pt x="27" y="55"/>
                    </a:cubicBezTo>
                    <a:cubicBezTo>
                      <a:pt x="28" y="56"/>
                      <a:pt x="26" y="58"/>
                      <a:pt x="27" y="61"/>
                    </a:cubicBezTo>
                    <a:cubicBezTo>
                      <a:pt x="29" y="63"/>
                      <a:pt x="24" y="67"/>
                      <a:pt x="25" y="69"/>
                    </a:cubicBezTo>
                    <a:cubicBezTo>
                      <a:pt x="25" y="71"/>
                      <a:pt x="33" y="71"/>
                      <a:pt x="36" y="68"/>
                    </a:cubicBezTo>
                    <a:cubicBezTo>
                      <a:pt x="39" y="65"/>
                      <a:pt x="40" y="68"/>
                      <a:pt x="38" y="70"/>
                    </a:cubicBezTo>
                    <a:cubicBezTo>
                      <a:pt x="36" y="73"/>
                      <a:pt x="37" y="75"/>
                      <a:pt x="39" y="75"/>
                    </a:cubicBezTo>
                    <a:cubicBezTo>
                      <a:pt x="42" y="76"/>
                      <a:pt x="43" y="76"/>
                      <a:pt x="42" y="78"/>
                    </a:cubicBezTo>
                    <a:cubicBezTo>
                      <a:pt x="41" y="80"/>
                      <a:pt x="42" y="84"/>
                      <a:pt x="41" y="86"/>
                    </a:cubicBezTo>
                    <a:cubicBezTo>
                      <a:pt x="40" y="87"/>
                      <a:pt x="33" y="87"/>
                      <a:pt x="33" y="86"/>
                    </a:cubicBezTo>
                    <a:cubicBezTo>
                      <a:pt x="32" y="85"/>
                      <a:pt x="29" y="86"/>
                      <a:pt x="30" y="87"/>
                    </a:cubicBezTo>
                    <a:cubicBezTo>
                      <a:pt x="31" y="89"/>
                      <a:pt x="28" y="91"/>
                      <a:pt x="28" y="92"/>
                    </a:cubicBezTo>
                    <a:cubicBezTo>
                      <a:pt x="28" y="94"/>
                      <a:pt x="32" y="93"/>
                      <a:pt x="33" y="95"/>
                    </a:cubicBezTo>
                    <a:cubicBezTo>
                      <a:pt x="33" y="97"/>
                      <a:pt x="29" y="100"/>
                      <a:pt x="25" y="101"/>
                    </a:cubicBezTo>
                    <a:cubicBezTo>
                      <a:pt x="20" y="102"/>
                      <a:pt x="26" y="106"/>
                      <a:pt x="28" y="104"/>
                    </a:cubicBezTo>
                    <a:cubicBezTo>
                      <a:pt x="30" y="103"/>
                      <a:pt x="30" y="105"/>
                      <a:pt x="33" y="105"/>
                    </a:cubicBezTo>
                    <a:cubicBezTo>
                      <a:pt x="36" y="105"/>
                      <a:pt x="38" y="108"/>
                      <a:pt x="41" y="106"/>
                    </a:cubicBezTo>
                    <a:cubicBezTo>
                      <a:pt x="45" y="105"/>
                      <a:pt x="44" y="106"/>
                      <a:pt x="42" y="108"/>
                    </a:cubicBezTo>
                    <a:cubicBezTo>
                      <a:pt x="39" y="110"/>
                      <a:pt x="35" y="108"/>
                      <a:pt x="33" y="110"/>
                    </a:cubicBezTo>
                    <a:cubicBezTo>
                      <a:pt x="31" y="111"/>
                      <a:pt x="21" y="120"/>
                      <a:pt x="23" y="122"/>
                    </a:cubicBezTo>
                    <a:cubicBezTo>
                      <a:pt x="24" y="124"/>
                      <a:pt x="25" y="120"/>
                      <a:pt x="29" y="119"/>
                    </a:cubicBezTo>
                    <a:cubicBezTo>
                      <a:pt x="32" y="117"/>
                      <a:pt x="33" y="120"/>
                      <a:pt x="35" y="120"/>
                    </a:cubicBezTo>
                    <a:cubicBezTo>
                      <a:pt x="37" y="120"/>
                      <a:pt x="37" y="116"/>
                      <a:pt x="38" y="117"/>
                    </a:cubicBezTo>
                    <a:cubicBezTo>
                      <a:pt x="40" y="117"/>
                      <a:pt x="41" y="115"/>
                      <a:pt x="44" y="116"/>
                    </a:cubicBezTo>
                    <a:cubicBezTo>
                      <a:pt x="47" y="116"/>
                      <a:pt x="49" y="115"/>
                      <a:pt x="50" y="114"/>
                    </a:cubicBezTo>
                    <a:cubicBezTo>
                      <a:pt x="52" y="113"/>
                      <a:pt x="56" y="116"/>
                      <a:pt x="57" y="115"/>
                    </a:cubicBezTo>
                    <a:cubicBezTo>
                      <a:pt x="58" y="115"/>
                      <a:pt x="63" y="114"/>
                      <a:pt x="66" y="114"/>
                    </a:cubicBezTo>
                    <a:cubicBezTo>
                      <a:pt x="68" y="114"/>
                      <a:pt x="75" y="111"/>
                      <a:pt x="77" y="109"/>
                    </a:cubicBezTo>
                    <a:cubicBezTo>
                      <a:pt x="79" y="107"/>
                      <a:pt x="76" y="107"/>
                      <a:pt x="73" y="107"/>
                    </a:cubicBezTo>
                    <a:cubicBezTo>
                      <a:pt x="71" y="108"/>
                      <a:pt x="72" y="105"/>
                      <a:pt x="74" y="103"/>
                    </a:cubicBezTo>
                    <a:cubicBezTo>
                      <a:pt x="77" y="100"/>
                      <a:pt x="81" y="99"/>
                      <a:pt x="81" y="95"/>
                    </a:cubicBezTo>
                    <a:close/>
                    <a:moveTo>
                      <a:pt x="9" y="35"/>
                    </a:moveTo>
                    <a:cubicBezTo>
                      <a:pt x="13" y="35"/>
                      <a:pt x="16" y="30"/>
                      <a:pt x="15" y="28"/>
                    </a:cubicBezTo>
                    <a:cubicBezTo>
                      <a:pt x="13" y="27"/>
                      <a:pt x="7" y="35"/>
                      <a:pt x="9" y="35"/>
                    </a:cubicBezTo>
                    <a:close/>
                    <a:moveTo>
                      <a:pt x="55" y="10"/>
                    </a:moveTo>
                    <a:cubicBezTo>
                      <a:pt x="57" y="7"/>
                      <a:pt x="60" y="0"/>
                      <a:pt x="57" y="1"/>
                    </a:cubicBezTo>
                    <a:cubicBezTo>
                      <a:pt x="54" y="1"/>
                      <a:pt x="54" y="10"/>
                      <a:pt x="55" y="1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3" name="Freeform 141">
                <a:extLst>
                  <a:ext uri="{FF2B5EF4-FFF2-40B4-BE49-F238E27FC236}">
                    <a16:creationId xmlns:a16="http://schemas.microsoft.com/office/drawing/2014/main" id="{E802BB90-0670-4B71-BA36-F788E34E362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72791" y="2866441"/>
                <a:ext cx="87831" cy="82812"/>
              </a:xfrm>
              <a:custGeom>
                <a:avLst/>
                <a:gdLst>
                  <a:gd name="T0" fmla="*/ 19 w 38"/>
                  <a:gd name="T1" fmla="*/ 13 h 36"/>
                  <a:gd name="T2" fmla="*/ 19 w 38"/>
                  <a:gd name="T3" fmla="*/ 8 h 36"/>
                  <a:gd name="T4" fmla="*/ 20 w 38"/>
                  <a:gd name="T5" fmla="*/ 1 h 36"/>
                  <a:gd name="T6" fmla="*/ 14 w 38"/>
                  <a:gd name="T7" fmla="*/ 4 h 36"/>
                  <a:gd name="T8" fmla="*/ 9 w 38"/>
                  <a:gd name="T9" fmla="*/ 6 h 36"/>
                  <a:gd name="T10" fmla="*/ 10 w 38"/>
                  <a:gd name="T11" fmla="*/ 10 h 36"/>
                  <a:gd name="T12" fmla="*/ 5 w 38"/>
                  <a:gd name="T13" fmla="*/ 8 h 36"/>
                  <a:gd name="T14" fmla="*/ 1 w 38"/>
                  <a:gd name="T15" fmla="*/ 13 h 36"/>
                  <a:gd name="T16" fmla="*/ 1 w 38"/>
                  <a:gd name="T17" fmla="*/ 23 h 36"/>
                  <a:gd name="T18" fmla="*/ 4 w 38"/>
                  <a:gd name="T19" fmla="*/ 30 h 36"/>
                  <a:gd name="T20" fmla="*/ 5 w 38"/>
                  <a:gd name="T21" fmla="*/ 33 h 36"/>
                  <a:gd name="T22" fmla="*/ 13 w 38"/>
                  <a:gd name="T23" fmla="*/ 34 h 36"/>
                  <a:gd name="T24" fmla="*/ 16 w 38"/>
                  <a:gd name="T25" fmla="*/ 34 h 36"/>
                  <a:gd name="T26" fmla="*/ 12 w 38"/>
                  <a:gd name="T27" fmla="*/ 30 h 36"/>
                  <a:gd name="T28" fmla="*/ 17 w 38"/>
                  <a:gd name="T29" fmla="*/ 30 h 36"/>
                  <a:gd name="T30" fmla="*/ 22 w 38"/>
                  <a:gd name="T31" fmla="*/ 30 h 36"/>
                  <a:gd name="T32" fmla="*/ 19 w 38"/>
                  <a:gd name="T33" fmla="*/ 25 h 36"/>
                  <a:gd name="T34" fmla="*/ 16 w 38"/>
                  <a:gd name="T35" fmla="*/ 25 h 36"/>
                  <a:gd name="T36" fmla="*/ 18 w 38"/>
                  <a:gd name="T37" fmla="*/ 20 h 36"/>
                  <a:gd name="T38" fmla="*/ 23 w 38"/>
                  <a:gd name="T39" fmla="*/ 17 h 36"/>
                  <a:gd name="T40" fmla="*/ 19 w 38"/>
                  <a:gd name="T41" fmla="*/ 13 h 36"/>
                  <a:gd name="T42" fmla="*/ 37 w 38"/>
                  <a:gd name="T43" fmla="*/ 20 h 36"/>
                  <a:gd name="T44" fmla="*/ 35 w 38"/>
                  <a:gd name="T45" fmla="*/ 22 h 36"/>
                  <a:gd name="T46" fmla="*/ 32 w 38"/>
                  <a:gd name="T47" fmla="*/ 20 h 36"/>
                  <a:gd name="T48" fmla="*/ 27 w 38"/>
                  <a:gd name="T49" fmla="*/ 23 h 36"/>
                  <a:gd name="T50" fmla="*/ 30 w 38"/>
                  <a:gd name="T51" fmla="*/ 30 h 36"/>
                  <a:gd name="T52" fmla="*/ 27 w 38"/>
                  <a:gd name="T53" fmla="*/ 32 h 36"/>
                  <a:gd name="T54" fmla="*/ 30 w 38"/>
                  <a:gd name="T55" fmla="*/ 36 h 36"/>
                  <a:gd name="T56" fmla="*/ 35 w 38"/>
                  <a:gd name="T57" fmla="*/ 29 h 36"/>
                  <a:gd name="T58" fmla="*/ 37 w 38"/>
                  <a:gd name="T59" fmla="*/ 2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8" h="36">
                    <a:moveTo>
                      <a:pt x="19" y="13"/>
                    </a:moveTo>
                    <a:cubicBezTo>
                      <a:pt x="18" y="13"/>
                      <a:pt x="18" y="9"/>
                      <a:pt x="19" y="8"/>
                    </a:cubicBezTo>
                    <a:cubicBezTo>
                      <a:pt x="20" y="6"/>
                      <a:pt x="21" y="2"/>
                      <a:pt x="20" y="1"/>
                    </a:cubicBezTo>
                    <a:cubicBezTo>
                      <a:pt x="19" y="0"/>
                      <a:pt x="14" y="1"/>
                      <a:pt x="14" y="4"/>
                    </a:cubicBezTo>
                    <a:cubicBezTo>
                      <a:pt x="14" y="7"/>
                      <a:pt x="10" y="6"/>
                      <a:pt x="9" y="6"/>
                    </a:cubicBezTo>
                    <a:cubicBezTo>
                      <a:pt x="8" y="7"/>
                      <a:pt x="11" y="9"/>
                      <a:pt x="10" y="10"/>
                    </a:cubicBezTo>
                    <a:cubicBezTo>
                      <a:pt x="8" y="11"/>
                      <a:pt x="8" y="8"/>
                      <a:pt x="5" y="8"/>
                    </a:cubicBezTo>
                    <a:cubicBezTo>
                      <a:pt x="3" y="7"/>
                      <a:pt x="2" y="11"/>
                      <a:pt x="1" y="13"/>
                    </a:cubicBezTo>
                    <a:cubicBezTo>
                      <a:pt x="0" y="15"/>
                      <a:pt x="1" y="20"/>
                      <a:pt x="1" y="23"/>
                    </a:cubicBezTo>
                    <a:cubicBezTo>
                      <a:pt x="1" y="25"/>
                      <a:pt x="5" y="27"/>
                      <a:pt x="4" y="30"/>
                    </a:cubicBezTo>
                    <a:cubicBezTo>
                      <a:pt x="4" y="31"/>
                      <a:pt x="4" y="32"/>
                      <a:pt x="5" y="33"/>
                    </a:cubicBezTo>
                    <a:cubicBezTo>
                      <a:pt x="8" y="33"/>
                      <a:pt x="11" y="33"/>
                      <a:pt x="13" y="34"/>
                    </a:cubicBezTo>
                    <a:cubicBezTo>
                      <a:pt x="13" y="34"/>
                      <a:pt x="14" y="34"/>
                      <a:pt x="16" y="34"/>
                    </a:cubicBezTo>
                    <a:cubicBezTo>
                      <a:pt x="15" y="32"/>
                      <a:pt x="12" y="31"/>
                      <a:pt x="12" y="30"/>
                    </a:cubicBezTo>
                    <a:cubicBezTo>
                      <a:pt x="13" y="28"/>
                      <a:pt x="15" y="29"/>
                      <a:pt x="17" y="30"/>
                    </a:cubicBezTo>
                    <a:cubicBezTo>
                      <a:pt x="18" y="32"/>
                      <a:pt x="22" y="32"/>
                      <a:pt x="22" y="30"/>
                    </a:cubicBezTo>
                    <a:cubicBezTo>
                      <a:pt x="22" y="29"/>
                      <a:pt x="22" y="24"/>
                      <a:pt x="19" y="25"/>
                    </a:cubicBezTo>
                    <a:cubicBezTo>
                      <a:pt x="17" y="26"/>
                      <a:pt x="17" y="26"/>
                      <a:pt x="16" y="25"/>
                    </a:cubicBezTo>
                    <a:cubicBezTo>
                      <a:pt x="15" y="24"/>
                      <a:pt x="17" y="22"/>
                      <a:pt x="18" y="20"/>
                    </a:cubicBezTo>
                    <a:cubicBezTo>
                      <a:pt x="19" y="18"/>
                      <a:pt x="23" y="19"/>
                      <a:pt x="23" y="17"/>
                    </a:cubicBezTo>
                    <a:cubicBezTo>
                      <a:pt x="24" y="15"/>
                      <a:pt x="20" y="14"/>
                      <a:pt x="19" y="13"/>
                    </a:cubicBezTo>
                    <a:close/>
                    <a:moveTo>
                      <a:pt x="37" y="20"/>
                    </a:moveTo>
                    <a:cubicBezTo>
                      <a:pt x="36" y="20"/>
                      <a:pt x="36" y="22"/>
                      <a:pt x="35" y="22"/>
                    </a:cubicBezTo>
                    <a:cubicBezTo>
                      <a:pt x="33" y="23"/>
                      <a:pt x="32" y="18"/>
                      <a:pt x="32" y="20"/>
                    </a:cubicBezTo>
                    <a:cubicBezTo>
                      <a:pt x="31" y="23"/>
                      <a:pt x="29" y="19"/>
                      <a:pt x="27" y="23"/>
                    </a:cubicBezTo>
                    <a:cubicBezTo>
                      <a:pt x="24" y="26"/>
                      <a:pt x="28" y="29"/>
                      <a:pt x="30" y="30"/>
                    </a:cubicBezTo>
                    <a:cubicBezTo>
                      <a:pt x="31" y="31"/>
                      <a:pt x="30" y="33"/>
                      <a:pt x="27" y="32"/>
                    </a:cubicBezTo>
                    <a:cubicBezTo>
                      <a:pt x="25" y="32"/>
                      <a:pt x="27" y="35"/>
                      <a:pt x="30" y="36"/>
                    </a:cubicBezTo>
                    <a:cubicBezTo>
                      <a:pt x="32" y="36"/>
                      <a:pt x="36" y="31"/>
                      <a:pt x="35" y="29"/>
                    </a:cubicBezTo>
                    <a:cubicBezTo>
                      <a:pt x="35" y="28"/>
                      <a:pt x="38" y="21"/>
                      <a:pt x="37" y="2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4" name="Freeform 142">
                <a:extLst>
                  <a:ext uri="{FF2B5EF4-FFF2-40B4-BE49-F238E27FC236}">
                    <a16:creationId xmlns:a16="http://schemas.microsoft.com/office/drawing/2014/main" id="{56555BD9-B286-4A68-A729-9E0215BB80D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33018" y="2525155"/>
                <a:ext cx="229615" cy="406531"/>
              </a:xfrm>
              <a:custGeom>
                <a:avLst/>
                <a:gdLst>
                  <a:gd name="T0" fmla="*/ 98 w 100"/>
                  <a:gd name="T1" fmla="*/ 38 h 176"/>
                  <a:gd name="T2" fmla="*/ 96 w 100"/>
                  <a:gd name="T3" fmla="*/ 24 h 176"/>
                  <a:gd name="T4" fmla="*/ 84 w 100"/>
                  <a:gd name="T5" fmla="*/ 9 h 176"/>
                  <a:gd name="T6" fmla="*/ 70 w 100"/>
                  <a:gd name="T7" fmla="*/ 8 h 176"/>
                  <a:gd name="T8" fmla="*/ 56 w 100"/>
                  <a:gd name="T9" fmla="*/ 8 h 176"/>
                  <a:gd name="T10" fmla="*/ 48 w 100"/>
                  <a:gd name="T11" fmla="*/ 16 h 176"/>
                  <a:gd name="T12" fmla="*/ 40 w 100"/>
                  <a:gd name="T13" fmla="*/ 27 h 176"/>
                  <a:gd name="T14" fmla="*/ 34 w 100"/>
                  <a:gd name="T15" fmla="*/ 37 h 176"/>
                  <a:gd name="T16" fmla="*/ 26 w 100"/>
                  <a:gd name="T17" fmla="*/ 43 h 176"/>
                  <a:gd name="T18" fmla="*/ 21 w 100"/>
                  <a:gd name="T19" fmla="*/ 61 h 176"/>
                  <a:gd name="T20" fmla="*/ 22 w 100"/>
                  <a:gd name="T21" fmla="*/ 70 h 176"/>
                  <a:gd name="T22" fmla="*/ 9 w 100"/>
                  <a:gd name="T23" fmla="*/ 75 h 176"/>
                  <a:gd name="T24" fmla="*/ 8 w 100"/>
                  <a:gd name="T25" fmla="*/ 91 h 176"/>
                  <a:gd name="T26" fmla="*/ 13 w 100"/>
                  <a:gd name="T27" fmla="*/ 105 h 176"/>
                  <a:gd name="T28" fmla="*/ 11 w 100"/>
                  <a:gd name="T29" fmla="*/ 113 h 176"/>
                  <a:gd name="T30" fmla="*/ 6 w 100"/>
                  <a:gd name="T31" fmla="*/ 122 h 176"/>
                  <a:gd name="T32" fmla="*/ 3 w 100"/>
                  <a:gd name="T33" fmla="*/ 134 h 176"/>
                  <a:gd name="T34" fmla="*/ 0 w 100"/>
                  <a:gd name="T35" fmla="*/ 134 h 176"/>
                  <a:gd name="T36" fmla="*/ 6 w 100"/>
                  <a:gd name="T37" fmla="*/ 151 h 176"/>
                  <a:gd name="T38" fmla="*/ 12 w 100"/>
                  <a:gd name="T39" fmla="*/ 164 h 176"/>
                  <a:gd name="T40" fmla="*/ 15 w 100"/>
                  <a:gd name="T41" fmla="*/ 175 h 176"/>
                  <a:gd name="T42" fmla="*/ 24 w 100"/>
                  <a:gd name="T43" fmla="*/ 170 h 176"/>
                  <a:gd name="T44" fmla="*/ 33 w 100"/>
                  <a:gd name="T45" fmla="*/ 167 h 176"/>
                  <a:gd name="T46" fmla="*/ 41 w 100"/>
                  <a:gd name="T47" fmla="*/ 164 h 176"/>
                  <a:gd name="T48" fmla="*/ 42 w 100"/>
                  <a:gd name="T49" fmla="*/ 157 h 176"/>
                  <a:gd name="T50" fmla="*/ 43 w 100"/>
                  <a:gd name="T51" fmla="*/ 140 h 176"/>
                  <a:gd name="T52" fmla="*/ 55 w 100"/>
                  <a:gd name="T53" fmla="*/ 128 h 176"/>
                  <a:gd name="T54" fmla="*/ 52 w 100"/>
                  <a:gd name="T55" fmla="*/ 113 h 176"/>
                  <a:gd name="T56" fmla="*/ 46 w 100"/>
                  <a:gd name="T57" fmla="*/ 103 h 176"/>
                  <a:gd name="T58" fmla="*/ 51 w 100"/>
                  <a:gd name="T59" fmla="*/ 89 h 176"/>
                  <a:gd name="T60" fmla="*/ 60 w 100"/>
                  <a:gd name="T61" fmla="*/ 79 h 176"/>
                  <a:gd name="T62" fmla="*/ 80 w 100"/>
                  <a:gd name="T63" fmla="*/ 65 h 176"/>
                  <a:gd name="T64" fmla="*/ 82 w 100"/>
                  <a:gd name="T65" fmla="*/ 51 h 176"/>
                  <a:gd name="T66" fmla="*/ 96 w 100"/>
                  <a:gd name="T67" fmla="*/ 46 h 176"/>
                  <a:gd name="T68" fmla="*/ 99 w 100"/>
                  <a:gd name="T69" fmla="*/ 42 h 176"/>
                  <a:gd name="T70" fmla="*/ 54 w 100"/>
                  <a:gd name="T71" fmla="*/ 157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00" h="176">
                    <a:moveTo>
                      <a:pt x="99" y="42"/>
                    </a:moveTo>
                    <a:cubicBezTo>
                      <a:pt x="98" y="41"/>
                      <a:pt x="96" y="38"/>
                      <a:pt x="98" y="38"/>
                    </a:cubicBezTo>
                    <a:cubicBezTo>
                      <a:pt x="100" y="38"/>
                      <a:pt x="100" y="32"/>
                      <a:pt x="98" y="31"/>
                    </a:cubicBezTo>
                    <a:cubicBezTo>
                      <a:pt x="96" y="30"/>
                      <a:pt x="98" y="25"/>
                      <a:pt x="96" y="24"/>
                    </a:cubicBezTo>
                    <a:cubicBezTo>
                      <a:pt x="94" y="23"/>
                      <a:pt x="95" y="19"/>
                      <a:pt x="96" y="16"/>
                    </a:cubicBezTo>
                    <a:cubicBezTo>
                      <a:pt x="96" y="13"/>
                      <a:pt x="89" y="11"/>
                      <a:pt x="84" y="9"/>
                    </a:cubicBezTo>
                    <a:cubicBezTo>
                      <a:pt x="80" y="7"/>
                      <a:pt x="78" y="4"/>
                      <a:pt x="75" y="2"/>
                    </a:cubicBezTo>
                    <a:cubicBezTo>
                      <a:pt x="71" y="0"/>
                      <a:pt x="70" y="5"/>
                      <a:pt x="70" y="8"/>
                    </a:cubicBezTo>
                    <a:cubicBezTo>
                      <a:pt x="70" y="11"/>
                      <a:pt x="67" y="12"/>
                      <a:pt x="65" y="10"/>
                    </a:cubicBezTo>
                    <a:cubicBezTo>
                      <a:pt x="63" y="8"/>
                      <a:pt x="60" y="10"/>
                      <a:pt x="56" y="8"/>
                    </a:cubicBezTo>
                    <a:cubicBezTo>
                      <a:pt x="53" y="7"/>
                      <a:pt x="55" y="12"/>
                      <a:pt x="55" y="14"/>
                    </a:cubicBezTo>
                    <a:cubicBezTo>
                      <a:pt x="55" y="16"/>
                      <a:pt x="51" y="16"/>
                      <a:pt x="48" y="16"/>
                    </a:cubicBezTo>
                    <a:cubicBezTo>
                      <a:pt x="46" y="16"/>
                      <a:pt x="42" y="18"/>
                      <a:pt x="42" y="21"/>
                    </a:cubicBezTo>
                    <a:cubicBezTo>
                      <a:pt x="42" y="24"/>
                      <a:pt x="39" y="25"/>
                      <a:pt x="40" y="27"/>
                    </a:cubicBezTo>
                    <a:cubicBezTo>
                      <a:pt x="41" y="28"/>
                      <a:pt x="40" y="30"/>
                      <a:pt x="38" y="31"/>
                    </a:cubicBezTo>
                    <a:cubicBezTo>
                      <a:pt x="37" y="32"/>
                      <a:pt x="35" y="36"/>
                      <a:pt x="34" y="37"/>
                    </a:cubicBezTo>
                    <a:cubicBezTo>
                      <a:pt x="33" y="38"/>
                      <a:pt x="35" y="40"/>
                      <a:pt x="32" y="42"/>
                    </a:cubicBezTo>
                    <a:cubicBezTo>
                      <a:pt x="30" y="43"/>
                      <a:pt x="27" y="42"/>
                      <a:pt x="26" y="43"/>
                    </a:cubicBezTo>
                    <a:cubicBezTo>
                      <a:pt x="25" y="44"/>
                      <a:pt x="26" y="47"/>
                      <a:pt x="26" y="50"/>
                    </a:cubicBezTo>
                    <a:cubicBezTo>
                      <a:pt x="26" y="54"/>
                      <a:pt x="23" y="58"/>
                      <a:pt x="21" y="61"/>
                    </a:cubicBezTo>
                    <a:cubicBezTo>
                      <a:pt x="18" y="64"/>
                      <a:pt x="21" y="65"/>
                      <a:pt x="22" y="65"/>
                    </a:cubicBezTo>
                    <a:cubicBezTo>
                      <a:pt x="24" y="65"/>
                      <a:pt x="24" y="67"/>
                      <a:pt x="22" y="70"/>
                    </a:cubicBezTo>
                    <a:cubicBezTo>
                      <a:pt x="21" y="72"/>
                      <a:pt x="19" y="70"/>
                      <a:pt x="17" y="70"/>
                    </a:cubicBezTo>
                    <a:cubicBezTo>
                      <a:pt x="16" y="70"/>
                      <a:pt x="11" y="71"/>
                      <a:pt x="9" y="75"/>
                    </a:cubicBezTo>
                    <a:cubicBezTo>
                      <a:pt x="7" y="79"/>
                      <a:pt x="8" y="81"/>
                      <a:pt x="8" y="83"/>
                    </a:cubicBezTo>
                    <a:cubicBezTo>
                      <a:pt x="9" y="85"/>
                      <a:pt x="6" y="87"/>
                      <a:pt x="8" y="91"/>
                    </a:cubicBezTo>
                    <a:cubicBezTo>
                      <a:pt x="10" y="95"/>
                      <a:pt x="8" y="96"/>
                      <a:pt x="8" y="99"/>
                    </a:cubicBezTo>
                    <a:cubicBezTo>
                      <a:pt x="8" y="102"/>
                      <a:pt x="13" y="102"/>
                      <a:pt x="13" y="105"/>
                    </a:cubicBezTo>
                    <a:cubicBezTo>
                      <a:pt x="14" y="108"/>
                      <a:pt x="12" y="109"/>
                      <a:pt x="10" y="109"/>
                    </a:cubicBezTo>
                    <a:cubicBezTo>
                      <a:pt x="9" y="109"/>
                      <a:pt x="9" y="112"/>
                      <a:pt x="11" y="113"/>
                    </a:cubicBezTo>
                    <a:cubicBezTo>
                      <a:pt x="12" y="113"/>
                      <a:pt x="12" y="119"/>
                      <a:pt x="11" y="120"/>
                    </a:cubicBezTo>
                    <a:cubicBezTo>
                      <a:pt x="10" y="122"/>
                      <a:pt x="5" y="120"/>
                      <a:pt x="6" y="122"/>
                    </a:cubicBezTo>
                    <a:cubicBezTo>
                      <a:pt x="6" y="124"/>
                      <a:pt x="5" y="127"/>
                      <a:pt x="5" y="129"/>
                    </a:cubicBezTo>
                    <a:cubicBezTo>
                      <a:pt x="5" y="130"/>
                      <a:pt x="4" y="135"/>
                      <a:pt x="3" y="134"/>
                    </a:cubicBezTo>
                    <a:cubicBezTo>
                      <a:pt x="2" y="134"/>
                      <a:pt x="1" y="134"/>
                      <a:pt x="0" y="134"/>
                    </a:cubicBezTo>
                    <a:cubicBezTo>
                      <a:pt x="0" y="134"/>
                      <a:pt x="0" y="134"/>
                      <a:pt x="0" y="134"/>
                    </a:cubicBezTo>
                    <a:cubicBezTo>
                      <a:pt x="0" y="137"/>
                      <a:pt x="1" y="140"/>
                      <a:pt x="4" y="143"/>
                    </a:cubicBezTo>
                    <a:cubicBezTo>
                      <a:pt x="6" y="145"/>
                      <a:pt x="4" y="148"/>
                      <a:pt x="6" y="151"/>
                    </a:cubicBezTo>
                    <a:cubicBezTo>
                      <a:pt x="9" y="154"/>
                      <a:pt x="8" y="156"/>
                      <a:pt x="11" y="158"/>
                    </a:cubicBezTo>
                    <a:cubicBezTo>
                      <a:pt x="13" y="160"/>
                      <a:pt x="13" y="161"/>
                      <a:pt x="12" y="164"/>
                    </a:cubicBezTo>
                    <a:cubicBezTo>
                      <a:pt x="11" y="167"/>
                      <a:pt x="14" y="166"/>
                      <a:pt x="14" y="168"/>
                    </a:cubicBezTo>
                    <a:cubicBezTo>
                      <a:pt x="15" y="170"/>
                      <a:pt x="14" y="173"/>
                      <a:pt x="15" y="175"/>
                    </a:cubicBezTo>
                    <a:cubicBezTo>
                      <a:pt x="15" y="176"/>
                      <a:pt x="17" y="175"/>
                      <a:pt x="21" y="175"/>
                    </a:cubicBezTo>
                    <a:cubicBezTo>
                      <a:pt x="25" y="174"/>
                      <a:pt x="24" y="172"/>
                      <a:pt x="24" y="170"/>
                    </a:cubicBezTo>
                    <a:cubicBezTo>
                      <a:pt x="24" y="168"/>
                      <a:pt x="26" y="169"/>
                      <a:pt x="26" y="167"/>
                    </a:cubicBezTo>
                    <a:cubicBezTo>
                      <a:pt x="27" y="166"/>
                      <a:pt x="30" y="165"/>
                      <a:pt x="33" y="167"/>
                    </a:cubicBezTo>
                    <a:cubicBezTo>
                      <a:pt x="36" y="168"/>
                      <a:pt x="37" y="166"/>
                      <a:pt x="38" y="163"/>
                    </a:cubicBezTo>
                    <a:cubicBezTo>
                      <a:pt x="38" y="160"/>
                      <a:pt x="40" y="163"/>
                      <a:pt x="41" y="164"/>
                    </a:cubicBezTo>
                    <a:cubicBezTo>
                      <a:pt x="41" y="165"/>
                      <a:pt x="44" y="160"/>
                      <a:pt x="45" y="156"/>
                    </a:cubicBezTo>
                    <a:cubicBezTo>
                      <a:pt x="46" y="153"/>
                      <a:pt x="45" y="154"/>
                      <a:pt x="42" y="157"/>
                    </a:cubicBezTo>
                    <a:cubicBezTo>
                      <a:pt x="39" y="160"/>
                      <a:pt x="41" y="154"/>
                      <a:pt x="42" y="151"/>
                    </a:cubicBezTo>
                    <a:cubicBezTo>
                      <a:pt x="43" y="149"/>
                      <a:pt x="43" y="142"/>
                      <a:pt x="43" y="140"/>
                    </a:cubicBezTo>
                    <a:cubicBezTo>
                      <a:pt x="44" y="138"/>
                      <a:pt x="44" y="136"/>
                      <a:pt x="48" y="135"/>
                    </a:cubicBezTo>
                    <a:cubicBezTo>
                      <a:pt x="51" y="134"/>
                      <a:pt x="56" y="130"/>
                      <a:pt x="55" y="128"/>
                    </a:cubicBezTo>
                    <a:cubicBezTo>
                      <a:pt x="54" y="127"/>
                      <a:pt x="60" y="124"/>
                      <a:pt x="60" y="122"/>
                    </a:cubicBezTo>
                    <a:cubicBezTo>
                      <a:pt x="60" y="120"/>
                      <a:pt x="54" y="114"/>
                      <a:pt x="52" y="113"/>
                    </a:cubicBezTo>
                    <a:cubicBezTo>
                      <a:pt x="50" y="112"/>
                      <a:pt x="46" y="113"/>
                      <a:pt x="47" y="112"/>
                    </a:cubicBezTo>
                    <a:cubicBezTo>
                      <a:pt x="47" y="110"/>
                      <a:pt x="46" y="105"/>
                      <a:pt x="46" y="103"/>
                    </a:cubicBezTo>
                    <a:cubicBezTo>
                      <a:pt x="45" y="100"/>
                      <a:pt x="49" y="97"/>
                      <a:pt x="49" y="95"/>
                    </a:cubicBezTo>
                    <a:cubicBezTo>
                      <a:pt x="49" y="92"/>
                      <a:pt x="48" y="90"/>
                      <a:pt x="51" y="89"/>
                    </a:cubicBezTo>
                    <a:cubicBezTo>
                      <a:pt x="53" y="88"/>
                      <a:pt x="52" y="86"/>
                      <a:pt x="55" y="85"/>
                    </a:cubicBezTo>
                    <a:cubicBezTo>
                      <a:pt x="58" y="84"/>
                      <a:pt x="57" y="80"/>
                      <a:pt x="60" y="79"/>
                    </a:cubicBezTo>
                    <a:cubicBezTo>
                      <a:pt x="63" y="77"/>
                      <a:pt x="64" y="76"/>
                      <a:pt x="68" y="74"/>
                    </a:cubicBezTo>
                    <a:cubicBezTo>
                      <a:pt x="72" y="72"/>
                      <a:pt x="79" y="68"/>
                      <a:pt x="80" y="65"/>
                    </a:cubicBezTo>
                    <a:cubicBezTo>
                      <a:pt x="81" y="63"/>
                      <a:pt x="76" y="60"/>
                      <a:pt x="79" y="57"/>
                    </a:cubicBezTo>
                    <a:cubicBezTo>
                      <a:pt x="83" y="55"/>
                      <a:pt x="80" y="52"/>
                      <a:pt x="82" y="51"/>
                    </a:cubicBezTo>
                    <a:cubicBezTo>
                      <a:pt x="85" y="50"/>
                      <a:pt x="86" y="49"/>
                      <a:pt x="88" y="47"/>
                    </a:cubicBezTo>
                    <a:cubicBezTo>
                      <a:pt x="89" y="45"/>
                      <a:pt x="92" y="46"/>
                      <a:pt x="96" y="46"/>
                    </a:cubicBezTo>
                    <a:cubicBezTo>
                      <a:pt x="98" y="46"/>
                      <a:pt x="99" y="46"/>
                      <a:pt x="100" y="46"/>
                    </a:cubicBezTo>
                    <a:cubicBezTo>
                      <a:pt x="100" y="44"/>
                      <a:pt x="100" y="43"/>
                      <a:pt x="99" y="42"/>
                    </a:cubicBezTo>
                    <a:close/>
                    <a:moveTo>
                      <a:pt x="59" y="147"/>
                    </a:moveTo>
                    <a:cubicBezTo>
                      <a:pt x="55" y="147"/>
                      <a:pt x="52" y="156"/>
                      <a:pt x="54" y="157"/>
                    </a:cubicBezTo>
                    <a:cubicBezTo>
                      <a:pt x="55" y="158"/>
                      <a:pt x="64" y="146"/>
                      <a:pt x="59" y="14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5" name="Freeform 143">
                <a:extLst>
                  <a:ext uri="{FF2B5EF4-FFF2-40B4-BE49-F238E27FC236}">
                    <a16:creationId xmlns:a16="http://schemas.microsoft.com/office/drawing/2014/main" id="{CFBA9559-8011-4DCA-A98E-C7843FFF533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23736" y="2813742"/>
                <a:ext cx="115435" cy="55208"/>
              </a:xfrm>
              <a:custGeom>
                <a:avLst/>
                <a:gdLst>
                  <a:gd name="T0" fmla="*/ 47 w 50"/>
                  <a:gd name="T1" fmla="*/ 6 h 24"/>
                  <a:gd name="T2" fmla="*/ 48 w 50"/>
                  <a:gd name="T3" fmla="*/ 1 h 24"/>
                  <a:gd name="T4" fmla="*/ 46 w 50"/>
                  <a:gd name="T5" fmla="*/ 2 h 24"/>
                  <a:gd name="T6" fmla="*/ 31 w 50"/>
                  <a:gd name="T7" fmla="*/ 0 h 24"/>
                  <a:gd name="T8" fmla="*/ 16 w 50"/>
                  <a:gd name="T9" fmla="*/ 3 h 24"/>
                  <a:gd name="T10" fmla="*/ 11 w 50"/>
                  <a:gd name="T11" fmla="*/ 8 h 24"/>
                  <a:gd name="T12" fmla="*/ 13 w 50"/>
                  <a:gd name="T13" fmla="*/ 13 h 24"/>
                  <a:gd name="T14" fmla="*/ 18 w 50"/>
                  <a:gd name="T15" fmla="*/ 16 h 24"/>
                  <a:gd name="T16" fmla="*/ 19 w 50"/>
                  <a:gd name="T17" fmla="*/ 19 h 24"/>
                  <a:gd name="T18" fmla="*/ 19 w 50"/>
                  <a:gd name="T19" fmla="*/ 19 h 24"/>
                  <a:gd name="T20" fmla="*/ 28 w 50"/>
                  <a:gd name="T21" fmla="*/ 19 h 24"/>
                  <a:gd name="T22" fmla="*/ 36 w 50"/>
                  <a:gd name="T23" fmla="*/ 24 h 24"/>
                  <a:gd name="T24" fmla="*/ 44 w 50"/>
                  <a:gd name="T25" fmla="*/ 24 h 24"/>
                  <a:gd name="T26" fmla="*/ 44 w 50"/>
                  <a:gd name="T27" fmla="*/ 22 h 24"/>
                  <a:gd name="T28" fmla="*/ 46 w 50"/>
                  <a:gd name="T29" fmla="*/ 19 h 24"/>
                  <a:gd name="T30" fmla="*/ 44 w 50"/>
                  <a:gd name="T31" fmla="*/ 15 h 24"/>
                  <a:gd name="T32" fmla="*/ 44 w 50"/>
                  <a:gd name="T33" fmla="*/ 11 h 24"/>
                  <a:gd name="T34" fmla="*/ 47 w 50"/>
                  <a:gd name="T35" fmla="*/ 6 h 24"/>
                  <a:gd name="T36" fmla="*/ 4 w 50"/>
                  <a:gd name="T37" fmla="*/ 12 h 24"/>
                  <a:gd name="T38" fmla="*/ 1 w 50"/>
                  <a:gd name="T39" fmla="*/ 19 h 24"/>
                  <a:gd name="T40" fmla="*/ 10 w 50"/>
                  <a:gd name="T41" fmla="*/ 14 h 24"/>
                  <a:gd name="T42" fmla="*/ 4 w 50"/>
                  <a:gd name="T43" fmla="*/ 12 h 24"/>
                  <a:gd name="T44" fmla="*/ 8 w 50"/>
                  <a:gd name="T45" fmla="*/ 9 h 24"/>
                  <a:gd name="T46" fmla="*/ 3 w 50"/>
                  <a:gd name="T47" fmla="*/ 9 h 24"/>
                  <a:gd name="T48" fmla="*/ 8 w 50"/>
                  <a:gd name="T49" fmla="*/ 9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0" h="24">
                    <a:moveTo>
                      <a:pt x="47" y="6"/>
                    </a:moveTo>
                    <a:cubicBezTo>
                      <a:pt x="48" y="4"/>
                      <a:pt x="50" y="4"/>
                      <a:pt x="48" y="1"/>
                    </a:cubicBezTo>
                    <a:cubicBezTo>
                      <a:pt x="48" y="1"/>
                      <a:pt x="47" y="2"/>
                      <a:pt x="46" y="2"/>
                    </a:cubicBezTo>
                    <a:cubicBezTo>
                      <a:pt x="43" y="3"/>
                      <a:pt x="35" y="0"/>
                      <a:pt x="31" y="0"/>
                    </a:cubicBezTo>
                    <a:cubicBezTo>
                      <a:pt x="27" y="1"/>
                      <a:pt x="18" y="1"/>
                      <a:pt x="16" y="3"/>
                    </a:cubicBezTo>
                    <a:cubicBezTo>
                      <a:pt x="14" y="6"/>
                      <a:pt x="9" y="6"/>
                      <a:pt x="11" y="8"/>
                    </a:cubicBezTo>
                    <a:cubicBezTo>
                      <a:pt x="14" y="10"/>
                      <a:pt x="11" y="11"/>
                      <a:pt x="13" y="13"/>
                    </a:cubicBezTo>
                    <a:cubicBezTo>
                      <a:pt x="15" y="15"/>
                      <a:pt x="16" y="16"/>
                      <a:pt x="18" y="16"/>
                    </a:cubicBezTo>
                    <a:cubicBezTo>
                      <a:pt x="20" y="15"/>
                      <a:pt x="22" y="17"/>
                      <a:pt x="19" y="19"/>
                    </a:cubicBezTo>
                    <a:cubicBezTo>
                      <a:pt x="19" y="19"/>
                      <a:pt x="19" y="19"/>
                      <a:pt x="19" y="19"/>
                    </a:cubicBezTo>
                    <a:cubicBezTo>
                      <a:pt x="23" y="19"/>
                      <a:pt x="27" y="19"/>
                      <a:pt x="28" y="19"/>
                    </a:cubicBezTo>
                    <a:cubicBezTo>
                      <a:pt x="29" y="20"/>
                      <a:pt x="35" y="24"/>
                      <a:pt x="36" y="24"/>
                    </a:cubicBezTo>
                    <a:cubicBezTo>
                      <a:pt x="37" y="24"/>
                      <a:pt x="41" y="24"/>
                      <a:pt x="44" y="24"/>
                    </a:cubicBezTo>
                    <a:cubicBezTo>
                      <a:pt x="43" y="23"/>
                      <a:pt x="43" y="23"/>
                      <a:pt x="44" y="22"/>
                    </a:cubicBezTo>
                    <a:cubicBezTo>
                      <a:pt x="45" y="21"/>
                      <a:pt x="47" y="21"/>
                      <a:pt x="46" y="19"/>
                    </a:cubicBezTo>
                    <a:cubicBezTo>
                      <a:pt x="45" y="18"/>
                      <a:pt x="45" y="17"/>
                      <a:pt x="44" y="15"/>
                    </a:cubicBezTo>
                    <a:cubicBezTo>
                      <a:pt x="44" y="13"/>
                      <a:pt x="44" y="12"/>
                      <a:pt x="44" y="11"/>
                    </a:cubicBezTo>
                    <a:cubicBezTo>
                      <a:pt x="44" y="9"/>
                      <a:pt x="45" y="9"/>
                      <a:pt x="47" y="6"/>
                    </a:cubicBezTo>
                    <a:close/>
                    <a:moveTo>
                      <a:pt x="4" y="12"/>
                    </a:moveTo>
                    <a:cubicBezTo>
                      <a:pt x="0" y="13"/>
                      <a:pt x="0" y="19"/>
                      <a:pt x="1" y="19"/>
                    </a:cubicBezTo>
                    <a:cubicBezTo>
                      <a:pt x="3" y="19"/>
                      <a:pt x="8" y="15"/>
                      <a:pt x="10" y="14"/>
                    </a:cubicBezTo>
                    <a:cubicBezTo>
                      <a:pt x="11" y="12"/>
                      <a:pt x="9" y="11"/>
                      <a:pt x="4" y="12"/>
                    </a:cubicBezTo>
                    <a:close/>
                    <a:moveTo>
                      <a:pt x="8" y="9"/>
                    </a:moveTo>
                    <a:cubicBezTo>
                      <a:pt x="9" y="7"/>
                      <a:pt x="1" y="8"/>
                      <a:pt x="3" y="9"/>
                    </a:cubicBezTo>
                    <a:cubicBezTo>
                      <a:pt x="4" y="11"/>
                      <a:pt x="7" y="11"/>
                      <a:pt x="8" y="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6" name="Freeform 144">
                <a:extLst>
                  <a:ext uri="{FF2B5EF4-FFF2-40B4-BE49-F238E27FC236}">
                    <a16:creationId xmlns:a16="http://schemas.microsoft.com/office/drawing/2014/main" id="{FC2E7771-172F-47EC-81B7-E1345898E0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38294" y="3994439"/>
                <a:ext cx="148058" cy="181935"/>
              </a:xfrm>
              <a:custGeom>
                <a:avLst/>
                <a:gdLst>
                  <a:gd name="T0" fmla="*/ 57 w 64"/>
                  <a:gd name="T1" fmla="*/ 18 h 79"/>
                  <a:gd name="T2" fmla="*/ 61 w 64"/>
                  <a:gd name="T3" fmla="*/ 12 h 79"/>
                  <a:gd name="T4" fmla="*/ 64 w 64"/>
                  <a:gd name="T5" fmla="*/ 7 h 79"/>
                  <a:gd name="T6" fmla="*/ 60 w 64"/>
                  <a:gd name="T7" fmla="*/ 8 h 79"/>
                  <a:gd name="T8" fmla="*/ 56 w 64"/>
                  <a:gd name="T9" fmla="*/ 6 h 79"/>
                  <a:gd name="T10" fmla="*/ 50 w 64"/>
                  <a:gd name="T11" fmla="*/ 8 h 79"/>
                  <a:gd name="T12" fmla="*/ 44 w 64"/>
                  <a:gd name="T13" fmla="*/ 12 h 79"/>
                  <a:gd name="T14" fmla="*/ 35 w 64"/>
                  <a:gd name="T15" fmla="*/ 10 h 79"/>
                  <a:gd name="T16" fmla="*/ 26 w 64"/>
                  <a:gd name="T17" fmla="*/ 5 h 79"/>
                  <a:gd name="T18" fmla="*/ 17 w 64"/>
                  <a:gd name="T19" fmla="*/ 3 h 79"/>
                  <a:gd name="T20" fmla="*/ 13 w 64"/>
                  <a:gd name="T21" fmla="*/ 1 h 79"/>
                  <a:gd name="T22" fmla="*/ 8 w 64"/>
                  <a:gd name="T23" fmla="*/ 1 h 79"/>
                  <a:gd name="T24" fmla="*/ 2 w 64"/>
                  <a:gd name="T25" fmla="*/ 5 h 79"/>
                  <a:gd name="T26" fmla="*/ 1 w 64"/>
                  <a:gd name="T27" fmla="*/ 6 h 79"/>
                  <a:gd name="T28" fmla="*/ 4 w 64"/>
                  <a:gd name="T29" fmla="*/ 10 h 79"/>
                  <a:gd name="T30" fmla="*/ 5 w 64"/>
                  <a:gd name="T31" fmla="*/ 15 h 79"/>
                  <a:gd name="T32" fmla="*/ 8 w 64"/>
                  <a:gd name="T33" fmla="*/ 18 h 79"/>
                  <a:gd name="T34" fmla="*/ 8 w 64"/>
                  <a:gd name="T35" fmla="*/ 25 h 79"/>
                  <a:gd name="T36" fmla="*/ 3 w 64"/>
                  <a:gd name="T37" fmla="*/ 34 h 79"/>
                  <a:gd name="T38" fmla="*/ 0 w 64"/>
                  <a:gd name="T39" fmla="*/ 39 h 79"/>
                  <a:gd name="T40" fmla="*/ 5 w 64"/>
                  <a:gd name="T41" fmla="*/ 42 h 79"/>
                  <a:gd name="T42" fmla="*/ 0 w 64"/>
                  <a:gd name="T43" fmla="*/ 47 h 79"/>
                  <a:gd name="T44" fmla="*/ 0 w 64"/>
                  <a:gd name="T45" fmla="*/ 48 h 79"/>
                  <a:gd name="T46" fmla="*/ 30 w 64"/>
                  <a:gd name="T47" fmla="*/ 64 h 79"/>
                  <a:gd name="T48" fmla="*/ 30 w 64"/>
                  <a:gd name="T49" fmla="*/ 69 h 79"/>
                  <a:gd name="T50" fmla="*/ 43 w 64"/>
                  <a:gd name="T51" fmla="*/ 79 h 79"/>
                  <a:gd name="T52" fmla="*/ 51 w 64"/>
                  <a:gd name="T53" fmla="*/ 61 h 79"/>
                  <a:gd name="T54" fmla="*/ 56 w 64"/>
                  <a:gd name="T55" fmla="*/ 57 h 79"/>
                  <a:gd name="T56" fmla="*/ 61 w 64"/>
                  <a:gd name="T57" fmla="*/ 54 h 79"/>
                  <a:gd name="T58" fmla="*/ 61 w 64"/>
                  <a:gd name="T59" fmla="*/ 53 h 79"/>
                  <a:gd name="T60" fmla="*/ 57 w 64"/>
                  <a:gd name="T61" fmla="*/ 47 h 79"/>
                  <a:gd name="T62" fmla="*/ 57 w 64"/>
                  <a:gd name="T63" fmla="*/ 18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64" h="79">
                    <a:moveTo>
                      <a:pt x="57" y="18"/>
                    </a:moveTo>
                    <a:cubicBezTo>
                      <a:pt x="61" y="12"/>
                      <a:pt x="61" y="12"/>
                      <a:pt x="61" y="12"/>
                    </a:cubicBezTo>
                    <a:cubicBezTo>
                      <a:pt x="64" y="7"/>
                      <a:pt x="64" y="7"/>
                      <a:pt x="64" y="7"/>
                    </a:cubicBezTo>
                    <a:cubicBezTo>
                      <a:pt x="63" y="7"/>
                      <a:pt x="61" y="8"/>
                      <a:pt x="60" y="8"/>
                    </a:cubicBezTo>
                    <a:cubicBezTo>
                      <a:pt x="59" y="9"/>
                      <a:pt x="57" y="8"/>
                      <a:pt x="56" y="6"/>
                    </a:cubicBezTo>
                    <a:cubicBezTo>
                      <a:pt x="56" y="5"/>
                      <a:pt x="52" y="6"/>
                      <a:pt x="50" y="8"/>
                    </a:cubicBezTo>
                    <a:cubicBezTo>
                      <a:pt x="47" y="9"/>
                      <a:pt x="45" y="13"/>
                      <a:pt x="44" y="12"/>
                    </a:cubicBezTo>
                    <a:cubicBezTo>
                      <a:pt x="43" y="11"/>
                      <a:pt x="37" y="10"/>
                      <a:pt x="35" y="10"/>
                    </a:cubicBezTo>
                    <a:cubicBezTo>
                      <a:pt x="33" y="10"/>
                      <a:pt x="27" y="7"/>
                      <a:pt x="26" y="5"/>
                    </a:cubicBezTo>
                    <a:cubicBezTo>
                      <a:pt x="24" y="3"/>
                      <a:pt x="19" y="4"/>
                      <a:pt x="17" y="3"/>
                    </a:cubicBezTo>
                    <a:cubicBezTo>
                      <a:pt x="16" y="3"/>
                      <a:pt x="14" y="2"/>
                      <a:pt x="13" y="1"/>
                    </a:cubicBezTo>
                    <a:cubicBezTo>
                      <a:pt x="12" y="0"/>
                      <a:pt x="10" y="0"/>
                      <a:pt x="8" y="1"/>
                    </a:cubicBezTo>
                    <a:cubicBezTo>
                      <a:pt x="6" y="1"/>
                      <a:pt x="2" y="3"/>
                      <a:pt x="2" y="5"/>
                    </a:cubicBezTo>
                    <a:cubicBezTo>
                      <a:pt x="1" y="5"/>
                      <a:pt x="1" y="6"/>
                      <a:pt x="1" y="6"/>
                    </a:cubicBezTo>
                    <a:cubicBezTo>
                      <a:pt x="4" y="10"/>
                      <a:pt x="4" y="10"/>
                      <a:pt x="4" y="10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8" y="18"/>
                      <a:pt x="8" y="18"/>
                      <a:pt x="8" y="18"/>
                    </a:cubicBezTo>
                    <a:cubicBezTo>
                      <a:pt x="8" y="18"/>
                      <a:pt x="8" y="21"/>
                      <a:pt x="8" y="25"/>
                    </a:cubicBezTo>
                    <a:cubicBezTo>
                      <a:pt x="7" y="28"/>
                      <a:pt x="5" y="32"/>
                      <a:pt x="3" y="34"/>
                    </a:cubicBezTo>
                    <a:cubicBezTo>
                      <a:pt x="2" y="35"/>
                      <a:pt x="1" y="37"/>
                      <a:pt x="0" y="39"/>
                    </a:cubicBezTo>
                    <a:cubicBezTo>
                      <a:pt x="3" y="40"/>
                      <a:pt x="6" y="41"/>
                      <a:pt x="5" y="42"/>
                    </a:cubicBezTo>
                    <a:cubicBezTo>
                      <a:pt x="5" y="44"/>
                      <a:pt x="0" y="43"/>
                      <a:pt x="0" y="47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30" y="64"/>
                      <a:pt x="30" y="64"/>
                      <a:pt x="30" y="64"/>
                    </a:cubicBezTo>
                    <a:cubicBezTo>
                      <a:pt x="30" y="69"/>
                      <a:pt x="30" y="69"/>
                      <a:pt x="30" y="69"/>
                    </a:cubicBezTo>
                    <a:cubicBezTo>
                      <a:pt x="30" y="69"/>
                      <a:pt x="37" y="74"/>
                      <a:pt x="43" y="79"/>
                    </a:cubicBezTo>
                    <a:cubicBezTo>
                      <a:pt x="46" y="71"/>
                      <a:pt x="50" y="63"/>
                      <a:pt x="51" y="61"/>
                    </a:cubicBezTo>
                    <a:cubicBezTo>
                      <a:pt x="53" y="59"/>
                      <a:pt x="55" y="59"/>
                      <a:pt x="56" y="57"/>
                    </a:cubicBezTo>
                    <a:cubicBezTo>
                      <a:pt x="58" y="55"/>
                      <a:pt x="58" y="58"/>
                      <a:pt x="61" y="54"/>
                    </a:cubicBezTo>
                    <a:cubicBezTo>
                      <a:pt x="61" y="54"/>
                      <a:pt x="61" y="54"/>
                      <a:pt x="61" y="53"/>
                    </a:cubicBezTo>
                    <a:cubicBezTo>
                      <a:pt x="57" y="47"/>
                      <a:pt x="57" y="47"/>
                      <a:pt x="57" y="47"/>
                    </a:cubicBezTo>
                    <a:lnTo>
                      <a:pt x="57" y="18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7" name="Freeform 145">
                <a:extLst>
                  <a:ext uri="{FF2B5EF4-FFF2-40B4-BE49-F238E27FC236}">
                    <a16:creationId xmlns:a16="http://schemas.microsoft.com/office/drawing/2014/main" id="{1EEB1439-ED07-492A-9E07-93EF6145FE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5482" y="4008241"/>
                <a:ext cx="101633" cy="105397"/>
              </a:xfrm>
              <a:custGeom>
                <a:avLst/>
                <a:gdLst>
                  <a:gd name="T0" fmla="*/ 41 w 44"/>
                  <a:gd name="T1" fmla="*/ 9 h 46"/>
                  <a:gd name="T2" fmla="*/ 40 w 44"/>
                  <a:gd name="T3" fmla="*/ 4 h 46"/>
                  <a:gd name="T4" fmla="*/ 37 w 44"/>
                  <a:gd name="T5" fmla="*/ 0 h 46"/>
                  <a:gd name="T6" fmla="*/ 34 w 44"/>
                  <a:gd name="T7" fmla="*/ 3 h 46"/>
                  <a:gd name="T8" fmla="*/ 29 w 44"/>
                  <a:gd name="T9" fmla="*/ 3 h 46"/>
                  <a:gd name="T10" fmla="*/ 23 w 44"/>
                  <a:gd name="T11" fmla="*/ 5 h 46"/>
                  <a:gd name="T12" fmla="*/ 18 w 44"/>
                  <a:gd name="T13" fmla="*/ 3 h 46"/>
                  <a:gd name="T14" fmla="*/ 12 w 44"/>
                  <a:gd name="T15" fmla="*/ 5 h 46"/>
                  <a:gd name="T16" fmla="*/ 11 w 44"/>
                  <a:gd name="T17" fmla="*/ 12 h 46"/>
                  <a:gd name="T18" fmla="*/ 14 w 44"/>
                  <a:gd name="T19" fmla="*/ 16 h 46"/>
                  <a:gd name="T20" fmla="*/ 11 w 44"/>
                  <a:gd name="T21" fmla="*/ 20 h 46"/>
                  <a:gd name="T22" fmla="*/ 8 w 44"/>
                  <a:gd name="T23" fmla="*/ 22 h 46"/>
                  <a:gd name="T24" fmla="*/ 5 w 44"/>
                  <a:gd name="T25" fmla="*/ 27 h 46"/>
                  <a:gd name="T26" fmla="*/ 3 w 44"/>
                  <a:gd name="T27" fmla="*/ 33 h 46"/>
                  <a:gd name="T28" fmla="*/ 2 w 44"/>
                  <a:gd name="T29" fmla="*/ 40 h 46"/>
                  <a:gd name="T30" fmla="*/ 0 w 44"/>
                  <a:gd name="T31" fmla="*/ 45 h 46"/>
                  <a:gd name="T32" fmla="*/ 4 w 44"/>
                  <a:gd name="T33" fmla="*/ 45 h 46"/>
                  <a:gd name="T34" fmla="*/ 13 w 44"/>
                  <a:gd name="T35" fmla="*/ 42 h 46"/>
                  <a:gd name="T36" fmla="*/ 19 w 44"/>
                  <a:gd name="T37" fmla="*/ 42 h 46"/>
                  <a:gd name="T38" fmla="*/ 25 w 44"/>
                  <a:gd name="T39" fmla="*/ 33 h 46"/>
                  <a:gd name="T40" fmla="*/ 36 w 44"/>
                  <a:gd name="T41" fmla="*/ 33 h 46"/>
                  <a:gd name="T42" fmla="*/ 39 w 44"/>
                  <a:gd name="T43" fmla="*/ 28 h 46"/>
                  <a:gd name="T44" fmla="*/ 44 w 44"/>
                  <a:gd name="T45" fmla="*/ 19 h 46"/>
                  <a:gd name="T46" fmla="*/ 44 w 44"/>
                  <a:gd name="T47" fmla="*/ 12 h 46"/>
                  <a:gd name="T48" fmla="*/ 41 w 44"/>
                  <a:gd name="T49" fmla="*/ 9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4" h="46">
                    <a:moveTo>
                      <a:pt x="41" y="9"/>
                    </a:moveTo>
                    <a:cubicBezTo>
                      <a:pt x="40" y="4"/>
                      <a:pt x="40" y="4"/>
                      <a:pt x="40" y="4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35" y="1"/>
                      <a:pt x="34" y="2"/>
                      <a:pt x="34" y="3"/>
                    </a:cubicBezTo>
                    <a:cubicBezTo>
                      <a:pt x="34" y="4"/>
                      <a:pt x="30" y="4"/>
                      <a:pt x="29" y="3"/>
                    </a:cubicBezTo>
                    <a:cubicBezTo>
                      <a:pt x="27" y="2"/>
                      <a:pt x="24" y="4"/>
                      <a:pt x="23" y="5"/>
                    </a:cubicBezTo>
                    <a:cubicBezTo>
                      <a:pt x="22" y="6"/>
                      <a:pt x="20" y="3"/>
                      <a:pt x="18" y="3"/>
                    </a:cubicBezTo>
                    <a:cubicBezTo>
                      <a:pt x="16" y="3"/>
                      <a:pt x="12" y="5"/>
                      <a:pt x="12" y="5"/>
                    </a:cubicBezTo>
                    <a:cubicBezTo>
                      <a:pt x="12" y="5"/>
                      <a:pt x="11" y="10"/>
                      <a:pt x="11" y="12"/>
                    </a:cubicBezTo>
                    <a:cubicBezTo>
                      <a:pt x="11" y="14"/>
                      <a:pt x="14" y="14"/>
                      <a:pt x="14" y="16"/>
                    </a:cubicBezTo>
                    <a:cubicBezTo>
                      <a:pt x="14" y="18"/>
                      <a:pt x="12" y="19"/>
                      <a:pt x="11" y="20"/>
                    </a:cubicBezTo>
                    <a:cubicBezTo>
                      <a:pt x="11" y="21"/>
                      <a:pt x="10" y="22"/>
                      <a:pt x="8" y="22"/>
                    </a:cubicBezTo>
                    <a:cubicBezTo>
                      <a:pt x="6" y="23"/>
                      <a:pt x="6" y="26"/>
                      <a:pt x="5" y="27"/>
                    </a:cubicBezTo>
                    <a:cubicBezTo>
                      <a:pt x="4" y="28"/>
                      <a:pt x="4" y="31"/>
                      <a:pt x="3" y="33"/>
                    </a:cubicBezTo>
                    <a:cubicBezTo>
                      <a:pt x="2" y="35"/>
                      <a:pt x="2" y="37"/>
                      <a:pt x="2" y="40"/>
                    </a:cubicBezTo>
                    <a:cubicBezTo>
                      <a:pt x="2" y="41"/>
                      <a:pt x="1" y="44"/>
                      <a:pt x="0" y="45"/>
                    </a:cubicBezTo>
                    <a:cubicBezTo>
                      <a:pt x="3" y="46"/>
                      <a:pt x="3" y="45"/>
                      <a:pt x="4" y="45"/>
                    </a:cubicBezTo>
                    <a:cubicBezTo>
                      <a:pt x="6" y="44"/>
                      <a:pt x="13" y="42"/>
                      <a:pt x="13" y="42"/>
                    </a:cubicBezTo>
                    <a:cubicBezTo>
                      <a:pt x="19" y="42"/>
                      <a:pt x="19" y="42"/>
                      <a:pt x="19" y="42"/>
                    </a:cubicBezTo>
                    <a:cubicBezTo>
                      <a:pt x="21" y="37"/>
                      <a:pt x="23" y="34"/>
                      <a:pt x="25" y="33"/>
                    </a:cubicBezTo>
                    <a:cubicBezTo>
                      <a:pt x="29" y="32"/>
                      <a:pt x="33" y="32"/>
                      <a:pt x="36" y="33"/>
                    </a:cubicBezTo>
                    <a:cubicBezTo>
                      <a:pt x="37" y="31"/>
                      <a:pt x="38" y="29"/>
                      <a:pt x="39" y="28"/>
                    </a:cubicBezTo>
                    <a:cubicBezTo>
                      <a:pt x="41" y="26"/>
                      <a:pt x="43" y="22"/>
                      <a:pt x="44" y="19"/>
                    </a:cubicBezTo>
                    <a:cubicBezTo>
                      <a:pt x="44" y="15"/>
                      <a:pt x="44" y="12"/>
                      <a:pt x="44" y="12"/>
                    </a:cubicBezTo>
                    <a:lnTo>
                      <a:pt x="41" y="9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8" name="Freeform 146">
                <a:extLst>
                  <a:ext uri="{FF2B5EF4-FFF2-40B4-BE49-F238E27FC236}">
                    <a16:creationId xmlns:a16="http://schemas.microsoft.com/office/drawing/2014/main" id="{193023EF-5A34-4EE1-98D9-8C3B61A0CE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56118" y="3173848"/>
                <a:ext cx="326229" cy="190718"/>
              </a:xfrm>
              <a:custGeom>
                <a:avLst/>
                <a:gdLst>
                  <a:gd name="T0" fmla="*/ 138 w 142"/>
                  <a:gd name="T1" fmla="*/ 46 h 83"/>
                  <a:gd name="T2" fmla="*/ 127 w 142"/>
                  <a:gd name="T3" fmla="*/ 41 h 83"/>
                  <a:gd name="T4" fmla="*/ 121 w 142"/>
                  <a:gd name="T5" fmla="*/ 41 h 83"/>
                  <a:gd name="T6" fmla="*/ 113 w 142"/>
                  <a:gd name="T7" fmla="*/ 39 h 83"/>
                  <a:gd name="T8" fmla="*/ 105 w 142"/>
                  <a:gd name="T9" fmla="*/ 46 h 83"/>
                  <a:gd name="T10" fmla="*/ 101 w 142"/>
                  <a:gd name="T11" fmla="*/ 47 h 83"/>
                  <a:gd name="T12" fmla="*/ 95 w 142"/>
                  <a:gd name="T13" fmla="*/ 43 h 83"/>
                  <a:gd name="T14" fmla="*/ 88 w 142"/>
                  <a:gd name="T15" fmla="*/ 41 h 83"/>
                  <a:gd name="T16" fmla="*/ 83 w 142"/>
                  <a:gd name="T17" fmla="*/ 33 h 83"/>
                  <a:gd name="T18" fmla="*/ 81 w 142"/>
                  <a:gd name="T19" fmla="*/ 25 h 83"/>
                  <a:gd name="T20" fmla="*/ 75 w 142"/>
                  <a:gd name="T21" fmla="*/ 20 h 83"/>
                  <a:gd name="T22" fmla="*/ 59 w 142"/>
                  <a:gd name="T23" fmla="*/ 20 h 83"/>
                  <a:gd name="T24" fmla="*/ 48 w 142"/>
                  <a:gd name="T25" fmla="*/ 20 h 83"/>
                  <a:gd name="T26" fmla="*/ 39 w 142"/>
                  <a:gd name="T27" fmla="*/ 10 h 83"/>
                  <a:gd name="T28" fmla="*/ 37 w 142"/>
                  <a:gd name="T29" fmla="*/ 13 h 83"/>
                  <a:gd name="T30" fmla="*/ 27 w 142"/>
                  <a:gd name="T31" fmla="*/ 12 h 83"/>
                  <a:gd name="T32" fmla="*/ 26 w 142"/>
                  <a:gd name="T33" fmla="*/ 0 h 83"/>
                  <a:gd name="T34" fmla="*/ 22 w 142"/>
                  <a:gd name="T35" fmla="*/ 12 h 83"/>
                  <a:gd name="T36" fmla="*/ 21 w 142"/>
                  <a:gd name="T37" fmla="*/ 0 h 83"/>
                  <a:gd name="T38" fmla="*/ 1 w 142"/>
                  <a:gd name="T39" fmla="*/ 5 h 83"/>
                  <a:gd name="T40" fmla="*/ 0 w 142"/>
                  <a:gd name="T41" fmla="*/ 41 h 83"/>
                  <a:gd name="T42" fmla="*/ 0 w 142"/>
                  <a:gd name="T43" fmla="*/ 41 h 83"/>
                  <a:gd name="T44" fmla="*/ 6 w 142"/>
                  <a:gd name="T45" fmla="*/ 42 h 83"/>
                  <a:gd name="T46" fmla="*/ 8 w 142"/>
                  <a:gd name="T47" fmla="*/ 38 h 83"/>
                  <a:gd name="T48" fmla="*/ 14 w 142"/>
                  <a:gd name="T49" fmla="*/ 34 h 83"/>
                  <a:gd name="T50" fmla="*/ 17 w 142"/>
                  <a:gd name="T51" fmla="*/ 31 h 83"/>
                  <a:gd name="T52" fmla="*/ 20 w 142"/>
                  <a:gd name="T53" fmla="*/ 29 h 83"/>
                  <a:gd name="T54" fmla="*/ 26 w 142"/>
                  <a:gd name="T55" fmla="*/ 31 h 83"/>
                  <a:gd name="T56" fmla="*/ 32 w 142"/>
                  <a:gd name="T57" fmla="*/ 33 h 83"/>
                  <a:gd name="T58" fmla="*/ 35 w 142"/>
                  <a:gd name="T59" fmla="*/ 41 h 83"/>
                  <a:gd name="T60" fmla="*/ 47 w 142"/>
                  <a:gd name="T61" fmla="*/ 43 h 83"/>
                  <a:gd name="T62" fmla="*/ 50 w 142"/>
                  <a:gd name="T63" fmla="*/ 48 h 83"/>
                  <a:gd name="T64" fmla="*/ 54 w 142"/>
                  <a:gd name="T65" fmla="*/ 55 h 83"/>
                  <a:gd name="T66" fmla="*/ 62 w 142"/>
                  <a:gd name="T67" fmla="*/ 60 h 83"/>
                  <a:gd name="T68" fmla="*/ 71 w 142"/>
                  <a:gd name="T69" fmla="*/ 66 h 83"/>
                  <a:gd name="T70" fmla="*/ 80 w 142"/>
                  <a:gd name="T71" fmla="*/ 71 h 83"/>
                  <a:gd name="T72" fmla="*/ 87 w 142"/>
                  <a:gd name="T73" fmla="*/ 74 h 83"/>
                  <a:gd name="T74" fmla="*/ 87 w 142"/>
                  <a:gd name="T75" fmla="*/ 79 h 83"/>
                  <a:gd name="T76" fmla="*/ 88 w 142"/>
                  <a:gd name="T77" fmla="*/ 79 h 83"/>
                  <a:gd name="T78" fmla="*/ 95 w 142"/>
                  <a:gd name="T79" fmla="*/ 81 h 83"/>
                  <a:gd name="T80" fmla="*/ 98 w 142"/>
                  <a:gd name="T81" fmla="*/ 83 h 83"/>
                  <a:gd name="T82" fmla="*/ 101 w 142"/>
                  <a:gd name="T83" fmla="*/ 74 h 83"/>
                  <a:gd name="T84" fmla="*/ 100 w 142"/>
                  <a:gd name="T85" fmla="*/ 67 h 83"/>
                  <a:gd name="T86" fmla="*/ 95 w 142"/>
                  <a:gd name="T87" fmla="*/ 61 h 83"/>
                  <a:gd name="T88" fmla="*/ 103 w 142"/>
                  <a:gd name="T89" fmla="*/ 58 h 83"/>
                  <a:gd name="T90" fmla="*/ 105 w 142"/>
                  <a:gd name="T91" fmla="*/ 54 h 83"/>
                  <a:gd name="T92" fmla="*/ 109 w 142"/>
                  <a:gd name="T93" fmla="*/ 49 h 83"/>
                  <a:gd name="T94" fmla="*/ 115 w 142"/>
                  <a:gd name="T95" fmla="*/ 48 h 83"/>
                  <a:gd name="T96" fmla="*/ 121 w 142"/>
                  <a:gd name="T97" fmla="*/ 47 h 83"/>
                  <a:gd name="T98" fmla="*/ 118 w 142"/>
                  <a:gd name="T99" fmla="*/ 53 h 83"/>
                  <a:gd name="T100" fmla="*/ 127 w 142"/>
                  <a:gd name="T101" fmla="*/ 52 h 83"/>
                  <a:gd name="T102" fmla="*/ 135 w 142"/>
                  <a:gd name="T103" fmla="*/ 50 h 83"/>
                  <a:gd name="T104" fmla="*/ 138 w 142"/>
                  <a:gd name="T105" fmla="*/ 46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42" h="83">
                    <a:moveTo>
                      <a:pt x="138" y="46"/>
                    </a:moveTo>
                    <a:cubicBezTo>
                      <a:pt x="135" y="43"/>
                      <a:pt x="128" y="39"/>
                      <a:pt x="127" y="41"/>
                    </a:cubicBezTo>
                    <a:cubicBezTo>
                      <a:pt x="127" y="43"/>
                      <a:pt x="123" y="43"/>
                      <a:pt x="121" y="41"/>
                    </a:cubicBezTo>
                    <a:cubicBezTo>
                      <a:pt x="119" y="40"/>
                      <a:pt x="118" y="37"/>
                      <a:pt x="113" y="39"/>
                    </a:cubicBezTo>
                    <a:cubicBezTo>
                      <a:pt x="109" y="41"/>
                      <a:pt x="105" y="44"/>
                      <a:pt x="105" y="46"/>
                    </a:cubicBezTo>
                    <a:cubicBezTo>
                      <a:pt x="105" y="47"/>
                      <a:pt x="102" y="49"/>
                      <a:pt x="101" y="47"/>
                    </a:cubicBezTo>
                    <a:cubicBezTo>
                      <a:pt x="101" y="44"/>
                      <a:pt x="97" y="43"/>
                      <a:pt x="95" y="43"/>
                    </a:cubicBezTo>
                    <a:cubicBezTo>
                      <a:pt x="92" y="42"/>
                      <a:pt x="88" y="43"/>
                      <a:pt x="88" y="41"/>
                    </a:cubicBezTo>
                    <a:cubicBezTo>
                      <a:pt x="87" y="38"/>
                      <a:pt x="84" y="35"/>
                      <a:pt x="83" y="33"/>
                    </a:cubicBezTo>
                    <a:cubicBezTo>
                      <a:pt x="83" y="30"/>
                      <a:pt x="84" y="26"/>
                      <a:pt x="81" y="25"/>
                    </a:cubicBezTo>
                    <a:cubicBezTo>
                      <a:pt x="79" y="24"/>
                      <a:pt x="77" y="20"/>
                      <a:pt x="75" y="20"/>
                    </a:cubicBezTo>
                    <a:cubicBezTo>
                      <a:pt x="73" y="20"/>
                      <a:pt x="60" y="20"/>
                      <a:pt x="59" y="20"/>
                    </a:cubicBezTo>
                    <a:cubicBezTo>
                      <a:pt x="57" y="19"/>
                      <a:pt x="49" y="22"/>
                      <a:pt x="48" y="20"/>
                    </a:cubicBezTo>
                    <a:cubicBezTo>
                      <a:pt x="48" y="19"/>
                      <a:pt x="42" y="13"/>
                      <a:pt x="39" y="10"/>
                    </a:cubicBezTo>
                    <a:cubicBezTo>
                      <a:pt x="39" y="11"/>
                      <a:pt x="38" y="12"/>
                      <a:pt x="37" y="13"/>
                    </a:cubicBezTo>
                    <a:cubicBezTo>
                      <a:pt x="31" y="18"/>
                      <a:pt x="25" y="17"/>
                      <a:pt x="27" y="12"/>
                    </a:cubicBezTo>
                    <a:cubicBezTo>
                      <a:pt x="29" y="6"/>
                      <a:pt x="29" y="0"/>
                      <a:pt x="26" y="0"/>
                    </a:cubicBezTo>
                    <a:cubicBezTo>
                      <a:pt x="23" y="0"/>
                      <a:pt x="25" y="11"/>
                      <a:pt x="22" y="12"/>
                    </a:cubicBezTo>
                    <a:cubicBezTo>
                      <a:pt x="20" y="13"/>
                      <a:pt x="20" y="4"/>
                      <a:pt x="21" y="0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2" y="42"/>
                      <a:pt x="4" y="42"/>
                      <a:pt x="6" y="42"/>
                    </a:cubicBezTo>
                    <a:cubicBezTo>
                      <a:pt x="9" y="42"/>
                      <a:pt x="8" y="40"/>
                      <a:pt x="8" y="38"/>
                    </a:cubicBezTo>
                    <a:cubicBezTo>
                      <a:pt x="8" y="36"/>
                      <a:pt x="12" y="34"/>
                      <a:pt x="14" y="34"/>
                    </a:cubicBezTo>
                    <a:cubicBezTo>
                      <a:pt x="17" y="34"/>
                      <a:pt x="16" y="31"/>
                      <a:pt x="17" y="31"/>
                    </a:cubicBezTo>
                    <a:cubicBezTo>
                      <a:pt x="18" y="31"/>
                      <a:pt x="20" y="30"/>
                      <a:pt x="20" y="29"/>
                    </a:cubicBezTo>
                    <a:cubicBezTo>
                      <a:pt x="21" y="28"/>
                      <a:pt x="25" y="29"/>
                      <a:pt x="26" y="31"/>
                    </a:cubicBezTo>
                    <a:cubicBezTo>
                      <a:pt x="27" y="32"/>
                      <a:pt x="30" y="32"/>
                      <a:pt x="32" y="33"/>
                    </a:cubicBezTo>
                    <a:cubicBezTo>
                      <a:pt x="34" y="33"/>
                      <a:pt x="35" y="40"/>
                      <a:pt x="35" y="41"/>
                    </a:cubicBezTo>
                    <a:cubicBezTo>
                      <a:pt x="35" y="43"/>
                      <a:pt x="45" y="42"/>
                      <a:pt x="47" y="43"/>
                    </a:cubicBezTo>
                    <a:cubicBezTo>
                      <a:pt x="49" y="43"/>
                      <a:pt x="49" y="46"/>
                      <a:pt x="50" y="48"/>
                    </a:cubicBezTo>
                    <a:cubicBezTo>
                      <a:pt x="52" y="50"/>
                      <a:pt x="53" y="53"/>
                      <a:pt x="54" y="55"/>
                    </a:cubicBezTo>
                    <a:cubicBezTo>
                      <a:pt x="55" y="56"/>
                      <a:pt x="61" y="58"/>
                      <a:pt x="62" y="60"/>
                    </a:cubicBezTo>
                    <a:cubicBezTo>
                      <a:pt x="63" y="63"/>
                      <a:pt x="68" y="65"/>
                      <a:pt x="71" y="66"/>
                    </a:cubicBezTo>
                    <a:cubicBezTo>
                      <a:pt x="75" y="67"/>
                      <a:pt x="78" y="72"/>
                      <a:pt x="80" y="71"/>
                    </a:cubicBezTo>
                    <a:cubicBezTo>
                      <a:pt x="81" y="71"/>
                      <a:pt x="87" y="74"/>
                      <a:pt x="87" y="74"/>
                    </a:cubicBezTo>
                    <a:cubicBezTo>
                      <a:pt x="87" y="79"/>
                      <a:pt x="87" y="79"/>
                      <a:pt x="87" y="79"/>
                    </a:cubicBezTo>
                    <a:cubicBezTo>
                      <a:pt x="88" y="79"/>
                      <a:pt x="88" y="79"/>
                      <a:pt x="88" y="79"/>
                    </a:cubicBezTo>
                    <a:cubicBezTo>
                      <a:pt x="91" y="78"/>
                      <a:pt x="92" y="81"/>
                      <a:pt x="95" y="81"/>
                    </a:cubicBezTo>
                    <a:cubicBezTo>
                      <a:pt x="96" y="81"/>
                      <a:pt x="97" y="82"/>
                      <a:pt x="98" y="83"/>
                    </a:cubicBezTo>
                    <a:cubicBezTo>
                      <a:pt x="98" y="78"/>
                      <a:pt x="99" y="76"/>
                      <a:pt x="101" y="74"/>
                    </a:cubicBezTo>
                    <a:cubicBezTo>
                      <a:pt x="103" y="73"/>
                      <a:pt x="100" y="70"/>
                      <a:pt x="100" y="67"/>
                    </a:cubicBezTo>
                    <a:cubicBezTo>
                      <a:pt x="101" y="65"/>
                      <a:pt x="95" y="63"/>
                      <a:pt x="95" y="61"/>
                    </a:cubicBezTo>
                    <a:cubicBezTo>
                      <a:pt x="96" y="59"/>
                      <a:pt x="101" y="59"/>
                      <a:pt x="103" y="58"/>
                    </a:cubicBezTo>
                    <a:cubicBezTo>
                      <a:pt x="105" y="57"/>
                      <a:pt x="103" y="54"/>
                      <a:pt x="105" y="54"/>
                    </a:cubicBezTo>
                    <a:cubicBezTo>
                      <a:pt x="108" y="54"/>
                      <a:pt x="109" y="51"/>
                      <a:pt x="109" y="49"/>
                    </a:cubicBezTo>
                    <a:cubicBezTo>
                      <a:pt x="110" y="47"/>
                      <a:pt x="114" y="49"/>
                      <a:pt x="115" y="48"/>
                    </a:cubicBezTo>
                    <a:cubicBezTo>
                      <a:pt x="117" y="46"/>
                      <a:pt x="120" y="45"/>
                      <a:pt x="121" y="47"/>
                    </a:cubicBezTo>
                    <a:cubicBezTo>
                      <a:pt x="121" y="48"/>
                      <a:pt x="119" y="52"/>
                      <a:pt x="118" y="53"/>
                    </a:cubicBezTo>
                    <a:cubicBezTo>
                      <a:pt x="121" y="53"/>
                      <a:pt x="126" y="53"/>
                      <a:pt x="127" y="52"/>
                    </a:cubicBezTo>
                    <a:cubicBezTo>
                      <a:pt x="129" y="50"/>
                      <a:pt x="133" y="54"/>
                      <a:pt x="135" y="50"/>
                    </a:cubicBezTo>
                    <a:cubicBezTo>
                      <a:pt x="137" y="47"/>
                      <a:pt x="142" y="49"/>
                      <a:pt x="138" y="46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9" name="Freeform 147">
                <a:extLst>
                  <a:ext uri="{FF2B5EF4-FFF2-40B4-BE49-F238E27FC236}">
                    <a16:creationId xmlns:a16="http://schemas.microsoft.com/office/drawing/2014/main" id="{5C0B1A09-60E2-4736-B7C7-8BDE0C97268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15074" y="2098549"/>
                <a:ext cx="479305" cy="759109"/>
              </a:xfrm>
              <a:custGeom>
                <a:avLst/>
                <a:gdLst>
                  <a:gd name="T0" fmla="*/ 197 w 208"/>
                  <a:gd name="T1" fmla="*/ 172 h 329"/>
                  <a:gd name="T2" fmla="*/ 197 w 208"/>
                  <a:gd name="T3" fmla="*/ 162 h 329"/>
                  <a:gd name="T4" fmla="*/ 186 w 208"/>
                  <a:gd name="T5" fmla="*/ 161 h 329"/>
                  <a:gd name="T6" fmla="*/ 173 w 208"/>
                  <a:gd name="T7" fmla="*/ 160 h 329"/>
                  <a:gd name="T8" fmla="*/ 167 w 208"/>
                  <a:gd name="T9" fmla="*/ 159 h 329"/>
                  <a:gd name="T10" fmla="*/ 154 w 208"/>
                  <a:gd name="T11" fmla="*/ 162 h 329"/>
                  <a:gd name="T12" fmla="*/ 144 w 208"/>
                  <a:gd name="T13" fmla="*/ 173 h 329"/>
                  <a:gd name="T14" fmla="*/ 144 w 208"/>
                  <a:gd name="T15" fmla="*/ 161 h 329"/>
                  <a:gd name="T16" fmla="*/ 130 w 208"/>
                  <a:gd name="T17" fmla="*/ 170 h 329"/>
                  <a:gd name="T18" fmla="*/ 124 w 208"/>
                  <a:gd name="T19" fmla="*/ 172 h 329"/>
                  <a:gd name="T20" fmla="*/ 118 w 208"/>
                  <a:gd name="T21" fmla="*/ 171 h 329"/>
                  <a:gd name="T22" fmla="*/ 106 w 208"/>
                  <a:gd name="T23" fmla="*/ 179 h 329"/>
                  <a:gd name="T24" fmla="*/ 99 w 208"/>
                  <a:gd name="T25" fmla="*/ 185 h 329"/>
                  <a:gd name="T26" fmla="*/ 92 w 208"/>
                  <a:gd name="T27" fmla="*/ 189 h 329"/>
                  <a:gd name="T28" fmla="*/ 79 w 208"/>
                  <a:gd name="T29" fmla="*/ 192 h 329"/>
                  <a:gd name="T30" fmla="*/ 75 w 208"/>
                  <a:gd name="T31" fmla="*/ 199 h 329"/>
                  <a:gd name="T32" fmla="*/ 92 w 208"/>
                  <a:gd name="T33" fmla="*/ 199 h 329"/>
                  <a:gd name="T34" fmla="*/ 79 w 208"/>
                  <a:gd name="T35" fmla="*/ 208 h 329"/>
                  <a:gd name="T36" fmla="*/ 61 w 208"/>
                  <a:gd name="T37" fmla="*/ 228 h 329"/>
                  <a:gd name="T38" fmla="*/ 50 w 208"/>
                  <a:gd name="T39" fmla="*/ 243 h 329"/>
                  <a:gd name="T40" fmla="*/ 39 w 208"/>
                  <a:gd name="T41" fmla="*/ 257 h 329"/>
                  <a:gd name="T42" fmla="*/ 26 w 208"/>
                  <a:gd name="T43" fmla="*/ 267 h 329"/>
                  <a:gd name="T44" fmla="*/ 11 w 208"/>
                  <a:gd name="T45" fmla="*/ 276 h 329"/>
                  <a:gd name="T46" fmla="*/ 4 w 208"/>
                  <a:gd name="T47" fmla="*/ 288 h 329"/>
                  <a:gd name="T48" fmla="*/ 1 w 208"/>
                  <a:gd name="T49" fmla="*/ 303 h 329"/>
                  <a:gd name="T50" fmla="*/ 9 w 208"/>
                  <a:gd name="T51" fmla="*/ 308 h 329"/>
                  <a:gd name="T52" fmla="*/ 7 w 208"/>
                  <a:gd name="T53" fmla="*/ 313 h 329"/>
                  <a:gd name="T54" fmla="*/ 14 w 208"/>
                  <a:gd name="T55" fmla="*/ 326 h 329"/>
                  <a:gd name="T56" fmla="*/ 46 w 208"/>
                  <a:gd name="T57" fmla="*/ 311 h 329"/>
                  <a:gd name="T58" fmla="*/ 56 w 208"/>
                  <a:gd name="T59" fmla="*/ 314 h 329"/>
                  <a:gd name="T60" fmla="*/ 61 w 208"/>
                  <a:gd name="T61" fmla="*/ 294 h 329"/>
                  <a:gd name="T62" fmla="*/ 59 w 208"/>
                  <a:gd name="T63" fmla="*/ 268 h 329"/>
                  <a:gd name="T64" fmla="*/ 73 w 208"/>
                  <a:gd name="T65" fmla="*/ 250 h 329"/>
                  <a:gd name="T66" fmla="*/ 83 w 208"/>
                  <a:gd name="T67" fmla="*/ 227 h 329"/>
                  <a:gd name="T68" fmla="*/ 93 w 208"/>
                  <a:gd name="T69" fmla="*/ 206 h 329"/>
                  <a:gd name="T70" fmla="*/ 116 w 208"/>
                  <a:gd name="T71" fmla="*/ 195 h 329"/>
                  <a:gd name="T72" fmla="*/ 132 w 208"/>
                  <a:gd name="T73" fmla="*/ 184 h 329"/>
                  <a:gd name="T74" fmla="*/ 160 w 208"/>
                  <a:gd name="T75" fmla="*/ 192 h 329"/>
                  <a:gd name="T76" fmla="*/ 178 w 208"/>
                  <a:gd name="T77" fmla="*/ 174 h 329"/>
                  <a:gd name="T78" fmla="*/ 197 w 208"/>
                  <a:gd name="T79" fmla="*/ 182 h 329"/>
                  <a:gd name="T80" fmla="*/ 58 w 208"/>
                  <a:gd name="T81" fmla="*/ 24 h 329"/>
                  <a:gd name="T82" fmla="*/ 77 w 208"/>
                  <a:gd name="T83" fmla="*/ 35 h 329"/>
                  <a:gd name="T84" fmla="*/ 92 w 208"/>
                  <a:gd name="T85" fmla="*/ 38 h 329"/>
                  <a:gd name="T86" fmla="*/ 93 w 208"/>
                  <a:gd name="T87" fmla="*/ 49 h 329"/>
                  <a:gd name="T88" fmla="*/ 79 w 208"/>
                  <a:gd name="T89" fmla="*/ 62 h 329"/>
                  <a:gd name="T90" fmla="*/ 95 w 208"/>
                  <a:gd name="T91" fmla="*/ 68 h 329"/>
                  <a:gd name="T92" fmla="*/ 114 w 208"/>
                  <a:gd name="T93" fmla="*/ 37 h 329"/>
                  <a:gd name="T94" fmla="*/ 129 w 208"/>
                  <a:gd name="T95" fmla="*/ 45 h 329"/>
                  <a:gd name="T96" fmla="*/ 150 w 208"/>
                  <a:gd name="T97" fmla="*/ 54 h 329"/>
                  <a:gd name="T98" fmla="*/ 143 w 208"/>
                  <a:gd name="T99" fmla="*/ 43 h 329"/>
                  <a:gd name="T100" fmla="*/ 125 w 208"/>
                  <a:gd name="T101" fmla="*/ 28 h 329"/>
                  <a:gd name="T102" fmla="*/ 107 w 208"/>
                  <a:gd name="T103" fmla="*/ 18 h 329"/>
                  <a:gd name="T104" fmla="*/ 90 w 208"/>
                  <a:gd name="T105" fmla="*/ 9 h 329"/>
                  <a:gd name="T106" fmla="*/ 83 w 208"/>
                  <a:gd name="T107" fmla="*/ 18 h 329"/>
                  <a:gd name="T108" fmla="*/ 66 w 208"/>
                  <a:gd name="T109" fmla="*/ 17 h 329"/>
                  <a:gd name="T110" fmla="*/ 56 w 208"/>
                  <a:gd name="T111" fmla="*/ 14 h 329"/>
                  <a:gd name="T112" fmla="*/ 50 w 208"/>
                  <a:gd name="T113" fmla="*/ 38 h 329"/>
                  <a:gd name="T114" fmla="*/ 50 w 208"/>
                  <a:gd name="T115" fmla="*/ 38 h 329"/>
                  <a:gd name="T116" fmla="*/ 119 w 208"/>
                  <a:gd name="T117" fmla="*/ 19 h 329"/>
                  <a:gd name="T118" fmla="*/ 167 w 208"/>
                  <a:gd name="T119" fmla="*/ 18 h 329"/>
                  <a:gd name="T120" fmla="*/ 145 w 208"/>
                  <a:gd name="T121" fmla="*/ 7 h 329"/>
                  <a:gd name="T122" fmla="*/ 126 w 208"/>
                  <a:gd name="T123" fmla="*/ 6 h 329"/>
                  <a:gd name="T124" fmla="*/ 112 w 208"/>
                  <a:gd name="T125" fmla="*/ 7 h 3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08" h="329">
                    <a:moveTo>
                      <a:pt x="201" y="176"/>
                    </a:moveTo>
                    <a:cubicBezTo>
                      <a:pt x="201" y="178"/>
                      <a:pt x="198" y="178"/>
                      <a:pt x="198" y="176"/>
                    </a:cubicBezTo>
                    <a:cubicBezTo>
                      <a:pt x="198" y="174"/>
                      <a:pt x="193" y="173"/>
                      <a:pt x="193" y="172"/>
                    </a:cubicBezTo>
                    <a:cubicBezTo>
                      <a:pt x="192" y="171"/>
                      <a:pt x="195" y="171"/>
                      <a:pt x="197" y="172"/>
                    </a:cubicBezTo>
                    <a:cubicBezTo>
                      <a:pt x="199" y="173"/>
                      <a:pt x="200" y="173"/>
                      <a:pt x="202" y="170"/>
                    </a:cubicBezTo>
                    <a:cubicBezTo>
                      <a:pt x="204" y="168"/>
                      <a:pt x="207" y="170"/>
                      <a:pt x="208" y="168"/>
                    </a:cubicBezTo>
                    <a:cubicBezTo>
                      <a:pt x="208" y="167"/>
                      <a:pt x="204" y="165"/>
                      <a:pt x="203" y="164"/>
                    </a:cubicBezTo>
                    <a:cubicBezTo>
                      <a:pt x="203" y="163"/>
                      <a:pt x="200" y="162"/>
                      <a:pt x="197" y="162"/>
                    </a:cubicBezTo>
                    <a:cubicBezTo>
                      <a:pt x="195" y="163"/>
                      <a:pt x="195" y="162"/>
                      <a:pt x="193" y="160"/>
                    </a:cubicBezTo>
                    <a:cubicBezTo>
                      <a:pt x="191" y="159"/>
                      <a:pt x="187" y="161"/>
                      <a:pt x="187" y="165"/>
                    </a:cubicBezTo>
                    <a:cubicBezTo>
                      <a:pt x="187" y="168"/>
                      <a:pt x="184" y="167"/>
                      <a:pt x="185" y="165"/>
                    </a:cubicBezTo>
                    <a:cubicBezTo>
                      <a:pt x="186" y="163"/>
                      <a:pt x="183" y="161"/>
                      <a:pt x="186" y="161"/>
                    </a:cubicBezTo>
                    <a:cubicBezTo>
                      <a:pt x="188" y="160"/>
                      <a:pt x="187" y="157"/>
                      <a:pt x="182" y="156"/>
                    </a:cubicBezTo>
                    <a:cubicBezTo>
                      <a:pt x="178" y="156"/>
                      <a:pt x="176" y="160"/>
                      <a:pt x="177" y="161"/>
                    </a:cubicBezTo>
                    <a:cubicBezTo>
                      <a:pt x="179" y="162"/>
                      <a:pt x="174" y="167"/>
                      <a:pt x="173" y="167"/>
                    </a:cubicBezTo>
                    <a:cubicBezTo>
                      <a:pt x="171" y="167"/>
                      <a:pt x="173" y="163"/>
                      <a:pt x="173" y="160"/>
                    </a:cubicBezTo>
                    <a:cubicBezTo>
                      <a:pt x="173" y="158"/>
                      <a:pt x="171" y="159"/>
                      <a:pt x="168" y="163"/>
                    </a:cubicBezTo>
                    <a:cubicBezTo>
                      <a:pt x="164" y="167"/>
                      <a:pt x="162" y="170"/>
                      <a:pt x="160" y="171"/>
                    </a:cubicBezTo>
                    <a:cubicBezTo>
                      <a:pt x="158" y="171"/>
                      <a:pt x="158" y="167"/>
                      <a:pt x="161" y="166"/>
                    </a:cubicBezTo>
                    <a:cubicBezTo>
                      <a:pt x="165" y="164"/>
                      <a:pt x="165" y="159"/>
                      <a:pt x="167" y="159"/>
                    </a:cubicBezTo>
                    <a:cubicBezTo>
                      <a:pt x="169" y="159"/>
                      <a:pt x="169" y="157"/>
                      <a:pt x="166" y="156"/>
                    </a:cubicBezTo>
                    <a:cubicBezTo>
                      <a:pt x="163" y="156"/>
                      <a:pt x="162" y="159"/>
                      <a:pt x="161" y="160"/>
                    </a:cubicBezTo>
                    <a:cubicBezTo>
                      <a:pt x="160" y="161"/>
                      <a:pt x="155" y="158"/>
                      <a:pt x="156" y="159"/>
                    </a:cubicBezTo>
                    <a:cubicBezTo>
                      <a:pt x="156" y="160"/>
                      <a:pt x="153" y="160"/>
                      <a:pt x="154" y="162"/>
                    </a:cubicBezTo>
                    <a:cubicBezTo>
                      <a:pt x="155" y="164"/>
                      <a:pt x="154" y="166"/>
                      <a:pt x="152" y="163"/>
                    </a:cubicBezTo>
                    <a:cubicBezTo>
                      <a:pt x="151" y="161"/>
                      <a:pt x="148" y="163"/>
                      <a:pt x="147" y="165"/>
                    </a:cubicBezTo>
                    <a:cubicBezTo>
                      <a:pt x="145" y="168"/>
                      <a:pt x="143" y="168"/>
                      <a:pt x="145" y="168"/>
                    </a:cubicBezTo>
                    <a:cubicBezTo>
                      <a:pt x="146" y="169"/>
                      <a:pt x="146" y="172"/>
                      <a:pt x="144" y="173"/>
                    </a:cubicBezTo>
                    <a:cubicBezTo>
                      <a:pt x="142" y="174"/>
                      <a:pt x="143" y="167"/>
                      <a:pt x="141" y="168"/>
                    </a:cubicBezTo>
                    <a:cubicBezTo>
                      <a:pt x="139" y="168"/>
                      <a:pt x="140" y="165"/>
                      <a:pt x="143" y="165"/>
                    </a:cubicBezTo>
                    <a:cubicBezTo>
                      <a:pt x="145" y="165"/>
                      <a:pt x="147" y="161"/>
                      <a:pt x="147" y="161"/>
                    </a:cubicBezTo>
                    <a:cubicBezTo>
                      <a:pt x="147" y="159"/>
                      <a:pt x="144" y="159"/>
                      <a:pt x="144" y="161"/>
                    </a:cubicBezTo>
                    <a:cubicBezTo>
                      <a:pt x="144" y="163"/>
                      <a:pt x="141" y="163"/>
                      <a:pt x="138" y="163"/>
                    </a:cubicBezTo>
                    <a:cubicBezTo>
                      <a:pt x="135" y="162"/>
                      <a:pt x="135" y="166"/>
                      <a:pt x="138" y="168"/>
                    </a:cubicBezTo>
                    <a:cubicBezTo>
                      <a:pt x="141" y="170"/>
                      <a:pt x="138" y="171"/>
                      <a:pt x="136" y="170"/>
                    </a:cubicBezTo>
                    <a:cubicBezTo>
                      <a:pt x="134" y="168"/>
                      <a:pt x="132" y="169"/>
                      <a:pt x="130" y="170"/>
                    </a:cubicBezTo>
                    <a:cubicBezTo>
                      <a:pt x="128" y="170"/>
                      <a:pt x="134" y="173"/>
                      <a:pt x="134" y="174"/>
                    </a:cubicBezTo>
                    <a:cubicBezTo>
                      <a:pt x="135" y="175"/>
                      <a:pt x="131" y="172"/>
                      <a:pt x="130" y="173"/>
                    </a:cubicBezTo>
                    <a:cubicBezTo>
                      <a:pt x="130" y="174"/>
                      <a:pt x="126" y="173"/>
                      <a:pt x="126" y="171"/>
                    </a:cubicBezTo>
                    <a:cubicBezTo>
                      <a:pt x="126" y="169"/>
                      <a:pt x="121" y="171"/>
                      <a:pt x="124" y="172"/>
                    </a:cubicBezTo>
                    <a:cubicBezTo>
                      <a:pt x="127" y="173"/>
                      <a:pt x="126" y="175"/>
                      <a:pt x="126" y="177"/>
                    </a:cubicBezTo>
                    <a:cubicBezTo>
                      <a:pt x="126" y="180"/>
                      <a:pt x="122" y="178"/>
                      <a:pt x="123" y="176"/>
                    </a:cubicBezTo>
                    <a:cubicBezTo>
                      <a:pt x="123" y="173"/>
                      <a:pt x="121" y="174"/>
                      <a:pt x="118" y="175"/>
                    </a:cubicBezTo>
                    <a:cubicBezTo>
                      <a:pt x="116" y="177"/>
                      <a:pt x="119" y="173"/>
                      <a:pt x="118" y="171"/>
                    </a:cubicBezTo>
                    <a:cubicBezTo>
                      <a:pt x="117" y="169"/>
                      <a:pt x="115" y="171"/>
                      <a:pt x="112" y="171"/>
                    </a:cubicBezTo>
                    <a:cubicBezTo>
                      <a:pt x="110" y="172"/>
                      <a:pt x="108" y="172"/>
                      <a:pt x="110" y="173"/>
                    </a:cubicBezTo>
                    <a:cubicBezTo>
                      <a:pt x="111" y="175"/>
                      <a:pt x="111" y="178"/>
                      <a:pt x="109" y="177"/>
                    </a:cubicBezTo>
                    <a:cubicBezTo>
                      <a:pt x="107" y="177"/>
                      <a:pt x="106" y="177"/>
                      <a:pt x="106" y="179"/>
                    </a:cubicBezTo>
                    <a:cubicBezTo>
                      <a:pt x="107" y="181"/>
                      <a:pt x="104" y="181"/>
                      <a:pt x="104" y="179"/>
                    </a:cubicBezTo>
                    <a:cubicBezTo>
                      <a:pt x="103" y="178"/>
                      <a:pt x="99" y="178"/>
                      <a:pt x="98" y="180"/>
                    </a:cubicBezTo>
                    <a:cubicBezTo>
                      <a:pt x="97" y="182"/>
                      <a:pt x="94" y="183"/>
                      <a:pt x="94" y="186"/>
                    </a:cubicBezTo>
                    <a:cubicBezTo>
                      <a:pt x="94" y="188"/>
                      <a:pt x="97" y="185"/>
                      <a:pt x="99" y="185"/>
                    </a:cubicBezTo>
                    <a:cubicBezTo>
                      <a:pt x="101" y="186"/>
                      <a:pt x="99" y="187"/>
                      <a:pt x="100" y="188"/>
                    </a:cubicBezTo>
                    <a:cubicBezTo>
                      <a:pt x="101" y="189"/>
                      <a:pt x="101" y="192"/>
                      <a:pt x="99" y="190"/>
                    </a:cubicBezTo>
                    <a:cubicBezTo>
                      <a:pt x="98" y="189"/>
                      <a:pt x="96" y="188"/>
                      <a:pt x="95" y="191"/>
                    </a:cubicBezTo>
                    <a:cubicBezTo>
                      <a:pt x="95" y="193"/>
                      <a:pt x="93" y="190"/>
                      <a:pt x="92" y="189"/>
                    </a:cubicBezTo>
                    <a:cubicBezTo>
                      <a:pt x="90" y="187"/>
                      <a:pt x="89" y="192"/>
                      <a:pt x="87" y="191"/>
                    </a:cubicBezTo>
                    <a:cubicBezTo>
                      <a:pt x="86" y="190"/>
                      <a:pt x="90" y="186"/>
                      <a:pt x="89" y="184"/>
                    </a:cubicBezTo>
                    <a:cubicBezTo>
                      <a:pt x="88" y="182"/>
                      <a:pt x="87" y="185"/>
                      <a:pt x="84" y="188"/>
                    </a:cubicBezTo>
                    <a:cubicBezTo>
                      <a:pt x="82" y="191"/>
                      <a:pt x="78" y="190"/>
                      <a:pt x="79" y="192"/>
                    </a:cubicBezTo>
                    <a:cubicBezTo>
                      <a:pt x="81" y="193"/>
                      <a:pt x="77" y="194"/>
                      <a:pt x="76" y="196"/>
                    </a:cubicBezTo>
                    <a:cubicBezTo>
                      <a:pt x="75" y="198"/>
                      <a:pt x="70" y="199"/>
                      <a:pt x="66" y="202"/>
                    </a:cubicBezTo>
                    <a:cubicBezTo>
                      <a:pt x="62" y="204"/>
                      <a:pt x="67" y="204"/>
                      <a:pt x="69" y="202"/>
                    </a:cubicBezTo>
                    <a:cubicBezTo>
                      <a:pt x="71" y="200"/>
                      <a:pt x="72" y="201"/>
                      <a:pt x="75" y="199"/>
                    </a:cubicBezTo>
                    <a:cubicBezTo>
                      <a:pt x="78" y="197"/>
                      <a:pt x="81" y="195"/>
                      <a:pt x="83" y="196"/>
                    </a:cubicBezTo>
                    <a:cubicBezTo>
                      <a:pt x="84" y="197"/>
                      <a:pt x="86" y="197"/>
                      <a:pt x="87" y="195"/>
                    </a:cubicBezTo>
                    <a:cubicBezTo>
                      <a:pt x="89" y="193"/>
                      <a:pt x="91" y="194"/>
                      <a:pt x="92" y="195"/>
                    </a:cubicBezTo>
                    <a:cubicBezTo>
                      <a:pt x="94" y="196"/>
                      <a:pt x="90" y="197"/>
                      <a:pt x="92" y="199"/>
                    </a:cubicBezTo>
                    <a:cubicBezTo>
                      <a:pt x="94" y="201"/>
                      <a:pt x="89" y="202"/>
                      <a:pt x="89" y="200"/>
                    </a:cubicBezTo>
                    <a:cubicBezTo>
                      <a:pt x="89" y="199"/>
                      <a:pt x="87" y="197"/>
                      <a:pt x="86" y="199"/>
                    </a:cubicBezTo>
                    <a:cubicBezTo>
                      <a:pt x="85" y="200"/>
                      <a:pt x="84" y="202"/>
                      <a:pt x="82" y="202"/>
                    </a:cubicBezTo>
                    <a:cubicBezTo>
                      <a:pt x="81" y="202"/>
                      <a:pt x="79" y="205"/>
                      <a:pt x="79" y="208"/>
                    </a:cubicBezTo>
                    <a:cubicBezTo>
                      <a:pt x="79" y="211"/>
                      <a:pt x="76" y="208"/>
                      <a:pt x="76" y="211"/>
                    </a:cubicBezTo>
                    <a:cubicBezTo>
                      <a:pt x="76" y="213"/>
                      <a:pt x="72" y="217"/>
                      <a:pt x="69" y="221"/>
                    </a:cubicBezTo>
                    <a:cubicBezTo>
                      <a:pt x="65" y="224"/>
                      <a:pt x="69" y="225"/>
                      <a:pt x="67" y="227"/>
                    </a:cubicBezTo>
                    <a:cubicBezTo>
                      <a:pt x="66" y="229"/>
                      <a:pt x="62" y="227"/>
                      <a:pt x="61" y="228"/>
                    </a:cubicBezTo>
                    <a:cubicBezTo>
                      <a:pt x="60" y="229"/>
                      <a:pt x="62" y="234"/>
                      <a:pt x="60" y="235"/>
                    </a:cubicBezTo>
                    <a:cubicBezTo>
                      <a:pt x="58" y="237"/>
                      <a:pt x="60" y="239"/>
                      <a:pt x="60" y="241"/>
                    </a:cubicBezTo>
                    <a:cubicBezTo>
                      <a:pt x="60" y="242"/>
                      <a:pt x="55" y="239"/>
                      <a:pt x="55" y="241"/>
                    </a:cubicBezTo>
                    <a:cubicBezTo>
                      <a:pt x="55" y="243"/>
                      <a:pt x="51" y="243"/>
                      <a:pt x="50" y="243"/>
                    </a:cubicBezTo>
                    <a:cubicBezTo>
                      <a:pt x="48" y="243"/>
                      <a:pt x="52" y="246"/>
                      <a:pt x="54" y="248"/>
                    </a:cubicBezTo>
                    <a:cubicBezTo>
                      <a:pt x="56" y="250"/>
                      <a:pt x="52" y="251"/>
                      <a:pt x="52" y="249"/>
                    </a:cubicBezTo>
                    <a:cubicBezTo>
                      <a:pt x="51" y="247"/>
                      <a:pt x="48" y="250"/>
                      <a:pt x="44" y="252"/>
                    </a:cubicBezTo>
                    <a:cubicBezTo>
                      <a:pt x="41" y="254"/>
                      <a:pt x="42" y="257"/>
                      <a:pt x="39" y="257"/>
                    </a:cubicBezTo>
                    <a:cubicBezTo>
                      <a:pt x="37" y="257"/>
                      <a:pt x="37" y="262"/>
                      <a:pt x="36" y="263"/>
                    </a:cubicBezTo>
                    <a:cubicBezTo>
                      <a:pt x="34" y="265"/>
                      <a:pt x="34" y="260"/>
                      <a:pt x="31" y="260"/>
                    </a:cubicBezTo>
                    <a:cubicBezTo>
                      <a:pt x="28" y="260"/>
                      <a:pt x="28" y="262"/>
                      <a:pt x="30" y="264"/>
                    </a:cubicBezTo>
                    <a:cubicBezTo>
                      <a:pt x="32" y="267"/>
                      <a:pt x="27" y="265"/>
                      <a:pt x="26" y="267"/>
                    </a:cubicBezTo>
                    <a:cubicBezTo>
                      <a:pt x="24" y="269"/>
                      <a:pt x="19" y="268"/>
                      <a:pt x="18" y="270"/>
                    </a:cubicBezTo>
                    <a:cubicBezTo>
                      <a:pt x="17" y="272"/>
                      <a:pt x="22" y="272"/>
                      <a:pt x="22" y="273"/>
                    </a:cubicBezTo>
                    <a:cubicBezTo>
                      <a:pt x="23" y="274"/>
                      <a:pt x="18" y="274"/>
                      <a:pt x="15" y="273"/>
                    </a:cubicBezTo>
                    <a:cubicBezTo>
                      <a:pt x="13" y="273"/>
                      <a:pt x="14" y="276"/>
                      <a:pt x="11" y="276"/>
                    </a:cubicBezTo>
                    <a:cubicBezTo>
                      <a:pt x="9" y="275"/>
                      <a:pt x="6" y="278"/>
                      <a:pt x="7" y="280"/>
                    </a:cubicBezTo>
                    <a:cubicBezTo>
                      <a:pt x="9" y="281"/>
                      <a:pt x="6" y="282"/>
                      <a:pt x="4" y="280"/>
                    </a:cubicBezTo>
                    <a:cubicBezTo>
                      <a:pt x="3" y="279"/>
                      <a:pt x="1" y="282"/>
                      <a:pt x="1" y="284"/>
                    </a:cubicBezTo>
                    <a:cubicBezTo>
                      <a:pt x="0" y="286"/>
                      <a:pt x="4" y="287"/>
                      <a:pt x="4" y="288"/>
                    </a:cubicBezTo>
                    <a:cubicBezTo>
                      <a:pt x="4" y="289"/>
                      <a:pt x="1" y="291"/>
                      <a:pt x="3" y="291"/>
                    </a:cubicBezTo>
                    <a:cubicBezTo>
                      <a:pt x="5" y="292"/>
                      <a:pt x="4" y="293"/>
                      <a:pt x="2" y="294"/>
                    </a:cubicBezTo>
                    <a:cubicBezTo>
                      <a:pt x="1" y="295"/>
                      <a:pt x="1" y="296"/>
                      <a:pt x="2" y="298"/>
                    </a:cubicBezTo>
                    <a:cubicBezTo>
                      <a:pt x="4" y="300"/>
                      <a:pt x="0" y="300"/>
                      <a:pt x="1" y="303"/>
                    </a:cubicBezTo>
                    <a:cubicBezTo>
                      <a:pt x="3" y="305"/>
                      <a:pt x="5" y="302"/>
                      <a:pt x="6" y="304"/>
                    </a:cubicBezTo>
                    <a:cubicBezTo>
                      <a:pt x="6" y="306"/>
                      <a:pt x="9" y="304"/>
                      <a:pt x="11" y="302"/>
                    </a:cubicBezTo>
                    <a:cubicBezTo>
                      <a:pt x="14" y="300"/>
                      <a:pt x="15" y="304"/>
                      <a:pt x="13" y="304"/>
                    </a:cubicBezTo>
                    <a:cubicBezTo>
                      <a:pt x="11" y="304"/>
                      <a:pt x="8" y="306"/>
                      <a:pt x="9" y="308"/>
                    </a:cubicBezTo>
                    <a:cubicBezTo>
                      <a:pt x="9" y="310"/>
                      <a:pt x="5" y="309"/>
                      <a:pt x="5" y="307"/>
                    </a:cubicBezTo>
                    <a:cubicBezTo>
                      <a:pt x="6" y="304"/>
                      <a:pt x="1" y="307"/>
                      <a:pt x="3" y="309"/>
                    </a:cubicBezTo>
                    <a:cubicBezTo>
                      <a:pt x="4" y="311"/>
                      <a:pt x="2" y="312"/>
                      <a:pt x="2" y="314"/>
                    </a:cubicBezTo>
                    <a:cubicBezTo>
                      <a:pt x="2" y="316"/>
                      <a:pt x="5" y="315"/>
                      <a:pt x="7" y="313"/>
                    </a:cubicBezTo>
                    <a:cubicBezTo>
                      <a:pt x="8" y="311"/>
                      <a:pt x="10" y="312"/>
                      <a:pt x="11" y="314"/>
                    </a:cubicBezTo>
                    <a:cubicBezTo>
                      <a:pt x="12" y="316"/>
                      <a:pt x="9" y="314"/>
                      <a:pt x="9" y="317"/>
                    </a:cubicBezTo>
                    <a:cubicBezTo>
                      <a:pt x="9" y="320"/>
                      <a:pt x="7" y="317"/>
                      <a:pt x="6" y="320"/>
                    </a:cubicBezTo>
                    <a:cubicBezTo>
                      <a:pt x="4" y="322"/>
                      <a:pt x="12" y="326"/>
                      <a:pt x="14" y="326"/>
                    </a:cubicBezTo>
                    <a:cubicBezTo>
                      <a:pt x="16" y="327"/>
                      <a:pt x="19" y="329"/>
                      <a:pt x="23" y="329"/>
                    </a:cubicBezTo>
                    <a:cubicBezTo>
                      <a:pt x="28" y="328"/>
                      <a:pt x="37" y="319"/>
                      <a:pt x="38" y="318"/>
                    </a:cubicBezTo>
                    <a:cubicBezTo>
                      <a:pt x="40" y="316"/>
                      <a:pt x="42" y="318"/>
                      <a:pt x="44" y="316"/>
                    </a:cubicBezTo>
                    <a:cubicBezTo>
                      <a:pt x="46" y="315"/>
                      <a:pt x="45" y="311"/>
                      <a:pt x="46" y="311"/>
                    </a:cubicBezTo>
                    <a:cubicBezTo>
                      <a:pt x="47" y="310"/>
                      <a:pt x="48" y="315"/>
                      <a:pt x="49" y="315"/>
                    </a:cubicBezTo>
                    <a:cubicBezTo>
                      <a:pt x="50" y="315"/>
                      <a:pt x="51" y="316"/>
                      <a:pt x="51" y="319"/>
                    </a:cubicBezTo>
                    <a:cubicBezTo>
                      <a:pt x="52" y="319"/>
                      <a:pt x="53" y="319"/>
                      <a:pt x="54" y="319"/>
                    </a:cubicBezTo>
                    <a:cubicBezTo>
                      <a:pt x="55" y="320"/>
                      <a:pt x="56" y="315"/>
                      <a:pt x="56" y="314"/>
                    </a:cubicBezTo>
                    <a:cubicBezTo>
                      <a:pt x="56" y="312"/>
                      <a:pt x="57" y="309"/>
                      <a:pt x="57" y="307"/>
                    </a:cubicBezTo>
                    <a:cubicBezTo>
                      <a:pt x="56" y="305"/>
                      <a:pt x="61" y="307"/>
                      <a:pt x="62" y="305"/>
                    </a:cubicBezTo>
                    <a:cubicBezTo>
                      <a:pt x="63" y="304"/>
                      <a:pt x="63" y="298"/>
                      <a:pt x="62" y="298"/>
                    </a:cubicBezTo>
                    <a:cubicBezTo>
                      <a:pt x="60" y="297"/>
                      <a:pt x="60" y="294"/>
                      <a:pt x="61" y="294"/>
                    </a:cubicBezTo>
                    <a:cubicBezTo>
                      <a:pt x="63" y="294"/>
                      <a:pt x="65" y="293"/>
                      <a:pt x="64" y="290"/>
                    </a:cubicBezTo>
                    <a:cubicBezTo>
                      <a:pt x="64" y="287"/>
                      <a:pt x="59" y="287"/>
                      <a:pt x="59" y="284"/>
                    </a:cubicBezTo>
                    <a:cubicBezTo>
                      <a:pt x="59" y="281"/>
                      <a:pt x="61" y="280"/>
                      <a:pt x="59" y="276"/>
                    </a:cubicBezTo>
                    <a:cubicBezTo>
                      <a:pt x="57" y="272"/>
                      <a:pt x="60" y="270"/>
                      <a:pt x="59" y="268"/>
                    </a:cubicBezTo>
                    <a:cubicBezTo>
                      <a:pt x="59" y="266"/>
                      <a:pt x="58" y="264"/>
                      <a:pt x="60" y="260"/>
                    </a:cubicBezTo>
                    <a:cubicBezTo>
                      <a:pt x="62" y="256"/>
                      <a:pt x="67" y="255"/>
                      <a:pt x="68" y="255"/>
                    </a:cubicBezTo>
                    <a:cubicBezTo>
                      <a:pt x="70" y="255"/>
                      <a:pt x="72" y="257"/>
                      <a:pt x="73" y="255"/>
                    </a:cubicBezTo>
                    <a:cubicBezTo>
                      <a:pt x="75" y="252"/>
                      <a:pt x="75" y="250"/>
                      <a:pt x="73" y="250"/>
                    </a:cubicBezTo>
                    <a:cubicBezTo>
                      <a:pt x="72" y="250"/>
                      <a:pt x="69" y="249"/>
                      <a:pt x="72" y="246"/>
                    </a:cubicBezTo>
                    <a:cubicBezTo>
                      <a:pt x="74" y="243"/>
                      <a:pt x="77" y="239"/>
                      <a:pt x="77" y="235"/>
                    </a:cubicBezTo>
                    <a:cubicBezTo>
                      <a:pt x="77" y="232"/>
                      <a:pt x="76" y="229"/>
                      <a:pt x="77" y="228"/>
                    </a:cubicBezTo>
                    <a:cubicBezTo>
                      <a:pt x="78" y="227"/>
                      <a:pt x="81" y="228"/>
                      <a:pt x="83" y="227"/>
                    </a:cubicBezTo>
                    <a:cubicBezTo>
                      <a:pt x="86" y="225"/>
                      <a:pt x="84" y="223"/>
                      <a:pt x="85" y="222"/>
                    </a:cubicBezTo>
                    <a:cubicBezTo>
                      <a:pt x="86" y="221"/>
                      <a:pt x="88" y="217"/>
                      <a:pt x="89" y="216"/>
                    </a:cubicBezTo>
                    <a:cubicBezTo>
                      <a:pt x="91" y="215"/>
                      <a:pt x="92" y="213"/>
                      <a:pt x="91" y="212"/>
                    </a:cubicBezTo>
                    <a:cubicBezTo>
                      <a:pt x="90" y="210"/>
                      <a:pt x="93" y="209"/>
                      <a:pt x="93" y="206"/>
                    </a:cubicBezTo>
                    <a:cubicBezTo>
                      <a:pt x="93" y="203"/>
                      <a:pt x="97" y="201"/>
                      <a:pt x="99" y="201"/>
                    </a:cubicBezTo>
                    <a:cubicBezTo>
                      <a:pt x="102" y="201"/>
                      <a:pt x="106" y="201"/>
                      <a:pt x="106" y="199"/>
                    </a:cubicBezTo>
                    <a:cubicBezTo>
                      <a:pt x="106" y="197"/>
                      <a:pt x="104" y="192"/>
                      <a:pt x="107" y="193"/>
                    </a:cubicBezTo>
                    <a:cubicBezTo>
                      <a:pt x="111" y="195"/>
                      <a:pt x="114" y="193"/>
                      <a:pt x="116" y="195"/>
                    </a:cubicBezTo>
                    <a:cubicBezTo>
                      <a:pt x="118" y="197"/>
                      <a:pt x="121" y="196"/>
                      <a:pt x="121" y="193"/>
                    </a:cubicBezTo>
                    <a:cubicBezTo>
                      <a:pt x="121" y="190"/>
                      <a:pt x="122" y="185"/>
                      <a:pt x="126" y="187"/>
                    </a:cubicBezTo>
                    <a:cubicBezTo>
                      <a:pt x="126" y="187"/>
                      <a:pt x="126" y="188"/>
                      <a:pt x="127" y="188"/>
                    </a:cubicBezTo>
                    <a:cubicBezTo>
                      <a:pt x="128" y="185"/>
                      <a:pt x="130" y="184"/>
                      <a:pt x="132" y="184"/>
                    </a:cubicBezTo>
                    <a:cubicBezTo>
                      <a:pt x="135" y="184"/>
                      <a:pt x="137" y="190"/>
                      <a:pt x="141" y="190"/>
                    </a:cubicBezTo>
                    <a:cubicBezTo>
                      <a:pt x="145" y="191"/>
                      <a:pt x="148" y="193"/>
                      <a:pt x="149" y="191"/>
                    </a:cubicBezTo>
                    <a:cubicBezTo>
                      <a:pt x="151" y="189"/>
                      <a:pt x="153" y="192"/>
                      <a:pt x="156" y="191"/>
                    </a:cubicBezTo>
                    <a:cubicBezTo>
                      <a:pt x="158" y="190"/>
                      <a:pt x="158" y="195"/>
                      <a:pt x="160" y="192"/>
                    </a:cubicBezTo>
                    <a:cubicBezTo>
                      <a:pt x="162" y="189"/>
                      <a:pt x="160" y="187"/>
                      <a:pt x="164" y="188"/>
                    </a:cubicBezTo>
                    <a:cubicBezTo>
                      <a:pt x="167" y="188"/>
                      <a:pt x="165" y="183"/>
                      <a:pt x="165" y="181"/>
                    </a:cubicBezTo>
                    <a:cubicBezTo>
                      <a:pt x="165" y="178"/>
                      <a:pt x="170" y="178"/>
                      <a:pt x="170" y="175"/>
                    </a:cubicBezTo>
                    <a:cubicBezTo>
                      <a:pt x="170" y="173"/>
                      <a:pt x="177" y="175"/>
                      <a:pt x="178" y="174"/>
                    </a:cubicBezTo>
                    <a:cubicBezTo>
                      <a:pt x="179" y="172"/>
                      <a:pt x="183" y="171"/>
                      <a:pt x="185" y="174"/>
                    </a:cubicBezTo>
                    <a:cubicBezTo>
                      <a:pt x="186" y="176"/>
                      <a:pt x="193" y="177"/>
                      <a:pt x="193" y="179"/>
                    </a:cubicBezTo>
                    <a:cubicBezTo>
                      <a:pt x="193" y="180"/>
                      <a:pt x="193" y="182"/>
                      <a:pt x="193" y="184"/>
                    </a:cubicBezTo>
                    <a:cubicBezTo>
                      <a:pt x="194" y="183"/>
                      <a:pt x="195" y="182"/>
                      <a:pt x="197" y="182"/>
                    </a:cubicBezTo>
                    <a:cubicBezTo>
                      <a:pt x="199" y="182"/>
                      <a:pt x="201" y="178"/>
                      <a:pt x="203" y="179"/>
                    </a:cubicBezTo>
                    <a:cubicBezTo>
                      <a:pt x="205" y="179"/>
                      <a:pt x="207" y="179"/>
                      <a:pt x="207" y="176"/>
                    </a:cubicBezTo>
                    <a:cubicBezTo>
                      <a:pt x="206" y="175"/>
                      <a:pt x="202" y="175"/>
                      <a:pt x="201" y="176"/>
                    </a:cubicBezTo>
                    <a:close/>
                    <a:moveTo>
                      <a:pt x="58" y="24"/>
                    </a:moveTo>
                    <a:cubicBezTo>
                      <a:pt x="61" y="24"/>
                      <a:pt x="54" y="28"/>
                      <a:pt x="53" y="32"/>
                    </a:cubicBezTo>
                    <a:cubicBezTo>
                      <a:pt x="52" y="35"/>
                      <a:pt x="58" y="38"/>
                      <a:pt x="61" y="41"/>
                    </a:cubicBezTo>
                    <a:cubicBezTo>
                      <a:pt x="64" y="43"/>
                      <a:pt x="70" y="43"/>
                      <a:pt x="72" y="41"/>
                    </a:cubicBezTo>
                    <a:cubicBezTo>
                      <a:pt x="75" y="40"/>
                      <a:pt x="74" y="35"/>
                      <a:pt x="77" y="35"/>
                    </a:cubicBezTo>
                    <a:cubicBezTo>
                      <a:pt x="80" y="35"/>
                      <a:pt x="79" y="32"/>
                      <a:pt x="81" y="31"/>
                    </a:cubicBezTo>
                    <a:cubicBezTo>
                      <a:pt x="84" y="31"/>
                      <a:pt x="84" y="34"/>
                      <a:pt x="82" y="36"/>
                    </a:cubicBezTo>
                    <a:cubicBezTo>
                      <a:pt x="80" y="39"/>
                      <a:pt x="85" y="39"/>
                      <a:pt x="89" y="36"/>
                    </a:cubicBezTo>
                    <a:cubicBezTo>
                      <a:pt x="92" y="33"/>
                      <a:pt x="93" y="35"/>
                      <a:pt x="92" y="38"/>
                    </a:cubicBezTo>
                    <a:cubicBezTo>
                      <a:pt x="91" y="41"/>
                      <a:pt x="85" y="39"/>
                      <a:pt x="82" y="43"/>
                    </a:cubicBezTo>
                    <a:cubicBezTo>
                      <a:pt x="80" y="46"/>
                      <a:pt x="73" y="43"/>
                      <a:pt x="70" y="47"/>
                    </a:cubicBezTo>
                    <a:cubicBezTo>
                      <a:pt x="66" y="51"/>
                      <a:pt x="72" y="51"/>
                      <a:pt x="77" y="50"/>
                    </a:cubicBezTo>
                    <a:cubicBezTo>
                      <a:pt x="81" y="49"/>
                      <a:pt x="90" y="48"/>
                      <a:pt x="93" y="49"/>
                    </a:cubicBezTo>
                    <a:cubicBezTo>
                      <a:pt x="96" y="50"/>
                      <a:pt x="91" y="51"/>
                      <a:pt x="86" y="51"/>
                    </a:cubicBezTo>
                    <a:cubicBezTo>
                      <a:pt x="80" y="51"/>
                      <a:pt x="79" y="52"/>
                      <a:pt x="79" y="54"/>
                    </a:cubicBezTo>
                    <a:cubicBezTo>
                      <a:pt x="79" y="55"/>
                      <a:pt x="71" y="52"/>
                      <a:pt x="71" y="56"/>
                    </a:cubicBezTo>
                    <a:cubicBezTo>
                      <a:pt x="71" y="59"/>
                      <a:pt x="78" y="60"/>
                      <a:pt x="79" y="62"/>
                    </a:cubicBezTo>
                    <a:cubicBezTo>
                      <a:pt x="80" y="64"/>
                      <a:pt x="85" y="62"/>
                      <a:pt x="87" y="63"/>
                    </a:cubicBezTo>
                    <a:cubicBezTo>
                      <a:pt x="89" y="64"/>
                      <a:pt x="84" y="65"/>
                      <a:pt x="83" y="66"/>
                    </a:cubicBezTo>
                    <a:cubicBezTo>
                      <a:pt x="82" y="67"/>
                      <a:pt x="88" y="68"/>
                      <a:pt x="89" y="70"/>
                    </a:cubicBezTo>
                    <a:cubicBezTo>
                      <a:pt x="90" y="72"/>
                      <a:pt x="95" y="71"/>
                      <a:pt x="95" y="68"/>
                    </a:cubicBezTo>
                    <a:cubicBezTo>
                      <a:pt x="95" y="65"/>
                      <a:pt x="99" y="56"/>
                      <a:pt x="104" y="54"/>
                    </a:cubicBezTo>
                    <a:cubicBezTo>
                      <a:pt x="109" y="52"/>
                      <a:pt x="106" y="50"/>
                      <a:pt x="107" y="47"/>
                    </a:cubicBezTo>
                    <a:cubicBezTo>
                      <a:pt x="108" y="44"/>
                      <a:pt x="112" y="46"/>
                      <a:pt x="111" y="44"/>
                    </a:cubicBezTo>
                    <a:cubicBezTo>
                      <a:pt x="110" y="41"/>
                      <a:pt x="110" y="40"/>
                      <a:pt x="114" y="37"/>
                    </a:cubicBezTo>
                    <a:cubicBezTo>
                      <a:pt x="117" y="34"/>
                      <a:pt x="119" y="36"/>
                      <a:pt x="123" y="34"/>
                    </a:cubicBezTo>
                    <a:cubicBezTo>
                      <a:pt x="127" y="32"/>
                      <a:pt x="129" y="36"/>
                      <a:pt x="125" y="36"/>
                    </a:cubicBezTo>
                    <a:cubicBezTo>
                      <a:pt x="121" y="36"/>
                      <a:pt x="123" y="41"/>
                      <a:pt x="126" y="42"/>
                    </a:cubicBezTo>
                    <a:cubicBezTo>
                      <a:pt x="129" y="43"/>
                      <a:pt x="127" y="44"/>
                      <a:pt x="129" y="45"/>
                    </a:cubicBezTo>
                    <a:cubicBezTo>
                      <a:pt x="132" y="46"/>
                      <a:pt x="131" y="49"/>
                      <a:pt x="128" y="53"/>
                    </a:cubicBezTo>
                    <a:cubicBezTo>
                      <a:pt x="124" y="56"/>
                      <a:pt x="128" y="57"/>
                      <a:pt x="135" y="54"/>
                    </a:cubicBezTo>
                    <a:cubicBezTo>
                      <a:pt x="142" y="52"/>
                      <a:pt x="138" y="56"/>
                      <a:pt x="140" y="58"/>
                    </a:cubicBezTo>
                    <a:cubicBezTo>
                      <a:pt x="142" y="60"/>
                      <a:pt x="147" y="57"/>
                      <a:pt x="150" y="54"/>
                    </a:cubicBezTo>
                    <a:cubicBezTo>
                      <a:pt x="153" y="50"/>
                      <a:pt x="157" y="51"/>
                      <a:pt x="157" y="49"/>
                    </a:cubicBezTo>
                    <a:cubicBezTo>
                      <a:pt x="157" y="47"/>
                      <a:pt x="154" y="46"/>
                      <a:pt x="151" y="47"/>
                    </a:cubicBezTo>
                    <a:cubicBezTo>
                      <a:pt x="149" y="49"/>
                      <a:pt x="142" y="48"/>
                      <a:pt x="145" y="46"/>
                    </a:cubicBezTo>
                    <a:cubicBezTo>
                      <a:pt x="147" y="44"/>
                      <a:pt x="146" y="42"/>
                      <a:pt x="143" y="43"/>
                    </a:cubicBezTo>
                    <a:cubicBezTo>
                      <a:pt x="140" y="43"/>
                      <a:pt x="134" y="41"/>
                      <a:pt x="137" y="40"/>
                    </a:cubicBezTo>
                    <a:cubicBezTo>
                      <a:pt x="140" y="39"/>
                      <a:pt x="135" y="36"/>
                      <a:pt x="132" y="36"/>
                    </a:cubicBezTo>
                    <a:cubicBezTo>
                      <a:pt x="130" y="36"/>
                      <a:pt x="131" y="33"/>
                      <a:pt x="131" y="31"/>
                    </a:cubicBezTo>
                    <a:cubicBezTo>
                      <a:pt x="131" y="29"/>
                      <a:pt x="124" y="28"/>
                      <a:pt x="125" y="28"/>
                    </a:cubicBezTo>
                    <a:cubicBezTo>
                      <a:pt x="127" y="27"/>
                      <a:pt x="122" y="25"/>
                      <a:pt x="121" y="27"/>
                    </a:cubicBezTo>
                    <a:cubicBezTo>
                      <a:pt x="120" y="28"/>
                      <a:pt x="118" y="28"/>
                      <a:pt x="118" y="26"/>
                    </a:cubicBezTo>
                    <a:cubicBezTo>
                      <a:pt x="118" y="24"/>
                      <a:pt x="112" y="24"/>
                      <a:pt x="110" y="24"/>
                    </a:cubicBezTo>
                    <a:cubicBezTo>
                      <a:pt x="108" y="24"/>
                      <a:pt x="109" y="20"/>
                      <a:pt x="107" y="18"/>
                    </a:cubicBezTo>
                    <a:cubicBezTo>
                      <a:pt x="105" y="16"/>
                      <a:pt x="102" y="21"/>
                      <a:pt x="100" y="21"/>
                    </a:cubicBezTo>
                    <a:cubicBezTo>
                      <a:pt x="99" y="21"/>
                      <a:pt x="102" y="17"/>
                      <a:pt x="103" y="15"/>
                    </a:cubicBezTo>
                    <a:cubicBezTo>
                      <a:pt x="104" y="13"/>
                      <a:pt x="95" y="10"/>
                      <a:pt x="94" y="12"/>
                    </a:cubicBezTo>
                    <a:cubicBezTo>
                      <a:pt x="93" y="14"/>
                      <a:pt x="92" y="9"/>
                      <a:pt x="90" y="9"/>
                    </a:cubicBezTo>
                    <a:cubicBezTo>
                      <a:pt x="88" y="8"/>
                      <a:pt x="90" y="12"/>
                      <a:pt x="88" y="13"/>
                    </a:cubicBezTo>
                    <a:cubicBezTo>
                      <a:pt x="86" y="13"/>
                      <a:pt x="84" y="14"/>
                      <a:pt x="87" y="16"/>
                    </a:cubicBezTo>
                    <a:cubicBezTo>
                      <a:pt x="90" y="18"/>
                      <a:pt x="92" y="27"/>
                      <a:pt x="92" y="28"/>
                    </a:cubicBezTo>
                    <a:cubicBezTo>
                      <a:pt x="92" y="30"/>
                      <a:pt x="83" y="22"/>
                      <a:pt x="83" y="18"/>
                    </a:cubicBezTo>
                    <a:cubicBezTo>
                      <a:pt x="83" y="14"/>
                      <a:pt x="79" y="11"/>
                      <a:pt x="77" y="14"/>
                    </a:cubicBezTo>
                    <a:cubicBezTo>
                      <a:pt x="76" y="17"/>
                      <a:pt x="73" y="18"/>
                      <a:pt x="74" y="21"/>
                    </a:cubicBezTo>
                    <a:cubicBezTo>
                      <a:pt x="75" y="23"/>
                      <a:pt x="72" y="24"/>
                      <a:pt x="72" y="22"/>
                    </a:cubicBezTo>
                    <a:cubicBezTo>
                      <a:pt x="72" y="20"/>
                      <a:pt x="68" y="17"/>
                      <a:pt x="66" y="17"/>
                    </a:cubicBezTo>
                    <a:cubicBezTo>
                      <a:pt x="64" y="17"/>
                      <a:pt x="70" y="16"/>
                      <a:pt x="73" y="15"/>
                    </a:cubicBezTo>
                    <a:cubicBezTo>
                      <a:pt x="76" y="13"/>
                      <a:pt x="71" y="12"/>
                      <a:pt x="68" y="13"/>
                    </a:cubicBezTo>
                    <a:cubicBezTo>
                      <a:pt x="66" y="14"/>
                      <a:pt x="63" y="12"/>
                      <a:pt x="61" y="14"/>
                    </a:cubicBezTo>
                    <a:cubicBezTo>
                      <a:pt x="60" y="16"/>
                      <a:pt x="58" y="14"/>
                      <a:pt x="56" y="14"/>
                    </a:cubicBezTo>
                    <a:cubicBezTo>
                      <a:pt x="53" y="13"/>
                      <a:pt x="51" y="17"/>
                      <a:pt x="49" y="16"/>
                    </a:cubicBezTo>
                    <a:cubicBezTo>
                      <a:pt x="48" y="16"/>
                      <a:pt x="46" y="20"/>
                      <a:pt x="49" y="24"/>
                    </a:cubicBezTo>
                    <a:cubicBezTo>
                      <a:pt x="52" y="29"/>
                      <a:pt x="54" y="23"/>
                      <a:pt x="58" y="24"/>
                    </a:cubicBezTo>
                    <a:close/>
                    <a:moveTo>
                      <a:pt x="50" y="38"/>
                    </a:moveTo>
                    <a:cubicBezTo>
                      <a:pt x="53" y="39"/>
                      <a:pt x="54" y="42"/>
                      <a:pt x="56" y="42"/>
                    </a:cubicBezTo>
                    <a:cubicBezTo>
                      <a:pt x="57" y="42"/>
                      <a:pt x="53" y="38"/>
                      <a:pt x="51" y="35"/>
                    </a:cubicBezTo>
                    <a:cubicBezTo>
                      <a:pt x="48" y="33"/>
                      <a:pt x="49" y="30"/>
                      <a:pt x="45" y="31"/>
                    </a:cubicBezTo>
                    <a:cubicBezTo>
                      <a:pt x="42" y="32"/>
                      <a:pt x="48" y="38"/>
                      <a:pt x="50" y="38"/>
                    </a:cubicBezTo>
                    <a:close/>
                    <a:moveTo>
                      <a:pt x="107" y="9"/>
                    </a:moveTo>
                    <a:cubicBezTo>
                      <a:pt x="109" y="11"/>
                      <a:pt x="104" y="11"/>
                      <a:pt x="106" y="12"/>
                    </a:cubicBezTo>
                    <a:cubicBezTo>
                      <a:pt x="112" y="18"/>
                      <a:pt x="133" y="12"/>
                      <a:pt x="135" y="13"/>
                    </a:cubicBezTo>
                    <a:cubicBezTo>
                      <a:pt x="138" y="15"/>
                      <a:pt x="118" y="17"/>
                      <a:pt x="119" y="19"/>
                    </a:cubicBezTo>
                    <a:cubicBezTo>
                      <a:pt x="120" y="21"/>
                      <a:pt x="136" y="23"/>
                      <a:pt x="138" y="21"/>
                    </a:cubicBezTo>
                    <a:cubicBezTo>
                      <a:pt x="139" y="20"/>
                      <a:pt x="142" y="24"/>
                      <a:pt x="147" y="25"/>
                    </a:cubicBezTo>
                    <a:cubicBezTo>
                      <a:pt x="153" y="25"/>
                      <a:pt x="152" y="23"/>
                      <a:pt x="156" y="22"/>
                    </a:cubicBezTo>
                    <a:cubicBezTo>
                      <a:pt x="160" y="22"/>
                      <a:pt x="166" y="20"/>
                      <a:pt x="167" y="18"/>
                    </a:cubicBezTo>
                    <a:cubicBezTo>
                      <a:pt x="167" y="16"/>
                      <a:pt x="179" y="13"/>
                      <a:pt x="178" y="9"/>
                    </a:cubicBezTo>
                    <a:cubicBezTo>
                      <a:pt x="177" y="5"/>
                      <a:pt x="165" y="8"/>
                      <a:pt x="162" y="6"/>
                    </a:cubicBezTo>
                    <a:cubicBezTo>
                      <a:pt x="159" y="4"/>
                      <a:pt x="151" y="2"/>
                      <a:pt x="150" y="5"/>
                    </a:cubicBezTo>
                    <a:cubicBezTo>
                      <a:pt x="149" y="7"/>
                      <a:pt x="146" y="8"/>
                      <a:pt x="145" y="7"/>
                    </a:cubicBezTo>
                    <a:cubicBezTo>
                      <a:pt x="144" y="6"/>
                      <a:pt x="146" y="0"/>
                      <a:pt x="141" y="2"/>
                    </a:cubicBezTo>
                    <a:cubicBezTo>
                      <a:pt x="136" y="3"/>
                      <a:pt x="140" y="9"/>
                      <a:pt x="139" y="10"/>
                    </a:cubicBezTo>
                    <a:cubicBezTo>
                      <a:pt x="138" y="10"/>
                      <a:pt x="133" y="8"/>
                      <a:pt x="133" y="6"/>
                    </a:cubicBezTo>
                    <a:cubicBezTo>
                      <a:pt x="133" y="3"/>
                      <a:pt x="127" y="9"/>
                      <a:pt x="126" y="6"/>
                    </a:cubicBezTo>
                    <a:cubicBezTo>
                      <a:pt x="126" y="3"/>
                      <a:pt x="119" y="0"/>
                      <a:pt x="118" y="1"/>
                    </a:cubicBezTo>
                    <a:cubicBezTo>
                      <a:pt x="116" y="1"/>
                      <a:pt x="119" y="3"/>
                      <a:pt x="118" y="4"/>
                    </a:cubicBezTo>
                    <a:cubicBezTo>
                      <a:pt x="117" y="6"/>
                      <a:pt x="114" y="3"/>
                      <a:pt x="112" y="3"/>
                    </a:cubicBezTo>
                    <a:cubicBezTo>
                      <a:pt x="111" y="2"/>
                      <a:pt x="113" y="6"/>
                      <a:pt x="112" y="7"/>
                    </a:cubicBezTo>
                    <a:cubicBezTo>
                      <a:pt x="112" y="8"/>
                      <a:pt x="109" y="3"/>
                      <a:pt x="106" y="3"/>
                    </a:cubicBezTo>
                    <a:cubicBezTo>
                      <a:pt x="104" y="3"/>
                      <a:pt x="105" y="6"/>
                      <a:pt x="103" y="6"/>
                    </a:cubicBezTo>
                    <a:cubicBezTo>
                      <a:pt x="101" y="6"/>
                      <a:pt x="105" y="8"/>
                      <a:pt x="107" y="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0" name="Freeform 148">
                <a:extLst>
                  <a:ext uri="{FF2B5EF4-FFF2-40B4-BE49-F238E27FC236}">
                    <a16:creationId xmlns:a16="http://schemas.microsoft.com/office/drawing/2014/main" id="{A475EFC6-2937-4F25-AF25-C93D6F803A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04088" y="2705836"/>
                <a:ext cx="61482" cy="22585"/>
              </a:xfrm>
              <a:custGeom>
                <a:avLst/>
                <a:gdLst>
                  <a:gd name="T0" fmla="*/ 12 w 27"/>
                  <a:gd name="T1" fmla="*/ 1 h 10"/>
                  <a:gd name="T2" fmla="*/ 2 w 27"/>
                  <a:gd name="T3" fmla="*/ 4 h 10"/>
                  <a:gd name="T4" fmla="*/ 17 w 27"/>
                  <a:gd name="T5" fmla="*/ 8 h 10"/>
                  <a:gd name="T6" fmla="*/ 27 w 27"/>
                  <a:gd name="T7" fmla="*/ 6 h 10"/>
                  <a:gd name="T8" fmla="*/ 12 w 27"/>
                  <a:gd name="T9" fmla="*/ 1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" h="10">
                    <a:moveTo>
                      <a:pt x="12" y="1"/>
                    </a:moveTo>
                    <a:cubicBezTo>
                      <a:pt x="11" y="2"/>
                      <a:pt x="0" y="2"/>
                      <a:pt x="2" y="4"/>
                    </a:cubicBezTo>
                    <a:cubicBezTo>
                      <a:pt x="4" y="6"/>
                      <a:pt x="13" y="5"/>
                      <a:pt x="17" y="8"/>
                    </a:cubicBezTo>
                    <a:cubicBezTo>
                      <a:pt x="21" y="10"/>
                      <a:pt x="27" y="8"/>
                      <a:pt x="27" y="6"/>
                    </a:cubicBezTo>
                    <a:cubicBezTo>
                      <a:pt x="27" y="4"/>
                      <a:pt x="14" y="0"/>
                      <a:pt x="12" y="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1" name="Freeform 149">
                <a:extLst>
                  <a:ext uri="{FF2B5EF4-FFF2-40B4-BE49-F238E27FC236}">
                    <a16:creationId xmlns:a16="http://schemas.microsoft.com/office/drawing/2014/main" id="{33E0C865-0400-43F6-AE48-1CC7499D15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306203" y="3173848"/>
                <a:ext cx="316191" cy="317446"/>
              </a:xfrm>
              <a:custGeom>
                <a:avLst/>
                <a:gdLst>
                  <a:gd name="T0" fmla="*/ 122 w 137"/>
                  <a:gd name="T1" fmla="*/ 17 h 138"/>
                  <a:gd name="T2" fmla="*/ 99 w 137"/>
                  <a:gd name="T3" fmla="*/ 7 h 138"/>
                  <a:gd name="T4" fmla="*/ 96 w 137"/>
                  <a:gd name="T5" fmla="*/ 22 h 138"/>
                  <a:gd name="T6" fmla="*/ 86 w 137"/>
                  <a:gd name="T7" fmla="*/ 30 h 138"/>
                  <a:gd name="T8" fmla="*/ 85 w 137"/>
                  <a:gd name="T9" fmla="*/ 41 h 138"/>
                  <a:gd name="T10" fmla="*/ 93 w 137"/>
                  <a:gd name="T11" fmla="*/ 38 h 138"/>
                  <a:gd name="T12" fmla="*/ 95 w 137"/>
                  <a:gd name="T13" fmla="*/ 31 h 138"/>
                  <a:gd name="T14" fmla="*/ 112 w 137"/>
                  <a:gd name="T15" fmla="*/ 32 h 138"/>
                  <a:gd name="T16" fmla="*/ 128 w 137"/>
                  <a:gd name="T17" fmla="*/ 23 h 138"/>
                  <a:gd name="T18" fmla="*/ 130 w 137"/>
                  <a:gd name="T19" fmla="*/ 15 h 138"/>
                  <a:gd name="T20" fmla="*/ 84 w 137"/>
                  <a:gd name="T21" fmla="*/ 59 h 138"/>
                  <a:gd name="T22" fmla="*/ 75 w 137"/>
                  <a:gd name="T23" fmla="*/ 77 h 138"/>
                  <a:gd name="T24" fmla="*/ 63 w 137"/>
                  <a:gd name="T25" fmla="*/ 80 h 138"/>
                  <a:gd name="T26" fmla="*/ 52 w 137"/>
                  <a:gd name="T27" fmla="*/ 95 h 138"/>
                  <a:gd name="T28" fmla="*/ 37 w 137"/>
                  <a:gd name="T29" fmla="*/ 98 h 138"/>
                  <a:gd name="T30" fmla="*/ 13 w 137"/>
                  <a:gd name="T31" fmla="*/ 108 h 138"/>
                  <a:gd name="T32" fmla="*/ 22 w 137"/>
                  <a:gd name="T33" fmla="*/ 110 h 138"/>
                  <a:gd name="T34" fmla="*/ 45 w 137"/>
                  <a:gd name="T35" fmla="*/ 112 h 138"/>
                  <a:gd name="T36" fmla="*/ 58 w 137"/>
                  <a:gd name="T37" fmla="*/ 106 h 138"/>
                  <a:gd name="T38" fmla="*/ 70 w 137"/>
                  <a:gd name="T39" fmla="*/ 104 h 138"/>
                  <a:gd name="T40" fmla="*/ 81 w 137"/>
                  <a:gd name="T41" fmla="*/ 100 h 138"/>
                  <a:gd name="T42" fmla="*/ 91 w 137"/>
                  <a:gd name="T43" fmla="*/ 88 h 138"/>
                  <a:gd name="T44" fmla="*/ 100 w 137"/>
                  <a:gd name="T45" fmla="*/ 66 h 138"/>
                  <a:gd name="T46" fmla="*/ 86 w 137"/>
                  <a:gd name="T47" fmla="*/ 48 h 138"/>
                  <a:gd name="T48" fmla="*/ 26 w 137"/>
                  <a:gd name="T49" fmla="*/ 112 h 138"/>
                  <a:gd name="T50" fmla="*/ 29 w 137"/>
                  <a:gd name="T51" fmla="*/ 120 h 138"/>
                  <a:gd name="T52" fmla="*/ 42 w 137"/>
                  <a:gd name="T53" fmla="*/ 111 h 138"/>
                  <a:gd name="T54" fmla="*/ 17 w 137"/>
                  <a:gd name="T55" fmla="*/ 119 h 138"/>
                  <a:gd name="T56" fmla="*/ 4 w 137"/>
                  <a:gd name="T57" fmla="*/ 117 h 138"/>
                  <a:gd name="T58" fmla="*/ 6 w 137"/>
                  <a:gd name="T59" fmla="*/ 120 h 138"/>
                  <a:gd name="T60" fmla="*/ 10 w 137"/>
                  <a:gd name="T61" fmla="*/ 138 h 138"/>
                  <a:gd name="T62" fmla="*/ 17 w 137"/>
                  <a:gd name="T63" fmla="*/ 119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37" h="138">
                    <a:moveTo>
                      <a:pt x="130" y="15"/>
                    </a:moveTo>
                    <a:cubicBezTo>
                      <a:pt x="128" y="13"/>
                      <a:pt x="125" y="16"/>
                      <a:pt x="122" y="17"/>
                    </a:cubicBezTo>
                    <a:cubicBezTo>
                      <a:pt x="118" y="18"/>
                      <a:pt x="107" y="9"/>
                      <a:pt x="104" y="4"/>
                    </a:cubicBezTo>
                    <a:cubicBezTo>
                      <a:pt x="101" y="0"/>
                      <a:pt x="96" y="4"/>
                      <a:pt x="99" y="7"/>
                    </a:cubicBezTo>
                    <a:cubicBezTo>
                      <a:pt x="101" y="10"/>
                      <a:pt x="98" y="11"/>
                      <a:pt x="98" y="15"/>
                    </a:cubicBezTo>
                    <a:cubicBezTo>
                      <a:pt x="98" y="19"/>
                      <a:pt x="95" y="19"/>
                      <a:pt x="96" y="22"/>
                    </a:cubicBezTo>
                    <a:cubicBezTo>
                      <a:pt x="96" y="25"/>
                      <a:pt x="92" y="25"/>
                      <a:pt x="89" y="25"/>
                    </a:cubicBezTo>
                    <a:cubicBezTo>
                      <a:pt x="86" y="26"/>
                      <a:pt x="89" y="28"/>
                      <a:pt x="86" y="30"/>
                    </a:cubicBezTo>
                    <a:cubicBezTo>
                      <a:pt x="83" y="31"/>
                      <a:pt x="83" y="34"/>
                      <a:pt x="85" y="35"/>
                    </a:cubicBezTo>
                    <a:cubicBezTo>
                      <a:pt x="86" y="36"/>
                      <a:pt x="85" y="39"/>
                      <a:pt x="85" y="41"/>
                    </a:cubicBezTo>
                    <a:cubicBezTo>
                      <a:pt x="84" y="43"/>
                      <a:pt x="87" y="41"/>
                      <a:pt x="89" y="39"/>
                    </a:cubicBezTo>
                    <a:cubicBezTo>
                      <a:pt x="91" y="37"/>
                      <a:pt x="93" y="40"/>
                      <a:pt x="93" y="38"/>
                    </a:cubicBezTo>
                    <a:cubicBezTo>
                      <a:pt x="94" y="36"/>
                      <a:pt x="88" y="35"/>
                      <a:pt x="88" y="32"/>
                    </a:cubicBezTo>
                    <a:cubicBezTo>
                      <a:pt x="89" y="30"/>
                      <a:pt x="92" y="33"/>
                      <a:pt x="95" y="31"/>
                    </a:cubicBezTo>
                    <a:cubicBezTo>
                      <a:pt x="98" y="30"/>
                      <a:pt x="103" y="31"/>
                      <a:pt x="107" y="34"/>
                    </a:cubicBezTo>
                    <a:cubicBezTo>
                      <a:pt x="111" y="37"/>
                      <a:pt x="112" y="36"/>
                      <a:pt x="112" y="32"/>
                    </a:cubicBezTo>
                    <a:cubicBezTo>
                      <a:pt x="113" y="29"/>
                      <a:pt x="118" y="27"/>
                      <a:pt x="124" y="27"/>
                    </a:cubicBezTo>
                    <a:cubicBezTo>
                      <a:pt x="129" y="27"/>
                      <a:pt x="130" y="24"/>
                      <a:pt x="128" y="23"/>
                    </a:cubicBezTo>
                    <a:cubicBezTo>
                      <a:pt x="127" y="22"/>
                      <a:pt x="137" y="15"/>
                      <a:pt x="137" y="13"/>
                    </a:cubicBezTo>
                    <a:cubicBezTo>
                      <a:pt x="137" y="11"/>
                      <a:pt x="131" y="17"/>
                      <a:pt x="130" y="15"/>
                    </a:cubicBezTo>
                    <a:close/>
                    <a:moveTo>
                      <a:pt x="86" y="48"/>
                    </a:moveTo>
                    <a:cubicBezTo>
                      <a:pt x="84" y="49"/>
                      <a:pt x="82" y="56"/>
                      <a:pt x="84" y="59"/>
                    </a:cubicBezTo>
                    <a:cubicBezTo>
                      <a:pt x="87" y="61"/>
                      <a:pt x="80" y="65"/>
                      <a:pt x="80" y="69"/>
                    </a:cubicBezTo>
                    <a:cubicBezTo>
                      <a:pt x="81" y="74"/>
                      <a:pt x="76" y="74"/>
                      <a:pt x="75" y="77"/>
                    </a:cubicBezTo>
                    <a:cubicBezTo>
                      <a:pt x="75" y="80"/>
                      <a:pt x="72" y="80"/>
                      <a:pt x="68" y="83"/>
                    </a:cubicBezTo>
                    <a:cubicBezTo>
                      <a:pt x="64" y="86"/>
                      <a:pt x="62" y="82"/>
                      <a:pt x="63" y="80"/>
                    </a:cubicBezTo>
                    <a:cubicBezTo>
                      <a:pt x="64" y="78"/>
                      <a:pt x="57" y="81"/>
                      <a:pt x="57" y="87"/>
                    </a:cubicBezTo>
                    <a:cubicBezTo>
                      <a:pt x="57" y="92"/>
                      <a:pt x="50" y="92"/>
                      <a:pt x="52" y="95"/>
                    </a:cubicBezTo>
                    <a:cubicBezTo>
                      <a:pt x="54" y="97"/>
                      <a:pt x="47" y="99"/>
                      <a:pt x="47" y="96"/>
                    </a:cubicBezTo>
                    <a:cubicBezTo>
                      <a:pt x="47" y="94"/>
                      <a:pt x="43" y="95"/>
                      <a:pt x="37" y="98"/>
                    </a:cubicBezTo>
                    <a:cubicBezTo>
                      <a:pt x="32" y="100"/>
                      <a:pt x="28" y="95"/>
                      <a:pt x="25" y="98"/>
                    </a:cubicBezTo>
                    <a:cubicBezTo>
                      <a:pt x="22" y="101"/>
                      <a:pt x="17" y="107"/>
                      <a:pt x="13" y="108"/>
                    </a:cubicBezTo>
                    <a:cubicBezTo>
                      <a:pt x="9" y="108"/>
                      <a:pt x="11" y="113"/>
                      <a:pt x="13" y="112"/>
                    </a:cubicBezTo>
                    <a:cubicBezTo>
                      <a:pt x="16" y="111"/>
                      <a:pt x="20" y="112"/>
                      <a:pt x="22" y="110"/>
                    </a:cubicBezTo>
                    <a:cubicBezTo>
                      <a:pt x="23" y="108"/>
                      <a:pt x="35" y="105"/>
                      <a:pt x="42" y="105"/>
                    </a:cubicBezTo>
                    <a:cubicBezTo>
                      <a:pt x="49" y="105"/>
                      <a:pt x="45" y="109"/>
                      <a:pt x="45" y="112"/>
                    </a:cubicBezTo>
                    <a:cubicBezTo>
                      <a:pt x="46" y="116"/>
                      <a:pt x="52" y="115"/>
                      <a:pt x="55" y="112"/>
                    </a:cubicBezTo>
                    <a:cubicBezTo>
                      <a:pt x="58" y="108"/>
                      <a:pt x="60" y="109"/>
                      <a:pt x="58" y="106"/>
                    </a:cubicBezTo>
                    <a:cubicBezTo>
                      <a:pt x="55" y="104"/>
                      <a:pt x="58" y="102"/>
                      <a:pt x="60" y="105"/>
                    </a:cubicBezTo>
                    <a:cubicBezTo>
                      <a:pt x="62" y="108"/>
                      <a:pt x="68" y="108"/>
                      <a:pt x="70" y="104"/>
                    </a:cubicBezTo>
                    <a:cubicBezTo>
                      <a:pt x="73" y="101"/>
                      <a:pt x="73" y="105"/>
                      <a:pt x="76" y="105"/>
                    </a:cubicBezTo>
                    <a:cubicBezTo>
                      <a:pt x="79" y="105"/>
                      <a:pt x="81" y="98"/>
                      <a:pt x="81" y="100"/>
                    </a:cubicBezTo>
                    <a:cubicBezTo>
                      <a:pt x="81" y="103"/>
                      <a:pt x="86" y="102"/>
                      <a:pt x="89" y="99"/>
                    </a:cubicBezTo>
                    <a:cubicBezTo>
                      <a:pt x="91" y="96"/>
                      <a:pt x="89" y="90"/>
                      <a:pt x="91" y="88"/>
                    </a:cubicBezTo>
                    <a:cubicBezTo>
                      <a:pt x="93" y="85"/>
                      <a:pt x="94" y="79"/>
                      <a:pt x="93" y="75"/>
                    </a:cubicBezTo>
                    <a:cubicBezTo>
                      <a:pt x="91" y="72"/>
                      <a:pt x="97" y="69"/>
                      <a:pt x="100" y="66"/>
                    </a:cubicBezTo>
                    <a:cubicBezTo>
                      <a:pt x="103" y="64"/>
                      <a:pt x="96" y="49"/>
                      <a:pt x="96" y="45"/>
                    </a:cubicBezTo>
                    <a:cubicBezTo>
                      <a:pt x="96" y="41"/>
                      <a:pt x="88" y="47"/>
                      <a:pt x="86" y="48"/>
                    </a:cubicBezTo>
                    <a:close/>
                    <a:moveTo>
                      <a:pt x="34" y="110"/>
                    </a:moveTo>
                    <a:cubicBezTo>
                      <a:pt x="33" y="112"/>
                      <a:pt x="30" y="111"/>
                      <a:pt x="26" y="112"/>
                    </a:cubicBezTo>
                    <a:cubicBezTo>
                      <a:pt x="22" y="113"/>
                      <a:pt x="22" y="122"/>
                      <a:pt x="25" y="123"/>
                    </a:cubicBezTo>
                    <a:cubicBezTo>
                      <a:pt x="27" y="123"/>
                      <a:pt x="29" y="123"/>
                      <a:pt x="29" y="120"/>
                    </a:cubicBezTo>
                    <a:cubicBezTo>
                      <a:pt x="30" y="118"/>
                      <a:pt x="34" y="117"/>
                      <a:pt x="36" y="118"/>
                    </a:cubicBezTo>
                    <a:cubicBezTo>
                      <a:pt x="39" y="119"/>
                      <a:pt x="42" y="114"/>
                      <a:pt x="42" y="111"/>
                    </a:cubicBezTo>
                    <a:cubicBezTo>
                      <a:pt x="42" y="107"/>
                      <a:pt x="35" y="107"/>
                      <a:pt x="34" y="110"/>
                    </a:cubicBezTo>
                    <a:close/>
                    <a:moveTo>
                      <a:pt x="17" y="119"/>
                    </a:moveTo>
                    <a:cubicBezTo>
                      <a:pt x="17" y="117"/>
                      <a:pt x="12" y="117"/>
                      <a:pt x="12" y="115"/>
                    </a:cubicBezTo>
                    <a:cubicBezTo>
                      <a:pt x="11" y="113"/>
                      <a:pt x="8" y="114"/>
                      <a:pt x="4" y="117"/>
                    </a:cubicBezTo>
                    <a:cubicBezTo>
                      <a:pt x="1" y="119"/>
                      <a:pt x="0" y="120"/>
                      <a:pt x="1" y="122"/>
                    </a:cubicBezTo>
                    <a:cubicBezTo>
                      <a:pt x="2" y="125"/>
                      <a:pt x="5" y="123"/>
                      <a:pt x="6" y="120"/>
                    </a:cubicBezTo>
                    <a:cubicBezTo>
                      <a:pt x="6" y="117"/>
                      <a:pt x="9" y="124"/>
                      <a:pt x="7" y="128"/>
                    </a:cubicBezTo>
                    <a:cubicBezTo>
                      <a:pt x="5" y="132"/>
                      <a:pt x="7" y="138"/>
                      <a:pt x="10" y="138"/>
                    </a:cubicBezTo>
                    <a:cubicBezTo>
                      <a:pt x="12" y="137"/>
                      <a:pt x="15" y="129"/>
                      <a:pt x="19" y="124"/>
                    </a:cubicBezTo>
                    <a:cubicBezTo>
                      <a:pt x="22" y="120"/>
                      <a:pt x="17" y="121"/>
                      <a:pt x="17" y="11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2" name="Freeform 150">
                <a:extLst>
                  <a:ext uri="{FF2B5EF4-FFF2-40B4-BE49-F238E27FC236}">
                    <a16:creationId xmlns:a16="http://schemas.microsoft.com/office/drawing/2014/main" id="{1B049606-2312-44F1-8B6D-E66C144DCFE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92385" y="2981876"/>
                <a:ext cx="1112942" cy="770401"/>
              </a:xfrm>
              <a:custGeom>
                <a:avLst/>
                <a:gdLst>
                  <a:gd name="T0" fmla="*/ 459 w 483"/>
                  <a:gd name="T1" fmla="*/ 62 h 334"/>
                  <a:gd name="T2" fmla="*/ 436 w 483"/>
                  <a:gd name="T3" fmla="*/ 45 h 334"/>
                  <a:gd name="T4" fmla="*/ 416 w 483"/>
                  <a:gd name="T5" fmla="*/ 18 h 334"/>
                  <a:gd name="T6" fmla="*/ 388 w 483"/>
                  <a:gd name="T7" fmla="*/ 1 h 334"/>
                  <a:gd name="T8" fmla="*/ 369 w 483"/>
                  <a:gd name="T9" fmla="*/ 15 h 334"/>
                  <a:gd name="T10" fmla="*/ 353 w 483"/>
                  <a:gd name="T11" fmla="*/ 38 h 334"/>
                  <a:gd name="T12" fmla="*/ 329 w 483"/>
                  <a:gd name="T13" fmla="*/ 52 h 334"/>
                  <a:gd name="T14" fmla="*/ 344 w 483"/>
                  <a:gd name="T15" fmla="*/ 62 h 334"/>
                  <a:gd name="T16" fmla="*/ 343 w 483"/>
                  <a:gd name="T17" fmla="*/ 75 h 334"/>
                  <a:gd name="T18" fmla="*/ 301 w 483"/>
                  <a:gd name="T19" fmla="*/ 90 h 334"/>
                  <a:gd name="T20" fmla="*/ 271 w 483"/>
                  <a:gd name="T21" fmla="*/ 116 h 334"/>
                  <a:gd name="T22" fmla="*/ 225 w 483"/>
                  <a:gd name="T23" fmla="*/ 118 h 334"/>
                  <a:gd name="T24" fmla="*/ 172 w 483"/>
                  <a:gd name="T25" fmla="*/ 111 h 334"/>
                  <a:gd name="T26" fmla="*/ 150 w 483"/>
                  <a:gd name="T27" fmla="*/ 89 h 334"/>
                  <a:gd name="T28" fmla="*/ 130 w 483"/>
                  <a:gd name="T29" fmla="*/ 64 h 334"/>
                  <a:gd name="T30" fmla="*/ 109 w 483"/>
                  <a:gd name="T31" fmla="*/ 46 h 334"/>
                  <a:gd name="T32" fmla="*/ 98 w 483"/>
                  <a:gd name="T33" fmla="*/ 54 h 334"/>
                  <a:gd name="T34" fmla="*/ 79 w 483"/>
                  <a:gd name="T35" fmla="*/ 69 h 334"/>
                  <a:gd name="T36" fmla="*/ 63 w 483"/>
                  <a:gd name="T37" fmla="*/ 86 h 334"/>
                  <a:gd name="T38" fmla="*/ 56 w 483"/>
                  <a:gd name="T39" fmla="*/ 107 h 334"/>
                  <a:gd name="T40" fmla="*/ 37 w 483"/>
                  <a:gd name="T41" fmla="*/ 125 h 334"/>
                  <a:gd name="T42" fmla="*/ 14 w 483"/>
                  <a:gd name="T43" fmla="*/ 132 h 334"/>
                  <a:gd name="T44" fmla="*/ 0 w 483"/>
                  <a:gd name="T45" fmla="*/ 143 h 334"/>
                  <a:gd name="T46" fmla="*/ 11 w 483"/>
                  <a:gd name="T47" fmla="*/ 166 h 334"/>
                  <a:gd name="T48" fmla="*/ 28 w 483"/>
                  <a:gd name="T49" fmla="*/ 181 h 334"/>
                  <a:gd name="T50" fmla="*/ 42 w 483"/>
                  <a:gd name="T51" fmla="*/ 176 h 334"/>
                  <a:gd name="T52" fmla="*/ 40 w 483"/>
                  <a:gd name="T53" fmla="*/ 197 h 334"/>
                  <a:gd name="T54" fmla="*/ 40 w 483"/>
                  <a:gd name="T55" fmla="*/ 217 h 334"/>
                  <a:gd name="T56" fmla="*/ 55 w 483"/>
                  <a:gd name="T57" fmla="*/ 229 h 334"/>
                  <a:gd name="T58" fmla="*/ 98 w 483"/>
                  <a:gd name="T59" fmla="*/ 247 h 334"/>
                  <a:gd name="T60" fmla="*/ 116 w 483"/>
                  <a:gd name="T61" fmla="*/ 251 h 334"/>
                  <a:gd name="T62" fmla="*/ 131 w 483"/>
                  <a:gd name="T63" fmla="*/ 248 h 334"/>
                  <a:gd name="T64" fmla="*/ 150 w 483"/>
                  <a:gd name="T65" fmla="*/ 243 h 334"/>
                  <a:gd name="T66" fmla="*/ 173 w 483"/>
                  <a:gd name="T67" fmla="*/ 243 h 334"/>
                  <a:gd name="T68" fmla="*/ 187 w 483"/>
                  <a:gd name="T69" fmla="*/ 251 h 334"/>
                  <a:gd name="T70" fmla="*/ 183 w 483"/>
                  <a:gd name="T71" fmla="*/ 282 h 334"/>
                  <a:gd name="T72" fmla="*/ 195 w 483"/>
                  <a:gd name="T73" fmla="*/ 299 h 334"/>
                  <a:gd name="T74" fmla="*/ 213 w 483"/>
                  <a:gd name="T75" fmla="*/ 307 h 334"/>
                  <a:gd name="T76" fmla="*/ 226 w 483"/>
                  <a:gd name="T77" fmla="*/ 294 h 334"/>
                  <a:gd name="T78" fmla="*/ 251 w 483"/>
                  <a:gd name="T79" fmla="*/ 292 h 334"/>
                  <a:gd name="T80" fmla="*/ 268 w 483"/>
                  <a:gd name="T81" fmla="*/ 303 h 334"/>
                  <a:gd name="T82" fmla="*/ 281 w 483"/>
                  <a:gd name="T83" fmla="*/ 313 h 334"/>
                  <a:gd name="T84" fmla="*/ 318 w 483"/>
                  <a:gd name="T85" fmla="*/ 294 h 334"/>
                  <a:gd name="T86" fmla="*/ 346 w 483"/>
                  <a:gd name="T87" fmla="*/ 279 h 334"/>
                  <a:gd name="T88" fmla="*/ 360 w 483"/>
                  <a:gd name="T89" fmla="*/ 263 h 334"/>
                  <a:gd name="T90" fmla="*/ 373 w 483"/>
                  <a:gd name="T91" fmla="*/ 246 h 334"/>
                  <a:gd name="T92" fmla="*/ 376 w 483"/>
                  <a:gd name="T93" fmla="*/ 230 h 334"/>
                  <a:gd name="T94" fmla="*/ 372 w 483"/>
                  <a:gd name="T95" fmla="*/ 218 h 334"/>
                  <a:gd name="T96" fmla="*/ 370 w 483"/>
                  <a:gd name="T97" fmla="*/ 207 h 334"/>
                  <a:gd name="T98" fmla="*/ 360 w 483"/>
                  <a:gd name="T99" fmla="*/ 180 h 334"/>
                  <a:gd name="T100" fmla="*/ 382 w 483"/>
                  <a:gd name="T101" fmla="*/ 167 h 334"/>
                  <a:gd name="T102" fmla="*/ 354 w 483"/>
                  <a:gd name="T103" fmla="*/ 159 h 334"/>
                  <a:gd name="T104" fmla="*/ 365 w 483"/>
                  <a:gd name="T105" fmla="*/ 137 h 334"/>
                  <a:gd name="T106" fmla="*/ 378 w 483"/>
                  <a:gd name="T107" fmla="*/ 149 h 334"/>
                  <a:gd name="T108" fmla="*/ 414 w 483"/>
                  <a:gd name="T109" fmla="*/ 128 h 334"/>
                  <a:gd name="T110" fmla="*/ 432 w 483"/>
                  <a:gd name="T111" fmla="*/ 120 h 334"/>
                  <a:gd name="T112" fmla="*/ 452 w 483"/>
                  <a:gd name="T113" fmla="*/ 112 h 334"/>
                  <a:gd name="T114" fmla="*/ 454 w 483"/>
                  <a:gd name="T115" fmla="*/ 91 h 334"/>
                  <a:gd name="T116" fmla="*/ 476 w 483"/>
                  <a:gd name="T117" fmla="*/ 76 h 334"/>
                  <a:gd name="T118" fmla="*/ 368 w 483"/>
                  <a:gd name="T119" fmla="*/ 298 h 334"/>
                  <a:gd name="T120" fmla="*/ 271 w 483"/>
                  <a:gd name="T121" fmla="*/ 328 h 3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83" h="334">
                    <a:moveTo>
                      <a:pt x="480" y="59"/>
                    </a:moveTo>
                    <a:cubicBezTo>
                      <a:pt x="480" y="55"/>
                      <a:pt x="475" y="56"/>
                      <a:pt x="474" y="58"/>
                    </a:cubicBezTo>
                    <a:cubicBezTo>
                      <a:pt x="472" y="59"/>
                      <a:pt x="467" y="58"/>
                      <a:pt x="466" y="60"/>
                    </a:cubicBezTo>
                    <a:cubicBezTo>
                      <a:pt x="465" y="63"/>
                      <a:pt x="462" y="62"/>
                      <a:pt x="459" y="62"/>
                    </a:cubicBezTo>
                    <a:cubicBezTo>
                      <a:pt x="456" y="63"/>
                      <a:pt x="451" y="61"/>
                      <a:pt x="451" y="59"/>
                    </a:cubicBezTo>
                    <a:cubicBezTo>
                      <a:pt x="451" y="57"/>
                      <a:pt x="449" y="55"/>
                      <a:pt x="449" y="52"/>
                    </a:cubicBezTo>
                    <a:cubicBezTo>
                      <a:pt x="450" y="50"/>
                      <a:pt x="446" y="51"/>
                      <a:pt x="444" y="48"/>
                    </a:cubicBezTo>
                    <a:cubicBezTo>
                      <a:pt x="441" y="46"/>
                      <a:pt x="436" y="44"/>
                      <a:pt x="436" y="45"/>
                    </a:cubicBezTo>
                    <a:cubicBezTo>
                      <a:pt x="435" y="45"/>
                      <a:pt x="432" y="42"/>
                      <a:pt x="428" y="42"/>
                    </a:cubicBezTo>
                    <a:cubicBezTo>
                      <a:pt x="424" y="42"/>
                      <a:pt x="424" y="39"/>
                      <a:pt x="425" y="37"/>
                    </a:cubicBezTo>
                    <a:cubicBezTo>
                      <a:pt x="425" y="36"/>
                      <a:pt x="421" y="31"/>
                      <a:pt x="421" y="28"/>
                    </a:cubicBezTo>
                    <a:cubicBezTo>
                      <a:pt x="420" y="25"/>
                      <a:pt x="417" y="24"/>
                      <a:pt x="416" y="18"/>
                    </a:cubicBezTo>
                    <a:cubicBezTo>
                      <a:pt x="415" y="12"/>
                      <a:pt x="411" y="14"/>
                      <a:pt x="412" y="11"/>
                    </a:cubicBezTo>
                    <a:cubicBezTo>
                      <a:pt x="413" y="8"/>
                      <a:pt x="408" y="7"/>
                      <a:pt x="407" y="5"/>
                    </a:cubicBezTo>
                    <a:cubicBezTo>
                      <a:pt x="406" y="3"/>
                      <a:pt x="401" y="4"/>
                      <a:pt x="397" y="2"/>
                    </a:cubicBezTo>
                    <a:cubicBezTo>
                      <a:pt x="393" y="0"/>
                      <a:pt x="391" y="2"/>
                      <a:pt x="388" y="1"/>
                    </a:cubicBezTo>
                    <a:cubicBezTo>
                      <a:pt x="385" y="0"/>
                      <a:pt x="377" y="2"/>
                      <a:pt x="376" y="2"/>
                    </a:cubicBezTo>
                    <a:cubicBezTo>
                      <a:pt x="375" y="2"/>
                      <a:pt x="369" y="0"/>
                      <a:pt x="366" y="5"/>
                    </a:cubicBezTo>
                    <a:cubicBezTo>
                      <a:pt x="363" y="9"/>
                      <a:pt x="365" y="9"/>
                      <a:pt x="367" y="9"/>
                    </a:cubicBezTo>
                    <a:cubicBezTo>
                      <a:pt x="368" y="9"/>
                      <a:pt x="369" y="13"/>
                      <a:pt x="369" y="15"/>
                    </a:cubicBezTo>
                    <a:cubicBezTo>
                      <a:pt x="369" y="16"/>
                      <a:pt x="367" y="18"/>
                      <a:pt x="365" y="19"/>
                    </a:cubicBezTo>
                    <a:cubicBezTo>
                      <a:pt x="364" y="19"/>
                      <a:pt x="361" y="25"/>
                      <a:pt x="360" y="26"/>
                    </a:cubicBezTo>
                    <a:cubicBezTo>
                      <a:pt x="360" y="28"/>
                      <a:pt x="356" y="33"/>
                      <a:pt x="357" y="35"/>
                    </a:cubicBezTo>
                    <a:cubicBezTo>
                      <a:pt x="357" y="36"/>
                      <a:pt x="355" y="38"/>
                      <a:pt x="353" y="38"/>
                    </a:cubicBezTo>
                    <a:cubicBezTo>
                      <a:pt x="351" y="39"/>
                      <a:pt x="347" y="42"/>
                      <a:pt x="345" y="42"/>
                    </a:cubicBezTo>
                    <a:cubicBezTo>
                      <a:pt x="344" y="43"/>
                      <a:pt x="338" y="42"/>
                      <a:pt x="338" y="40"/>
                    </a:cubicBezTo>
                    <a:cubicBezTo>
                      <a:pt x="337" y="40"/>
                      <a:pt x="337" y="39"/>
                      <a:pt x="336" y="39"/>
                    </a:cubicBezTo>
                    <a:cubicBezTo>
                      <a:pt x="329" y="52"/>
                      <a:pt x="329" y="52"/>
                      <a:pt x="329" y="52"/>
                    </a:cubicBezTo>
                    <a:cubicBezTo>
                      <a:pt x="329" y="56"/>
                      <a:pt x="329" y="56"/>
                      <a:pt x="329" y="56"/>
                    </a:cubicBezTo>
                    <a:cubicBezTo>
                      <a:pt x="329" y="56"/>
                      <a:pt x="325" y="57"/>
                      <a:pt x="328" y="60"/>
                    </a:cubicBezTo>
                    <a:cubicBezTo>
                      <a:pt x="331" y="63"/>
                      <a:pt x="331" y="61"/>
                      <a:pt x="336" y="61"/>
                    </a:cubicBezTo>
                    <a:cubicBezTo>
                      <a:pt x="341" y="61"/>
                      <a:pt x="343" y="64"/>
                      <a:pt x="344" y="62"/>
                    </a:cubicBezTo>
                    <a:cubicBezTo>
                      <a:pt x="345" y="59"/>
                      <a:pt x="349" y="57"/>
                      <a:pt x="352" y="61"/>
                    </a:cubicBezTo>
                    <a:cubicBezTo>
                      <a:pt x="354" y="64"/>
                      <a:pt x="362" y="69"/>
                      <a:pt x="362" y="71"/>
                    </a:cubicBezTo>
                    <a:cubicBezTo>
                      <a:pt x="361" y="74"/>
                      <a:pt x="357" y="74"/>
                      <a:pt x="354" y="73"/>
                    </a:cubicBezTo>
                    <a:cubicBezTo>
                      <a:pt x="351" y="71"/>
                      <a:pt x="346" y="75"/>
                      <a:pt x="343" y="75"/>
                    </a:cubicBezTo>
                    <a:cubicBezTo>
                      <a:pt x="340" y="75"/>
                      <a:pt x="337" y="76"/>
                      <a:pt x="333" y="79"/>
                    </a:cubicBezTo>
                    <a:cubicBezTo>
                      <a:pt x="330" y="82"/>
                      <a:pt x="331" y="85"/>
                      <a:pt x="326" y="85"/>
                    </a:cubicBezTo>
                    <a:cubicBezTo>
                      <a:pt x="322" y="86"/>
                      <a:pt x="319" y="85"/>
                      <a:pt x="314" y="89"/>
                    </a:cubicBezTo>
                    <a:cubicBezTo>
                      <a:pt x="309" y="93"/>
                      <a:pt x="303" y="91"/>
                      <a:pt x="301" y="90"/>
                    </a:cubicBezTo>
                    <a:cubicBezTo>
                      <a:pt x="299" y="89"/>
                      <a:pt x="296" y="89"/>
                      <a:pt x="294" y="92"/>
                    </a:cubicBezTo>
                    <a:cubicBezTo>
                      <a:pt x="292" y="96"/>
                      <a:pt x="296" y="97"/>
                      <a:pt x="296" y="102"/>
                    </a:cubicBezTo>
                    <a:cubicBezTo>
                      <a:pt x="295" y="106"/>
                      <a:pt x="290" y="105"/>
                      <a:pt x="286" y="109"/>
                    </a:cubicBezTo>
                    <a:cubicBezTo>
                      <a:pt x="282" y="114"/>
                      <a:pt x="275" y="116"/>
                      <a:pt x="271" y="116"/>
                    </a:cubicBezTo>
                    <a:cubicBezTo>
                      <a:pt x="268" y="115"/>
                      <a:pt x="260" y="113"/>
                      <a:pt x="253" y="116"/>
                    </a:cubicBezTo>
                    <a:cubicBezTo>
                      <a:pt x="246" y="119"/>
                      <a:pt x="242" y="124"/>
                      <a:pt x="239" y="123"/>
                    </a:cubicBezTo>
                    <a:cubicBezTo>
                      <a:pt x="237" y="123"/>
                      <a:pt x="237" y="120"/>
                      <a:pt x="233" y="120"/>
                    </a:cubicBezTo>
                    <a:cubicBezTo>
                      <a:pt x="229" y="121"/>
                      <a:pt x="227" y="120"/>
                      <a:pt x="225" y="118"/>
                    </a:cubicBezTo>
                    <a:cubicBezTo>
                      <a:pt x="222" y="117"/>
                      <a:pt x="220" y="119"/>
                      <a:pt x="216" y="116"/>
                    </a:cubicBezTo>
                    <a:cubicBezTo>
                      <a:pt x="212" y="113"/>
                      <a:pt x="204" y="113"/>
                      <a:pt x="201" y="113"/>
                    </a:cubicBezTo>
                    <a:cubicBezTo>
                      <a:pt x="198" y="112"/>
                      <a:pt x="186" y="113"/>
                      <a:pt x="182" y="112"/>
                    </a:cubicBezTo>
                    <a:cubicBezTo>
                      <a:pt x="178" y="112"/>
                      <a:pt x="172" y="113"/>
                      <a:pt x="172" y="111"/>
                    </a:cubicBezTo>
                    <a:cubicBezTo>
                      <a:pt x="171" y="109"/>
                      <a:pt x="168" y="108"/>
                      <a:pt x="167" y="103"/>
                    </a:cubicBezTo>
                    <a:cubicBezTo>
                      <a:pt x="166" y="98"/>
                      <a:pt x="164" y="97"/>
                      <a:pt x="161" y="96"/>
                    </a:cubicBezTo>
                    <a:cubicBezTo>
                      <a:pt x="158" y="96"/>
                      <a:pt x="158" y="93"/>
                      <a:pt x="156" y="93"/>
                    </a:cubicBezTo>
                    <a:cubicBezTo>
                      <a:pt x="155" y="93"/>
                      <a:pt x="153" y="89"/>
                      <a:pt x="150" y="89"/>
                    </a:cubicBezTo>
                    <a:cubicBezTo>
                      <a:pt x="146" y="89"/>
                      <a:pt x="133" y="88"/>
                      <a:pt x="132" y="85"/>
                    </a:cubicBezTo>
                    <a:cubicBezTo>
                      <a:pt x="130" y="82"/>
                      <a:pt x="133" y="81"/>
                      <a:pt x="133" y="78"/>
                    </a:cubicBezTo>
                    <a:cubicBezTo>
                      <a:pt x="133" y="75"/>
                      <a:pt x="135" y="71"/>
                      <a:pt x="134" y="70"/>
                    </a:cubicBezTo>
                    <a:cubicBezTo>
                      <a:pt x="132" y="69"/>
                      <a:pt x="130" y="66"/>
                      <a:pt x="130" y="64"/>
                    </a:cubicBezTo>
                    <a:cubicBezTo>
                      <a:pt x="129" y="62"/>
                      <a:pt x="125" y="58"/>
                      <a:pt x="123" y="58"/>
                    </a:cubicBezTo>
                    <a:cubicBezTo>
                      <a:pt x="120" y="58"/>
                      <a:pt x="118" y="56"/>
                      <a:pt x="116" y="54"/>
                    </a:cubicBezTo>
                    <a:cubicBezTo>
                      <a:pt x="113" y="52"/>
                      <a:pt x="111" y="52"/>
                      <a:pt x="110" y="47"/>
                    </a:cubicBezTo>
                    <a:cubicBezTo>
                      <a:pt x="110" y="47"/>
                      <a:pt x="110" y="46"/>
                      <a:pt x="109" y="46"/>
                    </a:cubicBezTo>
                    <a:cubicBezTo>
                      <a:pt x="109" y="46"/>
                      <a:pt x="107" y="45"/>
                      <a:pt x="106" y="45"/>
                    </a:cubicBezTo>
                    <a:cubicBezTo>
                      <a:pt x="106" y="45"/>
                      <a:pt x="105" y="45"/>
                      <a:pt x="104" y="44"/>
                    </a:cubicBezTo>
                    <a:cubicBezTo>
                      <a:pt x="104" y="47"/>
                      <a:pt x="102" y="48"/>
                      <a:pt x="102" y="49"/>
                    </a:cubicBezTo>
                    <a:cubicBezTo>
                      <a:pt x="102" y="51"/>
                      <a:pt x="101" y="54"/>
                      <a:pt x="98" y="54"/>
                    </a:cubicBezTo>
                    <a:cubicBezTo>
                      <a:pt x="95" y="54"/>
                      <a:pt x="93" y="56"/>
                      <a:pt x="93" y="60"/>
                    </a:cubicBezTo>
                    <a:cubicBezTo>
                      <a:pt x="93" y="64"/>
                      <a:pt x="95" y="65"/>
                      <a:pt x="94" y="66"/>
                    </a:cubicBezTo>
                    <a:cubicBezTo>
                      <a:pt x="93" y="68"/>
                      <a:pt x="88" y="70"/>
                      <a:pt x="86" y="69"/>
                    </a:cubicBezTo>
                    <a:cubicBezTo>
                      <a:pt x="85" y="68"/>
                      <a:pt x="82" y="69"/>
                      <a:pt x="79" y="69"/>
                    </a:cubicBezTo>
                    <a:cubicBezTo>
                      <a:pt x="76" y="68"/>
                      <a:pt x="74" y="65"/>
                      <a:pt x="74" y="69"/>
                    </a:cubicBezTo>
                    <a:cubicBezTo>
                      <a:pt x="73" y="72"/>
                      <a:pt x="67" y="83"/>
                      <a:pt x="69" y="84"/>
                    </a:cubicBezTo>
                    <a:cubicBezTo>
                      <a:pt x="70" y="85"/>
                      <a:pt x="71" y="88"/>
                      <a:pt x="69" y="88"/>
                    </a:cubicBezTo>
                    <a:cubicBezTo>
                      <a:pt x="66" y="88"/>
                      <a:pt x="64" y="87"/>
                      <a:pt x="63" y="86"/>
                    </a:cubicBezTo>
                    <a:cubicBezTo>
                      <a:pt x="62" y="85"/>
                      <a:pt x="58" y="88"/>
                      <a:pt x="55" y="88"/>
                    </a:cubicBezTo>
                    <a:cubicBezTo>
                      <a:pt x="54" y="88"/>
                      <a:pt x="49" y="90"/>
                      <a:pt x="51" y="91"/>
                    </a:cubicBezTo>
                    <a:cubicBezTo>
                      <a:pt x="52" y="92"/>
                      <a:pt x="52" y="96"/>
                      <a:pt x="52" y="98"/>
                    </a:cubicBezTo>
                    <a:cubicBezTo>
                      <a:pt x="52" y="100"/>
                      <a:pt x="56" y="105"/>
                      <a:pt x="56" y="107"/>
                    </a:cubicBezTo>
                    <a:cubicBezTo>
                      <a:pt x="55" y="109"/>
                      <a:pt x="51" y="111"/>
                      <a:pt x="51" y="113"/>
                    </a:cubicBezTo>
                    <a:cubicBezTo>
                      <a:pt x="51" y="115"/>
                      <a:pt x="52" y="117"/>
                      <a:pt x="51" y="118"/>
                    </a:cubicBezTo>
                    <a:cubicBezTo>
                      <a:pt x="50" y="118"/>
                      <a:pt x="46" y="120"/>
                      <a:pt x="44" y="121"/>
                    </a:cubicBezTo>
                    <a:cubicBezTo>
                      <a:pt x="42" y="123"/>
                      <a:pt x="39" y="123"/>
                      <a:pt x="37" y="125"/>
                    </a:cubicBezTo>
                    <a:cubicBezTo>
                      <a:pt x="36" y="127"/>
                      <a:pt x="35" y="129"/>
                      <a:pt x="31" y="129"/>
                    </a:cubicBezTo>
                    <a:cubicBezTo>
                      <a:pt x="28" y="128"/>
                      <a:pt x="26" y="128"/>
                      <a:pt x="24" y="131"/>
                    </a:cubicBezTo>
                    <a:cubicBezTo>
                      <a:pt x="21" y="134"/>
                      <a:pt x="21" y="132"/>
                      <a:pt x="19" y="134"/>
                    </a:cubicBezTo>
                    <a:cubicBezTo>
                      <a:pt x="17" y="135"/>
                      <a:pt x="15" y="133"/>
                      <a:pt x="14" y="132"/>
                    </a:cubicBezTo>
                    <a:cubicBezTo>
                      <a:pt x="12" y="132"/>
                      <a:pt x="11" y="134"/>
                      <a:pt x="9" y="134"/>
                    </a:cubicBezTo>
                    <a:cubicBezTo>
                      <a:pt x="8" y="134"/>
                      <a:pt x="6" y="136"/>
                      <a:pt x="5" y="137"/>
                    </a:cubicBezTo>
                    <a:cubicBezTo>
                      <a:pt x="3" y="137"/>
                      <a:pt x="1" y="137"/>
                      <a:pt x="1" y="139"/>
                    </a:cubicBezTo>
                    <a:cubicBezTo>
                      <a:pt x="1" y="140"/>
                      <a:pt x="1" y="142"/>
                      <a:pt x="0" y="143"/>
                    </a:cubicBezTo>
                    <a:cubicBezTo>
                      <a:pt x="0" y="143"/>
                      <a:pt x="0" y="143"/>
                      <a:pt x="0" y="143"/>
                    </a:cubicBezTo>
                    <a:cubicBezTo>
                      <a:pt x="1" y="150"/>
                      <a:pt x="1" y="150"/>
                      <a:pt x="1" y="150"/>
                    </a:cubicBezTo>
                    <a:cubicBezTo>
                      <a:pt x="1" y="150"/>
                      <a:pt x="9" y="152"/>
                      <a:pt x="9" y="155"/>
                    </a:cubicBezTo>
                    <a:cubicBezTo>
                      <a:pt x="9" y="157"/>
                      <a:pt x="11" y="166"/>
                      <a:pt x="11" y="166"/>
                    </a:cubicBezTo>
                    <a:cubicBezTo>
                      <a:pt x="11" y="166"/>
                      <a:pt x="10" y="166"/>
                      <a:pt x="10" y="166"/>
                    </a:cubicBezTo>
                    <a:cubicBezTo>
                      <a:pt x="13" y="168"/>
                      <a:pt x="18" y="171"/>
                      <a:pt x="18" y="172"/>
                    </a:cubicBezTo>
                    <a:cubicBezTo>
                      <a:pt x="18" y="173"/>
                      <a:pt x="18" y="176"/>
                      <a:pt x="22" y="178"/>
                    </a:cubicBezTo>
                    <a:cubicBezTo>
                      <a:pt x="24" y="179"/>
                      <a:pt x="27" y="180"/>
                      <a:pt x="28" y="181"/>
                    </a:cubicBezTo>
                    <a:cubicBezTo>
                      <a:pt x="28" y="181"/>
                      <a:pt x="28" y="180"/>
                      <a:pt x="28" y="180"/>
                    </a:cubicBezTo>
                    <a:cubicBezTo>
                      <a:pt x="32" y="180"/>
                      <a:pt x="32" y="180"/>
                      <a:pt x="32" y="180"/>
                    </a:cubicBezTo>
                    <a:cubicBezTo>
                      <a:pt x="32" y="180"/>
                      <a:pt x="32" y="181"/>
                      <a:pt x="33" y="182"/>
                    </a:cubicBezTo>
                    <a:cubicBezTo>
                      <a:pt x="34" y="179"/>
                      <a:pt x="40" y="176"/>
                      <a:pt x="42" y="176"/>
                    </a:cubicBezTo>
                    <a:cubicBezTo>
                      <a:pt x="45" y="177"/>
                      <a:pt x="52" y="182"/>
                      <a:pt x="52" y="184"/>
                    </a:cubicBezTo>
                    <a:cubicBezTo>
                      <a:pt x="51" y="186"/>
                      <a:pt x="46" y="193"/>
                      <a:pt x="44" y="194"/>
                    </a:cubicBezTo>
                    <a:cubicBezTo>
                      <a:pt x="43" y="194"/>
                      <a:pt x="42" y="194"/>
                      <a:pt x="40" y="194"/>
                    </a:cubicBezTo>
                    <a:cubicBezTo>
                      <a:pt x="40" y="195"/>
                      <a:pt x="40" y="196"/>
                      <a:pt x="40" y="197"/>
                    </a:cubicBezTo>
                    <a:cubicBezTo>
                      <a:pt x="40" y="198"/>
                      <a:pt x="43" y="201"/>
                      <a:pt x="44" y="204"/>
                    </a:cubicBezTo>
                    <a:cubicBezTo>
                      <a:pt x="46" y="207"/>
                      <a:pt x="42" y="209"/>
                      <a:pt x="39" y="207"/>
                    </a:cubicBezTo>
                    <a:cubicBezTo>
                      <a:pt x="37" y="205"/>
                      <a:pt x="36" y="209"/>
                      <a:pt x="38" y="210"/>
                    </a:cubicBezTo>
                    <a:cubicBezTo>
                      <a:pt x="39" y="212"/>
                      <a:pt x="38" y="216"/>
                      <a:pt x="40" y="217"/>
                    </a:cubicBezTo>
                    <a:cubicBezTo>
                      <a:pt x="43" y="217"/>
                      <a:pt x="45" y="221"/>
                      <a:pt x="47" y="221"/>
                    </a:cubicBezTo>
                    <a:cubicBezTo>
                      <a:pt x="50" y="221"/>
                      <a:pt x="52" y="225"/>
                      <a:pt x="52" y="225"/>
                    </a:cubicBezTo>
                    <a:cubicBezTo>
                      <a:pt x="52" y="225"/>
                      <a:pt x="55" y="228"/>
                      <a:pt x="55" y="229"/>
                    </a:cubicBezTo>
                    <a:cubicBezTo>
                      <a:pt x="55" y="229"/>
                      <a:pt x="55" y="229"/>
                      <a:pt x="55" y="229"/>
                    </a:cubicBezTo>
                    <a:cubicBezTo>
                      <a:pt x="58" y="229"/>
                      <a:pt x="60" y="229"/>
                      <a:pt x="60" y="228"/>
                    </a:cubicBezTo>
                    <a:cubicBezTo>
                      <a:pt x="60" y="227"/>
                      <a:pt x="64" y="227"/>
                      <a:pt x="67" y="229"/>
                    </a:cubicBezTo>
                    <a:cubicBezTo>
                      <a:pt x="69" y="232"/>
                      <a:pt x="79" y="238"/>
                      <a:pt x="83" y="241"/>
                    </a:cubicBezTo>
                    <a:cubicBezTo>
                      <a:pt x="87" y="244"/>
                      <a:pt x="95" y="248"/>
                      <a:pt x="98" y="247"/>
                    </a:cubicBezTo>
                    <a:cubicBezTo>
                      <a:pt x="101" y="247"/>
                      <a:pt x="104" y="249"/>
                      <a:pt x="109" y="249"/>
                    </a:cubicBezTo>
                    <a:cubicBezTo>
                      <a:pt x="110" y="249"/>
                      <a:pt x="110" y="249"/>
                      <a:pt x="111" y="249"/>
                    </a:cubicBezTo>
                    <a:cubicBezTo>
                      <a:pt x="111" y="249"/>
                      <a:pt x="113" y="249"/>
                      <a:pt x="113" y="247"/>
                    </a:cubicBezTo>
                    <a:cubicBezTo>
                      <a:pt x="115" y="245"/>
                      <a:pt x="117" y="249"/>
                      <a:pt x="116" y="251"/>
                    </a:cubicBezTo>
                    <a:cubicBezTo>
                      <a:pt x="116" y="253"/>
                      <a:pt x="116" y="254"/>
                      <a:pt x="116" y="255"/>
                    </a:cubicBezTo>
                    <a:cubicBezTo>
                      <a:pt x="117" y="254"/>
                      <a:pt x="118" y="253"/>
                      <a:pt x="118" y="252"/>
                    </a:cubicBezTo>
                    <a:cubicBezTo>
                      <a:pt x="120" y="248"/>
                      <a:pt x="122" y="248"/>
                      <a:pt x="124" y="247"/>
                    </a:cubicBezTo>
                    <a:cubicBezTo>
                      <a:pt x="126" y="245"/>
                      <a:pt x="127" y="246"/>
                      <a:pt x="131" y="248"/>
                    </a:cubicBezTo>
                    <a:cubicBezTo>
                      <a:pt x="134" y="249"/>
                      <a:pt x="135" y="246"/>
                      <a:pt x="140" y="250"/>
                    </a:cubicBezTo>
                    <a:cubicBezTo>
                      <a:pt x="141" y="250"/>
                      <a:pt x="142" y="249"/>
                      <a:pt x="143" y="249"/>
                    </a:cubicBezTo>
                    <a:cubicBezTo>
                      <a:pt x="144" y="249"/>
                      <a:pt x="145" y="247"/>
                      <a:pt x="146" y="246"/>
                    </a:cubicBezTo>
                    <a:cubicBezTo>
                      <a:pt x="148" y="244"/>
                      <a:pt x="148" y="242"/>
                      <a:pt x="150" y="243"/>
                    </a:cubicBezTo>
                    <a:cubicBezTo>
                      <a:pt x="152" y="243"/>
                      <a:pt x="153" y="240"/>
                      <a:pt x="157" y="238"/>
                    </a:cubicBezTo>
                    <a:cubicBezTo>
                      <a:pt x="161" y="236"/>
                      <a:pt x="164" y="239"/>
                      <a:pt x="166" y="238"/>
                    </a:cubicBezTo>
                    <a:cubicBezTo>
                      <a:pt x="168" y="236"/>
                      <a:pt x="170" y="236"/>
                      <a:pt x="170" y="237"/>
                    </a:cubicBezTo>
                    <a:cubicBezTo>
                      <a:pt x="170" y="239"/>
                      <a:pt x="173" y="241"/>
                      <a:pt x="173" y="243"/>
                    </a:cubicBezTo>
                    <a:cubicBezTo>
                      <a:pt x="174" y="244"/>
                      <a:pt x="177" y="245"/>
                      <a:pt x="178" y="245"/>
                    </a:cubicBezTo>
                    <a:cubicBezTo>
                      <a:pt x="179" y="245"/>
                      <a:pt x="179" y="244"/>
                      <a:pt x="179" y="244"/>
                    </a:cubicBezTo>
                    <a:cubicBezTo>
                      <a:pt x="181" y="243"/>
                      <a:pt x="185" y="244"/>
                      <a:pt x="185" y="247"/>
                    </a:cubicBezTo>
                    <a:cubicBezTo>
                      <a:pt x="185" y="249"/>
                      <a:pt x="185" y="251"/>
                      <a:pt x="187" y="251"/>
                    </a:cubicBezTo>
                    <a:cubicBezTo>
                      <a:pt x="188" y="251"/>
                      <a:pt x="190" y="251"/>
                      <a:pt x="190" y="255"/>
                    </a:cubicBezTo>
                    <a:cubicBezTo>
                      <a:pt x="190" y="259"/>
                      <a:pt x="191" y="263"/>
                      <a:pt x="188" y="267"/>
                    </a:cubicBezTo>
                    <a:cubicBezTo>
                      <a:pt x="184" y="270"/>
                      <a:pt x="180" y="276"/>
                      <a:pt x="181" y="278"/>
                    </a:cubicBezTo>
                    <a:cubicBezTo>
                      <a:pt x="182" y="280"/>
                      <a:pt x="180" y="283"/>
                      <a:pt x="183" y="282"/>
                    </a:cubicBezTo>
                    <a:cubicBezTo>
                      <a:pt x="185" y="281"/>
                      <a:pt x="191" y="282"/>
                      <a:pt x="190" y="283"/>
                    </a:cubicBezTo>
                    <a:cubicBezTo>
                      <a:pt x="189" y="285"/>
                      <a:pt x="190" y="290"/>
                      <a:pt x="192" y="290"/>
                    </a:cubicBezTo>
                    <a:cubicBezTo>
                      <a:pt x="195" y="290"/>
                      <a:pt x="196" y="291"/>
                      <a:pt x="195" y="294"/>
                    </a:cubicBezTo>
                    <a:cubicBezTo>
                      <a:pt x="195" y="296"/>
                      <a:pt x="194" y="299"/>
                      <a:pt x="195" y="299"/>
                    </a:cubicBezTo>
                    <a:cubicBezTo>
                      <a:pt x="197" y="299"/>
                      <a:pt x="200" y="299"/>
                      <a:pt x="200" y="301"/>
                    </a:cubicBezTo>
                    <a:cubicBezTo>
                      <a:pt x="200" y="303"/>
                      <a:pt x="201" y="305"/>
                      <a:pt x="205" y="304"/>
                    </a:cubicBezTo>
                    <a:cubicBezTo>
                      <a:pt x="207" y="303"/>
                      <a:pt x="208" y="302"/>
                      <a:pt x="209" y="303"/>
                    </a:cubicBezTo>
                    <a:cubicBezTo>
                      <a:pt x="210" y="303"/>
                      <a:pt x="210" y="306"/>
                      <a:pt x="213" y="307"/>
                    </a:cubicBezTo>
                    <a:cubicBezTo>
                      <a:pt x="215" y="307"/>
                      <a:pt x="214" y="301"/>
                      <a:pt x="213" y="300"/>
                    </a:cubicBezTo>
                    <a:cubicBezTo>
                      <a:pt x="212" y="299"/>
                      <a:pt x="213" y="295"/>
                      <a:pt x="214" y="296"/>
                    </a:cubicBezTo>
                    <a:cubicBezTo>
                      <a:pt x="215" y="297"/>
                      <a:pt x="218" y="296"/>
                      <a:pt x="219" y="294"/>
                    </a:cubicBezTo>
                    <a:cubicBezTo>
                      <a:pt x="221" y="292"/>
                      <a:pt x="224" y="296"/>
                      <a:pt x="226" y="294"/>
                    </a:cubicBezTo>
                    <a:cubicBezTo>
                      <a:pt x="227" y="291"/>
                      <a:pt x="230" y="295"/>
                      <a:pt x="233" y="294"/>
                    </a:cubicBezTo>
                    <a:cubicBezTo>
                      <a:pt x="235" y="292"/>
                      <a:pt x="237" y="295"/>
                      <a:pt x="238" y="293"/>
                    </a:cubicBezTo>
                    <a:cubicBezTo>
                      <a:pt x="239" y="291"/>
                      <a:pt x="243" y="288"/>
                      <a:pt x="244" y="289"/>
                    </a:cubicBezTo>
                    <a:cubicBezTo>
                      <a:pt x="245" y="290"/>
                      <a:pt x="246" y="291"/>
                      <a:pt x="251" y="292"/>
                    </a:cubicBezTo>
                    <a:cubicBezTo>
                      <a:pt x="256" y="293"/>
                      <a:pt x="253" y="295"/>
                      <a:pt x="253" y="297"/>
                    </a:cubicBezTo>
                    <a:cubicBezTo>
                      <a:pt x="253" y="298"/>
                      <a:pt x="259" y="303"/>
                      <a:pt x="261" y="303"/>
                    </a:cubicBezTo>
                    <a:cubicBezTo>
                      <a:pt x="262" y="303"/>
                      <a:pt x="262" y="303"/>
                      <a:pt x="263" y="304"/>
                    </a:cubicBezTo>
                    <a:cubicBezTo>
                      <a:pt x="264" y="303"/>
                      <a:pt x="267" y="305"/>
                      <a:pt x="268" y="303"/>
                    </a:cubicBezTo>
                    <a:cubicBezTo>
                      <a:pt x="268" y="301"/>
                      <a:pt x="271" y="301"/>
                      <a:pt x="272" y="303"/>
                    </a:cubicBezTo>
                    <a:cubicBezTo>
                      <a:pt x="273" y="305"/>
                      <a:pt x="274" y="305"/>
                      <a:pt x="277" y="303"/>
                    </a:cubicBezTo>
                    <a:cubicBezTo>
                      <a:pt x="279" y="301"/>
                      <a:pt x="280" y="305"/>
                      <a:pt x="279" y="306"/>
                    </a:cubicBezTo>
                    <a:cubicBezTo>
                      <a:pt x="277" y="308"/>
                      <a:pt x="278" y="311"/>
                      <a:pt x="281" y="313"/>
                    </a:cubicBezTo>
                    <a:cubicBezTo>
                      <a:pt x="283" y="316"/>
                      <a:pt x="283" y="312"/>
                      <a:pt x="283" y="310"/>
                    </a:cubicBezTo>
                    <a:cubicBezTo>
                      <a:pt x="282" y="308"/>
                      <a:pt x="287" y="306"/>
                      <a:pt x="294" y="303"/>
                    </a:cubicBezTo>
                    <a:cubicBezTo>
                      <a:pt x="302" y="301"/>
                      <a:pt x="310" y="295"/>
                      <a:pt x="310" y="294"/>
                    </a:cubicBezTo>
                    <a:cubicBezTo>
                      <a:pt x="310" y="293"/>
                      <a:pt x="315" y="296"/>
                      <a:pt x="318" y="294"/>
                    </a:cubicBezTo>
                    <a:cubicBezTo>
                      <a:pt x="320" y="292"/>
                      <a:pt x="329" y="292"/>
                      <a:pt x="331" y="292"/>
                    </a:cubicBezTo>
                    <a:cubicBezTo>
                      <a:pt x="334" y="292"/>
                      <a:pt x="334" y="290"/>
                      <a:pt x="336" y="288"/>
                    </a:cubicBezTo>
                    <a:cubicBezTo>
                      <a:pt x="339" y="286"/>
                      <a:pt x="338" y="285"/>
                      <a:pt x="341" y="284"/>
                    </a:cubicBezTo>
                    <a:cubicBezTo>
                      <a:pt x="344" y="283"/>
                      <a:pt x="346" y="281"/>
                      <a:pt x="346" y="279"/>
                    </a:cubicBezTo>
                    <a:cubicBezTo>
                      <a:pt x="346" y="278"/>
                      <a:pt x="351" y="277"/>
                      <a:pt x="351" y="276"/>
                    </a:cubicBezTo>
                    <a:cubicBezTo>
                      <a:pt x="351" y="274"/>
                      <a:pt x="355" y="274"/>
                      <a:pt x="355" y="272"/>
                    </a:cubicBezTo>
                    <a:cubicBezTo>
                      <a:pt x="355" y="270"/>
                      <a:pt x="358" y="270"/>
                      <a:pt x="359" y="269"/>
                    </a:cubicBezTo>
                    <a:cubicBezTo>
                      <a:pt x="360" y="267"/>
                      <a:pt x="358" y="263"/>
                      <a:pt x="360" y="263"/>
                    </a:cubicBezTo>
                    <a:cubicBezTo>
                      <a:pt x="362" y="262"/>
                      <a:pt x="359" y="260"/>
                      <a:pt x="359" y="259"/>
                    </a:cubicBezTo>
                    <a:cubicBezTo>
                      <a:pt x="358" y="258"/>
                      <a:pt x="362" y="257"/>
                      <a:pt x="364" y="256"/>
                    </a:cubicBezTo>
                    <a:cubicBezTo>
                      <a:pt x="366" y="255"/>
                      <a:pt x="368" y="253"/>
                      <a:pt x="368" y="251"/>
                    </a:cubicBezTo>
                    <a:cubicBezTo>
                      <a:pt x="368" y="248"/>
                      <a:pt x="372" y="246"/>
                      <a:pt x="373" y="246"/>
                    </a:cubicBezTo>
                    <a:cubicBezTo>
                      <a:pt x="375" y="245"/>
                      <a:pt x="375" y="242"/>
                      <a:pt x="375" y="239"/>
                    </a:cubicBezTo>
                    <a:cubicBezTo>
                      <a:pt x="374" y="236"/>
                      <a:pt x="378" y="237"/>
                      <a:pt x="376" y="236"/>
                    </a:cubicBezTo>
                    <a:cubicBezTo>
                      <a:pt x="375" y="235"/>
                      <a:pt x="377" y="232"/>
                      <a:pt x="380" y="231"/>
                    </a:cubicBezTo>
                    <a:cubicBezTo>
                      <a:pt x="382" y="230"/>
                      <a:pt x="378" y="229"/>
                      <a:pt x="376" y="230"/>
                    </a:cubicBezTo>
                    <a:cubicBezTo>
                      <a:pt x="375" y="231"/>
                      <a:pt x="373" y="227"/>
                      <a:pt x="372" y="229"/>
                    </a:cubicBezTo>
                    <a:cubicBezTo>
                      <a:pt x="370" y="230"/>
                      <a:pt x="366" y="228"/>
                      <a:pt x="369" y="227"/>
                    </a:cubicBezTo>
                    <a:cubicBezTo>
                      <a:pt x="371" y="226"/>
                      <a:pt x="375" y="223"/>
                      <a:pt x="377" y="223"/>
                    </a:cubicBezTo>
                    <a:cubicBezTo>
                      <a:pt x="379" y="222"/>
                      <a:pt x="375" y="218"/>
                      <a:pt x="372" y="218"/>
                    </a:cubicBezTo>
                    <a:cubicBezTo>
                      <a:pt x="370" y="218"/>
                      <a:pt x="368" y="213"/>
                      <a:pt x="365" y="213"/>
                    </a:cubicBezTo>
                    <a:cubicBezTo>
                      <a:pt x="363" y="213"/>
                      <a:pt x="367" y="211"/>
                      <a:pt x="370" y="213"/>
                    </a:cubicBezTo>
                    <a:cubicBezTo>
                      <a:pt x="372" y="214"/>
                      <a:pt x="376" y="216"/>
                      <a:pt x="377" y="214"/>
                    </a:cubicBezTo>
                    <a:cubicBezTo>
                      <a:pt x="378" y="213"/>
                      <a:pt x="372" y="208"/>
                      <a:pt x="370" y="207"/>
                    </a:cubicBezTo>
                    <a:cubicBezTo>
                      <a:pt x="368" y="205"/>
                      <a:pt x="370" y="203"/>
                      <a:pt x="369" y="202"/>
                    </a:cubicBezTo>
                    <a:cubicBezTo>
                      <a:pt x="367" y="201"/>
                      <a:pt x="364" y="195"/>
                      <a:pt x="363" y="192"/>
                    </a:cubicBezTo>
                    <a:cubicBezTo>
                      <a:pt x="363" y="189"/>
                      <a:pt x="358" y="189"/>
                      <a:pt x="356" y="187"/>
                    </a:cubicBezTo>
                    <a:cubicBezTo>
                      <a:pt x="355" y="185"/>
                      <a:pt x="356" y="181"/>
                      <a:pt x="360" y="180"/>
                    </a:cubicBezTo>
                    <a:cubicBezTo>
                      <a:pt x="364" y="178"/>
                      <a:pt x="362" y="175"/>
                      <a:pt x="364" y="175"/>
                    </a:cubicBezTo>
                    <a:cubicBezTo>
                      <a:pt x="366" y="176"/>
                      <a:pt x="367" y="175"/>
                      <a:pt x="368" y="172"/>
                    </a:cubicBezTo>
                    <a:cubicBezTo>
                      <a:pt x="370" y="170"/>
                      <a:pt x="372" y="171"/>
                      <a:pt x="373" y="170"/>
                    </a:cubicBezTo>
                    <a:cubicBezTo>
                      <a:pt x="375" y="168"/>
                      <a:pt x="380" y="168"/>
                      <a:pt x="382" y="167"/>
                    </a:cubicBezTo>
                    <a:cubicBezTo>
                      <a:pt x="384" y="166"/>
                      <a:pt x="380" y="161"/>
                      <a:pt x="378" y="162"/>
                    </a:cubicBezTo>
                    <a:cubicBezTo>
                      <a:pt x="375" y="163"/>
                      <a:pt x="372" y="162"/>
                      <a:pt x="370" y="159"/>
                    </a:cubicBezTo>
                    <a:cubicBezTo>
                      <a:pt x="368" y="156"/>
                      <a:pt x="363" y="164"/>
                      <a:pt x="359" y="166"/>
                    </a:cubicBezTo>
                    <a:cubicBezTo>
                      <a:pt x="355" y="167"/>
                      <a:pt x="353" y="162"/>
                      <a:pt x="354" y="159"/>
                    </a:cubicBezTo>
                    <a:cubicBezTo>
                      <a:pt x="356" y="156"/>
                      <a:pt x="351" y="156"/>
                      <a:pt x="346" y="156"/>
                    </a:cubicBezTo>
                    <a:cubicBezTo>
                      <a:pt x="341" y="157"/>
                      <a:pt x="343" y="147"/>
                      <a:pt x="346" y="146"/>
                    </a:cubicBezTo>
                    <a:cubicBezTo>
                      <a:pt x="349" y="146"/>
                      <a:pt x="354" y="149"/>
                      <a:pt x="356" y="143"/>
                    </a:cubicBezTo>
                    <a:cubicBezTo>
                      <a:pt x="358" y="138"/>
                      <a:pt x="361" y="142"/>
                      <a:pt x="365" y="137"/>
                    </a:cubicBezTo>
                    <a:cubicBezTo>
                      <a:pt x="370" y="132"/>
                      <a:pt x="375" y="128"/>
                      <a:pt x="379" y="132"/>
                    </a:cubicBezTo>
                    <a:cubicBezTo>
                      <a:pt x="383" y="135"/>
                      <a:pt x="375" y="140"/>
                      <a:pt x="373" y="143"/>
                    </a:cubicBezTo>
                    <a:cubicBezTo>
                      <a:pt x="372" y="145"/>
                      <a:pt x="375" y="146"/>
                      <a:pt x="372" y="149"/>
                    </a:cubicBezTo>
                    <a:cubicBezTo>
                      <a:pt x="370" y="151"/>
                      <a:pt x="373" y="152"/>
                      <a:pt x="378" y="149"/>
                    </a:cubicBezTo>
                    <a:cubicBezTo>
                      <a:pt x="382" y="146"/>
                      <a:pt x="388" y="142"/>
                      <a:pt x="393" y="140"/>
                    </a:cubicBezTo>
                    <a:cubicBezTo>
                      <a:pt x="394" y="140"/>
                      <a:pt x="395" y="140"/>
                      <a:pt x="396" y="140"/>
                    </a:cubicBezTo>
                    <a:cubicBezTo>
                      <a:pt x="397" y="138"/>
                      <a:pt x="398" y="137"/>
                      <a:pt x="399" y="136"/>
                    </a:cubicBezTo>
                    <a:cubicBezTo>
                      <a:pt x="402" y="135"/>
                      <a:pt x="412" y="130"/>
                      <a:pt x="414" y="128"/>
                    </a:cubicBezTo>
                    <a:cubicBezTo>
                      <a:pt x="415" y="126"/>
                      <a:pt x="417" y="122"/>
                      <a:pt x="419" y="122"/>
                    </a:cubicBezTo>
                    <a:cubicBezTo>
                      <a:pt x="421" y="122"/>
                      <a:pt x="421" y="124"/>
                      <a:pt x="424" y="124"/>
                    </a:cubicBezTo>
                    <a:cubicBezTo>
                      <a:pt x="427" y="124"/>
                      <a:pt x="431" y="125"/>
                      <a:pt x="429" y="123"/>
                    </a:cubicBezTo>
                    <a:cubicBezTo>
                      <a:pt x="428" y="120"/>
                      <a:pt x="429" y="120"/>
                      <a:pt x="432" y="120"/>
                    </a:cubicBezTo>
                    <a:cubicBezTo>
                      <a:pt x="436" y="119"/>
                      <a:pt x="436" y="116"/>
                      <a:pt x="438" y="116"/>
                    </a:cubicBezTo>
                    <a:cubicBezTo>
                      <a:pt x="441" y="116"/>
                      <a:pt x="440" y="109"/>
                      <a:pt x="443" y="109"/>
                    </a:cubicBezTo>
                    <a:cubicBezTo>
                      <a:pt x="445" y="109"/>
                      <a:pt x="446" y="113"/>
                      <a:pt x="450" y="112"/>
                    </a:cubicBezTo>
                    <a:cubicBezTo>
                      <a:pt x="450" y="112"/>
                      <a:pt x="451" y="112"/>
                      <a:pt x="452" y="112"/>
                    </a:cubicBezTo>
                    <a:cubicBezTo>
                      <a:pt x="452" y="112"/>
                      <a:pt x="453" y="111"/>
                      <a:pt x="454" y="111"/>
                    </a:cubicBezTo>
                    <a:cubicBezTo>
                      <a:pt x="453" y="107"/>
                      <a:pt x="454" y="105"/>
                      <a:pt x="453" y="103"/>
                    </a:cubicBezTo>
                    <a:cubicBezTo>
                      <a:pt x="452" y="100"/>
                      <a:pt x="453" y="98"/>
                      <a:pt x="453" y="96"/>
                    </a:cubicBezTo>
                    <a:cubicBezTo>
                      <a:pt x="452" y="95"/>
                      <a:pt x="452" y="91"/>
                      <a:pt x="454" y="91"/>
                    </a:cubicBezTo>
                    <a:cubicBezTo>
                      <a:pt x="456" y="91"/>
                      <a:pt x="458" y="86"/>
                      <a:pt x="460" y="88"/>
                    </a:cubicBezTo>
                    <a:cubicBezTo>
                      <a:pt x="463" y="89"/>
                      <a:pt x="468" y="90"/>
                      <a:pt x="468" y="88"/>
                    </a:cubicBezTo>
                    <a:cubicBezTo>
                      <a:pt x="468" y="85"/>
                      <a:pt x="471" y="85"/>
                      <a:pt x="471" y="82"/>
                    </a:cubicBezTo>
                    <a:cubicBezTo>
                      <a:pt x="472" y="80"/>
                      <a:pt x="475" y="79"/>
                      <a:pt x="476" y="76"/>
                    </a:cubicBezTo>
                    <a:cubicBezTo>
                      <a:pt x="477" y="74"/>
                      <a:pt x="478" y="67"/>
                      <a:pt x="480" y="66"/>
                    </a:cubicBezTo>
                    <a:cubicBezTo>
                      <a:pt x="483" y="65"/>
                      <a:pt x="480" y="64"/>
                      <a:pt x="480" y="59"/>
                    </a:cubicBezTo>
                    <a:close/>
                    <a:moveTo>
                      <a:pt x="364" y="284"/>
                    </a:moveTo>
                    <a:cubicBezTo>
                      <a:pt x="361" y="294"/>
                      <a:pt x="367" y="299"/>
                      <a:pt x="368" y="298"/>
                    </a:cubicBezTo>
                    <a:cubicBezTo>
                      <a:pt x="370" y="297"/>
                      <a:pt x="380" y="276"/>
                      <a:pt x="378" y="273"/>
                    </a:cubicBezTo>
                    <a:cubicBezTo>
                      <a:pt x="376" y="270"/>
                      <a:pt x="366" y="275"/>
                      <a:pt x="364" y="284"/>
                    </a:cubicBezTo>
                    <a:close/>
                    <a:moveTo>
                      <a:pt x="279" y="317"/>
                    </a:moveTo>
                    <a:cubicBezTo>
                      <a:pt x="276" y="317"/>
                      <a:pt x="268" y="321"/>
                      <a:pt x="271" y="328"/>
                    </a:cubicBezTo>
                    <a:cubicBezTo>
                      <a:pt x="274" y="334"/>
                      <a:pt x="284" y="330"/>
                      <a:pt x="285" y="327"/>
                    </a:cubicBezTo>
                    <a:cubicBezTo>
                      <a:pt x="285" y="324"/>
                      <a:pt x="289" y="320"/>
                      <a:pt x="289" y="318"/>
                    </a:cubicBezTo>
                    <a:cubicBezTo>
                      <a:pt x="288" y="316"/>
                      <a:pt x="282" y="317"/>
                      <a:pt x="279" y="31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3" name="Freeform 151">
                <a:extLst>
                  <a:ext uri="{FF2B5EF4-FFF2-40B4-BE49-F238E27FC236}">
                    <a16:creationId xmlns:a16="http://schemas.microsoft.com/office/drawing/2014/main" id="{EABF83F1-A835-4E17-837E-E9BE598C81F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74079" y="3738475"/>
                <a:ext cx="179426" cy="250945"/>
              </a:xfrm>
              <a:custGeom>
                <a:avLst/>
                <a:gdLst>
                  <a:gd name="T0" fmla="*/ 41 w 78"/>
                  <a:gd name="T1" fmla="*/ 42 h 109"/>
                  <a:gd name="T2" fmla="*/ 51 w 78"/>
                  <a:gd name="T3" fmla="*/ 49 h 109"/>
                  <a:gd name="T4" fmla="*/ 53 w 78"/>
                  <a:gd name="T5" fmla="*/ 56 h 109"/>
                  <a:gd name="T6" fmla="*/ 57 w 78"/>
                  <a:gd name="T7" fmla="*/ 60 h 109"/>
                  <a:gd name="T8" fmla="*/ 61 w 78"/>
                  <a:gd name="T9" fmla="*/ 70 h 109"/>
                  <a:gd name="T10" fmla="*/ 63 w 78"/>
                  <a:gd name="T11" fmla="*/ 68 h 109"/>
                  <a:gd name="T12" fmla="*/ 67 w 78"/>
                  <a:gd name="T13" fmla="*/ 63 h 109"/>
                  <a:gd name="T14" fmla="*/ 65 w 78"/>
                  <a:gd name="T15" fmla="*/ 53 h 109"/>
                  <a:gd name="T16" fmla="*/ 56 w 78"/>
                  <a:gd name="T17" fmla="*/ 47 h 109"/>
                  <a:gd name="T18" fmla="*/ 50 w 78"/>
                  <a:gd name="T19" fmla="*/ 40 h 109"/>
                  <a:gd name="T20" fmla="*/ 39 w 78"/>
                  <a:gd name="T21" fmla="*/ 38 h 109"/>
                  <a:gd name="T22" fmla="*/ 35 w 78"/>
                  <a:gd name="T23" fmla="*/ 30 h 109"/>
                  <a:gd name="T24" fmla="*/ 41 w 78"/>
                  <a:gd name="T25" fmla="*/ 19 h 109"/>
                  <a:gd name="T26" fmla="*/ 40 w 78"/>
                  <a:gd name="T27" fmla="*/ 6 h 109"/>
                  <a:gd name="T28" fmla="*/ 39 w 78"/>
                  <a:gd name="T29" fmla="*/ 3 h 109"/>
                  <a:gd name="T30" fmla="*/ 27 w 78"/>
                  <a:gd name="T31" fmla="*/ 2 h 109"/>
                  <a:gd name="T32" fmla="*/ 25 w 78"/>
                  <a:gd name="T33" fmla="*/ 21 h 109"/>
                  <a:gd name="T34" fmla="*/ 22 w 78"/>
                  <a:gd name="T35" fmla="*/ 20 h 109"/>
                  <a:gd name="T36" fmla="*/ 24 w 78"/>
                  <a:gd name="T37" fmla="*/ 31 h 109"/>
                  <a:gd name="T38" fmla="*/ 26 w 78"/>
                  <a:gd name="T39" fmla="*/ 37 h 109"/>
                  <a:gd name="T40" fmla="*/ 34 w 78"/>
                  <a:gd name="T41" fmla="*/ 40 h 109"/>
                  <a:gd name="T42" fmla="*/ 41 w 78"/>
                  <a:gd name="T43" fmla="*/ 42 h 109"/>
                  <a:gd name="T44" fmla="*/ 26 w 78"/>
                  <a:gd name="T45" fmla="*/ 44 h 109"/>
                  <a:gd name="T46" fmla="*/ 34 w 78"/>
                  <a:gd name="T47" fmla="*/ 53 h 109"/>
                  <a:gd name="T48" fmla="*/ 26 w 78"/>
                  <a:gd name="T49" fmla="*/ 44 h 109"/>
                  <a:gd name="T50" fmla="*/ 39 w 78"/>
                  <a:gd name="T51" fmla="*/ 67 h 109"/>
                  <a:gd name="T52" fmla="*/ 44 w 78"/>
                  <a:gd name="T53" fmla="*/ 65 h 109"/>
                  <a:gd name="T54" fmla="*/ 44 w 78"/>
                  <a:gd name="T55" fmla="*/ 71 h 109"/>
                  <a:gd name="T56" fmla="*/ 46 w 78"/>
                  <a:gd name="T57" fmla="*/ 80 h 109"/>
                  <a:gd name="T58" fmla="*/ 54 w 78"/>
                  <a:gd name="T59" fmla="*/ 67 h 109"/>
                  <a:gd name="T60" fmla="*/ 51 w 78"/>
                  <a:gd name="T61" fmla="*/ 66 h 109"/>
                  <a:gd name="T62" fmla="*/ 39 w 78"/>
                  <a:gd name="T63" fmla="*/ 56 h 109"/>
                  <a:gd name="T64" fmla="*/ 39 w 78"/>
                  <a:gd name="T65" fmla="*/ 67 h 109"/>
                  <a:gd name="T66" fmla="*/ 11 w 78"/>
                  <a:gd name="T67" fmla="*/ 72 h 109"/>
                  <a:gd name="T68" fmla="*/ 1 w 78"/>
                  <a:gd name="T69" fmla="*/ 85 h 109"/>
                  <a:gd name="T70" fmla="*/ 16 w 78"/>
                  <a:gd name="T71" fmla="*/ 72 h 109"/>
                  <a:gd name="T72" fmla="*/ 18 w 78"/>
                  <a:gd name="T73" fmla="*/ 63 h 109"/>
                  <a:gd name="T74" fmla="*/ 11 w 78"/>
                  <a:gd name="T75" fmla="*/ 72 h 109"/>
                  <a:gd name="T76" fmla="*/ 54 w 78"/>
                  <a:gd name="T77" fmla="*/ 77 h 109"/>
                  <a:gd name="T78" fmla="*/ 60 w 78"/>
                  <a:gd name="T79" fmla="*/ 73 h 109"/>
                  <a:gd name="T80" fmla="*/ 54 w 78"/>
                  <a:gd name="T81" fmla="*/ 77 h 109"/>
                  <a:gd name="T82" fmla="*/ 75 w 78"/>
                  <a:gd name="T83" fmla="*/ 95 h 109"/>
                  <a:gd name="T84" fmla="*/ 73 w 78"/>
                  <a:gd name="T85" fmla="*/ 77 h 109"/>
                  <a:gd name="T86" fmla="*/ 68 w 78"/>
                  <a:gd name="T87" fmla="*/ 77 h 109"/>
                  <a:gd name="T88" fmla="*/ 63 w 78"/>
                  <a:gd name="T89" fmla="*/ 81 h 109"/>
                  <a:gd name="T90" fmla="*/ 58 w 78"/>
                  <a:gd name="T91" fmla="*/ 85 h 109"/>
                  <a:gd name="T92" fmla="*/ 51 w 78"/>
                  <a:gd name="T93" fmla="*/ 83 h 109"/>
                  <a:gd name="T94" fmla="*/ 42 w 78"/>
                  <a:gd name="T95" fmla="*/ 88 h 109"/>
                  <a:gd name="T96" fmla="*/ 39 w 78"/>
                  <a:gd name="T97" fmla="*/ 97 h 109"/>
                  <a:gd name="T98" fmla="*/ 46 w 78"/>
                  <a:gd name="T99" fmla="*/ 93 h 109"/>
                  <a:gd name="T100" fmla="*/ 52 w 78"/>
                  <a:gd name="T101" fmla="*/ 91 h 109"/>
                  <a:gd name="T102" fmla="*/ 58 w 78"/>
                  <a:gd name="T103" fmla="*/ 105 h 109"/>
                  <a:gd name="T104" fmla="*/ 67 w 78"/>
                  <a:gd name="T105" fmla="*/ 109 h 109"/>
                  <a:gd name="T106" fmla="*/ 67 w 78"/>
                  <a:gd name="T107" fmla="*/ 99 h 109"/>
                  <a:gd name="T108" fmla="*/ 75 w 78"/>
                  <a:gd name="T109" fmla="*/ 95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78" h="109">
                    <a:moveTo>
                      <a:pt x="41" y="42"/>
                    </a:moveTo>
                    <a:cubicBezTo>
                      <a:pt x="46" y="41"/>
                      <a:pt x="52" y="47"/>
                      <a:pt x="51" y="49"/>
                    </a:cubicBezTo>
                    <a:cubicBezTo>
                      <a:pt x="50" y="51"/>
                      <a:pt x="51" y="58"/>
                      <a:pt x="53" y="56"/>
                    </a:cubicBezTo>
                    <a:cubicBezTo>
                      <a:pt x="56" y="54"/>
                      <a:pt x="59" y="57"/>
                      <a:pt x="57" y="60"/>
                    </a:cubicBezTo>
                    <a:cubicBezTo>
                      <a:pt x="55" y="63"/>
                      <a:pt x="60" y="66"/>
                      <a:pt x="61" y="70"/>
                    </a:cubicBezTo>
                    <a:cubicBezTo>
                      <a:pt x="62" y="74"/>
                      <a:pt x="64" y="71"/>
                      <a:pt x="63" y="68"/>
                    </a:cubicBezTo>
                    <a:cubicBezTo>
                      <a:pt x="63" y="65"/>
                      <a:pt x="64" y="65"/>
                      <a:pt x="67" y="63"/>
                    </a:cubicBezTo>
                    <a:cubicBezTo>
                      <a:pt x="70" y="61"/>
                      <a:pt x="67" y="57"/>
                      <a:pt x="65" y="53"/>
                    </a:cubicBezTo>
                    <a:cubicBezTo>
                      <a:pt x="63" y="49"/>
                      <a:pt x="56" y="51"/>
                      <a:pt x="56" y="47"/>
                    </a:cubicBezTo>
                    <a:cubicBezTo>
                      <a:pt x="56" y="43"/>
                      <a:pt x="51" y="42"/>
                      <a:pt x="50" y="40"/>
                    </a:cubicBezTo>
                    <a:cubicBezTo>
                      <a:pt x="50" y="38"/>
                      <a:pt x="43" y="35"/>
                      <a:pt x="39" y="38"/>
                    </a:cubicBezTo>
                    <a:cubicBezTo>
                      <a:pt x="35" y="40"/>
                      <a:pt x="38" y="34"/>
                      <a:pt x="35" y="30"/>
                    </a:cubicBezTo>
                    <a:cubicBezTo>
                      <a:pt x="32" y="27"/>
                      <a:pt x="37" y="23"/>
                      <a:pt x="41" y="19"/>
                    </a:cubicBezTo>
                    <a:cubicBezTo>
                      <a:pt x="44" y="15"/>
                      <a:pt x="40" y="9"/>
                      <a:pt x="40" y="6"/>
                    </a:cubicBezTo>
                    <a:cubicBezTo>
                      <a:pt x="41" y="3"/>
                      <a:pt x="40" y="2"/>
                      <a:pt x="39" y="3"/>
                    </a:cubicBezTo>
                    <a:cubicBezTo>
                      <a:pt x="37" y="4"/>
                      <a:pt x="30" y="0"/>
                      <a:pt x="27" y="2"/>
                    </a:cubicBezTo>
                    <a:cubicBezTo>
                      <a:pt x="24" y="4"/>
                      <a:pt x="27" y="20"/>
                      <a:pt x="25" y="21"/>
                    </a:cubicBezTo>
                    <a:cubicBezTo>
                      <a:pt x="24" y="22"/>
                      <a:pt x="22" y="18"/>
                      <a:pt x="22" y="20"/>
                    </a:cubicBezTo>
                    <a:cubicBezTo>
                      <a:pt x="21" y="22"/>
                      <a:pt x="22" y="31"/>
                      <a:pt x="24" y="31"/>
                    </a:cubicBezTo>
                    <a:cubicBezTo>
                      <a:pt x="26" y="31"/>
                      <a:pt x="27" y="33"/>
                      <a:pt x="26" y="37"/>
                    </a:cubicBezTo>
                    <a:cubicBezTo>
                      <a:pt x="25" y="41"/>
                      <a:pt x="29" y="41"/>
                      <a:pt x="34" y="40"/>
                    </a:cubicBezTo>
                    <a:cubicBezTo>
                      <a:pt x="39" y="38"/>
                      <a:pt x="37" y="43"/>
                      <a:pt x="41" y="42"/>
                    </a:cubicBezTo>
                    <a:close/>
                    <a:moveTo>
                      <a:pt x="26" y="44"/>
                    </a:moveTo>
                    <a:cubicBezTo>
                      <a:pt x="27" y="48"/>
                      <a:pt x="29" y="54"/>
                      <a:pt x="34" y="53"/>
                    </a:cubicBezTo>
                    <a:cubicBezTo>
                      <a:pt x="39" y="51"/>
                      <a:pt x="26" y="42"/>
                      <a:pt x="26" y="44"/>
                    </a:cubicBezTo>
                    <a:close/>
                    <a:moveTo>
                      <a:pt x="39" y="67"/>
                    </a:moveTo>
                    <a:cubicBezTo>
                      <a:pt x="41" y="67"/>
                      <a:pt x="44" y="67"/>
                      <a:pt x="44" y="65"/>
                    </a:cubicBezTo>
                    <a:cubicBezTo>
                      <a:pt x="44" y="63"/>
                      <a:pt x="47" y="69"/>
                      <a:pt x="44" y="71"/>
                    </a:cubicBezTo>
                    <a:cubicBezTo>
                      <a:pt x="42" y="73"/>
                      <a:pt x="42" y="79"/>
                      <a:pt x="46" y="80"/>
                    </a:cubicBezTo>
                    <a:cubicBezTo>
                      <a:pt x="49" y="81"/>
                      <a:pt x="55" y="69"/>
                      <a:pt x="54" y="67"/>
                    </a:cubicBezTo>
                    <a:cubicBezTo>
                      <a:pt x="53" y="65"/>
                      <a:pt x="50" y="69"/>
                      <a:pt x="51" y="66"/>
                    </a:cubicBezTo>
                    <a:cubicBezTo>
                      <a:pt x="52" y="63"/>
                      <a:pt x="43" y="56"/>
                      <a:pt x="39" y="56"/>
                    </a:cubicBezTo>
                    <a:cubicBezTo>
                      <a:pt x="35" y="57"/>
                      <a:pt x="37" y="68"/>
                      <a:pt x="39" y="67"/>
                    </a:cubicBezTo>
                    <a:close/>
                    <a:moveTo>
                      <a:pt x="11" y="72"/>
                    </a:moveTo>
                    <a:cubicBezTo>
                      <a:pt x="8" y="76"/>
                      <a:pt x="0" y="83"/>
                      <a:pt x="1" y="85"/>
                    </a:cubicBezTo>
                    <a:cubicBezTo>
                      <a:pt x="3" y="88"/>
                      <a:pt x="11" y="75"/>
                      <a:pt x="16" y="72"/>
                    </a:cubicBezTo>
                    <a:cubicBezTo>
                      <a:pt x="20" y="68"/>
                      <a:pt x="19" y="66"/>
                      <a:pt x="18" y="63"/>
                    </a:cubicBezTo>
                    <a:cubicBezTo>
                      <a:pt x="16" y="60"/>
                      <a:pt x="15" y="68"/>
                      <a:pt x="11" y="72"/>
                    </a:cubicBezTo>
                    <a:close/>
                    <a:moveTo>
                      <a:pt x="54" y="77"/>
                    </a:moveTo>
                    <a:cubicBezTo>
                      <a:pt x="55" y="79"/>
                      <a:pt x="62" y="75"/>
                      <a:pt x="60" y="73"/>
                    </a:cubicBezTo>
                    <a:cubicBezTo>
                      <a:pt x="58" y="70"/>
                      <a:pt x="53" y="75"/>
                      <a:pt x="54" y="77"/>
                    </a:cubicBezTo>
                    <a:close/>
                    <a:moveTo>
                      <a:pt x="75" y="95"/>
                    </a:moveTo>
                    <a:cubicBezTo>
                      <a:pt x="78" y="92"/>
                      <a:pt x="73" y="83"/>
                      <a:pt x="73" y="77"/>
                    </a:cubicBezTo>
                    <a:cubicBezTo>
                      <a:pt x="73" y="72"/>
                      <a:pt x="65" y="73"/>
                      <a:pt x="68" y="77"/>
                    </a:cubicBezTo>
                    <a:cubicBezTo>
                      <a:pt x="70" y="80"/>
                      <a:pt x="63" y="78"/>
                      <a:pt x="63" y="81"/>
                    </a:cubicBezTo>
                    <a:cubicBezTo>
                      <a:pt x="63" y="85"/>
                      <a:pt x="58" y="82"/>
                      <a:pt x="58" y="85"/>
                    </a:cubicBezTo>
                    <a:cubicBezTo>
                      <a:pt x="58" y="88"/>
                      <a:pt x="53" y="85"/>
                      <a:pt x="51" y="83"/>
                    </a:cubicBezTo>
                    <a:cubicBezTo>
                      <a:pt x="49" y="81"/>
                      <a:pt x="45" y="88"/>
                      <a:pt x="42" y="88"/>
                    </a:cubicBezTo>
                    <a:cubicBezTo>
                      <a:pt x="38" y="89"/>
                      <a:pt x="36" y="97"/>
                      <a:pt x="39" y="97"/>
                    </a:cubicBezTo>
                    <a:cubicBezTo>
                      <a:pt x="42" y="97"/>
                      <a:pt x="43" y="93"/>
                      <a:pt x="46" y="93"/>
                    </a:cubicBezTo>
                    <a:cubicBezTo>
                      <a:pt x="49" y="93"/>
                      <a:pt x="48" y="90"/>
                      <a:pt x="52" y="91"/>
                    </a:cubicBezTo>
                    <a:cubicBezTo>
                      <a:pt x="56" y="92"/>
                      <a:pt x="53" y="104"/>
                      <a:pt x="58" y="105"/>
                    </a:cubicBezTo>
                    <a:cubicBezTo>
                      <a:pt x="64" y="106"/>
                      <a:pt x="64" y="109"/>
                      <a:pt x="67" y="109"/>
                    </a:cubicBezTo>
                    <a:cubicBezTo>
                      <a:pt x="69" y="109"/>
                      <a:pt x="66" y="101"/>
                      <a:pt x="67" y="99"/>
                    </a:cubicBezTo>
                    <a:cubicBezTo>
                      <a:pt x="67" y="96"/>
                      <a:pt x="72" y="98"/>
                      <a:pt x="75" y="9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4" name="Freeform 152">
                <a:extLst>
                  <a:ext uri="{FF2B5EF4-FFF2-40B4-BE49-F238E27FC236}">
                    <a16:creationId xmlns:a16="http://schemas.microsoft.com/office/drawing/2014/main" id="{7A05884A-2FA8-49F5-A48B-87C5D187535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515742" y="4143751"/>
                <a:ext cx="235888" cy="150567"/>
              </a:xfrm>
              <a:custGeom>
                <a:avLst/>
                <a:gdLst>
                  <a:gd name="T0" fmla="*/ 74 w 102"/>
                  <a:gd name="T1" fmla="*/ 59 h 65"/>
                  <a:gd name="T2" fmla="*/ 68 w 102"/>
                  <a:gd name="T3" fmla="*/ 54 h 65"/>
                  <a:gd name="T4" fmla="*/ 60 w 102"/>
                  <a:gd name="T5" fmla="*/ 50 h 65"/>
                  <a:gd name="T6" fmla="*/ 54 w 102"/>
                  <a:gd name="T7" fmla="*/ 39 h 65"/>
                  <a:gd name="T8" fmla="*/ 52 w 102"/>
                  <a:gd name="T9" fmla="*/ 33 h 65"/>
                  <a:gd name="T10" fmla="*/ 54 w 102"/>
                  <a:gd name="T11" fmla="*/ 28 h 65"/>
                  <a:gd name="T12" fmla="*/ 38 w 102"/>
                  <a:gd name="T13" fmla="*/ 19 h 65"/>
                  <a:gd name="T14" fmla="*/ 6 w 102"/>
                  <a:gd name="T15" fmla="*/ 1 h 65"/>
                  <a:gd name="T16" fmla="*/ 0 w 102"/>
                  <a:gd name="T17" fmla="*/ 0 h 65"/>
                  <a:gd name="T18" fmla="*/ 0 w 102"/>
                  <a:gd name="T19" fmla="*/ 50 h 65"/>
                  <a:gd name="T20" fmla="*/ 9 w 102"/>
                  <a:gd name="T21" fmla="*/ 53 h 65"/>
                  <a:gd name="T22" fmla="*/ 19 w 102"/>
                  <a:gd name="T23" fmla="*/ 48 h 65"/>
                  <a:gd name="T24" fmla="*/ 23 w 102"/>
                  <a:gd name="T25" fmla="*/ 42 h 65"/>
                  <a:gd name="T26" fmla="*/ 40 w 102"/>
                  <a:gd name="T27" fmla="*/ 46 h 65"/>
                  <a:gd name="T28" fmla="*/ 58 w 102"/>
                  <a:gd name="T29" fmla="*/ 61 h 65"/>
                  <a:gd name="T30" fmla="*/ 75 w 102"/>
                  <a:gd name="T31" fmla="*/ 64 h 65"/>
                  <a:gd name="T32" fmla="*/ 74 w 102"/>
                  <a:gd name="T33" fmla="*/ 59 h 65"/>
                  <a:gd name="T34" fmla="*/ 87 w 102"/>
                  <a:gd name="T35" fmla="*/ 17 h 65"/>
                  <a:gd name="T36" fmla="*/ 77 w 102"/>
                  <a:gd name="T37" fmla="*/ 23 h 65"/>
                  <a:gd name="T38" fmla="*/ 60 w 102"/>
                  <a:gd name="T39" fmla="*/ 24 h 65"/>
                  <a:gd name="T40" fmla="*/ 73 w 102"/>
                  <a:gd name="T41" fmla="*/ 29 h 65"/>
                  <a:gd name="T42" fmla="*/ 90 w 102"/>
                  <a:gd name="T43" fmla="*/ 21 h 65"/>
                  <a:gd name="T44" fmla="*/ 92 w 102"/>
                  <a:gd name="T45" fmla="*/ 14 h 65"/>
                  <a:gd name="T46" fmla="*/ 87 w 102"/>
                  <a:gd name="T47" fmla="*/ 17 h 65"/>
                  <a:gd name="T48" fmla="*/ 95 w 102"/>
                  <a:gd name="T49" fmla="*/ 8 h 65"/>
                  <a:gd name="T50" fmla="*/ 93 w 102"/>
                  <a:gd name="T51" fmla="*/ 9 h 65"/>
                  <a:gd name="T52" fmla="*/ 98 w 102"/>
                  <a:gd name="T53" fmla="*/ 16 h 65"/>
                  <a:gd name="T54" fmla="*/ 95 w 102"/>
                  <a:gd name="T55" fmla="*/ 8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02" h="65">
                    <a:moveTo>
                      <a:pt x="74" y="59"/>
                    </a:moveTo>
                    <a:cubicBezTo>
                      <a:pt x="72" y="59"/>
                      <a:pt x="68" y="56"/>
                      <a:pt x="68" y="54"/>
                    </a:cubicBezTo>
                    <a:cubicBezTo>
                      <a:pt x="68" y="52"/>
                      <a:pt x="63" y="52"/>
                      <a:pt x="60" y="50"/>
                    </a:cubicBezTo>
                    <a:cubicBezTo>
                      <a:pt x="56" y="48"/>
                      <a:pt x="58" y="41"/>
                      <a:pt x="54" y="39"/>
                    </a:cubicBezTo>
                    <a:cubicBezTo>
                      <a:pt x="51" y="38"/>
                      <a:pt x="48" y="33"/>
                      <a:pt x="52" y="33"/>
                    </a:cubicBezTo>
                    <a:cubicBezTo>
                      <a:pt x="56" y="33"/>
                      <a:pt x="57" y="31"/>
                      <a:pt x="54" y="28"/>
                    </a:cubicBezTo>
                    <a:cubicBezTo>
                      <a:pt x="51" y="24"/>
                      <a:pt x="38" y="23"/>
                      <a:pt x="38" y="19"/>
                    </a:cubicBezTo>
                    <a:cubicBezTo>
                      <a:pt x="37" y="14"/>
                      <a:pt x="16" y="4"/>
                      <a:pt x="6" y="1"/>
                    </a:cubicBezTo>
                    <a:cubicBezTo>
                      <a:pt x="5" y="1"/>
                      <a:pt x="3" y="0"/>
                      <a:pt x="0" y="0"/>
                    </a:cubicBezTo>
                    <a:cubicBezTo>
                      <a:pt x="0" y="50"/>
                      <a:pt x="0" y="50"/>
                      <a:pt x="0" y="50"/>
                    </a:cubicBezTo>
                    <a:cubicBezTo>
                      <a:pt x="3" y="52"/>
                      <a:pt x="5" y="53"/>
                      <a:pt x="9" y="53"/>
                    </a:cubicBezTo>
                    <a:cubicBezTo>
                      <a:pt x="19" y="54"/>
                      <a:pt x="17" y="48"/>
                      <a:pt x="19" y="48"/>
                    </a:cubicBezTo>
                    <a:cubicBezTo>
                      <a:pt x="21" y="48"/>
                      <a:pt x="21" y="44"/>
                      <a:pt x="23" y="42"/>
                    </a:cubicBezTo>
                    <a:cubicBezTo>
                      <a:pt x="26" y="39"/>
                      <a:pt x="35" y="41"/>
                      <a:pt x="40" y="46"/>
                    </a:cubicBezTo>
                    <a:cubicBezTo>
                      <a:pt x="46" y="50"/>
                      <a:pt x="52" y="63"/>
                      <a:pt x="58" y="61"/>
                    </a:cubicBezTo>
                    <a:cubicBezTo>
                      <a:pt x="64" y="60"/>
                      <a:pt x="70" y="65"/>
                      <a:pt x="75" y="64"/>
                    </a:cubicBezTo>
                    <a:cubicBezTo>
                      <a:pt x="80" y="64"/>
                      <a:pt x="75" y="60"/>
                      <a:pt x="74" y="59"/>
                    </a:cubicBezTo>
                    <a:close/>
                    <a:moveTo>
                      <a:pt x="87" y="17"/>
                    </a:moveTo>
                    <a:cubicBezTo>
                      <a:pt x="87" y="19"/>
                      <a:pt x="83" y="20"/>
                      <a:pt x="77" y="23"/>
                    </a:cubicBezTo>
                    <a:cubicBezTo>
                      <a:pt x="71" y="25"/>
                      <a:pt x="61" y="20"/>
                      <a:pt x="60" y="24"/>
                    </a:cubicBezTo>
                    <a:cubicBezTo>
                      <a:pt x="60" y="26"/>
                      <a:pt x="67" y="29"/>
                      <a:pt x="73" y="29"/>
                    </a:cubicBezTo>
                    <a:cubicBezTo>
                      <a:pt x="80" y="29"/>
                      <a:pt x="90" y="23"/>
                      <a:pt x="90" y="21"/>
                    </a:cubicBezTo>
                    <a:cubicBezTo>
                      <a:pt x="90" y="19"/>
                      <a:pt x="94" y="16"/>
                      <a:pt x="92" y="14"/>
                    </a:cubicBezTo>
                    <a:cubicBezTo>
                      <a:pt x="91" y="12"/>
                      <a:pt x="87" y="15"/>
                      <a:pt x="87" y="17"/>
                    </a:cubicBezTo>
                    <a:close/>
                    <a:moveTo>
                      <a:pt x="95" y="8"/>
                    </a:moveTo>
                    <a:cubicBezTo>
                      <a:pt x="91" y="6"/>
                      <a:pt x="88" y="4"/>
                      <a:pt x="93" y="9"/>
                    </a:cubicBezTo>
                    <a:cubicBezTo>
                      <a:pt x="98" y="13"/>
                      <a:pt x="95" y="17"/>
                      <a:pt x="98" y="16"/>
                    </a:cubicBezTo>
                    <a:cubicBezTo>
                      <a:pt x="102" y="15"/>
                      <a:pt x="99" y="10"/>
                      <a:pt x="95" y="8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5" name="Freeform 153">
                <a:extLst>
                  <a:ext uri="{FF2B5EF4-FFF2-40B4-BE49-F238E27FC236}">
                    <a16:creationId xmlns:a16="http://schemas.microsoft.com/office/drawing/2014/main" id="{F1C7C850-333E-4137-9F52-DF5797ED5B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97782" y="3909118"/>
                <a:ext cx="40151" cy="77793"/>
              </a:xfrm>
              <a:custGeom>
                <a:avLst/>
                <a:gdLst>
                  <a:gd name="T0" fmla="*/ 4 w 17"/>
                  <a:gd name="T1" fmla="*/ 0 h 34"/>
                  <a:gd name="T2" fmla="*/ 1 w 17"/>
                  <a:gd name="T3" fmla="*/ 8 h 34"/>
                  <a:gd name="T4" fmla="*/ 0 w 17"/>
                  <a:gd name="T5" fmla="*/ 19 h 34"/>
                  <a:gd name="T6" fmla="*/ 4 w 17"/>
                  <a:gd name="T7" fmla="*/ 31 h 34"/>
                  <a:gd name="T8" fmla="*/ 17 w 17"/>
                  <a:gd name="T9" fmla="*/ 19 h 34"/>
                  <a:gd name="T10" fmla="*/ 4 w 17"/>
                  <a:gd name="T11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7" h="34">
                    <a:moveTo>
                      <a:pt x="4" y="0"/>
                    </a:moveTo>
                    <a:cubicBezTo>
                      <a:pt x="1" y="1"/>
                      <a:pt x="2" y="5"/>
                      <a:pt x="1" y="8"/>
                    </a:cubicBezTo>
                    <a:cubicBezTo>
                      <a:pt x="0" y="11"/>
                      <a:pt x="0" y="14"/>
                      <a:pt x="0" y="19"/>
                    </a:cubicBezTo>
                    <a:cubicBezTo>
                      <a:pt x="1" y="23"/>
                      <a:pt x="0" y="28"/>
                      <a:pt x="4" y="31"/>
                    </a:cubicBezTo>
                    <a:cubicBezTo>
                      <a:pt x="9" y="34"/>
                      <a:pt x="16" y="26"/>
                      <a:pt x="17" y="19"/>
                    </a:cubicBezTo>
                    <a:cubicBezTo>
                      <a:pt x="17" y="13"/>
                      <a:pt x="5" y="0"/>
                      <a:pt x="4" y="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6" name="Freeform 154">
                <a:extLst>
                  <a:ext uri="{FF2B5EF4-FFF2-40B4-BE49-F238E27FC236}">
                    <a16:creationId xmlns:a16="http://schemas.microsoft.com/office/drawing/2014/main" id="{04F24D10-53FB-4EB7-B9F4-F4B8D47F7E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06428" y="4305611"/>
                <a:ext cx="138020" cy="272275"/>
              </a:xfrm>
              <a:custGeom>
                <a:avLst/>
                <a:gdLst>
                  <a:gd name="T0" fmla="*/ 51 w 60"/>
                  <a:gd name="T1" fmla="*/ 4 h 118"/>
                  <a:gd name="T2" fmla="*/ 48 w 60"/>
                  <a:gd name="T3" fmla="*/ 6 h 118"/>
                  <a:gd name="T4" fmla="*/ 47 w 60"/>
                  <a:gd name="T5" fmla="*/ 12 h 118"/>
                  <a:gd name="T6" fmla="*/ 42 w 60"/>
                  <a:gd name="T7" fmla="*/ 16 h 118"/>
                  <a:gd name="T8" fmla="*/ 38 w 60"/>
                  <a:gd name="T9" fmla="*/ 19 h 118"/>
                  <a:gd name="T10" fmla="*/ 38 w 60"/>
                  <a:gd name="T11" fmla="*/ 23 h 118"/>
                  <a:gd name="T12" fmla="*/ 32 w 60"/>
                  <a:gd name="T13" fmla="*/ 28 h 118"/>
                  <a:gd name="T14" fmla="*/ 21 w 60"/>
                  <a:gd name="T15" fmla="*/ 34 h 118"/>
                  <a:gd name="T16" fmla="*/ 10 w 60"/>
                  <a:gd name="T17" fmla="*/ 36 h 118"/>
                  <a:gd name="T18" fmla="*/ 7 w 60"/>
                  <a:gd name="T19" fmla="*/ 47 h 118"/>
                  <a:gd name="T20" fmla="*/ 8 w 60"/>
                  <a:gd name="T21" fmla="*/ 61 h 118"/>
                  <a:gd name="T22" fmla="*/ 6 w 60"/>
                  <a:gd name="T23" fmla="*/ 78 h 118"/>
                  <a:gd name="T24" fmla="*/ 3 w 60"/>
                  <a:gd name="T25" fmla="*/ 97 h 118"/>
                  <a:gd name="T26" fmla="*/ 8 w 60"/>
                  <a:gd name="T27" fmla="*/ 112 h 118"/>
                  <a:gd name="T28" fmla="*/ 23 w 60"/>
                  <a:gd name="T29" fmla="*/ 116 h 118"/>
                  <a:gd name="T30" fmla="*/ 31 w 60"/>
                  <a:gd name="T31" fmla="*/ 113 h 118"/>
                  <a:gd name="T32" fmla="*/ 42 w 60"/>
                  <a:gd name="T33" fmla="*/ 79 h 118"/>
                  <a:gd name="T34" fmla="*/ 51 w 60"/>
                  <a:gd name="T35" fmla="*/ 47 h 118"/>
                  <a:gd name="T36" fmla="*/ 53 w 60"/>
                  <a:gd name="T37" fmla="*/ 38 h 118"/>
                  <a:gd name="T38" fmla="*/ 55 w 60"/>
                  <a:gd name="T39" fmla="*/ 33 h 118"/>
                  <a:gd name="T40" fmla="*/ 60 w 60"/>
                  <a:gd name="T41" fmla="*/ 32 h 118"/>
                  <a:gd name="T42" fmla="*/ 57 w 60"/>
                  <a:gd name="T43" fmla="*/ 17 h 118"/>
                  <a:gd name="T44" fmla="*/ 51 w 60"/>
                  <a:gd name="T45" fmla="*/ 4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60" h="118">
                    <a:moveTo>
                      <a:pt x="51" y="4"/>
                    </a:moveTo>
                    <a:cubicBezTo>
                      <a:pt x="50" y="0"/>
                      <a:pt x="49" y="5"/>
                      <a:pt x="48" y="6"/>
                    </a:cubicBezTo>
                    <a:cubicBezTo>
                      <a:pt x="47" y="7"/>
                      <a:pt x="47" y="10"/>
                      <a:pt x="47" y="12"/>
                    </a:cubicBezTo>
                    <a:cubicBezTo>
                      <a:pt x="47" y="14"/>
                      <a:pt x="44" y="16"/>
                      <a:pt x="42" y="16"/>
                    </a:cubicBezTo>
                    <a:cubicBezTo>
                      <a:pt x="40" y="15"/>
                      <a:pt x="37" y="17"/>
                      <a:pt x="38" y="19"/>
                    </a:cubicBezTo>
                    <a:cubicBezTo>
                      <a:pt x="39" y="22"/>
                      <a:pt x="37" y="21"/>
                      <a:pt x="38" y="23"/>
                    </a:cubicBezTo>
                    <a:cubicBezTo>
                      <a:pt x="39" y="26"/>
                      <a:pt x="35" y="28"/>
                      <a:pt x="32" y="28"/>
                    </a:cubicBezTo>
                    <a:cubicBezTo>
                      <a:pt x="28" y="29"/>
                      <a:pt x="24" y="35"/>
                      <a:pt x="21" y="34"/>
                    </a:cubicBezTo>
                    <a:cubicBezTo>
                      <a:pt x="17" y="34"/>
                      <a:pt x="13" y="36"/>
                      <a:pt x="10" y="36"/>
                    </a:cubicBezTo>
                    <a:cubicBezTo>
                      <a:pt x="7" y="36"/>
                      <a:pt x="9" y="42"/>
                      <a:pt x="7" y="47"/>
                    </a:cubicBezTo>
                    <a:cubicBezTo>
                      <a:pt x="5" y="51"/>
                      <a:pt x="6" y="56"/>
                      <a:pt x="8" y="61"/>
                    </a:cubicBezTo>
                    <a:cubicBezTo>
                      <a:pt x="10" y="66"/>
                      <a:pt x="12" y="71"/>
                      <a:pt x="6" y="78"/>
                    </a:cubicBezTo>
                    <a:cubicBezTo>
                      <a:pt x="0" y="85"/>
                      <a:pt x="1" y="92"/>
                      <a:pt x="3" y="97"/>
                    </a:cubicBezTo>
                    <a:cubicBezTo>
                      <a:pt x="5" y="102"/>
                      <a:pt x="5" y="109"/>
                      <a:pt x="8" y="112"/>
                    </a:cubicBezTo>
                    <a:cubicBezTo>
                      <a:pt x="11" y="115"/>
                      <a:pt x="20" y="118"/>
                      <a:pt x="23" y="116"/>
                    </a:cubicBezTo>
                    <a:cubicBezTo>
                      <a:pt x="25" y="113"/>
                      <a:pt x="28" y="116"/>
                      <a:pt x="31" y="113"/>
                    </a:cubicBezTo>
                    <a:cubicBezTo>
                      <a:pt x="34" y="109"/>
                      <a:pt x="38" y="91"/>
                      <a:pt x="42" y="79"/>
                    </a:cubicBezTo>
                    <a:cubicBezTo>
                      <a:pt x="47" y="67"/>
                      <a:pt x="52" y="51"/>
                      <a:pt x="51" y="47"/>
                    </a:cubicBezTo>
                    <a:cubicBezTo>
                      <a:pt x="51" y="44"/>
                      <a:pt x="54" y="42"/>
                      <a:pt x="53" y="38"/>
                    </a:cubicBezTo>
                    <a:cubicBezTo>
                      <a:pt x="51" y="35"/>
                      <a:pt x="53" y="31"/>
                      <a:pt x="55" y="33"/>
                    </a:cubicBezTo>
                    <a:cubicBezTo>
                      <a:pt x="57" y="36"/>
                      <a:pt x="59" y="36"/>
                      <a:pt x="60" y="32"/>
                    </a:cubicBezTo>
                    <a:cubicBezTo>
                      <a:pt x="60" y="29"/>
                      <a:pt x="57" y="23"/>
                      <a:pt x="57" y="17"/>
                    </a:cubicBezTo>
                    <a:cubicBezTo>
                      <a:pt x="56" y="12"/>
                      <a:pt x="52" y="7"/>
                      <a:pt x="51" y="4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7" name="Freeform 155">
                <a:extLst>
                  <a:ext uri="{FF2B5EF4-FFF2-40B4-BE49-F238E27FC236}">
                    <a16:creationId xmlns:a16="http://schemas.microsoft.com/office/drawing/2014/main" id="{E42BE77C-1DDB-4885-9070-908231D6B54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01409" y="3729692"/>
                <a:ext cx="222086" cy="133001"/>
              </a:xfrm>
              <a:custGeom>
                <a:avLst/>
                <a:gdLst>
                  <a:gd name="T0" fmla="*/ 68 w 96"/>
                  <a:gd name="T1" fmla="*/ 2 h 58"/>
                  <a:gd name="T2" fmla="*/ 52 w 96"/>
                  <a:gd name="T3" fmla="*/ 3 h 58"/>
                  <a:gd name="T4" fmla="*/ 40 w 96"/>
                  <a:gd name="T5" fmla="*/ 14 h 58"/>
                  <a:gd name="T6" fmla="*/ 34 w 96"/>
                  <a:gd name="T7" fmla="*/ 16 h 58"/>
                  <a:gd name="T8" fmla="*/ 23 w 96"/>
                  <a:gd name="T9" fmla="*/ 14 h 58"/>
                  <a:gd name="T10" fmla="*/ 13 w 96"/>
                  <a:gd name="T11" fmla="*/ 13 h 58"/>
                  <a:gd name="T12" fmla="*/ 7 w 96"/>
                  <a:gd name="T13" fmla="*/ 12 h 58"/>
                  <a:gd name="T14" fmla="*/ 4 w 96"/>
                  <a:gd name="T15" fmla="*/ 15 h 58"/>
                  <a:gd name="T16" fmla="*/ 4 w 96"/>
                  <a:gd name="T17" fmla="*/ 19 h 58"/>
                  <a:gd name="T18" fmla="*/ 0 w 96"/>
                  <a:gd name="T19" fmla="*/ 22 h 58"/>
                  <a:gd name="T20" fmla="*/ 1 w 96"/>
                  <a:gd name="T21" fmla="*/ 26 h 58"/>
                  <a:gd name="T22" fmla="*/ 3 w 96"/>
                  <a:gd name="T23" fmla="*/ 39 h 58"/>
                  <a:gd name="T24" fmla="*/ 6 w 96"/>
                  <a:gd name="T25" fmla="*/ 51 h 58"/>
                  <a:gd name="T26" fmla="*/ 21 w 96"/>
                  <a:gd name="T27" fmla="*/ 49 h 58"/>
                  <a:gd name="T28" fmla="*/ 31 w 96"/>
                  <a:gd name="T29" fmla="*/ 46 h 58"/>
                  <a:gd name="T30" fmla="*/ 40 w 96"/>
                  <a:gd name="T31" fmla="*/ 42 h 58"/>
                  <a:gd name="T32" fmla="*/ 48 w 96"/>
                  <a:gd name="T33" fmla="*/ 41 h 58"/>
                  <a:gd name="T34" fmla="*/ 54 w 96"/>
                  <a:gd name="T35" fmla="*/ 36 h 58"/>
                  <a:gd name="T36" fmla="*/ 71 w 96"/>
                  <a:gd name="T37" fmla="*/ 31 h 58"/>
                  <a:gd name="T38" fmla="*/ 79 w 96"/>
                  <a:gd name="T39" fmla="*/ 23 h 58"/>
                  <a:gd name="T40" fmla="*/ 86 w 96"/>
                  <a:gd name="T41" fmla="*/ 20 h 58"/>
                  <a:gd name="T42" fmla="*/ 76 w 96"/>
                  <a:gd name="T43" fmla="*/ 0 h 58"/>
                  <a:gd name="T44" fmla="*/ 68 w 96"/>
                  <a:gd name="T45" fmla="*/ 2 h 58"/>
                  <a:gd name="T46" fmla="*/ 88 w 96"/>
                  <a:gd name="T47" fmla="*/ 55 h 58"/>
                  <a:gd name="T48" fmla="*/ 96 w 96"/>
                  <a:gd name="T49" fmla="*/ 54 h 58"/>
                  <a:gd name="T50" fmla="*/ 88 w 96"/>
                  <a:gd name="T51" fmla="*/ 55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96" h="58">
                    <a:moveTo>
                      <a:pt x="68" y="2"/>
                    </a:moveTo>
                    <a:cubicBezTo>
                      <a:pt x="64" y="3"/>
                      <a:pt x="54" y="2"/>
                      <a:pt x="52" y="3"/>
                    </a:cubicBezTo>
                    <a:cubicBezTo>
                      <a:pt x="51" y="4"/>
                      <a:pt x="41" y="11"/>
                      <a:pt x="40" y="14"/>
                    </a:cubicBezTo>
                    <a:cubicBezTo>
                      <a:pt x="38" y="17"/>
                      <a:pt x="36" y="17"/>
                      <a:pt x="34" y="16"/>
                    </a:cubicBezTo>
                    <a:cubicBezTo>
                      <a:pt x="32" y="14"/>
                      <a:pt x="24" y="15"/>
                      <a:pt x="23" y="14"/>
                    </a:cubicBezTo>
                    <a:cubicBezTo>
                      <a:pt x="22" y="13"/>
                      <a:pt x="16" y="13"/>
                      <a:pt x="13" y="13"/>
                    </a:cubicBezTo>
                    <a:cubicBezTo>
                      <a:pt x="10" y="14"/>
                      <a:pt x="9" y="12"/>
                      <a:pt x="7" y="12"/>
                    </a:cubicBezTo>
                    <a:cubicBezTo>
                      <a:pt x="6" y="13"/>
                      <a:pt x="4" y="14"/>
                      <a:pt x="4" y="15"/>
                    </a:cubicBezTo>
                    <a:cubicBezTo>
                      <a:pt x="3" y="16"/>
                      <a:pt x="4" y="19"/>
                      <a:pt x="4" y="19"/>
                    </a:cubicBezTo>
                    <a:cubicBezTo>
                      <a:pt x="4" y="20"/>
                      <a:pt x="2" y="20"/>
                      <a:pt x="0" y="22"/>
                    </a:cubicBezTo>
                    <a:cubicBezTo>
                      <a:pt x="1" y="23"/>
                      <a:pt x="1" y="25"/>
                      <a:pt x="1" y="26"/>
                    </a:cubicBezTo>
                    <a:cubicBezTo>
                      <a:pt x="0" y="29"/>
                      <a:pt x="1" y="36"/>
                      <a:pt x="3" y="39"/>
                    </a:cubicBezTo>
                    <a:cubicBezTo>
                      <a:pt x="6" y="43"/>
                      <a:pt x="5" y="50"/>
                      <a:pt x="6" y="51"/>
                    </a:cubicBezTo>
                    <a:cubicBezTo>
                      <a:pt x="7" y="52"/>
                      <a:pt x="17" y="52"/>
                      <a:pt x="21" y="49"/>
                    </a:cubicBezTo>
                    <a:cubicBezTo>
                      <a:pt x="25" y="47"/>
                      <a:pt x="28" y="46"/>
                      <a:pt x="31" y="46"/>
                    </a:cubicBezTo>
                    <a:cubicBezTo>
                      <a:pt x="34" y="46"/>
                      <a:pt x="39" y="43"/>
                      <a:pt x="40" y="42"/>
                    </a:cubicBezTo>
                    <a:cubicBezTo>
                      <a:pt x="41" y="40"/>
                      <a:pt x="46" y="40"/>
                      <a:pt x="48" y="41"/>
                    </a:cubicBezTo>
                    <a:cubicBezTo>
                      <a:pt x="50" y="41"/>
                      <a:pt x="52" y="39"/>
                      <a:pt x="54" y="36"/>
                    </a:cubicBezTo>
                    <a:cubicBezTo>
                      <a:pt x="56" y="34"/>
                      <a:pt x="64" y="33"/>
                      <a:pt x="71" y="31"/>
                    </a:cubicBezTo>
                    <a:cubicBezTo>
                      <a:pt x="79" y="28"/>
                      <a:pt x="77" y="25"/>
                      <a:pt x="79" y="23"/>
                    </a:cubicBezTo>
                    <a:cubicBezTo>
                      <a:pt x="80" y="21"/>
                      <a:pt x="82" y="21"/>
                      <a:pt x="86" y="20"/>
                    </a:cubicBezTo>
                    <a:cubicBezTo>
                      <a:pt x="82" y="13"/>
                      <a:pt x="78" y="4"/>
                      <a:pt x="76" y="0"/>
                    </a:cubicBezTo>
                    <a:cubicBezTo>
                      <a:pt x="72" y="1"/>
                      <a:pt x="69" y="2"/>
                      <a:pt x="68" y="2"/>
                    </a:cubicBezTo>
                    <a:close/>
                    <a:moveTo>
                      <a:pt x="88" y="55"/>
                    </a:moveTo>
                    <a:cubicBezTo>
                      <a:pt x="90" y="58"/>
                      <a:pt x="96" y="55"/>
                      <a:pt x="96" y="54"/>
                    </a:cubicBezTo>
                    <a:cubicBezTo>
                      <a:pt x="96" y="53"/>
                      <a:pt x="85" y="52"/>
                      <a:pt x="88" y="5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8" name="Freeform 156">
                <a:extLst>
                  <a:ext uri="{FF2B5EF4-FFF2-40B4-BE49-F238E27FC236}">
                    <a16:creationId xmlns:a16="http://schemas.microsoft.com/office/drawing/2014/main" id="{F2481323-97D8-4411-9DE7-007C29CB22D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771707" y="4192686"/>
                <a:ext cx="151822" cy="107906"/>
              </a:xfrm>
              <a:custGeom>
                <a:avLst/>
                <a:gdLst>
                  <a:gd name="T0" fmla="*/ 1 w 66"/>
                  <a:gd name="T1" fmla="*/ 2 h 47"/>
                  <a:gd name="T2" fmla="*/ 11 w 66"/>
                  <a:gd name="T3" fmla="*/ 13 h 47"/>
                  <a:gd name="T4" fmla="*/ 1 w 66"/>
                  <a:gd name="T5" fmla="*/ 2 h 47"/>
                  <a:gd name="T6" fmla="*/ 16 w 66"/>
                  <a:gd name="T7" fmla="*/ 12 h 47"/>
                  <a:gd name="T8" fmla="*/ 23 w 66"/>
                  <a:gd name="T9" fmla="*/ 17 h 47"/>
                  <a:gd name="T10" fmla="*/ 16 w 66"/>
                  <a:gd name="T11" fmla="*/ 12 h 47"/>
                  <a:gd name="T12" fmla="*/ 43 w 66"/>
                  <a:gd name="T13" fmla="*/ 26 h 47"/>
                  <a:gd name="T14" fmla="*/ 32 w 66"/>
                  <a:gd name="T15" fmla="*/ 20 h 47"/>
                  <a:gd name="T16" fmla="*/ 43 w 66"/>
                  <a:gd name="T17" fmla="*/ 26 h 47"/>
                  <a:gd name="T18" fmla="*/ 41 w 66"/>
                  <a:gd name="T19" fmla="*/ 34 h 47"/>
                  <a:gd name="T20" fmla="*/ 50 w 66"/>
                  <a:gd name="T21" fmla="*/ 38 h 47"/>
                  <a:gd name="T22" fmla="*/ 41 w 66"/>
                  <a:gd name="T23" fmla="*/ 34 h 47"/>
                  <a:gd name="T24" fmla="*/ 56 w 66"/>
                  <a:gd name="T25" fmla="*/ 42 h 47"/>
                  <a:gd name="T26" fmla="*/ 63 w 66"/>
                  <a:gd name="T27" fmla="*/ 45 h 47"/>
                  <a:gd name="T28" fmla="*/ 56 w 66"/>
                  <a:gd name="T29" fmla="*/ 42 h 47"/>
                  <a:gd name="T30" fmla="*/ 50 w 66"/>
                  <a:gd name="T31" fmla="*/ 26 h 47"/>
                  <a:gd name="T32" fmla="*/ 56 w 66"/>
                  <a:gd name="T33" fmla="*/ 37 h 47"/>
                  <a:gd name="T34" fmla="*/ 50 w 66"/>
                  <a:gd name="T35" fmla="*/ 26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6" h="47">
                    <a:moveTo>
                      <a:pt x="1" y="2"/>
                    </a:moveTo>
                    <a:cubicBezTo>
                      <a:pt x="0" y="4"/>
                      <a:pt x="8" y="15"/>
                      <a:pt x="11" y="13"/>
                    </a:cubicBezTo>
                    <a:cubicBezTo>
                      <a:pt x="16" y="10"/>
                      <a:pt x="1" y="0"/>
                      <a:pt x="1" y="2"/>
                    </a:cubicBezTo>
                    <a:close/>
                    <a:moveTo>
                      <a:pt x="16" y="12"/>
                    </a:moveTo>
                    <a:cubicBezTo>
                      <a:pt x="16" y="13"/>
                      <a:pt x="22" y="18"/>
                      <a:pt x="23" y="17"/>
                    </a:cubicBezTo>
                    <a:cubicBezTo>
                      <a:pt x="24" y="16"/>
                      <a:pt x="16" y="10"/>
                      <a:pt x="16" y="12"/>
                    </a:cubicBezTo>
                    <a:close/>
                    <a:moveTo>
                      <a:pt x="43" y="26"/>
                    </a:moveTo>
                    <a:cubicBezTo>
                      <a:pt x="45" y="25"/>
                      <a:pt x="32" y="18"/>
                      <a:pt x="32" y="20"/>
                    </a:cubicBezTo>
                    <a:cubicBezTo>
                      <a:pt x="31" y="22"/>
                      <a:pt x="41" y="27"/>
                      <a:pt x="43" y="26"/>
                    </a:cubicBezTo>
                    <a:close/>
                    <a:moveTo>
                      <a:pt x="41" y="34"/>
                    </a:moveTo>
                    <a:cubicBezTo>
                      <a:pt x="42" y="37"/>
                      <a:pt x="47" y="39"/>
                      <a:pt x="50" y="38"/>
                    </a:cubicBezTo>
                    <a:cubicBezTo>
                      <a:pt x="52" y="37"/>
                      <a:pt x="41" y="30"/>
                      <a:pt x="41" y="34"/>
                    </a:cubicBezTo>
                    <a:close/>
                    <a:moveTo>
                      <a:pt x="56" y="42"/>
                    </a:moveTo>
                    <a:cubicBezTo>
                      <a:pt x="56" y="42"/>
                      <a:pt x="61" y="47"/>
                      <a:pt x="63" y="45"/>
                    </a:cubicBezTo>
                    <a:cubicBezTo>
                      <a:pt x="66" y="44"/>
                      <a:pt x="55" y="40"/>
                      <a:pt x="56" y="42"/>
                    </a:cubicBezTo>
                    <a:close/>
                    <a:moveTo>
                      <a:pt x="50" y="26"/>
                    </a:moveTo>
                    <a:cubicBezTo>
                      <a:pt x="48" y="30"/>
                      <a:pt x="55" y="36"/>
                      <a:pt x="56" y="37"/>
                    </a:cubicBezTo>
                    <a:cubicBezTo>
                      <a:pt x="57" y="37"/>
                      <a:pt x="51" y="23"/>
                      <a:pt x="50" y="26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9" name="Freeform 157">
                <a:extLst>
                  <a:ext uri="{FF2B5EF4-FFF2-40B4-BE49-F238E27FC236}">
                    <a16:creationId xmlns:a16="http://schemas.microsoft.com/office/drawing/2014/main" id="{EDDB3AE5-B541-4FE0-BC29-FB5475E5724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771707" y="4192686"/>
                <a:ext cx="151822" cy="107906"/>
              </a:xfrm>
              <a:custGeom>
                <a:avLst/>
                <a:gdLst>
                  <a:gd name="T0" fmla="*/ 1 w 66"/>
                  <a:gd name="T1" fmla="*/ 2 h 47"/>
                  <a:gd name="T2" fmla="*/ 11 w 66"/>
                  <a:gd name="T3" fmla="*/ 13 h 47"/>
                  <a:gd name="T4" fmla="*/ 1 w 66"/>
                  <a:gd name="T5" fmla="*/ 2 h 47"/>
                  <a:gd name="T6" fmla="*/ 16 w 66"/>
                  <a:gd name="T7" fmla="*/ 12 h 47"/>
                  <a:gd name="T8" fmla="*/ 23 w 66"/>
                  <a:gd name="T9" fmla="*/ 17 h 47"/>
                  <a:gd name="T10" fmla="*/ 16 w 66"/>
                  <a:gd name="T11" fmla="*/ 12 h 47"/>
                  <a:gd name="T12" fmla="*/ 43 w 66"/>
                  <a:gd name="T13" fmla="*/ 26 h 47"/>
                  <a:gd name="T14" fmla="*/ 32 w 66"/>
                  <a:gd name="T15" fmla="*/ 20 h 47"/>
                  <a:gd name="T16" fmla="*/ 43 w 66"/>
                  <a:gd name="T17" fmla="*/ 26 h 47"/>
                  <a:gd name="T18" fmla="*/ 41 w 66"/>
                  <a:gd name="T19" fmla="*/ 34 h 47"/>
                  <a:gd name="T20" fmla="*/ 50 w 66"/>
                  <a:gd name="T21" fmla="*/ 38 h 47"/>
                  <a:gd name="T22" fmla="*/ 41 w 66"/>
                  <a:gd name="T23" fmla="*/ 34 h 47"/>
                  <a:gd name="T24" fmla="*/ 56 w 66"/>
                  <a:gd name="T25" fmla="*/ 42 h 47"/>
                  <a:gd name="T26" fmla="*/ 63 w 66"/>
                  <a:gd name="T27" fmla="*/ 45 h 47"/>
                  <a:gd name="T28" fmla="*/ 56 w 66"/>
                  <a:gd name="T29" fmla="*/ 42 h 47"/>
                  <a:gd name="T30" fmla="*/ 50 w 66"/>
                  <a:gd name="T31" fmla="*/ 26 h 47"/>
                  <a:gd name="T32" fmla="*/ 56 w 66"/>
                  <a:gd name="T33" fmla="*/ 37 h 47"/>
                  <a:gd name="T34" fmla="*/ 50 w 66"/>
                  <a:gd name="T35" fmla="*/ 26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6" h="47">
                    <a:moveTo>
                      <a:pt x="1" y="2"/>
                    </a:moveTo>
                    <a:cubicBezTo>
                      <a:pt x="0" y="4"/>
                      <a:pt x="8" y="15"/>
                      <a:pt x="11" y="13"/>
                    </a:cubicBezTo>
                    <a:cubicBezTo>
                      <a:pt x="16" y="10"/>
                      <a:pt x="1" y="0"/>
                      <a:pt x="1" y="2"/>
                    </a:cubicBezTo>
                    <a:close/>
                    <a:moveTo>
                      <a:pt x="16" y="12"/>
                    </a:moveTo>
                    <a:cubicBezTo>
                      <a:pt x="16" y="13"/>
                      <a:pt x="22" y="18"/>
                      <a:pt x="23" y="17"/>
                    </a:cubicBezTo>
                    <a:cubicBezTo>
                      <a:pt x="24" y="16"/>
                      <a:pt x="16" y="10"/>
                      <a:pt x="16" y="12"/>
                    </a:cubicBezTo>
                    <a:close/>
                    <a:moveTo>
                      <a:pt x="43" y="26"/>
                    </a:moveTo>
                    <a:cubicBezTo>
                      <a:pt x="45" y="25"/>
                      <a:pt x="32" y="18"/>
                      <a:pt x="32" y="20"/>
                    </a:cubicBezTo>
                    <a:cubicBezTo>
                      <a:pt x="31" y="22"/>
                      <a:pt x="41" y="27"/>
                      <a:pt x="43" y="26"/>
                    </a:cubicBezTo>
                    <a:close/>
                    <a:moveTo>
                      <a:pt x="41" y="34"/>
                    </a:moveTo>
                    <a:cubicBezTo>
                      <a:pt x="42" y="37"/>
                      <a:pt x="47" y="39"/>
                      <a:pt x="50" y="38"/>
                    </a:cubicBezTo>
                    <a:cubicBezTo>
                      <a:pt x="52" y="37"/>
                      <a:pt x="41" y="30"/>
                      <a:pt x="41" y="34"/>
                    </a:cubicBezTo>
                    <a:close/>
                    <a:moveTo>
                      <a:pt x="56" y="42"/>
                    </a:moveTo>
                    <a:cubicBezTo>
                      <a:pt x="56" y="42"/>
                      <a:pt x="61" y="47"/>
                      <a:pt x="63" y="45"/>
                    </a:cubicBezTo>
                    <a:cubicBezTo>
                      <a:pt x="66" y="44"/>
                      <a:pt x="55" y="40"/>
                      <a:pt x="56" y="42"/>
                    </a:cubicBezTo>
                    <a:close/>
                    <a:moveTo>
                      <a:pt x="50" y="26"/>
                    </a:moveTo>
                    <a:cubicBezTo>
                      <a:pt x="48" y="30"/>
                      <a:pt x="55" y="36"/>
                      <a:pt x="56" y="37"/>
                    </a:cubicBezTo>
                    <a:cubicBezTo>
                      <a:pt x="57" y="37"/>
                      <a:pt x="51" y="23"/>
                      <a:pt x="50" y="26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0" name="Freeform 159">
                <a:extLst>
                  <a:ext uri="{FF2B5EF4-FFF2-40B4-BE49-F238E27FC236}">
                    <a16:creationId xmlns:a16="http://schemas.microsoft.com/office/drawing/2014/main" id="{5773DC10-43AA-4B18-8A1A-8CCFF8DE3F8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988774" y="4773623"/>
                <a:ext cx="232124" cy="276040"/>
              </a:xfrm>
              <a:custGeom>
                <a:avLst/>
                <a:gdLst>
                  <a:gd name="T0" fmla="*/ 62 w 101"/>
                  <a:gd name="T1" fmla="*/ 58 h 120"/>
                  <a:gd name="T2" fmla="*/ 56 w 101"/>
                  <a:gd name="T3" fmla="*/ 60 h 120"/>
                  <a:gd name="T4" fmla="*/ 48 w 101"/>
                  <a:gd name="T5" fmla="*/ 56 h 120"/>
                  <a:gd name="T6" fmla="*/ 44 w 101"/>
                  <a:gd name="T7" fmla="*/ 63 h 120"/>
                  <a:gd name="T8" fmla="*/ 37 w 101"/>
                  <a:gd name="T9" fmla="*/ 75 h 120"/>
                  <a:gd name="T10" fmla="*/ 15 w 101"/>
                  <a:gd name="T11" fmla="*/ 89 h 120"/>
                  <a:gd name="T12" fmla="*/ 5 w 101"/>
                  <a:gd name="T13" fmla="*/ 99 h 120"/>
                  <a:gd name="T14" fmla="*/ 3 w 101"/>
                  <a:gd name="T15" fmla="*/ 108 h 120"/>
                  <a:gd name="T16" fmla="*/ 10 w 101"/>
                  <a:gd name="T17" fmla="*/ 111 h 120"/>
                  <a:gd name="T18" fmla="*/ 16 w 101"/>
                  <a:gd name="T19" fmla="*/ 113 h 120"/>
                  <a:gd name="T20" fmla="*/ 31 w 101"/>
                  <a:gd name="T21" fmla="*/ 110 h 120"/>
                  <a:gd name="T22" fmla="*/ 36 w 101"/>
                  <a:gd name="T23" fmla="*/ 100 h 120"/>
                  <a:gd name="T24" fmla="*/ 40 w 101"/>
                  <a:gd name="T25" fmla="*/ 92 h 120"/>
                  <a:gd name="T26" fmla="*/ 49 w 101"/>
                  <a:gd name="T27" fmla="*/ 87 h 120"/>
                  <a:gd name="T28" fmla="*/ 52 w 101"/>
                  <a:gd name="T29" fmla="*/ 82 h 120"/>
                  <a:gd name="T30" fmla="*/ 57 w 101"/>
                  <a:gd name="T31" fmla="*/ 75 h 120"/>
                  <a:gd name="T32" fmla="*/ 64 w 101"/>
                  <a:gd name="T33" fmla="*/ 64 h 120"/>
                  <a:gd name="T34" fmla="*/ 62 w 101"/>
                  <a:gd name="T35" fmla="*/ 58 h 120"/>
                  <a:gd name="T36" fmla="*/ 11 w 101"/>
                  <a:gd name="T37" fmla="*/ 119 h 120"/>
                  <a:gd name="T38" fmla="*/ 14 w 101"/>
                  <a:gd name="T39" fmla="*/ 116 h 120"/>
                  <a:gd name="T40" fmla="*/ 11 w 101"/>
                  <a:gd name="T41" fmla="*/ 119 h 120"/>
                  <a:gd name="T42" fmla="*/ 92 w 101"/>
                  <a:gd name="T43" fmla="*/ 29 h 120"/>
                  <a:gd name="T44" fmla="*/ 84 w 101"/>
                  <a:gd name="T45" fmla="*/ 28 h 120"/>
                  <a:gd name="T46" fmla="*/ 79 w 101"/>
                  <a:gd name="T47" fmla="*/ 23 h 120"/>
                  <a:gd name="T48" fmla="*/ 75 w 101"/>
                  <a:gd name="T49" fmla="*/ 17 h 120"/>
                  <a:gd name="T50" fmla="*/ 75 w 101"/>
                  <a:gd name="T51" fmla="*/ 21 h 120"/>
                  <a:gd name="T52" fmla="*/ 72 w 101"/>
                  <a:gd name="T53" fmla="*/ 20 h 120"/>
                  <a:gd name="T54" fmla="*/ 69 w 101"/>
                  <a:gd name="T55" fmla="*/ 14 h 120"/>
                  <a:gd name="T56" fmla="*/ 66 w 101"/>
                  <a:gd name="T57" fmla="*/ 7 h 120"/>
                  <a:gd name="T58" fmla="*/ 56 w 101"/>
                  <a:gd name="T59" fmla="*/ 0 h 120"/>
                  <a:gd name="T60" fmla="*/ 58 w 101"/>
                  <a:gd name="T61" fmla="*/ 8 h 120"/>
                  <a:gd name="T62" fmla="*/ 64 w 101"/>
                  <a:gd name="T63" fmla="*/ 14 h 120"/>
                  <a:gd name="T64" fmla="*/ 69 w 101"/>
                  <a:gd name="T65" fmla="*/ 20 h 120"/>
                  <a:gd name="T66" fmla="*/ 67 w 101"/>
                  <a:gd name="T67" fmla="*/ 32 h 120"/>
                  <a:gd name="T68" fmla="*/ 61 w 101"/>
                  <a:gd name="T69" fmla="*/ 40 h 120"/>
                  <a:gd name="T70" fmla="*/ 72 w 101"/>
                  <a:gd name="T71" fmla="*/ 49 h 120"/>
                  <a:gd name="T72" fmla="*/ 69 w 101"/>
                  <a:gd name="T73" fmla="*/ 62 h 120"/>
                  <a:gd name="T74" fmla="*/ 77 w 101"/>
                  <a:gd name="T75" fmla="*/ 63 h 120"/>
                  <a:gd name="T76" fmla="*/ 85 w 101"/>
                  <a:gd name="T77" fmla="*/ 51 h 120"/>
                  <a:gd name="T78" fmla="*/ 88 w 101"/>
                  <a:gd name="T79" fmla="*/ 42 h 120"/>
                  <a:gd name="T80" fmla="*/ 93 w 101"/>
                  <a:gd name="T81" fmla="*/ 40 h 120"/>
                  <a:gd name="T82" fmla="*/ 97 w 101"/>
                  <a:gd name="T83" fmla="*/ 36 h 120"/>
                  <a:gd name="T84" fmla="*/ 99 w 101"/>
                  <a:gd name="T85" fmla="*/ 29 h 120"/>
                  <a:gd name="T86" fmla="*/ 92 w 101"/>
                  <a:gd name="T87" fmla="*/ 29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01" h="120">
                    <a:moveTo>
                      <a:pt x="62" y="58"/>
                    </a:moveTo>
                    <a:cubicBezTo>
                      <a:pt x="60" y="56"/>
                      <a:pt x="59" y="58"/>
                      <a:pt x="56" y="60"/>
                    </a:cubicBezTo>
                    <a:cubicBezTo>
                      <a:pt x="53" y="61"/>
                      <a:pt x="52" y="54"/>
                      <a:pt x="48" y="56"/>
                    </a:cubicBezTo>
                    <a:cubicBezTo>
                      <a:pt x="45" y="59"/>
                      <a:pt x="48" y="60"/>
                      <a:pt x="44" y="63"/>
                    </a:cubicBezTo>
                    <a:cubicBezTo>
                      <a:pt x="40" y="67"/>
                      <a:pt x="42" y="68"/>
                      <a:pt x="37" y="75"/>
                    </a:cubicBezTo>
                    <a:cubicBezTo>
                      <a:pt x="33" y="82"/>
                      <a:pt x="18" y="85"/>
                      <a:pt x="15" y="89"/>
                    </a:cubicBezTo>
                    <a:cubicBezTo>
                      <a:pt x="13" y="93"/>
                      <a:pt x="5" y="96"/>
                      <a:pt x="5" y="99"/>
                    </a:cubicBezTo>
                    <a:cubicBezTo>
                      <a:pt x="5" y="102"/>
                      <a:pt x="0" y="104"/>
                      <a:pt x="3" y="108"/>
                    </a:cubicBezTo>
                    <a:cubicBezTo>
                      <a:pt x="5" y="111"/>
                      <a:pt x="8" y="108"/>
                      <a:pt x="10" y="111"/>
                    </a:cubicBezTo>
                    <a:cubicBezTo>
                      <a:pt x="13" y="113"/>
                      <a:pt x="15" y="111"/>
                      <a:pt x="16" y="113"/>
                    </a:cubicBezTo>
                    <a:cubicBezTo>
                      <a:pt x="17" y="115"/>
                      <a:pt x="25" y="115"/>
                      <a:pt x="31" y="110"/>
                    </a:cubicBezTo>
                    <a:cubicBezTo>
                      <a:pt x="37" y="104"/>
                      <a:pt x="34" y="102"/>
                      <a:pt x="36" y="100"/>
                    </a:cubicBezTo>
                    <a:cubicBezTo>
                      <a:pt x="39" y="99"/>
                      <a:pt x="39" y="95"/>
                      <a:pt x="40" y="92"/>
                    </a:cubicBezTo>
                    <a:cubicBezTo>
                      <a:pt x="42" y="89"/>
                      <a:pt x="43" y="87"/>
                      <a:pt x="49" y="87"/>
                    </a:cubicBezTo>
                    <a:cubicBezTo>
                      <a:pt x="56" y="87"/>
                      <a:pt x="52" y="85"/>
                      <a:pt x="52" y="82"/>
                    </a:cubicBezTo>
                    <a:cubicBezTo>
                      <a:pt x="52" y="79"/>
                      <a:pt x="57" y="79"/>
                      <a:pt x="57" y="75"/>
                    </a:cubicBezTo>
                    <a:cubicBezTo>
                      <a:pt x="57" y="71"/>
                      <a:pt x="65" y="67"/>
                      <a:pt x="64" y="64"/>
                    </a:cubicBezTo>
                    <a:cubicBezTo>
                      <a:pt x="62" y="61"/>
                      <a:pt x="65" y="59"/>
                      <a:pt x="62" y="58"/>
                    </a:cubicBezTo>
                    <a:close/>
                    <a:moveTo>
                      <a:pt x="11" y="119"/>
                    </a:moveTo>
                    <a:cubicBezTo>
                      <a:pt x="12" y="120"/>
                      <a:pt x="16" y="118"/>
                      <a:pt x="14" y="116"/>
                    </a:cubicBezTo>
                    <a:cubicBezTo>
                      <a:pt x="12" y="113"/>
                      <a:pt x="8" y="118"/>
                      <a:pt x="11" y="119"/>
                    </a:cubicBezTo>
                    <a:close/>
                    <a:moveTo>
                      <a:pt x="92" y="29"/>
                    </a:moveTo>
                    <a:cubicBezTo>
                      <a:pt x="90" y="32"/>
                      <a:pt x="87" y="28"/>
                      <a:pt x="84" y="28"/>
                    </a:cubicBezTo>
                    <a:cubicBezTo>
                      <a:pt x="81" y="28"/>
                      <a:pt x="79" y="26"/>
                      <a:pt x="79" y="23"/>
                    </a:cubicBezTo>
                    <a:cubicBezTo>
                      <a:pt x="79" y="21"/>
                      <a:pt x="78" y="17"/>
                      <a:pt x="75" y="17"/>
                    </a:cubicBezTo>
                    <a:cubicBezTo>
                      <a:pt x="72" y="17"/>
                      <a:pt x="76" y="20"/>
                      <a:pt x="75" y="21"/>
                    </a:cubicBezTo>
                    <a:cubicBezTo>
                      <a:pt x="74" y="23"/>
                      <a:pt x="73" y="20"/>
                      <a:pt x="72" y="20"/>
                    </a:cubicBezTo>
                    <a:cubicBezTo>
                      <a:pt x="70" y="20"/>
                      <a:pt x="69" y="18"/>
                      <a:pt x="69" y="14"/>
                    </a:cubicBezTo>
                    <a:cubicBezTo>
                      <a:pt x="69" y="11"/>
                      <a:pt x="66" y="11"/>
                      <a:pt x="66" y="7"/>
                    </a:cubicBezTo>
                    <a:cubicBezTo>
                      <a:pt x="66" y="3"/>
                      <a:pt x="59" y="0"/>
                      <a:pt x="56" y="0"/>
                    </a:cubicBezTo>
                    <a:cubicBezTo>
                      <a:pt x="52" y="0"/>
                      <a:pt x="57" y="6"/>
                      <a:pt x="58" y="8"/>
                    </a:cubicBezTo>
                    <a:cubicBezTo>
                      <a:pt x="60" y="10"/>
                      <a:pt x="64" y="12"/>
                      <a:pt x="64" y="14"/>
                    </a:cubicBezTo>
                    <a:cubicBezTo>
                      <a:pt x="64" y="16"/>
                      <a:pt x="67" y="20"/>
                      <a:pt x="69" y="20"/>
                    </a:cubicBezTo>
                    <a:cubicBezTo>
                      <a:pt x="71" y="21"/>
                      <a:pt x="67" y="27"/>
                      <a:pt x="67" y="32"/>
                    </a:cubicBezTo>
                    <a:cubicBezTo>
                      <a:pt x="67" y="37"/>
                      <a:pt x="64" y="36"/>
                      <a:pt x="61" y="40"/>
                    </a:cubicBezTo>
                    <a:cubicBezTo>
                      <a:pt x="58" y="43"/>
                      <a:pt x="68" y="46"/>
                      <a:pt x="72" y="49"/>
                    </a:cubicBezTo>
                    <a:cubicBezTo>
                      <a:pt x="75" y="52"/>
                      <a:pt x="68" y="60"/>
                      <a:pt x="69" y="62"/>
                    </a:cubicBezTo>
                    <a:cubicBezTo>
                      <a:pt x="70" y="63"/>
                      <a:pt x="72" y="64"/>
                      <a:pt x="77" y="63"/>
                    </a:cubicBezTo>
                    <a:cubicBezTo>
                      <a:pt x="81" y="62"/>
                      <a:pt x="83" y="53"/>
                      <a:pt x="85" y="51"/>
                    </a:cubicBezTo>
                    <a:cubicBezTo>
                      <a:pt x="88" y="48"/>
                      <a:pt x="87" y="44"/>
                      <a:pt x="88" y="42"/>
                    </a:cubicBezTo>
                    <a:cubicBezTo>
                      <a:pt x="89" y="40"/>
                      <a:pt x="91" y="40"/>
                      <a:pt x="93" y="40"/>
                    </a:cubicBezTo>
                    <a:cubicBezTo>
                      <a:pt x="95" y="40"/>
                      <a:pt x="94" y="36"/>
                      <a:pt x="97" y="36"/>
                    </a:cubicBezTo>
                    <a:cubicBezTo>
                      <a:pt x="99" y="36"/>
                      <a:pt x="98" y="32"/>
                      <a:pt x="99" y="29"/>
                    </a:cubicBezTo>
                    <a:cubicBezTo>
                      <a:pt x="101" y="25"/>
                      <a:pt x="93" y="26"/>
                      <a:pt x="92" y="2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1" name="Freeform 160">
                <a:extLst>
                  <a:ext uri="{FF2B5EF4-FFF2-40B4-BE49-F238E27FC236}">
                    <a16:creationId xmlns:a16="http://schemas.microsoft.com/office/drawing/2014/main" id="{191D217B-7D0B-4A62-B1E3-A464529EB3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90872" y="3237839"/>
                <a:ext cx="264747" cy="168133"/>
              </a:xfrm>
              <a:custGeom>
                <a:avLst/>
                <a:gdLst>
                  <a:gd name="T0" fmla="*/ 115 w 115"/>
                  <a:gd name="T1" fmla="*/ 46 h 73"/>
                  <a:gd name="T2" fmla="*/ 108 w 115"/>
                  <a:gd name="T3" fmla="*/ 43 h 73"/>
                  <a:gd name="T4" fmla="*/ 99 w 115"/>
                  <a:gd name="T5" fmla="*/ 38 h 73"/>
                  <a:gd name="T6" fmla="*/ 90 w 115"/>
                  <a:gd name="T7" fmla="*/ 32 h 73"/>
                  <a:gd name="T8" fmla="*/ 82 w 115"/>
                  <a:gd name="T9" fmla="*/ 27 h 73"/>
                  <a:gd name="T10" fmla="*/ 78 w 115"/>
                  <a:gd name="T11" fmla="*/ 20 h 73"/>
                  <a:gd name="T12" fmla="*/ 75 w 115"/>
                  <a:gd name="T13" fmla="*/ 15 h 73"/>
                  <a:gd name="T14" fmla="*/ 63 w 115"/>
                  <a:gd name="T15" fmla="*/ 13 h 73"/>
                  <a:gd name="T16" fmla="*/ 60 w 115"/>
                  <a:gd name="T17" fmla="*/ 5 h 73"/>
                  <a:gd name="T18" fmla="*/ 54 w 115"/>
                  <a:gd name="T19" fmla="*/ 3 h 73"/>
                  <a:gd name="T20" fmla="*/ 48 w 115"/>
                  <a:gd name="T21" fmla="*/ 1 h 73"/>
                  <a:gd name="T22" fmla="*/ 45 w 115"/>
                  <a:gd name="T23" fmla="*/ 3 h 73"/>
                  <a:gd name="T24" fmla="*/ 42 w 115"/>
                  <a:gd name="T25" fmla="*/ 6 h 73"/>
                  <a:gd name="T26" fmla="*/ 36 w 115"/>
                  <a:gd name="T27" fmla="*/ 10 h 73"/>
                  <a:gd name="T28" fmla="*/ 34 w 115"/>
                  <a:gd name="T29" fmla="*/ 14 h 73"/>
                  <a:gd name="T30" fmla="*/ 28 w 115"/>
                  <a:gd name="T31" fmla="*/ 13 h 73"/>
                  <a:gd name="T32" fmla="*/ 22 w 115"/>
                  <a:gd name="T33" fmla="*/ 11 h 73"/>
                  <a:gd name="T34" fmla="*/ 12 w 115"/>
                  <a:gd name="T35" fmla="*/ 4 h 73"/>
                  <a:gd name="T36" fmla="*/ 4 w 115"/>
                  <a:gd name="T37" fmla="*/ 8 h 73"/>
                  <a:gd name="T38" fmla="*/ 8 w 115"/>
                  <a:gd name="T39" fmla="*/ 7 h 73"/>
                  <a:gd name="T40" fmla="*/ 14 w 115"/>
                  <a:gd name="T41" fmla="*/ 14 h 73"/>
                  <a:gd name="T42" fmla="*/ 18 w 115"/>
                  <a:gd name="T43" fmla="*/ 19 h 73"/>
                  <a:gd name="T44" fmla="*/ 10 w 115"/>
                  <a:gd name="T45" fmla="*/ 20 h 73"/>
                  <a:gd name="T46" fmla="*/ 2 w 115"/>
                  <a:gd name="T47" fmla="*/ 20 h 73"/>
                  <a:gd name="T48" fmla="*/ 4 w 115"/>
                  <a:gd name="T49" fmla="*/ 27 h 73"/>
                  <a:gd name="T50" fmla="*/ 5 w 115"/>
                  <a:gd name="T51" fmla="*/ 32 h 73"/>
                  <a:gd name="T52" fmla="*/ 9 w 115"/>
                  <a:gd name="T53" fmla="*/ 34 h 73"/>
                  <a:gd name="T54" fmla="*/ 11 w 115"/>
                  <a:gd name="T55" fmla="*/ 40 h 73"/>
                  <a:gd name="T56" fmla="*/ 11 w 115"/>
                  <a:gd name="T57" fmla="*/ 51 h 73"/>
                  <a:gd name="T58" fmla="*/ 17 w 115"/>
                  <a:gd name="T59" fmla="*/ 50 h 73"/>
                  <a:gd name="T60" fmla="*/ 25 w 115"/>
                  <a:gd name="T61" fmla="*/ 45 h 73"/>
                  <a:gd name="T62" fmla="*/ 30 w 115"/>
                  <a:gd name="T63" fmla="*/ 44 h 73"/>
                  <a:gd name="T64" fmla="*/ 40 w 115"/>
                  <a:gd name="T65" fmla="*/ 44 h 73"/>
                  <a:gd name="T66" fmla="*/ 45 w 115"/>
                  <a:gd name="T67" fmla="*/ 47 h 73"/>
                  <a:gd name="T68" fmla="*/ 49 w 115"/>
                  <a:gd name="T69" fmla="*/ 49 h 73"/>
                  <a:gd name="T70" fmla="*/ 56 w 115"/>
                  <a:gd name="T71" fmla="*/ 51 h 73"/>
                  <a:gd name="T72" fmla="*/ 60 w 115"/>
                  <a:gd name="T73" fmla="*/ 54 h 73"/>
                  <a:gd name="T74" fmla="*/ 65 w 115"/>
                  <a:gd name="T75" fmla="*/ 58 h 73"/>
                  <a:gd name="T76" fmla="*/ 71 w 115"/>
                  <a:gd name="T77" fmla="*/ 59 h 73"/>
                  <a:gd name="T78" fmla="*/ 72 w 115"/>
                  <a:gd name="T79" fmla="*/ 69 h 73"/>
                  <a:gd name="T80" fmla="*/ 74 w 115"/>
                  <a:gd name="T81" fmla="*/ 69 h 73"/>
                  <a:gd name="T82" fmla="*/ 80 w 115"/>
                  <a:gd name="T83" fmla="*/ 71 h 73"/>
                  <a:gd name="T84" fmla="*/ 87 w 115"/>
                  <a:gd name="T85" fmla="*/ 68 h 73"/>
                  <a:gd name="T86" fmla="*/ 98 w 115"/>
                  <a:gd name="T87" fmla="*/ 61 h 73"/>
                  <a:gd name="T88" fmla="*/ 103 w 115"/>
                  <a:gd name="T89" fmla="*/ 53 h 73"/>
                  <a:gd name="T90" fmla="*/ 109 w 115"/>
                  <a:gd name="T91" fmla="*/ 50 h 73"/>
                  <a:gd name="T92" fmla="*/ 115 w 115"/>
                  <a:gd name="T93" fmla="*/ 51 h 73"/>
                  <a:gd name="T94" fmla="*/ 115 w 115"/>
                  <a:gd name="T95" fmla="*/ 46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15" h="73">
                    <a:moveTo>
                      <a:pt x="115" y="46"/>
                    </a:moveTo>
                    <a:cubicBezTo>
                      <a:pt x="115" y="46"/>
                      <a:pt x="109" y="43"/>
                      <a:pt x="108" y="43"/>
                    </a:cubicBezTo>
                    <a:cubicBezTo>
                      <a:pt x="106" y="44"/>
                      <a:pt x="103" y="39"/>
                      <a:pt x="99" y="38"/>
                    </a:cubicBezTo>
                    <a:cubicBezTo>
                      <a:pt x="96" y="37"/>
                      <a:pt x="91" y="35"/>
                      <a:pt x="90" y="32"/>
                    </a:cubicBezTo>
                    <a:cubicBezTo>
                      <a:pt x="89" y="30"/>
                      <a:pt x="83" y="28"/>
                      <a:pt x="82" y="27"/>
                    </a:cubicBezTo>
                    <a:cubicBezTo>
                      <a:pt x="81" y="25"/>
                      <a:pt x="80" y="22"/>
                      <a:pt x="78" y="20"/>
                    </a:cubicBezTo>
                    <a:cubicBezTo>
                      <a:pt x="77" y="18"/>
                      <a:pt x="77" y="15"/>
                      <a:pt x="75" y="15"/>
                    </a:cubicBezTo>
                    <a:cubicBezTo>
                      <a:pt x="73" y="14"/>
                      <a:pt x="63" y="15"/>
                      <a:pt x="63" y="13"/>
                    </a:cubicBezTo>
                    <a:cubicBezTo>
                      <a:pt x="63" y="12"/>
                      <a:pt x="62" y="5"/>
                      <a:pt x="60" y="5"/>
                    </a:cubicBezTo>
                    <a:cubicBezTo>
                      <a:pt x="58" y="4"/>
                      <a:pt x="55" y="4"/>
                      <a:pt x="54" y="3"/>
                    </a:cubicBezTo>
                    <a:cubicBezTo>
                      <a:pt x="53" y="1"/>
                      <a:pt x="49" y="0"/>
                      <a:pt x="48" y="1"/>
                    </a:cubicBezTo>
                    <a:cubicBezTo>
                      <a:pt x="48" y="2"/>
                      <a:pt x="46" y="3"/>
                      <a:pt x="45" y="3"/>
                    </a:cubicBezTo>
                    <a:cubicBezTo>
                      <a:pt x="44" y="3"/>
                      <a:pt x="45" y="6"/>
                      <a:pt x="42" y="6"/>
                    </a:cubicBezTo>
                    <a:cubicBezTo>
                      <a:pt x="40" y="6"/>
                      <a:pt x="36" y="8"/>
                      <a:pt x="36" y="10"/>
                    </a:cubicBezTo>
                    <a:cubicBezTo>
                      <a:pt x="36" y="12"/>
                      <a:pt x="37" y="14"/>
                      <a:pt x="34" y="14"/>
                    </a:cubicBezTo>
                    <a:cubicBezTo>
                      <a:pt x="32" y="14"/>
                      <a:pt x="30" y="14"/>
                      <a:pt x="28" y="13"/>
                    </a:cubicBezTo>
                    <a:cubicBezTo>
                      <a:pt x="27" y="13"/>
                      <a:pt x="25" y="15"/>
                      <a:pt x="22" y="11"/>
                    </a:cubicBezTo>
                    <a:cubicBezTo>
                      <a:pt x="19" y="7"/>
                      <a:pt x="15" y="4"/>
                      <a:pt x="12" y="4"/>
                    </a:cubicBezTo>
                    <a:cubicBezTo>
                      <a:pt x="10" y="4"/>
                      <a:pt x="2" y="4"/>
                      <a:pt x="4" y="8"/>
                    </a:cubicBezTo>
                    <a:cubicBezTo>
                      <a:pt x="5" y="7"/>
                      <a:pt x="6" y="6"/>
                      <a:pt x="8" y="7"/>
                    </a:cubicBezTo>
                    <a:cubicBezTo>
                      <a:pt x="14" y="7"/>
                      <a:pt x="11" y="14"/>
                      <a:pt x="14" y="14"/>
                    </a:cubicBezTo>
                    <a:cubicBezTo>
                      <a:pt x="17" y="14"/>
                      <a:pt x="21" y="19"/>
                      <a:pt x="18" y="19"/>
                    </a:cubicBezTo>
                    <a:cubicBezTo>
                      <a:pt x="15" y="18"/>
                      <a:pt x="13" y="21"/>
                      <a:pt x="10" y="20"/>
                    </a:cubicBezTo>
                    <a:cubicBezTo>
                      <a:pt x="7" y="19"/>
                      <a:pt x="3" y="17"/>
                      <a:pt x="2" y="20"/>
                    </a:cubicBezTo>
                    <a:cubicBezTo>
                      <a:pt x="1" y="24"/>
                      <a:pt x="0" y="27"/>
                      <a:pt x="4" y="27"/>
                    </a:cubicBezTo>
                    <a:cubicBezTo>
                      <a:pt x="8" y="27"/>
                      <a:pt x="7" y="29"/>
                      <a:pt x="5" y="32"/>
                    </a:cubicBezTo>
                    <a:cubicBezTo>
                      <a:pt x="2" y="35"/>
                      <a:pt x="9" y="32"/>
                      <a:pt x="9" y="34"/>
                    </a:cubicBezTo>
                    <a:cubicBezTo>
                      <a:pt x="10" y="36"/>
                      <a:pt x="12" y="37"/>
                      <a:pt x="11" y="40"/>
                    </a:cubicBezTo>
                    <a:cubicBezTo>
                      <a:pt x="10" y="43"/>
                      <a:pt x="11" y="48"/>
                      <a:pt x="11" y="51"/>
                    </a:cubicBezTo>
                    <a:cubicBezTo>
                      <a:pt x="13" y="51"/>
                      <a:pt x="17" y="51"/>
                      <a:pt x="17" y="50"/>
                    </a:cubicBezTo>
                    <a:cubicBezTo>
                      <a:pt x="19" y="48"/>
                      <a:pt x="22" y="45"/>
                      <a:pt x="25" y="45"/>
                    </a:cubicBezTo>
                    <a:cubicBezTo>
                      <a:pt x="27" y="45"/>
                      <a:pt x="29" y="46"/>
                      <a:pt x="30" y="44"/>
                    </a:cubicBezTo>
                    <a:cubicBezTo>
                      <a:pt x="31" y="42"/>
                      <a:pt x="38" y="43"/>
                      <a:pt x="40" y="44"/>
                    </a:cubicBezTo>
                    <a:cubicBezTo>
                      <a:pt x="41" y="46"/>
                      <a:pt x="45" y="47"/>
                      <a:pt x="45" y="47"/>
                    </a:cubicBezTo>
                    <a:cubicBezTo>
                      <a:pt x="46" y="47"/>
                      <a:pt x="47" y="49"/>
                      <a:pt x="49" y="49"/>
                    </a:cubicBezTo>
                    <a:cubicBezTo>
                      <a:pt x="52" y="49"/>
                      <a:pt x="56" y="50"/>
                      <a:pt x="56" y="51"/>
                    </a:cubicBezTo>
                    <a:cubicBezTo>
                      <a:pt x="56" y="52"/>
                      <a:pt x="58" y="54"/>
                      <a:pt x="60" y="54"/>
                    </a:cubicBezTo>
                    <a:cubicBezTo>
                      <a:pt x="62" y="54"/>
                      <a:pt x="63" y="59"/>
                      <a:pt x="65" y="58"/>
                    </a:cubicBezTo>
                    <a:cubicBezTo>
                      <a:pt x="67" y="58"/>
                      <a:pt x="71" y="58"/>
                      <a:pt x="71" y="59"/>
                    </a:cubicBezTo>
                    <a:cubicBezTo>
                      <a:pt x="71" y="60"/>
                      <a:pt x="71" y="66"/>
                      <a:pt x="72" y="69"/>
                    </a:cubicBezTo>
                    <a:cubicBezTo>
                      <a:pt x="73" y="69"/>
                      <a:pt x="74" y="69"/>
                      <a:pt x="74" y="69"/>
                    </a:cubicBezTo>
                    <a:cubicBezTo>
                      <a:pt x="75" y="70"/>
                      <a:pt x="79" y="68"/>
                      <a:pt x="80" y="71"/>
                    </a:cubicBezTo>
                    <a:cubicBezTo>
                      <a:pt x="80" y="73"/>
                      <a:pt x="87" y="72"/>
                      <a:pt x="87" y="68"/>
                    </a:cubicBezTo>
                    <a:cubicBezTo>
                      <a:pt x="86" y="65"/>
                      <a:pt x="97" y="65"/>
                      <a:pt x="98" y="61"/>
                    </a:cubicBezTo>
                    <a:cubicBezTo>
                      <a:pt x="99" y="58"/>
                      <a:pt x="100" y="53"/>
                      <a:pt x="103" y="53"/>
                    </a:cubicBezTo>
                    <a:cubicBezTo>
                      <a:pt x="106" y="54"/>
                      <a:pt x="107" y="49"/>
                      <a:pt x="109" y="50"/>
                    </a:cubicBezTo>
                    <a:cubicBezTo>
                      <a:pt x="111" y="50"/>
                      <a:pt x="113" y="52"/>
                      <a:pt x="115" y="51"/>
                    </a:cubicBezTo>
                    <a:lnTo>
                      <a:pt x="115" y="46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2" name="Freeform 161">
                <a:extLst>
                  <a:ext uri="{FF2B5EF4-FFF2-40B4-BE49-F238E27FC236}">
                    <a16:creationId xmlns:a16="http://schemas.microsoft.com/office/drawing/2014/main" id="{E2A4B97E-0099-4391-9A1E-8C27443624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30267" y="3298066"/>
                <a:ext cx="366380" cy="311172"/>
              </a:xfrm>
              <a:custGeom>
                <a:avLst/>
                <a:gdLst>
                  <a:gd name="T0" fmla="*/ 155 w 159"/>
                  <a:gd name="T1" fmla="*/ 116 h 135"/>
                  <a:gd name="T2" fmla="*/ 151 w 159"/>
                  <a:gd name="T3" fmla="*/ 107 h 135"/>
                  <a:gd name="T4" fmla="*/ 143 w 159"/>
                  <a:gd name="T5" fmla="*/ 101 h 135"/>
                  <a:gd name="T6" fmla="*/ 137 w 159"/>
                  <a:gd name="T7" fmla="*/ 94 h 135"/>
                  <a:gd name="T8" fmla="*/ 146 w 159"/>
                  <a:gd name="T9" fmla="*/ 82 h 135"/>
                  <a:gd name="T10" fmla="*/ 138 w 159"/>
                  <a:gd name="T11" fmla="*/ 78 h 135"/>
                  <a:gd name="T12" fmla="*/ 136 w 159"/>
                  <a:gd name="T13" fmla="*/ 69 h 135"/>
                  <a:gd name="T14" fmla="*/ 136 w 159"/>
                  <a:gd name="T15" fmla="*/ 60 h 135"/>
                  <a:gd name="T16" fmla="*/ 137 w 159"/>
                  <a:gd name="T17" fmla="*/ 53 h 135"/>
                  <a:gd name="T18" fmla="*/ 141 w 159"/>
                  <a:gd name="T19" fmla="*/ 47 h 135"/>
                  <a:gd name="T20" fmla="*/ 142 w 159"/>
                  <a:gd name="T21" fmla="*/ 43 h 135"/>
                  <a:gd name="T22" fmla="*/ 141 w 159"/>
                  <a:gd name="T23" fmla="*/ 33 h 135"/>
                  <a:gd name="T24" fmla="*/ 135 w 159"/>
                  <a:gd name="T25" fmla="*/ 32 h 135"/>
                  <a:gd name="T26" fmla="*/ 130 w 159"/>
                  <a:gd name="T27" fmla="*/ 28 h 135"/>
                  <a:gd name="T28" fmla="*/ 126 w 159"/>
                  <a:gd name="T29" fmla="*/ 25 h 135"/>
                  <a:gd name="T30" fmla="*/ 119 w 159"/>
                  <a:gd name="T31" fmla="*/ 23 h 135"/>
                  <a:gd name="T32" fmla="*/ 115 w 159"/>
                  <a:gd name="T33" fmla="*/ 21 h 135"/>
                  <a:gd name="T34" fmla="*/ 110 w 159"/>
                  <a:gd name="T35" fmla="*/ 18 h 135"/>
                  <a:gd name="T36" fmla="*/ 100 w 159"/>
                  <a:gd name="T37" fmla="*/ 18 h 135"/>
                  <a:gd name="T38" fmla="*/ 95 w 159"/>
                  <a:gd name="T39" fmla="*/ 19 h 135"/>
                  <a:gd name="T40" fmla="*/ 87 w 159"/>
                  <a:gd name="T41" fmla="*/ 24 h 135"/>
                  <a:gd name="T42" fmla="*/ 81 w 159"/>
                  <a:gd name="T43" fmla="*/ 25 h 135"/>
                  <a:gd name="T44" fmla="*/ 81 w 159"/>
                  <a:gd name="T45" fmla="*/ 29 h 135"/>
                  <a:gd name="T46" fmla="*/ 63 w 159"/>
                  <a:gd name="T47" fmla="*/ 33 h 135"/>
                  <a:gd name="T48" fmla="*/ 48 w 159"/>
                  <a:gd name="T49" fmla="*/ 24 h 135"/>
                  <a:gd name="T50" fmla="*/ 39 w 159"/>
                  <a:gd name="T51" fmla="*/ 15 h 135"/>
                  <a:gd name="T52" fmla="*/ 33 w 159"/>
                  <a:gd name="T53" fmla="*/ 11 h 135"/>
                  <a:gd name="T54" fmla="*/ 31 w 159"/>
                  <a:gd name="T55" fmla="*/ 3 h 135"/>
                  <a:gd name="T56" fmla="*/ 15 w 159"/>
                  <a:gd name="T57" fmla="*/ 10 h 135"/>
                  <a:gd name="T58" fmla="*/ 10 w 159"/>
                  <a:gd name="T59" fmla="*/ 7 h 135"/>
                  <a:gd name="T60" fmla="*/ 5 w 159"/>
                  <a:gd name="T61" fmla="*/ 1 h 135"/>
                  <a:gd name="T62" fmla="*/ 2 w 159"/>
                  <a:gd name="T63" fmla="*/ 5 h 135"/>
                  <a:gd name="T64" fmla="*/ 2 w 159"/>
                  <a:gd name="T65" fmla="*/ 12 h 135"/>
                  <a:gd name="T66" fmla="*/ 2 w 159"/>
                  <a:gd name="T67" fmla="*/ 20 h 135"/>
                  <a:gd name="T68" fmla="*/ 6 w 159"/>
                  <a:gd name="T69" fmla="*/ 27 h 135"/>
                  <a:gd name="T70" fmla="*/ 9 w 159"/>
                  <a:gd name="T71" fmla="*/ 33 h 135"/>
                  <a:gd name="T72" fmla="*/ 14 w 159"/>
                  <a:gd name="T73" fmla="*/ 38 h 135"/>
                  <a:gd name="T74" fmla="*/ 17 w 159"/>
                  <a:gd name="T75" fmla="*/ 41 h 135"/>
                  <a:gd name="T76" fmla="*/ 16 w 159"/>
                  <a:gd name="T77" fmla="*/ 46 h 135"/>
                  <a:gd name="T78" fmla="*/ 13 w 159"/>
                  <a:gd name="T79" fmla="*/ 52 h 135"/>
                  <a:gd name="T80" fmla="*/ 14 w 159"/>
                  <a:gd name="T81" fmla="*/ 59 h 135"/>
                  <a:gd name="T82" fmla="*/ 17 w 159"/>
                  <a:gd name="T83" fmla="*/ 64 h 135"/>
                  <a:gd name="T84" fmla="*/ 26 w 159"/>
                  <a:gd name="T85" fmla="*/ 70 h 135"/>
                  <a:gd name="T86" fmla="*/ 30 w 159"/>
                  <a:gd name="T87" fmla="*/ 74 h 135"/>
                  <a:gd name="T88" fmla="*/ 29 w 159"/>
                  <a:gd name="T89" fmla="*/ 80 h 135"/>
                  <a:gd name="T90" fmla="*/ 32 w 159"/>
                  <a:gd name="T91" fmla="*/ 85 h 135"/>
                  <a:gd name="T92" fmla="*/ 37 w 159"/>
                  <a:gd name="T93" fmla="*/ 92 h 135"/>
                  <a:gd name="T94" fmla="*/ 39 w 159"/>
                  <a:gd name="T95" fmla="*/ 91 h 135"/>
                  <a:gd name="T96" fmla="*/ 42 w 159"/>
                  <a:gd name="T97" fmla="*/ 90 h 135"/>
                  <a:gd name="T98" fmla="*/ 48 w 159"/>
                  <a:gd name="T99" fmla="*/ 90 h 135"/>
                  <a:gd name="T100" fmla="*/ 56 w 159"/>
                  <a:gd name="T101" fmla="*/ 103 h 135"/>
                  <a:gd name="T102" fmla="*/ 61 w 159"/>
                  <a:gd name="T103" fmla="*/ 110 h 135"/>
                  <a:gd name="T104" fmla="*/ 71 w 159"/>
                  <a:gd name="T105" fmla="*/ 115 h 135"/>
                  <a:gd name="T106" fmla="*/ 89 w 159"/>
                  <a:gd name="T107" fmla="*/ 122 h 135"/>
                  <a:gd name="T108" fmla="*/ 102 w 159"/>
                  <a:gd name="T109" fmla="*/ 118 h 135"/>
                  <a:gd name="T110" fmla="*/ 108 w 159"/>
                  <a:gd name="T111" fmla="*/ 129 h 135"/>
                  <a:gd name="T112" fmla="*/ 136 w 159"/>
                  <a:gd name="T113" fmla="*/ 134 h 135"/>
                  <a:gd name="T114" fmla="*/ 145 w 159"/>
                  <a:gd name="T115" fmla="*/ 135 h 135"/>
                  <a:gd name="T116" fmla="*/ 144 w 159"/>
                  <a:gd name="T117" fmla="*/ 133 h 135"/>
                  <a:gd name="T118" fmla="*/ 149 w 159"/>
                  <a:gd name="T119" fmla="*/ 125 h 135"/>
                  <a:gd name="T120" fmla="*/ 157 w 159"/>
                  <a:gd name="T121" fmla="*/ 122 h 135"/>
                  <a:gd name="T122" fmla="*/ 155 w 159"/>
                  <a:gd name="T123" fmla="*/ 116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59" h="135">
                    <a:moveTo>
                      <a:pt x="155" y="116"/>
                    </a:moveTo>
                    <a:cubicBezTo>
                      <a:pt x="153" y="116"/>
                      <a:pt x="155" y="109"/>
                      <a:pt x="151" y="107"/>
                    </a:cubicBezTo>
                    <a:cubicBezTo>
                      <a:pt x="147" y="106"/>
                      <a:pt x="144" y="103"/>
                      <a:pt x="143" y="101"/>
                    </a:cubicBezTo>
                    <a:cubicBezTo>
                      <a:pt x="142" y="98"/>
                      <a:pt x="137" y="95"/>
                      <a:pt x="137" y="94"/>
                    </a:cubicBezTo>
                    <a:cubicBezTo>
                      <a:pt x="138" y="92"/>
                      <a:pt x="147" y="86"/>
                      <a:pt x="146" y="82"/>
                    </a:cubicBezTo>
                    <a:cubicBezTo>
                      <a:pt x="144" y="79"/>
                      <a:pt x="138" y="79"/>
                      <a:pt x="138" y="78"/>
                    </a:cubicBezTo>
                    <a:cubicBezTo>
                      <a:pt x="137" y="77"/>
                      <a:pt x="138" y="72"/>
                      <a:pt x="136" y="69"/>
                    </a:cubicBezTo>
                    <a:cubicBezTo>
                      <a:pt x="135" y="65"/>
                      <a:pt x="138" y="62"/>
                      <a:pt x="136" y="60"/>
                    </a:cubicBezTo>
                    <a:cubicBezTo>
                      <a:pt x="135" y="58"/>
                      <a:pt x="137" y="54"/>
                      <a:pt x="137" y="53"/>
                    </a:cubicBezTo>
                    <a:cubicBezTo>
                      <a:pt x="138" y="52"/>
                      <a:pt x="141" y="50"/>
                      <a:pt x="141" y="47"/>
                    </a:cubicBezTo>
                    <a:cubicBezTo>
                      <a:pt x="140" y="45"/>
                      <a:pt x="141" y="44"/>
                      <a:pt x="142" y="43"/>
                    </a:cubicBezTo>
                    <a:cubicBezTo>
                      <a:pt x="141" y="40"/>
                      <a:pt x="141" y="34"/>
                      <a:pt x="141" y="33"/>
                    </a:cubicBezTo>
                    <a:cubicBezTo>
                      <a:pt x="141" y="32"/>
                      <a:pt x="137" y="32"/>
                      <a:pt x="135" y="32"/>
                    </a:cubicBezTo>
                    <a:cubicBezTo>
                      <a:pt x="133" y="33"/>
                      <a:pt x="132" y="28"/>
                      <a:pt x="130" y="28"/>
                    </a:cubicBezTo>
                    <a:cubicBezTo>
                      <a:pt x="128" y="28"/>
                      <a:pt x="126" y="26"/>
                      <a:pt x="126" y="25"/>
                    </a:cubicBezTo>
                    <a:cubicBezTo>
                      <a:pt x="126" y="24"/>
                      <a:pt x="122" y="23"/>
                      <a:pt x="119" y="23"/>
                    </a:cubicBezTo>
                    <a:cubicBezTo>
                      <a:pt x="117" y="23"/>
                      <a:pt x="116" y="21"/>
                      <a:pt x="115" y="21"/>
                    </a:cubicBezTo>
                    <a:cubicBezTo>
                      <a:pt x="115" y="21"/>
                      <a:pt x="111" y="20"/>
                      <a:pt x="110" y="18"/>
                    </a:cubicBezTo>
                    <a:cubicBezTo>
                      <a:pt x="108" y="17"/>
                      <a:pt x="101" y="16"/>
                      <a:pt x="100" y="18"/>
                    </a:cubicBezTo>
                    <a:cubicBezTo>
                      <a:pt x="99" y="20"/>
                      <a:pt x="97" y="19"/>
                      <a:pt x="95" y="19"/>
                    </a:cubicBezTo>
                    <a:cubicBezTo>
                      <a:pt x="92" y="19"/>
                      <a:pt x="89" y="22"/>
                      <a:pt x="87" y="24"/>
                    </a:cubicBezTo>
                    <a:cubicBezTo>
                      <a:pt x="87" y="25"/>
                      <a:pt x="83" y="25"/>
                      <a:pt x="81" y="25"/>
                    </a:cubicBezTo>
                    <a:cubicBezTo>
                      <a:pt x="81" y="27"/>
                      <a:pt x="81" y="29"/>
                      <a:pt x="81" y="29"/>
                    </a:cubicBezTo>
                    <a:cubicBezTo>
                      <a:pt x="79" y="31"/>
                      <a:pt x="70" y="33"/>
                      <a:pt x="63" y="33"/>
                    </a:cubicBezTo>
                    <a:cubicBezTo>
                      <a:pt x="56" y="33"/>
                      <a:pt x="56" y="24"/>
                      <a:pt x="48" y="24"/>
                    </a:cubicBezTo>
                    <a:cubicBezTo>
                      <a:pt x="43" y="24"/>
                      <a:pt x="39" y="19"/>
                      <a:pt x="39" y="15"/>
                    </a:cubicBezTo>
                    <a:cubicBezTo>
                      <a:pt x="36" y="14"/>
                      <a:pt x="32" y="12"/>
                      <a:pt x="33" y="11"/>
                    </a:cubicBezTo>
                    <a:cubicBezTo>
                      <a:pt x="34" y="9"/>
                      <a:pt x="35" y="1"/>
                      <a:pt x="31" y="3"/>
                    </a:cubicBezTo>
                    <a:cubicBezTo>
                      <a:pt x="28" y="5"/>
                      <a:pt x="22" y="11"/>
                      <a:pt x="15" y="10"/>
                    </a:cubicBezTo>
                    <a:cubicBezTo>
                      <a:pt x="8" y="9"/>
                      <a:pt x="13" y="9"/>
                      <a:pt x="10" y="7"/>
                    </a:cubicBezTo>
                    <a:cubicBezTo>
                      <a:pt x="6" y="6"/>
                      <a:pt x="8" y="2"/>
                      <a:pt x="5" y="1"/>
                    </a:cubicBezTo>
                    <a:cubicBezTo>
                      <a:pt x="2" y="0"/>
                      <a:pt x="4" y="5"/>
                      <a:pt x="2" y="5"/>
                    </a:cubicBezTo>
                    <a:cubicBezTo>
                      <a:pt x="0" y="5"/>
                      <a:pt x="2" y="11"/>
                      <a:pt x="2" y="12"/>
                    </a:cubicBezTo>
                    <a:cubicBezTo>
                      <a:pt x="3" y="13"/>
                      <a:pt x="1" y="20"/>
                      <a:pt x="2" y="20"/>
                    </a:cubicBezTo>
                    <a:cubicBezTo>
                      <a:pt x="4" y="21"/>
                      <a:pt x="7" y="26"/>
                      <a:pt x="6" y="27"/>
                    </a:cubicBezTo>
                    <a:cubicBezTo>
                      <a:pt x="6" y="28"/>
                      <a:pt x="9" y="31"/>
                      <a:pt x="9" y="33"/>
                    </a:cubicBezTo>
                    <a:cubicBezTo>
                      <a:pt x="9" y="35"/>
                      <a:pt x="12" y="38"/>
                      <a:pt x="14" y="38"/>
                    </a:cubicBezTo>
                    <a:cubicBezTo>
                      <a:pt x="15" y="38"/>
                      <a:pt x="17" y="39"/>
                      <a:pt x="17" y="41"/>
                    </a:cubicBezTo>
                    <a:cubicBezTo>
                      <a:pt x="16" y="43"/>
                      <a:pt x="18" y="46"/>
                      <a:pt x="16" y="46"/>
                    </a:cubicBezTo>
                    <a:cubicBezTo>
                      <a:pt x="14" y="46"/>
                      <a:pt x="14" y="51"/>
                      <a:pt x="13" y="52"/>
                    </a:cubicBezTo>
                    <a:cubicBezTo>
                      <a:pt x="11" y="53"/>
                      <a:pt x="12" y="59"/>
                      <a:pt x="14" y="59"/>
                    </a:cubicBezTo>
                    <a:cubicBezTo>
                      <a:pt x="15" y="60"/>
                      <a:pt x="18" y="61"/>
                      <a:pt x="17" y="64"/>
                    </a:cubicBezTo>
                    <a:cubicBezTo>
                      <a:pt x="17" y="66"/>
                      <a:pt x="24" y="69"/>
                      <a:pt x="26" y="70"/>
                    </a:cubicBezTo>
                    <a:cubicBezTo>
                      <a:pt x="28" y="70"/>
                      <a:pt x="29" y="73"/>
                      <a:pt x="30" y="74"/>
                    </a:cubicBezTo>
                    <a:cubicBezTo>
                      <a:pt x="31" y="76"/>
                      <a:pt x="29" y="78"/>
                      <a:pt x="29" y="80"/>
                    </a:cubicBezTo>
                    <a:cubicBezTo>
                      <a:pt x="30" y="81"/>
                      <a:pt x="33" y="83"/>
                      <a:pt x="32" y="85"/>
                    </a:cubicBezTo>
                    <a:cubicBezTo>
                      <a:pt x="32" y="87"/>
                      <a:pt x="35" y="89"/>
                      <a:pt x="37" y="92"/>
                    </a:cubicBezTo>
                    <a:cubicBezTo>
                      <a:pt x="38" y="91"/>
                      <a:pt x="38" y="91"/>
                      <a:pt x="39" y="91"/>
                    </a:cubicBezTo>
                    <a:cubicBezTo>
                      <a:pt x="41" y="91"/>
                      <a:pt x="41" y="89"/>
                      <a:pt x="42" y="90"/>
                    </a:cubicBezTo>
                    <a:cubicBezTo>
                      <a:pt x="44" y="92"/>
                      <a:pt x="46" y="90"/>
                      <a:pt x="48" y="90"/>
                    </a:cubicBezTo>
                    <a:cubicBezTo>
                      <a:pt x="50" y="90"/>
                      <a:pt x="54" y="98"/>
                      <a:pt x="56" y="103"/>
                    </a:cubicBezTo>
                    <a:cubicBezTo>
                      <a:pt x="58" y="107"/>
                      <a:pt x="58" y="108"/>
                      <a:pt x="61" y="110"/>
                    </a:cubicBezTo>
                    <a:cubicBezTo>
                      <a:pt x="64" y="112"/>
                      <a:pt x="67" y="111"/>
                      <a:pt x="71" y="115"/>
                    </a:cubicBezTo>
                    <a:cubicBezTo>
                      <a:pt x="75" y="119"/>
                      <a:pt x="85" y="122"/>
                      <a:pt x="89" y="122"/>
                    </a:cubicBezTo>
                    <a:cubicBezTo>
                      <a:pt x="93" y="122"/>
                      <a:pt x="96" y="117"/>
                      <a:pt x="102" y="118"/>
                    </a:cubicBezTo>
                    <a:cubicBezTo>
                      <a:pt x="107" y="119"/>
                      <a:pt x="106" y="126"/>
                      <a:pt x="108" y="129"/>
                    </a:cubicBezTo>
                    <a:cubicBezTo>
                      <a:pt x="110" y="131"/>
                      <a:pt x="132" y="133"/>
                      <a:pt x="136" y="134"/>
                    </a:cubicBezTo>
                    <a:cubicBezTo>
                      <a:pt x="138" y="135"/>
                      <a:pt x="141" y="135"/>
                      <a:pt x="145" y="135"/>
                    </a:cubicBezTo>
                    <a:cubicBezTo>
                      <a:pt x="145" y="134"/>
                      <a:pt x="144" y="133"/>
                      <a:pt x="144" y="133"/>
                    </a:cubicBezTo>
                    <a:cubicBezTo>
                      <a:pt x="144" y="129"/>
                      <a:pt x="147" y="126"/>
                      <a:pt x="149" y="125"/>
                    </a:cubicBezTo>
                    <a:cubicBezTo>
                      <a:pt x="152" y="123"/>
                      <a:pt x="154" y="123"/>
                      <a:pt x="157" y="122"/>
                    </a:cubicBezTo>
                    <a:cubicBezTo>
                      <a:pt x="159" y="122"/>
                      <a:pt x="157" y="117"/>
                      <a:pt x="155" y="116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3" name="Freeform 162">
                <a:extLst>
                  <a:ext uri="{FF2B5EF4-FFF2-40B4-BE49-F238E27FC236}">
                    <a16:creationId xmlns:a16="http://schemas.microsoft.com/office/drawing/2014/main" id="{A90A4A1E-F9AF-4608-B446-955B088CBDB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77947" y="2931686"/>
                <a:ext cx="754090" cy="355087"/>
              </a:xfrm>
              <a:custGeom>
                <a:avLst/>
                <a:gdLst>
                  <a:gd name="T0" fmla="*/ 316 w 327"/>
                  <a:gd name="T1" fmla="*/ 64 h 154"/>
                  <a:gd name="T2" fmla="*/ 306 w 327"/>
                  <a:gd name="T3" fmla="*/ 54 h 154"/>
                  <a:gd name="T4" fmla="*/ 285 w 327"/>
                  <a:gd name="T5" fmla="*/ 50 h 154"/>
                  <a:gd name="T6" fmla="*/ 265 w 327"/>
                  <a:gd name="T7" fmla="*/ 37 h 154"/>
                  <a:gd name="T8" fmla="*/ 243 w 327"/>
                  <a:gd name="T9" fmla="*/ 13 h 154"/>
                  <a:gd name="T10" fmla="*/ 221 w 327"/>
                  <a:gd name="T11" fmla="*/ 22 h 154"/>
                  <a:gd name="T12" fmla="*/ 216 w 327"/>
                  <a:gd name="T13" fmla="*/ 16 h 154"/>
                  <a:gd name="T14" fmla="*/ 203 w 327"/>
                  <a:gd name="T15" fmla="*/ 14 h 154"/>
                  <a:gd name="T16" fmla="*/ 197 w 327"/>
                  <a:gd name="T17" fmla="*/ 2 h 154"/>
                  <a:gd name="T18" fmla="*/ 169 w 327"/>
                  <a:gd name="T19" fmla="*/ 7 h 154"/>
                  <a:gd name="T20" fmla="*/ 137 w 327"/>
                  <a:gd name="T21" fmla="*/ 14 h 154"/>
                  <a:gd name="T22" fmla="*/ 121 w 327"/>
                  <a:gd name="T23" fmla="*/ 23 h 154"/>
                  <a:gd name="T24" fmla="*/ 118 w 327"/>
                  <a:gd name="T25" fmla="*/ 33 h 154"/>
                  <a:gd name="T26" fmla="*/ 121 w 327"/>
                  <a:gd name="T27" fmla="*/ 44 h 154"/>
                  <a:gd name="T28" fmla="*/ 112 w 327"/>
                  <a:gd name="T29" fmla="*/ 50 h 154"/>
                  <a:gd name="T30" fmla="*/ 100 w 327"/>
                  <a:gd name="T31" fmla="*/ 49 h 154"/>
                  <a:gd name="T32" fmla="*/ 80 w 327"/>
                  <a:gd name="T33" fmla="*/ 50 h 154"/>
                  <a:gd name="T34" fmla="*/ 66 w 327"/>
                  <a:gd name="T35" fmla="*/ 50 h 154"/>
                  <a:gd name="T36" fmla="*/ 44 w 327"/>
                  <a:gd name="T37" fmla="*/ 42 h 154"/>
                  <a:gd name="T38" fmla="*/ 25 w 327"/>
                  <a:gd name="T39" fmla="*/ 47 h 154"/>
                  <a:gd name="T40" fmla="*/ 18 w 327"/>
                  <a:gd name="T41" fmla="*/ 60 h 154"/>
                  <a:gd name="T42" fmla="*/ 3 w 327"/>
                  <a:gd name="T43" fmla="*/ 63 h 154"/>
                  <a:gd name="T44" fmla="*/ 0 w 327"/>
                  <a:gd name="T45" fmla="*/ 74 h 154"/>
                  <a:gd name="T46" fmla="*/ 12 w 327"/>
                  <a:gd name="T47" fmla="*/ 82 h 154"/>
                  <a:gd name="T48" fmla="*/ 20 w 327"/>
                  <a:gd name="T49" fmla="*/ 96 h 154"/>
                  <a:gd name="T50" fmla="*/ 41 w 327"/>
                  <a:gd name="T51" fmla="*/ 91 h 154"/>
                  <a:gd name="T52" fmla="*/ 46 w 327"/>
                  <a:gd name="T53" fmla="*/ 107 h 154"/>
                  <a:gd name="T54" fmla="*/ 31 w 327"/>
                  <a:gd name="T55" fmla="*/ 118 h 154"/>
                  <a:gd name="T56" fmla="*/ 46 w 327"/>
                  <a:gd name="T57" fmla="*/ 133 h 154"/>
                  <a:gd name="T58" fmla="*/ 53 w 327"/>
                  <a:gd name="T59" fmla="*/ 141 h 154"/>
                  <a:gd name="T60" fmla="*/ 77 w 327"/>
                  <a:gd name="T61" fmla="*/ 146 h 154"/>
                  <a:gd name="T62" fmla="*/ 99 w 327"/>
                  <a:gd name="T63" fmla="*/ 103 h 154"/>
                  <a:gd name="T64" fmla="*/ 112 w 327"/>
                  <a:gd name="T65" fmla="*/ 104 h 154"/>
                  <a:gd name="T66" fmla="*/ 136 w 327"/>
                  <a:gd name="T67" fmla="*/ 125 h 154"/>
                  <a:gd name="T68" fmla="*/ 160 w 327"/>
                  <a:gd name="T69" fmla="*/ 138 h 154"/>
                  <a:gd name="T70" fmla="*/ 178 w 327"/>
                  <a:gd name="T71" fmla="*/ 152 h 154"/>
                  <a:gd name="T72" fmla="*/ 195 w 327"/>
                  <a:gd name="T73" fmla="*/ 144 h 154"/>
                  <a:gd name="T74" fmla="*/ 213 w 327"/>
                  <a:gd name="T75" fmla="*/ 134 h 154"/>
                  <a:gd name="T76" fmla="*/ 240 w 327"/>
                  <a:gd name="T77" fmla="*/ 132 h 154"/>
                  <a:gd name="T78" fmla="*/ 275 w 327"/>
                  <a:gd name="T79" fmla="*/ 138 h 154"/>
                  <a:gd name="T80" fmla="*/ 275 w 327"/>
                  <a:gd name="T81" fmla="*/ 120 h 154"/>
                  <a:gd name="T82" fmla="*/ 286 w 327"/>
                  <a:gd name="T83" fmla="*/ 108 h 154"/>
                  <a:gd name="T84" fmla="*/ 297 w 327"/>
                  <a:gd name="T85" fmla="*/ 91 h 154"/>
                  <a:gd name="T86" fmla="*/ 317 w 327"/>
                  <a:gd name="T87" fmla="*/ 88 h 154"/>
                  <a:gd name="T88" fmla="*/ 325 w 327"/>
                  <a:gd name="T89" fmla="*/ 71 h 154"/>
                  <a:gd name="T90" fmla="*/ 122 w 327"/>
                  <a:gd name="T91" fmla="*/ 98 h 154"/>
                  <a:gd name="T92" fmla="*/ 257 w 327"/>
                  <a:gd name="T93" fmla="*/ 97 h 154"/>
                  <a:gd name="T94" fmla="*/ 225 w 327"/>
                  <a:gd name="T95" fmla="*/ 97 h 154"/>
                  <a:gd name="T96" fmla="*/ 257 w 327"/>
                  <a:gd name="T97" fmla="*/ 97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327" h="154">
                    <a:moveTo>
                      <a:pt x="326" y="63"/>
                    </a:moveTo>
                    <a:cubicBezTo>
                      <a:pt x="325" y="62"/>
                      <a:pt x="324" y="62"/>
                      <a:pt x="323" y="63"/>
                    </a:cubicBezTo>
                    <a:cubicBezTo>
                      <a:pt x="322" y="64"/>
                      <a:pt x="318" y="64"/>
                      <a:pt x="316" y="64"/>
                    </a:cubicBezTo>
                    <a:cubicBezTo>
                      <a:pt x="315" y="64"/>
                      <a:pt x="312" y="62"/>
                      <a:pt x="312" y="61"/>
                    </a:cubicBezTo>
                    <a:cubicBezTo>
                      <a:pt x="312" y="59"/>
                      <a:pt x="312" y="58"/>
                      <a:pt x="311" y="58"/>
                    </a:cubicBezTo>
                    <a:cubicBezTo>
                      <a:pt x="309" y="58"/>
                      <a:pt x="307" y="57"/>
                      <a:pt x="306" y="54"/>
                    </a:cubicBezTo>
                    <a:cubicBezTo>
                      <a:pt x="304" y="50"/>
                      <a:pt x="302" y="50"/>
                      <a:pt x="300" y="49"/>
                    </a:cubicBezTo>
                    <a:cubicBezTo>
                      <a:pt x="299" y="49"/>
                      <a:pt x="294" y="51"/>
                      <a:pt x="292" y="52"/>
                    </a:cubicBezTo>
                    <a:cubicBezTo>
                      <a:pt x="290" y="52"/>
                      <a:pt x="287" y="51"/>
                      <a:pt x="285" y="50"/>
                    </a:cubicBezTo>
                    <a:cubicBezTo>
                      <a:pt x="282" y="50"/>
                      <a:pt x="281" y="46"/>
                      <a:pt x="278" y="46"/>
                    </a:cubicBezTo>
                    <a:cubicBezTo>
                      <a:pt x="276" y="47"/>
                      <a:pt x="275" y="51"/>
                      <a:pt x="274" y="51"/>
                    </a:cubicBezTo>
                    <a:cubicBezTo>
                      <a:pt x="272" y="51"/>
                      <a:pt x="269" y="42"/>
                      <a:pt x="265" y="37"/>
                    </a:cubicBezTo>
                    <a:cubicBezTo>
                      <a:pt x="262" y="32"/>
                      <a:pt x="256" y="21"/>
                      <a:pt x="250" y="19"/>
                    </a:cubicBezTo>
                    <a:cubicBezTo>
                      <a:pt x="245" y="17"/>
                      <a:pt x="247" y="15"/>
                      <a:pt x="248" y="13"/>
                    </a:cubicBezTo>
                    <a:cubicBezTo>
                      <a:pt x="250" y="12"/>
                      <a:pt x="245" y="11"/>
                      <a:pt x="243" y="13"/>
                    </a:cubicBezTo>
                    <a:cubicBezTo>
                      <a:pt x="241" y="14"/>
                      <a:pt x="238" y="16"/>
                      <a:pt x="235" y="17"/>
                    </a:cubicBezTo>
                    <a:cubicBezTo>
                      <a:pt x="233" y="17"/>
                      <a:pt x="229" y="21"/>
                      <a:pt x="227" y="20"/>
                    </a:cubicBezTo>
                    <a:cubicBezTo>
                      <a:pt x="224" y="19"/>
                      <a:pt x="223" y="24"/>
                      <a:pt x="221" y="22"/>
                    </a:cubicBezTo>
                    <a:cubicBezTo>
                      <a:pt x="219" y="20"/>
                      <a:pt x="224" y="18"/>
                      <a:pt x="224" y="17"/>
                    </a:cubicBezTo>
                    <a:cubicBezTo>
                      <a:pt x="224" y="15"/>
                      <a:pt x="220" y="17"/>
                      <a:pt x="219" y="16"/>
                    </a:cubicBezTo>
                    <a:cubicBezTo>
                      <a:pt x="218" y="15"/>
                      <a:pt x="216" y="14"/>
                      <a:pt x="216" y="16"/>
                    </a:cubicBezTo>
                    <a:cubicBezTo>
                      <a:pt x="216" y="17"/>
                      <a:pt x="213" y="16"/>
                      <a:pt x="213" y="15"/>
                    </a:cubicBezTo>
                    <a:cubicBezTo>
                      <a:pt x="213" y="14"/>
                      <a:pt x="212" y="11"/>
                      <a:pt x="210" y="13"/>
                    </a:cubicBezTo>
                    <a:cubicBezTo>
                      <a:pt x="209" y="15"/>
                      <a:pt x="204" y="16"/>
                      <a:pt x="203" y="14"/>
                    </a:cubicBezTo>
                    <a:cubicBezTo>
                      <a:pt x="202" y="13"/>
                      <a:pt x="204" y="13"/>
                      <a:pt x="204" y="11"/>
                    </a:cubicBezTo>
                    <a:cubicBezTo>
                      <a:pt x="204" y="9"/>
                      <a:pt x="202" y="7"/>
                      <a:pt x="202" y="5"/>
                    </a:cubicBezTo>
                    <a:cubicBezTo>
                      <a:pt x="203" y="3"/>
                      <a:pt x="199" y="1"/>
                      <a:pt x="197" y="2"/>
                    </a:cubicBezTo>
                    <a:cubicBezTo>
                      <a:pt x="195" y="3"/>
                      <a:pt x="193" y="2"/>
                      <a:pt x="191" y="1"/>
                    </a:cubicBezTo>
                    <a:cubicBezTo>
                      <a:pt x="189" y="0"/>
                      <a:pt x="181" y="2"/>
                      <a:pt x="181" y="3"/>
                    </a:cubicBezTo>
                    <a:cubicBezTo>
                      <a:pt x="181" y="5"/>
                      <a:pt x="171" y="7"/>
                      <a:pt x="169" y="7"/>
                    </a:cubicBezTo>
                    <a:cubicBezTo>
                      <a:pt x="167" y="8"/>
                      <a:pt x="160" y="9"/>
                      <a:pt x="158" y="9"/>
                    </a:cubicBezTo>
                    <a:cubicBezTo>
                      <a:pt x="155" y="10"/>
                      <a:pt x="153" y="12"/>
                      <a:pt x="150" y="12"/>
                    </a:cubicBezTo>
                    <a:cubicBezTo>
                      <a:pt x="146" y="12"/>
                      <a:pt x="140" y="12"/>
                      <a:pt x="137" y="14"/>
                    </a:cubicBezTo>
                    <a:cubicBezTo>
                      <a:pt x="135" y="17"/>
                      <a:pt x="130" y="15"/>
                      <a:pt x="128" y="16"/>
                    </a:cubicBezTo>
                    <a:cubicBezTo>
                      <a:pt x="126" y="16"/>
                      <a:pt x="122" y="15"/>
                      <a:pt x="121" y="16"/>
                    </a:cubicBezTo>
                    <a:cubicBezTo>
                      <a:pt x="120" y="17"/>
                      <a:pt x="120" y="21"/>
                      <a:pt x="121" y="23"/>
                    </a:cubicBezTo>
                    <a:cubicBezTo>
                      <a:pt x="122" y="24"/>
                      <a:pt x="128" y="25"/>
                      <a:pt x="128" y="26"/>
                    </a:cubicBezTo>
                    <a:cubicBezTo>
                      <a:pt x="129" y="27"/>
                      <a:pt x="123" y="27"/>
                      <a:pt x="120" y="28"/>
                    </a:cubicBezTo>
                    <a:cubicBezTo>
                      <a:pt x="117" y="28"/>
                      <a:pt x="118" y="32"/>
                      <a:pt x="118" y="33"/>
                    </a:cubicBezTo>
                    <a:cubicBezTo>
                      <a:pt x="119" y="35"/>
                      <a:pt x="116" y="37"/>
                      <a:pt x="114" y="38"/>
                    </a:cubicBezTo>
                    <a:cubicBezTo>
                      <a:pt x="111" y="38"/>
                      <a:pt x="114" y="42"/>
                      <a:pt x="116" y="42"/>
                    </a:cubicBezTo>
                    <a:cubicBezTo>
                      <a:pt x="118" y="42"/>
                      <a:pt x="120" y="44"/>
                      <a:pt x="121" y="44"/>
                    </a:cubicBezTo>
                    <a:cubicBezTo>
                      <a:pt x="123" y="44"/>
                      <a:pt x="123" y="47"/>
                      <a:pt x="123" y="49"/>
                    </a:cubicBezTo>
                    <a:cubicBezTo>
                      <a:pt x="123" y="52"/>
                      <a:pt x="121" y="52"/>
                      <a:pt x="118" y="52"/>
                    </a:cubicBezTo>
                    <a:cubicBezTo>
                      <a:pt x="116" y="52"/>
                      <a:pt x="114" y="50"/>
                      <a:pt x="112" y="50"/>
                    </a:cubicBezTo>
                    <a:cubicBezTo>
                      <a:pt x="111" y="49"/>
                      <a:pt x="111" y="53"/>
                      <a:pt x="110" y="54"/>
                    </a:cubicBezTo>
                    <a:cubicBezTo>
                      <a:pt x="108" y="54"/>
                      <a:pt x="108" y="51"/>
                      <a:pt x="106" y="51"/>
                    </a:cubicBezTo>
                    <a:cubicBezTo>
                      <a:pt x="104" y="51"/>
                      <a:pt x="101" y="51"/>
                      <a:pt x="100" y="49"/>
                    </a:cubicBezTo>
                    <a:cubicBezTo>
                      <a:pt x="100" y="47"/>
                      <a:pt x="95" y="46"/>
                      <a:pt x="92" y="48"/>
                    </a:cubicBezTo>
                    <a:cubicBezTo>
                      <a:pt x="90" y="50"/>
                      <a:pt x="90" y="49"/>
                      <a:pt x="88" y="48"/>
                    </a:cubicBezTo>
                    <a:cubicBezTo>
                      <a:pt x="86" y="47"/>
                      <a:pt x="81" y="49"/>
                      <a:pt x="80" y="50"/>
                    </a:cubicBezTo>
                    <a:cubicBezTo>
                      <a:pt x="79" y="52"/>
                      <a:pt x="75" y="53"/>
                      <a:pt x="72" y="51"/>
                    </a:cubicBezTo>
                    <a:cubicBezTo>
                      <a:pt x="70" y="49"/>
                      <a:pt x="68" y="49"/>
                      <a:pt x="68" y="51"/>
                    </a:cubicBezTo>
                    <a:cubicBezTo>
                      <a:pt x="68" y="54"/>
                      <a:pt x="66" y="52"/>
                      <a:pt x="66" y="50"/>
                    </a:cubicBezTo>
                    <a:cubicBezTo>
                      <a:pt x="66" y="49"/>
                      <a:pt x="61" y="46"/>
                      <a:pt x="59" y="44"/>
                    </a:cubicBezTo>
                    <a:cubicBezTo>
                      <a:pt x="57" y="43"/>
                      <a:pt x="50" y="43"/>
                      <a:pt x="50" y="42"/>
                    </a:cubicBezTo>
                    <a:cubicBezTo>
                      <a:pt x="49" y="40"/>
                      <a:pt x="45" y="39"/>
                      <a:pt x="44" y="42"/>
                    </a:cubicBezTo>
                    <a:cubicBezTo>
                      <a:pt x="43" y="44"/>
                      <a:pt x="41" y="42"/>
                      <a:pt x="40" y="42"/>
                    </a:cubicBezTo>
                    <a:cubicBezTo>
                      <a:pt x="38" y="41"/>
                      <a:pt x="35" y="43"/>
                      <a:pt x="34" y="43"/>
                    </a:cubicBezTo>
                    <a:cubicBezTo>
                      <a:pt x="32" y="44"/>
                      <a:pt x="28" y="47"/>
                      <a:pt x="25" y="47"/>
                    </a:cubicBezTo>
                    <a:cubicBezTo>
                      <a:pt x="23" y="47"/>
                      <a:pt x="24" y="50"/>
                      <a:pt x="21" y="51"/>
                    </a:cubicBezTo>
                    <a:cubicBezTo>
                      <a:pt x="18" y="52"/>
                      <a:pt x="18" y="54"/>
                      <a:pt x="19" y="55"/>
                    </a:cubicBezTo>
                    <a:cubicBezTo>
                      <a:pt x="19" y="57"/>
                      <a:pt x="21" y="59"/>
                      <a:pt x="18" y="60"/>
                    </a:cubicBezTo>
                    <a:cubicBezTo>
                      <a:pt x="15" y="62"/>
                      <a:pt x="14" y="57"/>
                      <a:pt x="11" y="55"/>
                    </a:cubicBezTo>
                    <a:cubicBezTo>
                      <a:pt x="9" y="53"/>
                      <a:pt x="7" y="55"/>
                      <a:pt x="7" y="58"/>
                    </a:cubicBezTo>
                    <a:cubicBezTo>
                      <a:pt x="7" y="60"/>
                      <a:pt x="4" y="60"/>
                      <a:pt x="3" y="63"/>
                    </a:cubicBezTo>
                    <a:cubicBezTo>
                      <a:pt x="1" y="65"/>
                      <a:pt x="5" y="66"/>
                      <a:pt x="5" y="67"/>
                    </a:cubicBezTo>
                    <a:cubicBezTo>
                      <a:pt x="5" y="68"/>
                      <a:pt x="3" y="69"/>
                      <a:pt x="2" y="69"/>
                    </a:cubicBezTo>
                    <a:cubicBezTo>
                      <a:pt x="2" y="70"/>
                      <a:pt x="0" y="73"/>
                      <a:pt x="0" y="74"/>
                    </a:cubicBezTo>
                    <a:cubicBezTo>
                      <a:pt x="1" y="75"/>
                      <a:pt x="5" y="75"/>
                      <a:pt x="5" y="78"/>
                    </a:cubicBezTo>
                    <a:cubicBezTo>
                      <a:pt x="5" y="80"/>
                      <a:pt x="4" y="83"/>
                      <a:pt x="6" y="82"/>
                    </a:cubicBezTo>
                    <a:cubicBezTo>
                      <a:pt x="9" y="81"/>
                      <a:pt x="11" y="82"/>
                      <a:pt x="12" y="82"/>
                    </a:cubicBezTo>
                    <a:cubicBezTo>
                      <a:pt x="14" y="82"/>
                      <a:pt x="15" y="84"/>
                      <a:pt x="17" y="87"/>
                    </a:cubicBezTo>
                    <a:cubicBezTo>
                      <a:pt x="20" y="90"/>
                      <a:pt x="21" y="92"/>
                      <a:pt x="18" y="92"/>
                    </a:cubicBezTo>
                    <a:cubicBezTo>
                      <a:pt x="16" y="93"/>
                      <a:pt x="17" y="94"/>
                      <a:pt x="20" y="96"/>
                    </a:cubicBezTo>
                    <a:cubicBezTo>
                      <a:pt x="21" y="96"/>
                      <a:pt x="22" y="97"/>
                      <a:pt x="23" y="97"/>
                    </a:cubicBezTo>
                    <a:cubicBezTo>
                      <a:pt x="23" y="97"/>
                      <a:pt x="24" y="97"/>
                      <a:pt x="24" y="96"/>
                    </a:cubicBezTo>
                    <a:cubicBezTo>
                      <a:pt x="28" y="93"/>
                      <a:pt x="36" y="89"/>
                      <a:pt x="41" y="91"/>
                    </a:cubicBezTo>
                    <a:cubicBezTo>
                      <a:pt x="46" y="92"/>
                      <a:pt x="51" y="90"/>
                      <a:pt x="53" y="93"/>
                    </a:cubicBezTo>
                    <a:cubicBezTo>
                      <a:pt x="56" y="97"/>
                      <a:pt x="53" y="103"/>
                      <a:pt x="54" y="105"/>
                    </a:cubicBezTo>
                    <a:cubicBezTo>
                      <a:pt x="55" y="107"/>
                      <a:pt x="50" y="108"/>
                      <a:pt x="46" y="107"/>
                    </a:cubicBezTo>
                    <a:cubicBezTo>
                      <a:pt x="43" y="107"/>
                      <a:pt x="36" y="109"/>
                      <a:pt x="36" y="111"/>
                    </a:cubicBezTo>
                    <a:cubicBezTo>
                      <a:pt x="37" y="113"/>
                      <a:pt x="40" y="118"/>
                      <a:pt x="35" y="115"/>
                    </a:cubicBezTo>
                    <a:cubicBezTo>
                      <a:pt x="31" y="113"/>
                      <a:pt x="29" y="118"/>
                      <a:pt x="31" y="118"/>
                    </a:cubicBezTo>
                    <a:cubicBezTo>
                      <a:pt x="34" y="118"/>
                      <a:pt x="37" y="121"/>
                      <a:pt x="37" y="123"/>
                    </a:cubicBezTo>
                    <a:cubicBezTo>
                      <a:pt x="37" y="125"/>
                      <a:pt x="38" y="130"/>
                      <a:pt x="40" y="129"/>
                    </a:cubicBezTo>
                    <a:cubicBezTo>
                      <a:pt x="42" y="129"/>
                      <a:pt x="42" y="133"/>
                      <a:pt x="46" y="133"/>
                    </a:cubicBezTo>
                    <a:cubicBezTo>
                      <a:pt x="49" y="132"/>
                      <a:pt x="52" y="134"/>
                      <a:pt x="50" y="137"/>
                    </a:cubicBezTo>
                    <a:cubicBezTo>
                      <a:pt x="47" y="140"/>
                      <a:pt x="51" y="148"/>
                      <a:pt x="52" y="146"/>
                    </a:cubicBezTo>
                    <a:cubicBezTo>
                      <a:pt x="53" y="145"/>
                      <a:pt x="52" y="143"/>
                      <a:pt x="53" y="141"/>
                    </a:cubicBezTo>
                    <a:cubicBezTo>
                      <a:pt x="51" y="137"/>
                      <a:pt x="59" y="137"/>
                      <a:pt x="61" y="137"/>
                    </a:cubicBezTo>
                    <a:cubicBezTo>
                      <a:pt x="64" y="137"/>
                      <a:pt x="68" y="140"/>
                      <a:pt x="71" y="144"/>
                    </a:cubicBezTo>
                    <a:cubicBezTo>
                      <a:pt x="74" y="148"/>
                      <a:pt x="77" y="146"/>
                      <a:pt x="77" y="146"/>
                    </a:cubicBezTo>
                    <a:cubicBezTo>
                      <a:pt x="78" y="110"/>
                      <a:pt x="78" y="110"/>
                      <a:pt x="78" y="110"/>
                    </a:cubicBezTo>
                    <a:cubicBezTo>
                      <a:pt x="98" y="105"/>
                      <a:pt x="98" y="105"/>
                      <a:pt x="98" y="105"/>
                    </a:cubicBezTo>
                    <a:cubicBezTo>
                      <a:pt x="99" y="104"/>
                      <a:pt x="99" y="104"/>
                      <a:pt x="99" y="103"/>
                    </a:cubicBezTo>
                    <a:cubicBezTo>
                      <a:pt x="102" y="99"/>
                      <a:pt x="105" y="103"/>
                      <a:pt x="106" y="103"/>
                    </a:cubicBezTo>
                    <a:cubicBezTo>
                      <a:pt x="107" y="104"/>
                      <a:pt x="107" y="99"/>
                      <a:pt x="110" y="100"/>
                    </a:cubicBezTo>
                    <a:cubicBezTo>
                      <a:pt x="113" y="100"/>
                      <a:pt x="109" y="104"/>
                      <a:pt x="112" y="104"/>
                    </a:cubicBezTo>
                    <a:cubicBezTo>
                      <a:pt x="113" y="104"/>
                      <a:pt x="117" y="110"/>
                      <a:pt x="116" y="115"/>
                    </a:cubicBezTo>
                    <a:cubicBezTo>
                      <a:pt x="119" y="118"/>
                      <a:pt x="125" y="124"/>
                      <a:pt x="125" y="125"/>
                    </a:cubicBezTo>
                    <a:cubicBezTo>
                      <a:pt x="126" y="127"/>
                      <a:pt x="134" y="124"/>
                      <a:pt x="136" y="125"/>
                    </a:cubicBezTo>
                    <a:cubicBezTo>
                      <a:pt x="137" y="125"/>
                      <a:pt x="150" y="125"/>
                      <a:pt x="152" y="125"/>
                    </a:cubicBezTo>
                    <a:cubicBezTo>
                      <a:pt x="154" y="125"/>
                      <a:pt x="156" y="129"/>
                      <a:pt x="158" y="130"/>
                    </a:cubicBezTo>
                    <a:cubicBezTo>
                      <a:pt x="161" y="131"/>
                      <a:pt x="160" y="135"/>
                      <a:pt x="160" y="138"/>
                    </a:cubicBezTo>
                    <a:cubicBezTo>
                      <a:pt x="161" y="140"/>
                      <a:pt x="164" y="143"/>
                      <a:pt x="165" y="146"/>
                    </a:cubicBezTo>
                    <a:cubicBezTo>
                      <a:pt x="165" y="148"/>
                      <a:pt x="169" y="147"/>
                      <a:pt x="172" y="148"/>
                    </a:cubicBezTo>
                    <a:cubicBezTo>
                      <a:pt x="174" y="148"/>
                      <a:pt x="178" y="149"/>
                      <a:pt x="178" y="152"/>
                    </a:cubicBezTo>
                    <a:cubicBezTo>
                      <a:pt x="179" y="154"/>
                      <a:pt x="182" y="152"/>
                      <a:pt x="182" y="151"/>
                    </a:cubicBezTo>
                    <a:cubicBezTo>
                      <a:pt x="182" y="149"/>
                      <a:pt x="186" y="146"/>
                      <a:pt x="190" y="144"/>
                    </a:cubicBezTo>
                    <a:cubicBezTo>
                      <a:pt x="193" y="143"/>
                      <a:pt x="194" y="143"/>
                      <a:pt x="195" y="144"/>
                    </a:cubicBezTo>
                    <a:cubicBezTo>
                      <a:pt x="196" y="142"/>
                      <a:pt x="197" y="140"/>
                      <a:pt x="197" y="139"/>
                    </a:cubicBezTo>
                    <a:cubicBezTo>
                      <a:pt x="199" y="139"/>
                      <a:pt x="202" y="136"/>
                      <a:pt x="202" y="134"/>
                    </a:cubicBezTo>
                    <a:cubicBezTo>
                      <a:pt x="203" y="131"/>
                      <a:pt x="209" y="131"/>
                      <a:pt x="213" y="134"/>
                    </a:cubicBezTo>
                    <a:cubicBezTo>
                      <a:pt x="218" y="136"/>
                      <a:pt x="220" y="136"/>
                      <a:pt x="221" y="132"/>
                    </a:cubicBezTo>
                    <a:cubicBezTo>
                      <a:pt x="221" y="129"/>
                      <a:pt x="227" y="128"/>
                      <a:pt x="229" y="129"/>
                    </a:cubicBezTo>
                    <a:cubicBezTo>
                      <a:pt x="231" y="130"/>
                      <a:pt x="237" y="133"/>
                      <a:pt x="240" y="132"/>
                    </a:cubicBezTo>
                    <a:cubicBezTo>
                      <a:pt x="242" y="131"/>
                      <a:pt x="257" y="132"/>
                      <a:pt x="260" y="133"/>
                    </a:cubicBezTo>
                    <a:cubicBezTo>
                      <a:pt x="264" y="134"/>
                      <a:pt x="265" y="132"/>
                      <a:pt x="268" y="136"/>
                    </a:cubicBezTo>
                    <a:cubicBezTo>
                      <a:pt x="270" y="139"/>
                      <a:pt x="272" y="136"/>
                      <a:pt x="275" y="138"/>
                    </a:cubicBezTo>
                    <a:cubicBezTo>
                      <a:pt x="275" y="137"/>
                      <a:pt x="274" y="136"/>
                      <a:pt x="274" y="135"/>
                    </a:cubicBezTo>
                    <a:cubicBezTo>
                      <a:pt x="274" y="133"/>
                      <a:pt x="278" y="131"/>
                      <a:pt x="279" y="129"/>
                    </a:cubicBezTo>
                    <a:cubicBezTo>
                      <a:pt x="279" y="127"/>
                      <a:pt x="275" y="122"/>
                      <a:pt x="275" y="120"/>
                    </a:cubicBezTo>
                    <a:cubicBezTo>
                      <a:pt x="275" y="118"/>
                      <a:pt x="275" y="114"/>
                      <a:pt x="274" y="113"/>
                    </a:cubicBezTo>
                    <a:cubicBezTo>
                      <a:pt x="272" y="112"/>
                      <a:pt x="277" y="110"/>
                      <a:pt x="278" y="110"/>
                    </a:cubicBezTo>
                    <a:cubicBezTo>
                      <a:pt x="281" y="110"/>
                      <a:pt x="285" y="107"/>
                      <a:pt x="286" y="108"/>
                    </a:cubicBezTo>
                    <a:cubicBezTo>
                      <a:pt x="287" y="109"/>
                      <a:pt x="289" y="110"/>
                      <a:pt x="292" y="110"/>
                    </a:cubicBezTo>
                    <a:cubicBezTo>
                      <a:pt x="294" y="110"/>
                      <a:pt x="293" y="107"/>
                      <a:pt x="292" y="106"/>
                    </a:cubicBezTo>
                    <a:cubicBezTo>
                      <a:pt x="290" y="105"/>
                      <a:pt x="296" y="94"/>
                      <a:pt x="297" y="91"/>
                    </a:cubicBezTo>
                    <a:cubicBezTo>
                      <a:pt x="297" y="87"/>
                      <a:pt x="299" y="90"/>
                      <a:pt x="302" y="91"/>
                    </a:cubicBezTo>
                    <a:cubicBezTo>
                      <a:pt x="305" y="91"/>
                      <a:pt x="308" y="90"/>
                      <a:pt x="309" y="91"/>
                    </a:cubicBezTo>
                    <a:cubicBezTo>
                      <a:pt x="311" y="92"/>
                      <a:pt x="316" y="90"/>
                      <a:pt x="317" y="88"/>
                    </a:cubicBezTo>
                    <a:cubicBezTo>
                      <a:pt x="318" y="87"/>
                      <a:pt x="316" y="86"/>
                      <a:pt x="316" y="82"/>
                    </a:cubicBezTo>
                    <a:cubicBezTo>
                      <a:pt x="316" y="78"/>
                      <a:pt x="318" y="76"/>
                      <a:pt x="321" y="76"/>
                    </a:cubicBezTo>
                    <a:cubicBezTo>
                      <a:pt x="324" y="76"/>
                      <a:pt x="325" y="73"/>
                      <a:pt x="325" y="71"/>
                    </a:cubicBezTo>
                    <a:cubicBezTo>
                      <a:pt x="325" y="70"/>
                      <a:pt x="327" y="69"/>
                      <a:pt x="327" y="66"/>
                    </a:cubicBezTo>
                    <a:cubicBezTo>
                      <a:pt x="326" y="65"/>
                      <a:pt x="326" y="64"/>
                      <a:pt x="326" y="63"/>
                    </a:cubicBezTo>
                    <a:close/>
                    <a:moveTo>
                      <a:pt x="122" y="98"/>
                    </a:moveTo>
                    <a:cubicBezTo>
                      <a:pt x="121" y="99"/>
                      <a:pt x="112" y="97"/>
                      <a:pt x="111" y="95"/>
                    </a:cubicBezTo>
                    <a:cubicBezTo>
                      <a:pt x="110" y="93"/>
                      <a:pt x="124" y="95"/>
                      <a:pt x="122" y="98"/>
                    </a:cubicBezTo>
                    <a:close/>
                    <a:moveTo>
                      <a:pt x="257" y="97"/>
                    </a:moveTo>
                    <a:cubicBezTo>
                      <a:pt x="250" y="97"/>
                      <a:pt x="236" y="94"/>
                      <a:pt x="230" y="100"/>
                    </a:cubicBezTo>
                    <a:cubicBezTo>
                      <a:pt x="224" y="107"/>
                      <a:pt x="228" y="110"/>
                      <a:pt x="226" y="111"/>
                    </a:cubicBezTo>
                    <a:cubicBezTo>
                      <a:pt x="223" y="111"/>
                      <a:pt x="221" y="101"/>
                      <a:pt x="225" y="97"/>
                    </a:cubicBezTo>
                    <a:cubicBezTo>
                      <a:pt x="228" y="94"/>
                      <a:pt x="239" y="93"/>
                      <a:pt x="245" y="94"/>
                    </a:cubicBezTo>
                    <a:cubicBezTo>
                      <a:pt x="252" y="96"/>
                      <a:pt x="264" y="93"/>
                      <a:pt x="265" y="93"/>
                    </a:cubicBezTo>
                    <a:cubicBezTo>
                      <a:pt x="267" y="94"/>
                      <a:pt x="264" y="97"/>
                      <a:pt x="257" y="9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4" name="Freeform 165">
                <a:extLst>
                  <a:ext uri="{FF2B5EF4-FFF2-40B4-BE49-F238E27FC236}">
                    <a16:creationId xmlns:a16="http://schemas.microsoft.com/office/drawing/2014/main" id="{2BB45075-6164-4468-BB37-83B8EC1CA3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6820" y="3983146"/>
                <a:ext cx="341285" cy="356342"/>
              </a:xfrm>
              <a:custGeom>
                <a:avLst/>
                <a:gdLst>
                  <a:gd name="T0" fmla="*/ 132 w 148"/>
                  <a:gd name="T1" fmla="*/ 72 h 155"/>
                  <a:gd name="T2" fmla="*/ 132 w 148"/>
                  <a:gd name="T3" fmla="*/ 67 h 155"/>
                  <a:gd name="T4" fmla="*/ 130 w 148"/>
                  <a:gd name="T5" fmla="*/ 65 h 155"/>
                  <a:gd name="T6" fmla="*/ 133 w 148"/>
                  <a:gd name="T7" fmla="*/ 57 h 155"/>
                  <a:gd name="T8" fmla="*/ 136 w 148"/>
                  <a:gd name="T9" fmla="*/ 51 h 155"/>
                  <a:gd name="T10" fmla="*/ 139 w 148"/>
                  <a:gd name="T11" fmla="*/ 38 h 155"/>
                  <a:gd name="T12" fmla="*/ 145 w 148"/>
                  <a:gd name="T13" fmla="*/ 31 h 155"/>
                  <a:gd name="T14" fmla="*/ 145 w 148"/>
                  <a:gd name="T15" fmla="*/ 23 h 155"/>
                  <a:gd name="T16" fmla="*/ 146 w 148"/>
                  <a:gd name="T17" fmla="*/ 16 h 155"/>
                  <a:gd name="T18" fmla="*/ 133 w 148"/>
                  <a:gd name="T19" fmla="*/ 9 h 155"/>
                  <a:gd name="T20" fmla="*/ 123 w 148"/>
                  <a:gd name="T21" fmla="*/ 9 h 155"/>
                  <a:gd name="T22" fmla="*/ 118 w 148"/>
                  <a:gd name="T23" fmla="*/ 3 h 155"/>
                  <a:gd name="T24" fmla="*/ 112 w 148"/>
                  <a:gd name="T25" fmla="*/ 4 h 155"/>
                  <a:gd name="T26" fmla="*/ 96 w 148"/>
                  <a:gd name="T27" fmla="*/ 4 h 155"/>
                  <a:gd name="T28" fmla="*/ 82 w 148"/>
                  <a:gd name="T29" fmla="*/ 6 h 155"/>
                  <a:gd name="T30" fmla="*/ 64 w 148"/>
                  <a:gd name="T31" fmla="*/ 9 h 155"/>
                  <a:gd name="T32" fmla="*/ 49 w 148"/>
                  <a:gd name="T33" fmla="*/ 11 h 155"/>
                  <a:gd name="T34" fmla="*/ 48 w 148"/>
                  <a:gd name="T35" fmla="*/ 25 h 155"/>
                  <a:gd name="T36" fmla="*/ 39 w 148"/>
                  <a:gd name="T37" fmla="*/ 50 h 155"/>
                  <a:gd name="T38" fmla="*/ 31 w 148"/>
                  <a:gd name="T39" fmla="*/ 72 h 155"/>
                  <a:gd name="T40" fmla="*/ 23 w 148"/>
                  <a:gd name="T41" fmla="*/ 83 h 155"/>
                  <a:gd name="T42" fmla="*/ 13 w 148"/>
                  <a:gd name="T43" fmla="*/ 83 h 155"/>
                  <a:gd name="T44" fmla="*/ 0 w 148"/>
                  <a:gd name="T45" fmla="*/ 86 h 155"/>
                  <a:gd name="T46" fmla="*/ 3 w 148"/>
                  <a:gd name="T47" fmla="*/ 96 h 155"/>
                  <a:gd name="T48" fmla="*/ 34 w 148"/>
                  <a:gd name="T49" fmla="*/ 94 h 155"/>
                  <a:gd name="T50" fmla="*/ 39 w 148"/>
                  <a:gd name="T51" fmla="*/ 106 h 155"/>
                  <a:gd name="T52" fmla="*/ 55 w 148"/>
                  <a:gd name="T53" fmla="*/ 110 h 155"/>
                  <a:gd name="T54" fmla="*/ 64 w 148"/>
                  <a:gd name="T55" fmla="*/ 103 h 155"/>
                  <a:gd name="T56" fmla="*/ 74 w 148"/>
                  <a:gd name="T57" fmla="*/ 106 h 155"/>
                  <a:gd name="T58" fmla="*/ 74 w 148"/>
                  <a:gd name="T59" fmla="*/ 123 h 155"/>
                  <a:gd name="T60" fmla="*/ 78 w 148"/>
                  <a:gd name="T61" fmla="*/ 136 h 155"/>
                  <a:gd name="T62" fmla="*/ 89 w 148"/>
                  <a:gd name="T63" fmla="*/ 133 h 155"/>
                  <a:gd name="T64" fmla="*/ 94 w 148"/>
                  <a:gd name="T65" fmla="*/ 136 h 155"/>
                  <a:gd name="T66" fmla="*/ 101 w 148"/>
                  <a:gd name="T67" fmla="*/ 137 h 155"/>
                  <a:gd name="T68" fmla="*/ 110 w 148"/>
                  <a:gd name="T69" fmla="*/ 143 h 155"/>
                  <a:gd name="T70" fmla="*/ 116 w 148"/>
                  <a:gd name="T71" fmla="*/ 141 h 155"/>
                  <a:gd name="T72" fmla="*/ 127 w 148"/>
                  <a:gd name="T73" fmla="*/ 147 h 155"/>
                  <a:gd name="T74" fmla="*/ 136 w 148"/>
                  <a:gd name="T75" fmla="*/ 153 h 155"/>
                  <a:gd name="T76" fmla="*/ 136 w 148"/>
                  <a:gd name="T77" fmla="*/ 144 h 155"/>
                  <a:gd name="T78" fmla="*/ 125 w 148"/>
                  <a:gd name="T79" fmla="*/ 140 h 155"/>
                  <a:gd name="T80" fmla="*/ 127 w 148"/>
                  <a:gd name="T81" fmla="*/ 123 h 155"/>
                  <a:gd name="T82" fmla="*/ 131 w 148"/>
                  <a:gd name="T83" fmla="*/ 113 h 155"/>
                  <a:gd name="T84" fmla="*/ 141 w 148"/>
                  <a:gd name="T85" fmla="*/ 112 h 155"/>
                  <a:gd name="T86" fmla="*/ 135 w 148"/>
                  <a:gd name="T87" fmla="*/ 102 h 1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48" h="155">
                    <a:moveTo>
                      <a:pt x="135" y="102"/>
                    </a:moveTo>
                    <a:cubicBezTo>
                      <a:pt x="131" y="100"/>
                      <a:pt x="130" y="73"/>
                      <a:pt x="132" y="72"/>
                    </a:cubicBezTo>
                    <a:cubicBezTo>
                      <a:pt x="132" y="72"/>
                      <a:pt x="132" y="73"/>
                      <a:pt x="133" y="73"/>
                    </a:cubicBezTo>
                    <a:cubicBezTo>
                      <a:pt x="132" y="67"/>
                      <a:pt x="132" y="67"/>
                      <a:pt x="132" y="67"/>
                    </a:cubicBezTo>
                    <a:cubicBezTo>
                      <a:pt x="132" y="67"/>
                      <a:pt x="132" y="67"/>
                      <a:pt x="132" y="67"/>
                    </a:cubicBezTo>
                    <a:cubicBezTo>
                      <a:pt x="131" y="67"/>
                      <a:pt x="130" y="66"/>
                      <a:pt x="130" y="65"/>
                    </a:cubicBezTo>
                    <a:cubicBezTo>
                      <a:pt x="130" y="62"/>
                      <a:pt x="132" y="62"/>
                      <a:pt x="132" y="62"/>
                    </a:cubicBezTo>
                    <a:cubicBezTo>
                      <a:pt x="132" y="62"/>
                      <a:pt x="131" y="58"/>
                      <a:pt x="133" y="57"/>
                    </a:cubicBezTo>
                    <a:cubicBezTo>
                      <a:pt x="134" y="57"/>
                      <a:pt x="134" y="57"/>
                      <a:pt x="134" y="56"/>
                    </a:cubicBezTo>
                    <a:cubicBezTo>
                      <a:pt x="135" y="55"/>
                      <a:pt x="136" y="52"/>
                      <a:pt x="136" y="51"/>
                    </a:cubicBezTo>
                    <a:cubicBezTo>
                      <a:pt x="136" y="48"/>
                      <a:pt x="136" y="46"/>
                      <a:pt x="137" y="44"/>
                    </a:cubicBezTo>
                    <a:cubicBezTo>
                      <a:pt x="138" y="42"/>
                      <a:pt x="138" y="39"/>
                      <a:pt x="139" y="38"/>
                    </a:cubicBezTo>
                    <a:cubicBezTo>
                      <a:pt x="140" y="37"/>
                      <a:pt x="140" y="34"/>
                      <a:pt x="142" y="33"/>
                    </a:cubicBezTo>
                    <a:cubicBezTo>
                      <a:pt x="144" y="33"/>
                      <a:pt x="145" y="32"/>
                      <a:pt x="145" y="31"/>
                    </a:cubicBezTo>
                    <a:cubicBezTo>
                      <a:pt x="146" y="30"/>
                      <a:pt x="148" y="29"/>
                      <a:pt x="148" y="27"/>
                    </a:cubicBezTo>
                    <a:cubicBezTo>
                      <a:pt x="148" y="25"/>
                      <a:pt x="145" y="25"/>
                      <a:pt x="145" y="23"/>
                    </a:cubicBezTo>
                    <a:cubicBezTo>
                      <a:pt x="145" y="21"/>
                      <a:pt x="146" y="16"/>
                      <a:pt x="146" y="16"/>
                    </a:cubicBezTo>
                    <a:cubicBezTo>
                      <a:pt x="146" y="16"/>
                      <a:pt x="146" y="16"/>
                      <a:pt x="146" y="16"/>
                    </a:cubicBezTo>
                    <a:cubicBezTo>
                      <a:pt x="142" y="13"/>
                      <a:pt x="138" y="9"/>
                      <a:pt x="137" y="8"/>
                    </a:cubicBezTo>
                    <a:cubicBezTo>
                      <a:pt x="135" y="7"/>
                      <a:pt x="133" y="9"/>
                      <a:pt x="133" y="9"/>
                    </a:cubicBezTo>
                    <a:cubicBezTo>
                      <a:pt x="133" y="9"/>
                      <a:pt x="130" y="7"/>
                      <a:pt x="128" y="9"/>
                    </a:cubicBezTo>
                    <a:cubicBezTo>
                      <a:pt x="126" y="11"/>
                      <a:pt x="123" y="9"/>
                      <a:pt x="123" y="9"/>
                    </a:cubicBezTo>
                    <a:cubicBezTo>
                      <a:pt x="123" y="9"/>
                      <a:pt x="121" y="7"/>
                      <a:pt x="120" y="5"/>
                    </a:cubicBezTo>
                    <a:cubicBezTo>
                      <a:pt x="119" y="4"/>
                      <a:pt x="119" y="3"/>
                      <a:pt x="118" y="3"/>
                    </a:cubicBezTo>
                    <a:cubicBezTo>
                      <a:pt x="118" y="3"/>
                      <a:pt x="118" y="3"/>
                      <a:pt x="118" y="3"/>
                    </a:cubicBezTo>
                    <a:cubicBezTo>
                      <a:pt x="112" y="4"/>
                      <a:pt x="112" y="4"/>
                      <a:pt x="112" y="4"/>
                    </a:cubicBezTo>
                    <a:cubicBezTo>
                      <a:pt x="112" y="4"/>
                      <a:pt x="104" y="0"/>
                      <a:pt x="103" y="3"/>
                    </a:cubicBezTo>
                    <a:cubicBezTo>
                      <a:pt x="101" y="6"/>
                      <a:pt x="100" y="4"/>
                      <a:pt x="96" y="4"/>
                    </a:cubicBezTo>
                    <a:cubicBezTo>
                      <a:pt x="93" y="4"/>
                      <a:pt x="90" y="5"/>
                      <a:pt x="88" y="6"/>
                    </a:cubicBezTo>
                    <a:cubicBezTo>
                      <a:pt x="86" y="7"/>
                      <a:pt x="83" y="5"/>
                      <a:pt x="82" y="6"/>
                    </a:cubicBezTo>
                    <a:cubicBezTo>
                      <a:pt x="80" y="7"/>
                      <a:pt x="79" y="12"/>
                      <a:pt x="79" y="12"/>
                    </a:cubicBezTo>
                    <a:cubicBezTo>
                      <a:pt x="64" y="9"/>
                      <a:pt x="64" y="9"/>
                      <a:pt x="64" y="9"/>
                    </a:cubicBezTo>
                    <a:cubicBezTo>
                      <a:pt x="64" y="9"/>
                      <a:pt x="61" y="4"/>
                      <a:pt x="57" y="4"/>
                    </a:cubicBezTo>
                    <a:cubicBezTo>
                      <a:pt x="54" y="4"/>
                      <a:pt x="49" y="11"/>
                      <a:pt x="49" y="11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9" y="20"/>
                      <a:pt x="49" y="23"/>
                      <a:pt x="48" y="25"/>
                    </a:cubicBezTo>
                    <a:cubicBezTo>
                      <a:pt x="46" y="27"/>
                      <a:pt x="45" y="28"/>
                      <a:pt x="45" y="33"/>
                    </a:cubicBezTo>
                    <a:cubicBezTo>
                      <a:pt x="45" y="38"/>
                      <a:pt x="39" y="46"/>
                      <a:pt x="39" y="50"/>
                    </a:cubicBezTo>
                    <a:cubicBezTo>
                      <a:pt x="39" y="54"/>
                      <a:pt x="32" y="56"/>
                      <a:pt x="32" y="59"/>
                    </a:cubicBezTo>
                    <a:cubicBezTo>
                      <a:pt x="32" y="61"/>
                      <a:pt x="31" y="67"/>
                      <a:pt x="31" y="72"/>
                    </a:cubicBezTo>
                    <a:cubicBezTo>
                      <a:pt x="31" y="78"/>
                      <a:pt x="28" y="73"/>
                      <a:pt x="28" y="78"/>
                    </a:cubicBezTo>
                    <a:cubicBezTo>
                      <a:pt x="28" y="83"/>
                      <a:pt x="26" y="80"/>
                      <a:pt x="23" y="83"/>
                    </a:cubicBezTo>
                    <a:cubicBezTo>
                      <a:pt x="21" y="85"/>
                      <a:pt x="20" y="86"/>
                      <a:pt x="20" y="83"/>
                    </a:cubicBezTo>
                    <a:cubicBezTo>
                      <a:pt x="20" y="81"/>
                      <a:pt x="16" y="80"/>
                      <a:pt x="13" y="83"/>
                    </a:cubicBezTo>
                    <a:cubicBezTo>
                      <a:pt x="10" y="85"/>
                      <a:pt x="9" y="83"/>
                      <a:pt x="8" y="82"/>
                    </a:cubicBezTo>
                    <a:cubicBezTo>
                      <a:pt x="7" y="82"/>
                      <a:pt x="4" y="84"/>
                      <a:pt x="0" y="86"/>
                    </a:cubicBezTo>
                    <a:cubicBezTo>
                      <a:pt x="2" y="89"/>
                      <a:pt x="3" y="92"/>
                      <a:pt x="3" y="95"/>
                    </a:cubicBezTo>
                    <a:cubicBezTo>
                      <a:pt x="3" y="95"/>
                      <a:pt x="3" y="96"/>
                      <a:pt x="3" y="96"/>
                    </a:cubicBezTo>
                    <a:cubicBezTo>
                      <a:pt x="5" y="95"/>
                      <a:pt x="7" y="94"/>
                      <a:pt x="8" y="94"/>
                    </a:cubicBezTo>
                    <a:cubicBezTo>
                      <a:pt x="10" y="93"/>
                      <a:pt x="34" y="94"/>
                      <a:pt x="34" y="94"/>
                    </a:cubicBezTo>
                    <a:cubicBezTo>
                      <a:pt x="34" y="94"/>
                      <a:pt x="36" y="97"/>
                      <a:pt x="35" y="100"/>
                    </a:cubicBezTo>
                    <a:cubicBezTo>
                      <a:pt x="35" y="103"/>
                      <a:pt x="37" y="102"/>
                      <a:pt x="39" y="106"/>
                    </a:cubicBezTo>
                    <a:cubicBezTo>
                      <a:pt x="40" y="111"/>
                      <a:pt x="42" y="112"/>
                      <a:pt x="45" y="111"/>
                    </a:cubicBezTo>
                    <a:cubicBezTo>
                      <a:pt x="49" y="110"/>
                      <a:pt x="53" y="110"/>
                      <a:pt x="55" y="110"/>
                    </a:cubicBezTo>
                    <a:cubicBezTo>
                      <a:pt x="56" y="110"/>
                      <a:pt x="56" y="104"/>
                      <a:pt x="58" y="103"/>
                    </a:cubicBezTo>
                    <a:cubicBezTo>
                      <a:pt x="60" y="102"/>
                      <a:pt x="64" y="103"/>
                      <a:pt x="64" y="103"/>
                    </a:cubicBezTo>
                    <a:cubicBezTo>
                      <a:pt x="64" y="103"/>
                      <a:pt x="65" y="105"/>
                      <a:pt x="68" y="105"/>
                    </a:cubicBezTo>
                    <a:cubicBezTo>
                      <a:pt x="72" y="105"/>
                      <a:pt x="74" y="103"/>
                      <a:pt x="74" y="106"/>
                    </a:cubicBezTo>
                    <a:cubicBezTo>
                      <a:pt x="74" y="108"/>
                      <a:pt x="74" y="111"/>
                      <a:pt x="75" y="112"/>
                    </a:cubicBezTo>
                    <a:cubicBezTo>
                      <a:pt x="76" y="113"/>
                      <a:pt x="72" y="122"/>
                      <a:pt x="74" y="123"/>
                    </a:cubicBezTo>
                    <a:cubicBezTo>
                      <a:pt x="76" y="125"/>
                      <a:pt x="78" y="128"/>
                      <a:pt x="78" y="130"/>
                    </a:cubicBezTo>
                    <a:cubicBezTo>
                      <a:pt x="78" y="132"/>
                      <a:pt x="76" y="136"/>
                      <a:pt x="78" y="136"/>
                    </a:cubicBezTo>
                    <a:cubicBezTo>
                      <a:pt x="79" y="137"/>
                      <a:pt x="80" y="134"/>
                      <a:pt x="82" y="134"/>
                    </a:cubicBezTo>
                    <a:cubicBezTo>
                      <a:pt x="85" y="134"/>
                      <a:pt x="87" y="135"/>
                      <a:pt x="89" y="133"/>
                    </a:cubicBezTo>
                    <a:cubicBezTo>
                      <a:pt x="90" y="133"/>
                      <a:pt x="91" y="133"/>
                      <a:pt x="91" y="134"/>
                    </a:cubicBezTo>
                    <a:cubicBezTo>
                      <a:pt x="93" y="134"/>
                      <a:pt x="94" y="136"/>
                      <a:pt x="94" y="136"/>
                    </a:cubicBezTo>
                    <a:cubicBezTo>
                      <a:pt x="94" y="136"/>
                      <a:pt x="94" y="138"/>
                      <a:pt x="96" y="137"/>
                    </a:cubicBezTo>
                    <a:cubicBezTo>
                      <a:pt x="97" y="137"/>
                      <a:pt x="101" y="136"/>
                      <a:pt x="101" y="137"/>
                    </a:cubicBezTo>
                    <a:cubicBezTo>
                      <a:pt x="100" y="138"/>
                      <a:pt x="102" y="142"/>
                      <a:pt x="103" y="141"/>
                    </a:cubicBezTo>
                    <a:cubicBezTo>
                      <a:pt x="105" y="140"/>
                      <a:pt x="108" y="143"/>
                      <a:pt x="110" y="143"/>
                    </a:cubicBezTo>
                    <a:cubicBezTo>
                      <a:pt x="112" y="143"/>
                      <a:pt x="114" y="143"/>
                      <a:pt x="114" y="142"/>
                    </a:cubicBezTo>
                    <a:cubicBezTo>
                      <a:pt x="114" y="141"/>
                      <a:pt x="116" y="139"/>
                      <a:pt x="116" y="141"/>
                    </a:cubicBezTo>
                    <a:cubicBezTo>
                      <a:pt x="117" y="142"/>
                      <a:pt x="119" y="145"/>
                      <a:pt x="121" y="145"/>
                    </a:cubicBezTo>
                    <a:cubicBezTo>
                      <a:pt x="122" y="145"/>
                      <a:pt x="127" y="145"/>
                      <a:pt x="127" y="147"/>
                    </a:cubicBezTo>
                    <a:cubicBezTo>
                      <a:pt x="127" y="148"/>
                      <a:pt x="128" y="152"/>
                      <a:pt x="130" y="153"/>
                    </a:cubicBezTo>
                    <a:cubicBezTo>
                      <a:pt x="132" y="155"/>
                      <a:pt x="136" y="153"/>
                      <a:pt x="136" y="153"/>
                    </a:cubicBezTo>
                    <a:cubicBezTo>
                      <a:pt x="136" y="153"/>
                      <a:pt x="137" y="152"/>
                      <a:pt x="137" y="150"/>
                    </a:cubicBezTo>
                    <a:cubicBezTo>
                      <a:pt x="137" y="147"/>
                      <a:pt x="137" y="144"/>
                      <a:pt x="136" y="144"/>
                    </a:cubicBezTo>
                    <a:cubicBezTo>
                      <a:pt x="135" y="144"/>
                      <a:pt x="133" y="147"/>
                      <a:pt x="131" y="146"/>
                    </a:cubicBezTo>
                    <a:cubicBezTo>
                      <a:pt x="128" y="145"/>
                      <a:pt x="126" y="140"/>
                      <a:pt x="125" y="140"/>
                    </a:cubicBezTo>
                    <a:cubicBezTo>
                      <a:pt x="124" y="139"/>
                      <a:pt x="127" y="134"/>
                      <a:pt x="127" y="132"/>
                    </a:cubicBezTo>
                    <a:cubicBezTo>
                      <a:pt x="127" y="130"/>
                      <a:pt x="129" y="124"/>
                      <a:pt x="127" y="123"/>
                    </a:cubicBezTo>
                    <a:cubicBezTo>
                      <a:pt x="126" y="122"/>
                      <a:pt x="127" y="120"/>
                      <a:pt x="129" y="119"/>
                    </a:cubicBezTo>
                    <a:cubicBezTo>
                      <a:pt x="130" y="117"/>
                      <a:pt x="128" y="113"/>
                      <a:pt x="131" y="113"/>
                    </a:cubicBezTo>
                    <a:cubicBezTo>
                      <a:pt x="133" y="113"/>
                      <a:pt x="139" y="114"/>
                      <a:pt x="140" y="112"/>
                    </a:cubicBezTo>
                    <a:cubicBezTo>
                      <a:pt x="140" y="112"/>
                      <a:pt x="141" y="112"/>
                      <a:pt x="141" y="112"/>
                    </a:cubicBezTo>
                    <a:cubicBezTo>
                      <a:pt x="141" y="111"/>
                      <a:pt x="141" y="111"/>
                      <a:pt x="141" y="110"/>
                    </a:cubicBezTo>
                    <a:cubicBezTo>
                      <a:pt x="139" y="107"/>
                      <a:pt x="138" y="103"/>
                      <a:pt x="135" y="10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5" name="Freeform 166">
                <a:extLst>
                  <a:ext uri="{FF2B5EF4-FFF2-40B4-BE49-F238E27FC236}">
                    <a16:creationId xmlns:a16="http://schemas.microsoft.com/office/drawing/2014/main" id="{919D173C-7F86-45C2-AB0F-C6F6311809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0464" y="4132459"/>
                <a:ext cx="30113" cy="38896"/>
              </a:xfrm>
              <a:custGeom>
                <a:avLst/>
                <a:gdLst>
                  <a:gd name="T0" fmla="*/ 1 w 13"/>
                  <a:gd name="T1" fmla="*/ 8 h 17"/>
                  <a:gd name="T2" fmla="*/ 3 w 13"/>
                  <a:gd name="T3" fmla="*/ 17 h 17"/>
                  <a:gd name="T4" fmla="*/ 6 w 13"/>
                  <a:gd name="T5" fmla="*/ 15 h 17"/>
                  <a:gd name="T6" fmla="*/ 13 w 13"/>
                  <a:gd name="T7" fmla="*/ 5 h 17"/>
                  <a:gd name="T8" fmla="*/ 10 w 13"/>
                  <a:gd name="T9" fmla="*/ 4 h 17"/>
                  <a:gd name="T10" fmla="*/ 10 w 13"/>
                  <a:gd name="T11" fmla="*/ 0 h 17"/>
                  <a:gd name="T12" fmla="*/ 6 w 13"/>
                  <a:gd name="T13" fmla="*/ 0 h 17"/>
                  <a:gd name="T14" fmla="*/ 2 w 13"/>
                  <a:gd name="T15" fmla="*/ 2 h 17"/>
                  <a:gd name="T16" fmla="*/ 0 w 13"/>
                  <a:gd name="T17" fmla="*/ 2 h 17"/>
                  <a:gd name="T18" fmla="*/ 0 w 13"/>
                  <a:gd name="T19" fmla="*/ 2 h 17"/>
                  <a:gd name="T20" fmla="*/ 1 w 13"/>
                  <a:gd name="T21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3" h="17">
                    <a:moveTo>
                      <a:pt x="1" y="8"/>
                    </a:moveTo>
                    <a:cubicBezTo>
                      <a:pt x="1" y="10"/>
                      <a:pt x="2" y="13"/>
                      <a:pt x="3" y="17"/>
                    </a:cubicBezTo>
                    <a:cubicBezTo>
                      <a:pt x="4" y="16"/>
                      <a:pt x="5" y="15"/>
                      <a:pt x="6" y="15"/>
                    </a:cubicBezTo>
                    <a:cubicBezTo>
                      <a:pt x="8" y="14"/>
                      <a:pt x="13" y="5"/>
                      <a:pt x="13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1" y="2"/>
                      <a:pt x="10" y="0"/>
                    </a:cubicBezTo>
                    <a:cubicBezTo>
                      <a:pt x="8" y="0"/>
                      <a:pt x="6" y="0"/>
                      <a:pt x="6" y="0"/>
                    </a:cubicBezTo>
                    <a:cubicBezTo>
                      <a:pt x="6" y="0"/>
                      <a:pt x="7" y="3"/>
                      <a:pt x="2" y="2"/>
                    </a:cubicBezTo>
                    <a:cubicBezTo>
                      <a:pt x="2" y="2"/>
                      <a:pt x="1" y="2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lnTo>
                      <a:pt x="1" y="8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6" name="Freeform 167">
                <a:extLst>
                  <a:ext uri="{FF2B5EF4-FFF2-40B4-BE49-F238E27FC236}">
                    <a16:creationId xmlns:a16="http://schemas.microsoft.com/office/drawing/2014/main" id="{2E2141BC-6271-4181-8663-5D32A4C986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9284" y="4284281"/>
                <a:ext cx="198247" cy="318700"/>
              </a:xfrm>
              <a:custGeom>
                <a:avLst/>
                <a:gdLst>
                  <a:gd name="T0" fmla="*/ 85 w 86"/>
                  <a:gd name="T1" fmla="*/ 35 h 138"/>
                  <a:gd name="T2" fmla="*/ 83 w 86"/>
                  <a:gd name="T3" fmla="*/ 20 h 138"/>
                  <a:gd name="T4" fmla="*/ 82 w 86"/>
                  <a:gd name="T5" fmla="*/ 0 h 138"/>
                  <a:gd name="T6" fmla="*/ 82 w 86"/>
                  <a:gd name="T7" fmla="*/ 0 h 138"/>
                  <a:gd name="T8" fmla="*/ 73 w 86"/>
                  <a:gd name="T9" fmla="*/ 5 h 138"/>
                  <a:gd name="T10" fmla="*/ 68 w 86"/>
                  <a:gd name="T11" fmla="*/ 6 h 138"/>
                  <a:gd name="T12" fmla="*/ 63 w 86"/>
                  <a:gd name="T13" fmla="*/ 6 h 138"/>
                  <a:gd name="T14" fmla="*/ 60 w 86"/>
                  <a:gd name="T15" fmla="*/ 9 h 138"/>
                  <a:gd name="T16" fmla="*/ 56 w 86"/>
                  <a:gd name="T17" fmla="*/ 9 h 138"/>
                  <a:gd name="T18" fmla="*/ 49 w 86"/>
                  <a:gd name="T19" fmla="*/ 10 h 138"/>
                  <a:gd name="T20" fmla="*/ 46 w 86"/>
                  <a:gd name="T21" fmla="*/ 8 h 138"/>
                  <a:gd name="T22" fmla="*/ 41 w 86"/>
                  <a:gd name="T23" fmla="*/ 9 h 138"/>
                  <a:gd name="T24" fmla="*/ 37 w 86"/>
                  <a:gd name="T25" fmla="*/ 8 h 138"/>
                  <a:gd name="T26" fmla="*/ 36 w 86"/>
                  <a:gd name="T27" fmla="*/ 11 h 138"/>
                  <a:gd name="T28" fmla="*/ 40 w 86"/>
                  <a:gd name="T29" fmla="*/ 28 h 138"/>
                  <a:gd name="T30" fmla="*/ 45 w 86"/>
                  <a:gd name="T31" fmla="*/ 33 h 138"/>
                  <a:gd name="T32" fmla="*/ 45 w 86"/>
                  <a:gd name="T33" fmla="*/ 41 h 138"/>
                  <a:gd name="T34" fmla="*/ 40 w 86"/>
                  <a:gd name="T35" fmla="*/ 46 h 138"/>
                  <a:gd name="T36" fmla="*/ 40 w 86"/>
                  <a:gd name="T37" fmla="*/ 54 h 138"/>
                  <a:gd name="T38" fmla="*/ 32 w 86"/>
                  <a:gd name="T39" fmla="*/ 44 h 138"/>
                  <a:gd name="T40" fmla="*/ 34 w 86"/>
                  <a:gd name="T41" fmla="*/ 33 h 138"/>
                  <a:gd name="T42" fmla="*/ 28 w 86"/>
                  <a:gd name="T43" fmla="*/ 32 h 138"/>
                  <a:gd name="T44" fmla="*/ 22 w 86"/>
                  <a:gd name="T45" fmla="*/ 29 h 138"/>
                  <a:gd name="T46" fmla="*/ 0 w 86"/>
                  <a:gd name="T47" fmla="*/ 37 h 138"/>
                  <a:gd name="T48" fmla="*/ 1 w 86"/>
                  <a:gd name="T49" fmla="*/ 43 h 138"/>
                  <a:gd name="T50" fmla="*/ 1 w 86"/>
                  <a:gd name="T51" fmla="*/ 43 h 138"/>
                  <a:gd name="T52" fmla="*/ 2 w 86"/>
                  <a:gd name="T53" fmla="*/ 45 h 138"/>
                  <a:gd name="T54" fmla="*/ 12 w 86"/>
                  <a:gd name="T55" fmla="*/ 48 h 138"/>
                  <a:gd name="T56" fmla="*/ 22 w 86"/>
                  <a:gd name="T57" fmla="*/ 51 h 138"/>
                  <a:gd name="T58" fmla="*/ 22 w 86"/>
                  <a:gd name="T59" fmla="*/ 63 h 138"/>
                  <a:gd name="T60" fmla="*/ 20 w 86"/>
                  <a:gd name="T61" fmla="*/ 71 h 138"/>
                  <a:gd name="T62" fmla="*/ 22 w 86"/>
                  <a:gd name="T63" fmla="*/ 77 h 138"/>
                  <a:gd name="T64" fmla="*/ 18 w 86"/>
                  <a:gd name="T65" fmla="*/ 83 h 138"/>
                  <a:gd name="T66" fmla="*/ 16 w 86"/>
                  <a:gd name="T67" fmla="*/ 91 h 138"/>
                  <a:gd name="T68" fmla="*/ 8 w 86"/>
                  <a:gd name="T69" fmla="*/ 99 h 138"/>
                  <a:gd name="T70" fmla="*/ 8 w 86"/>
                  <a:gd name="T71" fmla="*/ 99 h 138"/>
                  <a:gd name="T72" fmla="*/ 13 w 86"/>
                  <a:gd name="T73" fmla="*/ 114 h 138"/>
                  <a:gd name="T74" fmla="*/ 14 w 86"/>
                  <a:gd name="T75" fmla="*/ 129 h 138"/>
                  <a:gd name="T76" fmla="*/ 15 w 86"/>
                  <a:gd name="T77" fmla="*/ 138 h 138"/>
                  <a:gd name="T78" fmla="*/ 21 w 86"/>
                  <a:gd name="T79" fmla="*/ 137 h 138"/>
                  <a:gd name="T80" fmla="*/ 21 w 86"/>
                  <a:gd name="T81" fmla="*/ 133 h 138"/>
                  <a:gd name="T82" fmla="*/ 18 w 86"/>
                  <a:gd name="T83" fmla="*/ 130 h 138"/>
                  <a:gd name="T84" fmla="*/ 31 w 86"/>
                  <a:gd name="T85" fmla="*/ 121 h 138"/>
                  <a:gd name="T86" fmla="*/ 41 w 86"/>
                  <a:gd name="T87" fmla="*/ 115 h 138"/>
                  <a:gd name="T88" fmla="*/ 41 w 86"/>
                  <a:gd name="T89" fmla="*/ 103 h 138"/>
                  <a:gd name="T90" fmla="*/ 40 w 86"/>
                  <a:gd name="T91" fmla="*/ 93 h 138"/>
                  <a:gd name="T92" fmla="*/ 36 w 86"/>
                  <a:gd name="T93" fmla="*/ 83 h 138"/>
                  <a:gd name="T94" fmla="*/ 37 w 86"/>
                  <a:gd name="T95" fmla="*/ 77 h 138"/>
                  <a:gd name="T96" fmla="*/ 41 w 86"/>
                  <a:gd name="T97" fmla="*/ 72 h 138"/>
                  <a:gd name="T98" fmla="*/ 48 w 86"/>
                  <a:gd name="T99" fmla="*/ 68 h 138"/>
                  <a:gd name="T100" fmla="*/ 56 w 86"/>
                  <a:gd name="T101" fmla="*/ 59 h 138"/>
                  <a:gd name="T102" fmla="*/ 72 w 86"/>
                  <a:gd name="T103" fmla="*/ 52 h 138"/>
                  <a:gd name="T104" fmla="*/ 85 w 86"/>
                  <a:gd name="T105" fmla="*/ 35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86" h="138">
                    <a:moveTo>
                      <a:pt x="85" y="35"/>
                    </a:moveTo>
                    <a:cubicBezTo>
                      <a:pt x="84" y="33"/>
                      <a:pt x="82" y="23"/>
                      <a:pt x="83" y="20"/>
                    </a:cubicBezTo>
                    <a:cubicBezTo>
                      <a:pt x="83" y="16"/>
                      <a:pt x="82" y="5"/>
                      <a:pt x="82" y="0"/>
                    </a:cubicBezTo>
                    <a:cubicBezTo>
                      <a:pt x="82" y="0"/>
                      <a:pt x="82" y="0"/>
                      <a:pt x="82" y="0"/>
                    </a:cubicBezTo>
                    <a:cubicBezTo>
                      <a:pt x="78" y="2"/>
                      <a:pt x="74" y="4"/>
                      <a:pt x="73" y="5"/>
                    </a:cubicBezTo>
                    <a:cubicBezTo>
                      <a:pt x="73" y="6"/>
                      <a:pt x="70" y="4"/>
                      <a:pt x="68" y="6"/>
                    </a:cubicBezTo>
                    <a:cubicBezTo>
                      <a:pt x="66" y="8"/>
                      <a:pt x="65" y="6"/>
                      <a:pt x="63" y="6"/>
                    </a:cubicBezTo>
                    <a:cubicBezTo>
                      <a:pt x="61" y="5"/>
                      <a:pt x="61" y="7"/>
                      <a:pt x="60" y="9"/>
                    </a:cubicBezTo>
                    <a:cubicBezTo>
                      <a:pt x="60" y="10"/>
                      <a:pt x="57" y="10"/>
                      <a:pt x="56" y="9"/>
                    </a:cubicBezTo>
                    <a:cubicBezTo>
                      <a:pt x="54" y="9"/>
                      <a:pt x="51" y="10"/>
                      <a:pt x="49" y="10"/>
                    </a:cubicBezTo>
                    <a:cubicBezTo>
                      <a:pt x="47" y="10"/>
                      <a:pt x="48" y="9"/>
                      <a:pt x="46" y="8"/>
                    </a:cubicBezTo>
                    <a:cubicBezTo>
                      <a:pt x="44" y="7"/>
                      <a:pt x="43" y="9"/>
                      <a:pt x="41" y="9"/>
                    </a:cubicBezTo>
                    <a:cubicBezTo>
                      <a:pt x="41" y="9"/>
                      <a:pt x="38" y="9"/>
                      <a:pt x="37" y="8"/>
                    </a:cubicBezTo>
                    <a:cubicBezTo>
                      <a:pt x="37" y="10"/>
                      <a:pt x="37" y="10"/>
                      <a:pt x="36" y="11"/>
                    </a:cubicBezTo>
                    <a:cubicBezTo>
                      <a:pt x="35" y="15"/>
                      <a:pt x="40" y="24"/>
                      <a:pt x="40" y="28"/>
                    </a:cubicBezTo>
                    <a:cubicBezTo>
                      <a:pt x="42" y="30"/>
                      <a:pt x="44" y="32"/>
                      <a:pt x="45" y="33"/>
                    </a:cubicBezTo>
                    <a:cubicBezTo>
                      <a:pt x="47" y="36"/>
                      <a:pt x="45" y="35"/>
                      <a:pt x="45" y="41"/>
                    </a:cubicBezTo>
                    <a:cubicBezTo>
                      <a:pt x="45" y="47"/>
                      <a:pt x="43" y="44"/>
                      <a:pt x="40" y="46"/>
                    </a:cubicBezTo>
                    <a:cubicBezTo>
                      <a:pt x="38" y="48"/>
                      <a:pt x="40" y="52"/>
                      <a:pt x="40" y="54"/>
                    </a:cubicBezTo>
                    <a:cubicBezTo>
                      <a:pt x="39" y="55"/>
                      <a:pt x="33" y="45"/>
                      <a:pt x="32" y="44"/>
                    </a:cubicBezTo>
                    <a:cubicBezTo>
                      <a:pt x="32" y="42"/>
                      <a:pt x="35" y="37"/>
                      <a:pt x="34" y="33"/>
                    </a:cubicBezTo>
                    <a:cubicBezTo>
                      <a:pt x="33" y="30"/>
                      <a:pt x="29" y="32"/>
                      <a:pt x="28" y="32"/>
                    </a:cubicBezTo>
                    <a:cubicBezTo>
                      <a:pt x="26" y="33"/>
                      <a:pt x="23" y="29"/>
                      <a:pt x="22" y="29"/>
                    </a:cubicBezTo>
                    <a:cubicBezTo>
                      <a:pt x="21" y="29"/>
                      <a:pt x="0" y="37"/>
                      <a:pt x="0" y="37"/>
                    </a:cubicBezTo>
                    <a:cubicBezTo>
                      <a:pt x="1" y="43"/>
                      <a:pt x="1" y="43"/>
                      <a:pt x="1" y="43"/>
                    </a:cubicBezTo>
                    <a:cubicBezTo>
                      <a:pt x="1" y="43"/>
                      <a:pt x="1" y="43"/>
                      <a:pt x="1" y="43"/>
                    </a:cubicBezTo>
                    <a:cubicBezTo>
                      <a:pt x="2" y="45"/>
                      <a:pt x="2" y="45"/>
                      <a:pt x="2" y="45"/>
                    </a:cubicBezTo>
                    <a:cubicBezTo>
                      <a:pt x="2" y="45"/>
                      <a:pt x="9" y="46"/>
                      <a:pt x="12" y="48"/>
                    </a:cubicBezTo>
                    <a:cubicBezTo>
                      <a:pt x="16" y="50"/>
                      <a:pt x="21" y="50"/>
                      <a:pt x="22" y="51"/>
                    </a:cubicBezTo>
                    <a:cubicBezTo>
                      <a:pt x="23" y="52"/>
                      <a:pt x="22" y="60"/>
                      <a:pt x="22" y="63"/>
                    </a:cubicBezTo>
                    <a:cubicBezTo>
                      <a:pt x="22" y="67"/>
                      <a:pt x="18" y="68"/>
                      <a:pt x="20" y="71"/>
                    </a:cubicBezTo>
                    <a:cubicBezTo>
                      <a:pt x="22" y="73"/>
                      <a:pt x="21" y="76"/>
                      <a:pt x="22" y="77"/>
                    </a:cubicBezTo>
                    <a:cubicBezTo>
                      <a:pt x="24" y="77"/>
                      <a:pt x="20" y="82"/>
                      <a:pt x="18" y="83"/>
                    </a:cubicBezTo>
                    <a:cubicBezTo>
                      <a:pt x="16" y="84"/>
                      <a:pt x="18" y="88"/>
                      <a:pt x="16" y="91"/>
                    </a:cubicBezTo>
                    <a:cubicBezTo>
                      <a:pt x="15" y="92"/>
                      <a:pt x="11" y="96"/>
                      <a:pt x="8" y="99"/>
                    </a:cubicBezTo>
                    <a:cubicBezTo>
                      <a:pt x="8" y="99"/>
                      <a:pt x="8" y="99"/>
                      <a:pt x="8" y="99"/>
                    </a:cubicBezTo>
                    <a:cubicBezTo>
                      <a:pt x="9" y="100"/>
                      <a:pt x="11" y="113"/>
                      <a:pt x="13" y="114"/>
                    </a:cubicBezTo>
                    <a:cubicBezTo>
                      <a:pt x="15" y="115"/>
                      <a:pt x="14" y="127"/>
                      <a:pt x="14" y="129"/>
                    </a:cubicBezTo>
                    <a:cubicBezTo>
                      <a:pt x="14" y="130"/>
                      <a:pt x="15" y="138"/>
                      <a:pt x="15" y="138"/>
                    </a:cubicBezTo>
                    <a:cubicBezTo>
                      <a:pt x="15" y="138"/>
                      <a:pt x="18" y="137"/>
                      <a:pt x="21" y="137"/>
                    </a:cubicBezTo>
                    <a:cubicBezTo>
                      <a:pt x="21" y="136"/>
                      <a:pt x="21" y="134"/>
                      <a:pt x="21" y="133"/>
                    </a:cubicBezTo>
                    <a:cubicBezTo>
                      <a:pt x="21" y="130"/>
                      <a:pt x="19" y="133"/>
                      <a:pt x="18" y="130"/>
                    </a:cubicBezTo>
                    <a:cubicBezTo>
                      <a:pt x="17" y="128"/>
                      <a:pt x="24" y="123"/>
                      <a:pt x="31" y="121"/>
                    </a:cubicBezTo>
                    <a:cubicBezTo>
                      <a:pt x="37" y="119"/>
                      <a:pt x="40" y="117"/>
                      <a:pt x="41" y="115"/>
                    </a:cubicBezTo>
                    <a:cubicBezTo>
                      <a:pt x="41" y="112"/>
                      <a:pt x="41" y="106"/>
                      <a:pt x="41" y="103"/>
                    </a:cubicBezTo>
                    <a:cubicBezTo>
                      <a:pt x="42" y="100"/>
                      <a:pt x="41" y="99"/>
                      <a:pt x="40" y="93"/>
                    </a:cubicBezTo>
                    <a:cubicBezTo>
                      <a:pt x="39" y="87"/>
                      <a:pt x="37" y="86"/>
                      <a:pt x="36" y="83"/>
                    </a:cubicBezTo>
                    <a:cubicBezTo>
                      <a:pt x="35" y="79"/>
                      <a:pt x="35" y="77"/>
                      <a:pt x="37" y="77"/>
                    </a:cubicBezTo>
                    <a:cubicBezTo>
                      <a:pt x="39" y="77"/>
                      <a:pt x="39" y="76"/>
                      <a:pt x="41" y="72"/>
                    </a:cubicBezTo>
                    <a:cubicBezTo>
                      <a:pt x="43" y="69"/>
                      <a:pt x="45" y="70"/>
                      <a:pt x="48" y="68"/>
                    </a:cubicBezTo>
                    <a:cubicBezTo>
                      <a:pt x="51" y="66"/>
                      <a:pt x="51" y="63"/>
                      <a:pt x="56" y="59"/>
                    </a:cubicBezTo>
                    <a:cubicBezTo>
                      <a:pt x="61" y="55"/>
                      <a:pt x="67" y="55"/>
                      <a:pt x="72" y="52"/>
                    </a:cubicBezTo>
                    <a:cubicBezTo>
                      <a:pt x="77" y="49"/>
                      <a:pt x="86" y="37"/>
                      <a:pt x="85" y="3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7" name="Freeform 168">
                <a:extLst>
                  <a:ext uri="{FF2B5EF4-FFF2-40B4-BE49-F238E27FC236}">
                    <a16:creationId xmlns:a16="http://schemas.microsoft.com/office/drawing/2014/main" id="{9E9FC834-BA4D-40C7-BCA1-9A8D3C45F8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7992" y="4104855"/>
                <a:ext cx="200756" cy="203266"/>
              </a:xfrm>
              <a:custGeom>
                <a:avLst/>
                <a:gdLst>
                  <a:gd name="T0" fmla="*/ 81 w 87"/>
                  <a:gd name="T1" fmla="*/ 71 h 88"/>
                  <a:gd name="T2" fmla="*/ 78 w 87"/>
                  <a:gd name="T3" fmla="*/ 63 h 88"/>
                  <a:gd name="T4" fmla="*/ 77 w 87"/>
                  <a:gd name="T5" fmla="*/ 56 h 88"/>
                  <a:gd name="T6" fmla="*/ 79 w 87"/>
                  <a:gd name="T7" fmla="*/ 50 h 88"/>
                  <a:gd name="T8" fmla="*/ 75 w 87"/>
                  <a:gd name="T9" fmla="*/ 43 h 88"/>
                  <a:gd name="T10" fmla="*/ 78 w 87"/>
                  <a:gd name="T11" fmla="*/ 31 h 88"/>
                  <a:gd name="T12" fmla="*/ 65 w 87"/>
                  <a:gd name="T13" fmla="*/ 21 h 88"/>
                  <a:gd name="T14" fmla="*/ 65 w 87"/>
                  <a:gd name="T15" fmla="*/ 16 h 88"/>
                  <a:gd name="T16" fmla="*/ 35 w 87"/>
                  <a:gd name="T17" fmla="*/ 0 h 88"/>
                  <a:gd name="T18" fmla="*/ 31 w 87"/>
                  <a:gd name="T19" fmla="*/ 8 h 88"/>
                  <a:gd name="T20" fmla="*/ 31 w 87"/>
                  <a:gd name="T21" fmla="*/ 13 h 88"/>
                  <a:gd name="T22" fmla="*/ 18 w 87"/>
                  <a:gd name="T23" fmla="*/ 12 h 88"/>
                  <a:gd name="T24" fmla="*/ 18 w 87"/>
                  <a:gd name="T25" fmla="*/ 0 h 88"/>
                  <a:gd name="T26" fmla="*/ 12 w 87"/>
                  <a:gd name="T27" fmla="*/ 0 h 88"/>
                  <a:gd name="T28" fmla="*/ 8 w 87"/>
                  <a:gd name="T29" fmla="*/ 1 h 88"/>
                  <a:gd name="T30" fmla="*/ 9 w 87"/>
                  <a:gd name="T31" fmla="*/ 5 h 88"/>
                  <a:gd name="T32" fmla="*/ 10 w 87"/>
                  <a:gd name="T33" fmla="*/ 10 h 88"/>
                  <a:gd name="T34" fmla="*/ 7 w 87"/>
                  <a:gd name="T35" fmla="*/ 12 h 88"/>
                  <a:gd name="T36" fmla="*/ 7 w 87"/>
                  <a:gd name="T37" fmla="*/ 16 h 88"/>
                  <a:gd name="T38" fmla="*/ 10 w 87"/>
                  <a:gd name="T39" fmla="*/ 17 h 88"/>
                  <a:gd name="T40" fmla="*/ 3 w 87"/>
                  <a:gd name="T41" fmla="*/ 27 h 88"/>
                  <a:gd name="T42" fmla="*/ 0 w 87"/>
                  <a:gd name="T43" fmla="*/ 29 h 88"/>
                  <a:gd name="T44" fmla="*/ 4 w 87"/>
                  <a:gd name="T45" fmla="*/ 44 h 88"/>
                  <a:gd name="T46" fmla="*/ 9 w 87"/>
                  <a:gd name="T47" fmla="*/ 54 h 88"/>
                  <a:gd name="T48" fmla="*/ 11 w 87"/>
                  <a:gd name="T49" fmla="*/ 61 h 88"/>
                  <a:gd name="T50" fmla="*/ 6 w 87"/>
                  <a:gd name="T51" fmla="*/ 57 h 88"/>
                  <a:gd name="T52" fmla="*/ 6 w 87"/>
                  <a:gd name="T53" fmla="*/ 59 h 88"/>
                  <a:gd name="T54" fmla="*/ 5 w 87"/>
                  <a:gd name="T55" fmla="*/ 59 h 88"/>
                  <a:gd name="T56" fmla="*/ 11 w 87"/>
                  <a:gd name="T57" fmla="*/ 62 h 88"/>
                  <a:gd name="T58" fmla="*/ 19 w 87"/>
                  <a:gd name="T59" fmla="*/ 65 h 88"/>
                  <a:gd name="T60" fmla="*/ 29 w 87"/>
                  <a:gd name="T61" fmla="*/ 70 h 88"/>
                  <a:gd name="T62" fmla="*/ 29 w 87"/>
                  <a:gd name="T63" fmla="*/ 71 h 88"/>
                  <a:gd name="T64" fmla="*/ 35 w 87"/>
                  <a:gd name="T65" fmla="*/ 71 h 88"/>
                  <a:gd name="T66" fmla="*/ 36 w 87"/>
                  <a:gd name="T67" fmla="*/ 70 h 88"/>
                  <a:gd name="T68" fmla="*/ 42 w 87"/>
                  <a:gd name="T69" fmla="*/ 86 h 88"/>
                  <a:gd name="T70" fmla="*/ 46 w 87"/>
                  <a:gd name="T71" fmla="*/ 87 h 88"/>
                  <a:gd name="T72" fmla="*/ 51 w 87"/>
                  <a:gd name="T73" fmla="*/ 86 h 88"/>
                  <a:gd name="T74" fmla="*/ 54 w 87"/>
                  <a:gd name="T75" fmla="*/ 88 h 88"/>
                  <a:gd name="T76" fmla="*/ 61 w 87"/>
                  <a:gd name="T77" fmla="*/ 87 h 88"/>
                  <a:gd name="T78" fmla="*/ 65 w 87"/>
                  <a:gd name="T79" fmla="*/ 87 h 88"/>
                  <a:gd name="T80" fmla="*/ 68 w 87"/>
                  <a:gd name="T81" fmla="*/ 84 h 88"/>
                  <a:gd name="T82" fmla="*/ 73 w 87"/>
                  <a:gd name="T83" fmla="*/ 84 h 88"/>
                  <a:gd name="T84" fmla="*/ 78 w 87"/>
                  <a:gd name="T85" fmla="*/ 83 h 88"/>
                  <a:gd name="T86" fmla="*/ 87 w 87"/>
                  <a:gd name="T87" fmla="*/ 78 h 88"/>
                  <a:gd name="T88" fmla="*/ 81 w 87"/>
                  <a:gd name="T89" fmla="*/ 71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87" h="88">
                    <a:moveTo>
                      <a:pt x="81" y="71"/>
                    </a:moveTo>
                    <a:cubicBezTo>
                      <a:pt x="81" y="66"/>
                      <a:pt x="78" y="66"/>
                      <a:pt x="78" y="63"/>
                    </a:cubicBezTo>
                    <a:cubicBezTo>
                      <a:pt x="78" y="59"/>
                      <a:pt x="79" y="56"/>
                      <a:pt x="77" y="56"/>
                    </a:cubicBezTo>
                    <a:cubicBezTo>
                      <a:pt x="76" y="55"/>
                      <a:pt x="77" y="53"/>
                      <a:pt x="79" y="50"/>
                    </a:cubicBezTo>
                    <a:cubicBezTo>
                      <a:pt x="81" y="47"/>
                      <a:pt x="75" y="47"/>
                      <a:pt x="75" y="43"/>
                    </a:cubicBezTo>
                    <a:cubicBezTo>
                      <a:pt x="74" y="41"/>
                      <a:pt x="76" y="36"/>
                      <a:pt x="78" y="31"/>
                    </a:cubicBezTo>
                    <a:cubicBezTo>
                      <a:pt x="72" y="26"/>
                      <a:pt x="65" y="21"/>
                      <a:pt x="65" y="21"/>
                    </a:cubicBezTo>
                    <a:cubicBezTo>
                      <a:pt x="65" y="16"/>
                      <a:pt x="65" y="16"/>
                      <a:pt x="65" y="16"/>
                    </a:cubicBezTo>
                    <a:cubicBezTo>
                      <a:pt x="35" y="0"/>
                      <a:pt x="35" y="0"/>
                      <a:pt x="35" y="0"/>
                    </a:cubicBezTo>
                    <a:cubicBezTo>
                      <a:pt x="35" y="4"/>
                      <a:pt x="33" y="7"/>
                      <a:pt x="31" y="8"/>
                    </a:cubicBezTo>
                    <a:cubicBezTo>
                      <a:pt x="29" y="9"/>
                      <a:pt x="34" y="12"/>
                      <a:pt x="31" y="13"/>
                    </a:cubicBezTo>
                    <a:cubicBezTo>
                      <a:pt x="29" y="13"/>
                      <a:pt x="23" y="10"/>
                      <a:pt x="18" y="12"/>
                    </a:cubicBezTo>
                    <a:cubicBezTo>
                      <a:pt x="15" y="13"/>
                      <a:pt x="16" y="6"/>
                      <a:pt x="18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2" y="0"/>
                      <a:pt x="10" y="1"/>
                      <a:pt x="8" y="1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5"/>
                      <a:pt x="11" y="8"/>
                      <a:pt x="10" y="10"/>
                    </a:cubicBezTo>
                    <a:cubicBezTo>
                      <a:pt x="10" y="11"/>
                      <a:pt x="9" y="11"/>
                      <a:pt x="7" y="12"/>
                    </a:cubicBezTo>
                    <a:cubicBezTo>
                      <a:pt x="8" y="14"/>
                      <a:pt x="7" y="16"/>
                      <a:pt x="7" y="16"/>
                    </a:cubicBezTo>
                    <a:cubicBezTo>
                      <a:pt x="10" y="17"/>
                      <a:pt x="10" y="17"/>
                      <a:pt x="10" y="17"/>
                    </a:cubicBezTo>
                    <a:cubicBezTo>
                      <a:pt x="10" y="17"/>
                      <a:pt x="5" y="26"/>
                      <a:pt x="3" y="27"/>
                    </a:cubicBezTo>
                    <a:cubicBezTo>
                      <a:pt x="2" y="27"/>
                      <a:pt x="1" y="28"/>
                      <a:pt x="0" y="29"/>
                    </a:cubicBezTo>
                    <a:cubicBezTo>
                      <a:pt x="1" y="35"/>
                      <a:pt x="2" y="42"/>
                      <a:pt x="4" y="44"/>
                    </a:cubicBezTo>
                    <a:cubicBezTo>
                      <a:pt x="9" y="48"/>
                      <a:pt x="8" y="52"/>
                      <a:pt x="9" y="54"/>
                    </a:cubicBezTo>
                    <a:cubicBezTo>
                      <a:pt x="10" y="57"/>
                      <a:pt x="13" y="60"/>
                      <a:pt x="11" y="61"/>
                    </a:cubicBezTo>
                    <a:cubicBezTo>
                      <a:pt x="9" y="62"/>
                      <a:pt x="8" y="60"/>
                      <a:pt x="6" y="57"/>
                    </a:cubicBezTo>
                    <a:cubicBezTo>
                      <a:pt x="6" y="58"/>
                      <a:pt x="6" y="58"/>
                      <a:pt x="6" y="59"/>
                    </a:cubicBezTo>
                    <a:cubicBezTo>
                      <a:pt x="6" y="59"/>
                      <a:pt x="5" y="59"/>
                      <a:pt x="5" y="59"/>
                    </a:cubicBezTo>
                    <a:cubicBezTo>
                      <a:pt x="8" y="61"/>
                      <a:pt x="10" y="62"/>
                      <a:pt x="11" y="62"/>
                    </a:cubicBezTo>
                    <a:cubicBezTo>
                      <a:pt x="13" y="62"/>
                      <a:pt x="17" y="65"/>
                      <a:pt x="19" y="65"/>
                    </a:cubicBezTo>
                    <a:cubicBezTo>
                      <a:pt x="21" y="66"/>
                      <a:pt x="28" y="69"/>
                      <a:pt x="29" y="70"/>
                    </a:cubicBezTo>
                    <a:cubicBezTo>
                      <a:pt x="29" y="70"/>
                      <a:pt x="29" y="70"/>
                      <a:pt x="29" y="71"/>
                    </a:cubicBezTo>
                    <a:cubicBezTo>
                      <a:pt x="31" y="70"/>
                      <a:pt x="33" y="70"/>
                      <a:pt x="35" y="71"/>
                    </a:cubicBezTo>
                    <a:cubicBezTo>
                      <a:pt x="35" y="70"/>
                      <a:pt x="35" y="70"/>
                      <a:pt x="36" y="70"/>
                    </a:cubicBezTo>
                    <a:cubicBezTo>
                      <a:pt x="39" y="70"/>
                      <a:pt x="42" y="80"/>
                      <a:pt x="42" y="86"/>
                    </a:cubicBezTo>
                    <a:cubicBezTo>
                      <a:pt x="43" y="87"/>
                      <a:pt x="46" y="87"/>
                      <a:pt x="46" y="87"/>
                    </a:cubicBezTo>
                    <a:cubicBezTo>
                      <a:pt x="48" y="87"/>
                      <a:pt x="49" y="85"/>
                      <a:pt x="51" y="86"/>
                    </a:cubicBezTo>
                    <a:cubicBezTo>
                      <a:pt x="53" y="87"/>
                      <a:pt x="52" y="88"/>
                      <a:pt x="54" y="88"/>
                    </a:cubicBezTo>
                    <a:cubicBezTo>
                      <a:pt x="56" y="88"/>
                      <a:pt x="59" y="87"/>
                      <a:pt x="61" y="87"/>
                    </a:cubicBezTo>
                    <a:cubicBezTo>
                      <a:pt x="62" y="88"/>
                      <a:pt x="65" y="88"/>
                      <a:pt x="65" y="87"/>
                    </a:cubicBezTo>
                    <a:cubicBezTo>
                      <a:pt x="66" y="85"/>
                      <a:pt x="66" y="83"/>
                      <a:pt x="68" y="84"/>
                    </a:cubicBezTo>
                    <a:cubicBezTo>
                      <a:pt x="70" y="84"/>
                      <a:pt x="71" y="86"/>
                      <a:pt x="73" y="84"/>
                    </a:cubicBezTo>
                    <a:cubicBezTo>
                      <a:pt x="75" y="82"/>
                      <a:pt x="78" y="84"/>
                      <a:pt x="78" y="83"/>
                    </a:cubicBezTo>
                    <a:cubicBezTo>
                      <a:pt x="79" y="82"/>
                      <a:pt x="83" y="80"/>
                      <a:pt x="87" y="78"/>
                    </a:cubicBezTo>
                    <a:cubicBezTo>
                      <a:pt x="87" y="73"/>
                      <a:pt x="82" y="75"/>
                      <a:pt x="81" y="7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8" name="Freeform 169">
                <a:extLst>
                  <a:ext uri="{FF2B5EF4-FFF2-40B4-BE49-F238E27FC236}">
                    <a16:creationId xmlns:a16="http://schemas.microsoft.com/office/drawing/2014/main" id="{F72D6D50-6040-4419-B895-D2118825D5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5709" y="4266714"/>
                <a:ext cx="61482" cy="144293"/>
              </a:xfrm>
              <a:custGeom>
                <a:avLst/>
                <a:gdLst>
                  <a:gd name="T0" fmla="*/ 25 w 27"/>
                  <a:gd name="T1" fmla="*/ 41 h 63"/>
                  <a:gd name="T2" fmla="*/ 20 w 27"/>
                  <a:gd name="T3" fmla="*/ 36 h 63"/>
                  <a:gd name="T4" fmla="*/ 20 w 27"/>
                  <a:gd name="T5" fmla="*/ 38 h 63"/>
                  <a:gd name="T6" fmla="*/ 11 w 27"/>
                  <a:gd name="T7" fmla="*/ 25 h 63"/>
                  <a:gd name="T8" fmla="*/ 12 w 27"/>
                  <a:gd name="T9" fmla="*/ 11 h 63"/>
                  <a:gd name="T10" fmla="*/ 10 w 27"/>
                  <a:gd name="T11" fmla="*/ 1 h 63"/>
                  <a:gd name="T12" fmla="*/ 4 w 27"/>
                  <a:gd name="T13" fmla="*/ 1 h 63"/>
                  <a:gd name="T14" fmla="*/ 8 w 27"/>
                  <a:gd name="T15" fmla="*/ 8 h 63"/>
                  <a:gd name="T16" fmla="*/ 5 w 27"/>
                  <a:gd name="T17" fmla="*/ 10 h 63"/>
                  <a:gd name="T18" fmla="*/ 5 w 27"/>
                  <a:gd name="T19" fmla="*/ 23 h 63"/>
                  <a:gd name="T20" fmla="*/ 2 w 27"/>
                  <a:gd name="T21" fmla="*/ 25 h 63"/>
                  <a:gd name="T22" fmla="*/ 1 w 27"/>
                  <a:gd name="T23" fmla="*/ 33 h 63"/>
                  <a:gd name="T24" fmla="*/ 2 w 27"/>
                  <a:gd name="T25" fmla="*/ 37 h 63"/>
                  <a:gd name="T26" fmla="*/ 2 w 27"/>
                  <a:gd name="T27" fmla="*/ 37 h 63"/>
                  <a:gd name="T28" fmla="*/ 8 w 27"/>
                  <a:gd name="T29" fmla="*/ 40 h 63"/>
                  <a:gd name="T30" fmla="*/ 14 w 27"/>
                  <a:gd name="T31" fmla="*/ 41 h 63"/>
                  <a:gd name="T32" fmla="*/ 12 w 27"/>
                  <a:gd name="T33" fmla="*/ 52 h 63"/>
                  <a:gd name="T34" fmla="*/ 20 w 27"/>
                  <a:gd name="T35" fmla="*/ 62 h 63"/>
                  <a:gd name="T36" fmla="*/ 20 w 27"/>
                  <a:gd name="T37" fmla="*/ 54 h 63"/>
                  <a:gd name="T38" fmla="*/ 25 w 27"/>
                  <a:gd name="T39" fmla="*/ 49 h 63"/>
                  <a:gd name="T40" fmla="*/ 25 w 27"/>
                  <a:gd name="T41" fmla="*/ 41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7" h="63">
                    <a:moveTo>
                      <a:pt x="25" y="41"/>
                    </a:moveTo>
                    <a:cubicBezTo>
                      <a:pt x="24" y="40"/>
                      <a:pt x="22" y="38"/>
                      <a:pt x="20" y="36"/>
                    </a:cubicBezTo>
                    <a:cubicBezTo>
                      <a:pt x="20" y="37"/>
                      <a:pt x="20" y="37"/>
                      <a:pt x="20" y="38"/>
                    </a:cubicBezTo>
                    <a:cubicBezTo>
                      <a:pt x="17" y="41"/>
                      <a:pt x="12" y="31"/>
                      <a:pt x="11" y="25"/>
                    </a:cubicBezTo>
                    <a:cubicBezTo>
                      <a:pt x="10" y="19"/>
                      <a:pt x="14" y="17"/>
                      <a:pt x="12" y="11"/>
                    </a:cubicBezTo>
                    <a:cubicBezTo>
                      <a:pt x="10" y="6"/>
                      <a:pt x="8" y="2"/>
                      <a:pt x="10" y="1"/>
                    </a:cubicBezTo>
                    <a:cubicBezTo>
                      <a:pt x="8" y="0"/>
                      <a:pt x="6" y="0"/>
                      <a:pt x="4" y="1"/>
                    </a:cubicBezTo>
                    <a:cubicBezTo>
                      <a:pt x="6" y="3"/>
                      <a:pt x="8" y="7"/>
                      <a:pt x="8" y="8"/>
                    </a:cubicBezTo>
                    <a:cubicBezTo>
                      <a:pt x="8" y="10"/>
                      <a:pt x="6" y="8"/>
                      <a:pt x="5" y="10"/>
                    </a:cubicBezTo>
                    <a:cubicBezTo>
                      <a:pt x="4" y="12"/>
                      <a:pt x="3" y="22"/>
                      <a:pt x="5" y="23"/>
                    </a:cubicBezTo>
                    <a:cubicBezTo>
                      <a:pt x="7" y="25"/>
                      <a:pt x="2" y="24"/>
                      <a:pt x="2" y="25"/>
                    </a:cubicBezTo>
                    <a:cubicBezTo>
                      <a:pt x="2" y="27"/>
                      <a:pt x="1" y="33"/>
                      <a:pt x="1" y="33"/>
                    </a:cubicBezTo>
                    <a:cubicBezTo>
                      <a:pt x="0" y="33"/>
                      <a:pt x="1" y="35"/>
                      <a:pt x="2" y="37"/>
                    </a:cubicBezTo>
                    <a:cubicBezTo>
                      <a:pt x="2" y="37"/>
                      <a:pt x="2" y="37"/>
                      <a:pt x="2" y="37"/>
                    </a:cubicBezTo>
                    <a:cubicBezTo>
                      <a:pt x="3" y="37"/>
                      <a:pt x="6" y="41"/>
                      <a:pt x="8" y="40"/>
                    </a:cubicBezTo>
                    <a:cubicBezTo>
                      <a:pt x="9" y="40"/>
                      <a:pt x="13" y="38"/>
                      <a:pt x="14" y="41"/>
                    </a:cubicBezTo>
                    <a:cubicBezTo>
                      <a:pt x="15" y="45"/>
                      <a:pt x="12" y="50"/>
                      <a:pt x="12" y="52"/>
                    </a:cubicBezTo>
                    <a:cubicBezTo>
                      <a:pt x="13" y="53"/>
                      <a:pt x="19" y="63"/>
                      <a:pt x="20" y="62"/>
                    </a:cubicBezTo>
                    <a:cubicBezTo>
                      <a:pt x="20" y="60"/>
                      <a:pt x="18" y="56"/>
                      <a:pt x="20" y="54"/>
                    </a:cubicBezTo>
                    <a:cubicBezTo>
                      <a:pt x="23" y="52"/>
                      <a:pt x="25" y="55"/>
                      <a:pt x="25" y="49"/>
                    </a:cubicBezTo>
                    <a:cubicBezTo>
                      <a:pt x="25" y="43"/>
                      <a:pt x="27" y="44"/>
                      <a:pt x="25" y="4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9" name="Freeform 170">
                <a:extLst>
                  <a:ext uri="{FF2B5EF4-FFF2-40B4-BE49-F238E27FC236}">
                    <a16:creationId xmlns:a16="http://schemas.microsoft.com/office/drawing/2014/main" id="{B66750E4-EDC1-40DF-9A9D-1FC19EA157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74440" y="3276736"/>
                <a:ext cx="143039" cy="97869"/>
              </a:xfrm>
              <a:custGeom>
                <a:avLst/>
                <a:gdLst>
                  <a:gd name="T0" fmla="*/ 50 w 62"/>
                  <a:gd name="T1" fmla="*/ 34 h 42"/>
                  <a:gd name="T2" fmla="*/ 53 w 62"/>
                  <a:gd name="T3" fmla="*/ 36 h 42"/>
                  <a:gd name="T4" fmla="*/ 59 w 62"/>
                  <a:gd name="T5" fmla="*/ 38 h 42"/>
                  <a:gd name="T6" fmla="*/ 62 w 62"/>
                  <a:gd name="T7" fmla="*/ 38 h 42"/>
                  <a:gd name="T8" fmla="*/ 60 w 62"/>
                  <a:gd name="T9" fmla="*/ 27 h 42"/>
                  <a:gd name="T10" fmla="*/ 52 w 62"/>
                  <a:gd name="T11" fmla="*/ 22 h 42"/>
                  <a:gd name="T12" fmla="*/ 51 w 62"/>
                  <a:gd name="T13" fmla="*/ 15 h 42"/>
                  <a:gd name="T14" fmla="*/ 40 w 62"/>
                  <a:gd name="T15" fmla="*/ 16 h 42"/>
                  <a:gd name="T16" fmla="*/ 34 w 62"/>
                  <a:gd name="T17" fmla="*/ 14 h 42"/>
                  <a:gd name="T18" fmla="*/ 26 w 62"/>
                  <a:gd name="T19" fmla="*/ 14 h 42"/>
                  <a:gd name="T20" fmla="*/ 15 w 62"/>
                  <a:gd name="T21" fmla="*/ 13 h 42"/>
                  <a:gd name="T22" fmla="*/ 21 w 62"/>
                  <a:gd name="T23" fmla="*/ 8 h 42"/>
                  <a:gd name="T24" fmla="*/ 23 w 62"/>
                  <a:gd name="T25" fmla="*/ 8 h 42"/>
                  <a:gd name="T26" fmla="*/ 26 w 62"/>
                  <a:gd name="T27" fmla="*/ 2 h 42"/>
                  <a:gd name="T28" fmla="*/ 20 w 62"/>
                  <a:gd name="T29" fmla="*/ 3 h 42"/>
                  <a:gd name="T30" fmla="*/ 14 w 62"/>
                  <a:gd name="T31" fmla="*/ 4 h 42"/>
                  <a:gd name="T32" fmla="*/ 10 w 62"/>
                  <a:gd name="T33" fmla="*/ 9 h 42"/>
                  <a:gd name="T34" fmla="*/ 8 w 62"/>
                  <a:gd name="T35" fmla="*/ 13 h 42"/>
                  <a:gd name="T36" fmla="*/ 0 w 62"/>
                  <a:gd name="T37" fmla="*/ 16 h 42"/>
                  <a:gd name="T38" fmla="*/ 5 w 62"/>
                  <a:gd name="T39" fmla="*/ 22 h 42"/>
                  <a:gd name="T40" fmla="*/ 6 w 62"/>
                  <a:gd name="T41" fmla="*/ 29 h 42"/>
                  <a:gd name="T42" fmla="*/ 3 w 62"/>
                  <a:gd name="T43" fmla="*/ 38 h 42"/>
                  <a:gd name="T44" fmla="*/ 7 w 62"/>
                  <a:gd name="T45" fmla="*/ 38 h 42"/>
                  <a:gd name="T46" fmla="*/ 15 w 62"/>
                  <a:gd name="T47" fmla="*/ 36 h 42"/>
                  <a:gd name="T48" fmla="*/ 23 w 62"/>
                  <a:gd name="T49" fmla="*/ 32 h 42"/>
                  <a:gd name="T50" fmla="*/ 30 w 62"/>
                  <a:gd name="T51" fmla="*/ 25 h 42"/>
                  <a:gd name="T52" fmla="*/ 33 w 62"/>
                  <a:gd name="T53" fmla="*/ 32 h 42"/>
                  <a:gd name="T54" fmla="*/ 33 w 62"/>
                  <a:gd name="T55" fmla="*/ 41 h 42"/>
                  <a:gd name="T56" fmla="*/ 37 w 62"/>
                  <a:gd name="T57" fmla="*/ 41 h 42"/>
                  <a:gd name="T58" fmla="*/ 41 w 62"/>
                  <a:gd name="T59" fmla="*/ 40 h 42"/>
                  <a:gd name="T60" fmla="*/ 50 w 62"/>
                  <a:gd name="T61" fmla="*/ 34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62" h="42">
                    <a:moveTo>
                      <a:pt x="50" y="34"/>
                    </a:moveTo>
                    <a:cubicBezTo>
                      <a:pt x="52" y="35"/>
                      <a:pt x="52" y="37"/>
                      <a:pt x="53" y="36"/>
                    </a:cubicBezTo>
                    <a:cubicBezTo>
                      <a:pt x="55" y="36"/>
                      <a:pt x="58" y="37"/>
                      <a:pt x="59" y="38"/>
                    </a:cubicBezTo>
                    <a:cubicBezTo>
                      <a:pt x="60" y="38"/>
                      <a:pt x="62" y="38"/>
                      <a:pt x="62" y="38"/>
                    </a:cubicBezTo>
                    <a:cubicBezTo>
                      <a:pt x="62" y="38"/>
                      <a:pt x="60" y="29"/>
                      <a:pt x="60" y="27"/>
                    </a:cubicBezTo>
                    <a:cubicBezTo>
                      <a:pt x="60" y="24"/>
                      <a:pt x="52" y="22"/>
                      <a:pt x="52" y="22"/>
                    </a:cubicBezTo>
                    <a:cubicBezTo>
                      <a:pt x="51" y="15"/>
                      <a:pt x="51" y="15"/>
                      <a:pt x="51" y="15"/>
                    </a:cubicBezTo>
                    <a:cubicBezTo>
                      <a:pt x="51" y="15"/>
                      <a:pt x="42" y="16"/>
                      <a:pt x="40" y="16"/>
                    </a:cubicBezTo>
                    <a:cubicBezTo>
                      <a:pt x="39" y="15"/>
                      <a:pt x="35" y="16"/>
                      <a:pt x="34" y="14"/>
                    </a:cubicBezTo>
                    <a:cubicBezTo>
                      <a:pt x="32" y="12"/>
                      <a:pt x="29" y="16"/>
                      <a:pt x="26" y="14"/>
                    </a:cubicBezTo>
                    <a:cubicBezTo>
                      <a:pt x="23" y="12"/>
                      <a:pt x="15" y="15"/>
                      <a:pt x="15" y="13"/>
                    </a:cubicBezTo>
                    <a:cubicBezTo>
                      <a:pt x="15" y="11"/>
                      <a:pt x="18" y="8"/>
                      <a:pt x="21" y="8"/>
                    </a:cubicBezTo>
                    <a:cubicBezTo>
                      <a:pt x="21" y="8"/>
                      <a:pt x="22" y="8"/>
                      <a:pt x="23" y="8"/>
                    </a:cubicBezTo>
                    <a:cubicBezTo>
                      <a:pt x="24" y="7"/>
                      <a:pt x="26" y="3"/>
                      <a:pt x="26" y="2"/>
                    </a:cubicBezTo>
                    <a:cubicBezTo>
                      <a:pt x="25" y="0"/>
                      <a:pt x="22" y="1"/>
                      <a:pt x="20" y="3"/>
                    </a:cubicBezTo>
                    <a:cubicBezTo>
                      <a:pt x="19" y="4"/>
                      <a:pt x="15" y="2"/>
                      <a:pt x="14" y="4"/>
                    </a:cubicBezTo>
                    <a:cubicBezTo>
                      <a:pt x="14" y="6"/>
                      <a:pt x="13" y="9"/>
                      <a:pt x="10" y="9"/>
                    </a:cubicBezTo>
                    <a:cubicBezTo>
                      <a:pt x="8" y="9"/>
                      <a:pt x="10" y="12"/>
                      <a:pt x="8" y="13"/>
                    </a:cubicBezTo>
                    <a:cubicBezTo>
                      <a:pt x="6" y="14"/>
                      <a:pt x="1" y="14"/>
                      <a:pt x="0" y="16"/>
                    </a:cubicBezTo>
                    <a:cubicBezTo>
                      <a:pt x="0" y="18"/>
                      <a:pt x="6" y="20"/>
                      <a:pt x="5" y="22"/>
                    </a:cubicBezTo>
                    <a:cubicBezTo>
                      <a:pt x="5" y="25"/>
                      <a:pt x="8" y="28"/>
                      <a:pt x="6" y="29"/>
                    </a:cubicBezTo>
                    <a:cubicBezTo>
                      <a:pt x="4" y="31"/>
                      <a:pt x="3" y="33"/>
                      <a:pt x="3" y="38"/>
                    </a:cubicBezTo>
                    <a:cubicBezTo>
                      <a:pt x="4" y="39"/>
                      <a:pt x="6" y="40"/>
                      <a:pt x="7" y="38"/>
                    </a:cubicBezTo>
                    <a:cubicBezTo>
                      <a:pt x="8" y="36"/>
                      <a:pt x="15" y="38"/>
                      <a:pt x="15" y="36"/>
                    </a:cubicBezTo>
                    <a:cubicBezTo>
                      <a:pt x="15" y="34"/>
                      <a:pt x="23" y="34"/>
                      <a:pt x="23" y="32"/>
                    </a:cubicBezTo>
                    <a:cubicBezTo>
                      <a:pt x="23" y="30"/>
                      <a:pt x="27" y="25"/>
                      <a:pt x="30" y="25"/>
                    </a:cubicBezTo>
                    <a:cubicBezTo>
                      <a:pt x="33" y="25"/>
                      <a:pt x="30" y="30"/>
                      <a:pt x="33" y="32"/>
                    </a:cubicBezTo>
                    <a:cubicBezTo>
                      <a:pt x="36" y="33"/>
                      <a:pt x="31" y="39"/>
                      <a:pt x="33" y="41"/>
                    </a:cubicBezTo>
                    <a:cubicBezTo>
                      <a:pt x="34" y="42"/>
                      <a:pt x="35" y="42"/>
                      <a:pt x="37" y="41"/>
                    </a:cubicBezTo>
                    <a:cubicBezTo>
                      <a:pt x="38" y="41"/>
                      <a:pt x="40" y="40"/>
                      <a:pt x="41" y="40"/>
                    </a:cubicBezTo>
                    <a:cubicBezTo>
                      <a:pt x="45" y="37"/>
                      <a:pt x="49" y="33"/>
                      <a:pt x="50" y="34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0" name="Freeform 171">
                <a:extLst>
                  <a:ext uri="{FF2B5EF4-FFF2-40B4-BE49-F238E27FC236}">
                    <a16:creationId xmlns:a16="http://schemas.microsoft.com/office/drawing/2014/main" id="{0164B8D6-87C3-4035-A187-B339C5CB02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6704" y="3601710"/>
                <a:ext cx="16311" cy="35132"/>
              </a:xfrm>
              <a:custGeom>
                <a:avLst/>
                <a:gdLst>
                  <a:gd name="T0" fmla="*/ 6 w 7"/>
                  <a:gd name="T1" fmla="*/ 14 h 15"/>
                  <a:gd name="T2" fmla="*/ 3 w 7"/>
                  <a:gd name="T3" fmla="*/ 11 h 15"/>
                  <a:gd name="T4" fmla="*/ 0 w 7"/>
                  <a:gd name="T5" fmla="*/ 6 h 15"/>
                  <a:gd name="T6" fmla="*/ 3 w 7"/>
                  <a:gd name="T7" fmla="*/ 3 h 15"/>
                  <a:gd name="T8" fmla="*/ 4 w 7"/>
                  <a:gd name="T9" fmla="*/ 9 h 15"/>
                  <a:gd name="T10" fmla="*/ 6 w 7"/>
                  <a:gd name="T11" fmla="*/ 14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15">
                    <a:moveTo>
                      <a:pt x="6" y="14"/>
                    </a:moveTo>
                    <a:cubicBezTo>
                      <a:pt x="6" y="15"/>
                      <a:pt x="3" y="13"/>
                      <a:pt x="3" y="11"/>
                    </a:cubicBezTo>
                    <a:cubicBezTo>
                      <a:pt x="3" y="9"/>
                      <a:pt x="0" y="9"/>
                      <a:pt x="0" y="6"/>
                    </a:cubicBezTo>
                    <a:cubicBezTo>
                      <a:pt x="0" y="2"/>
                      <a:pt x="2" y="0"/>
                      <a:pt x="3" y="3"/>
                    </a:cubicBezTo>
                    <a:cubicBezTo>
                      <a:pt x="5" y="6"/>
                      <a:pt x="4" y="8"/>
                      <a:pt x="4" y="9"/>
                    </a:cubicBezTo>
                    <a:cubicBezTo>
                      <a:pt x="4" y="11"/>
                      <a:pt x="7" y="12"/>
                      <a:pt x="6" y="14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1" name="Freeform 172">
                <a:extLst>
                  <a:ext uri="{FF2B5EF4-FFF2-40B4-BE49-F238E27FC236}">
                    <a16:creationId xmlns:a16="http://schemas.microsoft.com/office/drawing/2014/main" id="{6B4015FF-BF2A-4F46-AB18-CAD2C28359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2857" y="3884023"/>
                <a:ext cx="23840" cy="17566"/>
              </a:xfrm>
              <a:custGeom>
                <a:avLst/>
                <a:gdLst>
                  <a:gd name="T0" fmla="*/ 2 w 10"/>
                  <a:gd name="T1" fmla="*/ 7 h 8"/>
                  <a:gd name="T2" fmla="*/ 2 w 10"/>
                  <a:gd name="T3" fmla="*/ 4 h 8"/>
                  <a:gd name="T4" fmla="*/ 7 w 10"/>
                  <a:gd name="T5" fmla="*/ 2 h 8"/>
                  <a:gd name="T6" fmla="*/ 8 w 10"/>
                  <a:gd name="T7" fmla="*/ 7 h 8"/>
                  <a:gd name="T8" fmla="*/ 2 w 10"/>
                  <a:gd name="T9" fmla="*/ 7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8">
                    <a:moveTo>
                      <a:pt x="2" y="7"/>
                    </a:moveTo>
                    <a:cubicBezTo>
                      <a:pt x="1" y="6"/>
                      <a:pt x="3" y="4"/>
                      <a:pt x="2" y="4"/>
                    </a:cubicBezTo>
                    <a:cubicBezTo>
                      <a:pt x="0" y="3"/>
                      <a:pt x="6" y="0"/>
                      <a:pt x="7" y="2"/>
                    </a:cubicBezTo>
                    <a:cubicBezTo>
                      <a:pt x="9" y="4"/>
                      <a:pt x="10" y="6"/>
                      <a:pt x="8" y="7"/>
                    </a:cubicBezTo>
                    <a:cubicBezTo>
                      <a:pt x="6" y="7"/>
                      <a:pt x="3" y="8"/>
                      <a:pt x="2" y="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2" name="Freeform 173">
                <a:extLst>
                  <a:ext uri="{FF2B5EF4-FFF2-40B4-BE49-F238E27FC236}">
                    <a16:creationId xmlns:a16="http://schemas.microsoft.com/office/drawing/2014/main" id="{8365C8BD-71AA-4763-8DA0-E3ECD91AF5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17720" y="3267953"/>
                <a:ext cx="62736" cy="52698"/>
              </a:xfrm>
              <a:custGeom>
                <a:avLst/>
                <a:gdLst>
                  <a:gd name="T0" fmla="*/ 25 w 27"/>
                  <a:gd name="T1" fmla="*/ 18 h 23"/>
                  <a:gd name="T2" fmla="*/ 20 w 27"/>
                  <a:gd name="T3" fmla="*/ 12 h 23"/>
                  <a:gd name="T4" fmla="*/ 17 w 27"/>
                  <a:gd name="T5" fmla="*/ 6 h 23"/>
                  <a:gd name="T6" fmla="*/ 15 w 27"/>
                  <a:gd name="T7" fmla="*/ 1 h 23"/>
                  <a:gd name="T8" fmla="*/ 8 w 27"/>
                  <a:gd name="T9" fmla="*/ 1 h 23"/>
                  <a:gd name="T10" fmla="*/ 0 w 27"/>
                  <a:gd name="T11" fmla="*/ 2 h 23"/>
                  <a:gd name="T12" fmla="*/ 2 w 27"/>
                  <a:gd name="T13" fmla="*/ 9 h 23"/>
                  <a:gd name="T14" fmla="*/ 8 w 27"/>
                  <a:gd name="T15" fmla="*/ 11 h 23"/>
                  <a:gd name="T16" fmla="*/ 9 w 27"/>
                  <a:gd name="T17" fmla="*/ 14 h 23"/>
                  <a:gd name="T18" fmla="*/ 10 w 27"/>
                  <a:gd name="T19" fmla="*/ 14 h 23"/>
                  <a:gd name="T20" fmla="*/ 12 w 27"/>
                  <a:gd name="T21" fmla="*/ 16 h 23"/>
                  <a:gd name="T22" fmla="*/ 16 w 27"/>
                  <a:gd name="T23" fmla="*/ 18 h 23"/>
                  <a:gd name="T24" fmla="*/ 20 w 27"/>
                  <a:gd name="T25" fmla="*/ 19 h 23"/>
                  <a:gd name="T26" fmla="*/ 22 w 27"/>
                  <a:gd name="T27" fmla="*/ 23 h 23"/>
                  <a:gd name="T28" fmla="*/ 27 w 27"/>
                  <a:gd name="T29" fmla="*/ 22 h 23"/>
                  <a:gd name="T30" fmla="*/ 25 w 27"/>
                  <a:gd name="T31" fmla="*/ 18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7" h="23">
                    <a:moveTo>
                      <a:pt x="25" y="18"/>
                    </a:moveTo>
                    <a:cubicBezTo>
                      <a:pt x="25" y="16"/>
                      <a:pt x="20" y="15"/>
                      <a:pt x="20" y="12"/>
                    </a:cubicBezTo>
                    <a:cubicBezTo>
                      <a:pt x="20" y="10"/>
                      <a:pt x="17" y="8"/>
                      <a:pt x="17" y="6"/>
                    </a:cubicBezTo>
                    <a:cubicBezTo>
                      <a:pt x="18" y="5"/>
                      <a:pt x="16" y="3"/>
                      <a:pt x="15" y="1"/>
                    </a:cubicBezTo>
                    <a:cubicBezTo>
                      <a:pt x="13" y="1"/>
                      <a:pt x="10" y="0"/>
                      <a:pt x="8" y="1"/>
                    </a:cubicBezTo>
                    <a:cubicBezTo>
                      <a:pt x="5" y="1"/>
                      <a:pt x="3" y="2"/>
                      <a:pt x="0" y="2"/>
                    </a:cubicBezTo>
                    <a:cubicBezTo>
                      <a:pt x="1" y="5"/>
                      <a:pt x="0" y="5"/>
                      <a:pt x="2" y="9"/>
                    </a:cubicBezTo>
                    <a:cubicBezTo>
                      <a:pt x="3" y="12"/>
                      <a:pt x="7" y="10"/>
                      <a:pt x="8" y="11"/>
                    </a:cubicBezTo>
                    <a:cubicBezTo>
                      <a:pt x="8" y="12"/>
                      <a:pt x="9" y="13"/>
                      <a:pt x="9" y="14"/>
                    </a:cubicBezTo>
                    <a:cubicBezTo>
                      <a:pt x="9" y="14"/>
                      <a:pt x="10" y="14"/>
                      <a:pt x="10" y="14"/>
                    </a:cubicBezTo>
                    <a:cubicBezTo>
                      <a:pt x="11" y="14"/>
                      <a:pt x="12" y="15"/>
                      <a:pt x="12" y="16"/>
                    </a:cubicBezTo>
                    <a:cubicBezTo>
                      <a:pt x="14" y="16"/>
                      <a:pt x="15" y="17"/>
                      <a:pt x="16" y="18"/>
                    </a:cubicBezTo>
                    <a:cubicBezTo>
                      <a:pt x="17" y="18"/>
                      <a:pt x="18" y="17"/>
                      <a:pt x="20" y="19"/>
                    </a:cubicBezTo>
                    <a:cubicBezTo>
                      <a:pt x="22" y="21"/>
                      <a:pt x="22" y="22"/>
                      <a:pt x="22" y="23"/>
                    </a:cubicBezTo>
                    <a:cubicBezTo>
                      <a:pt x="23" y="23"/>
                      <a:pt x="25" y="23"/>
                      <a:pt x="27" y="22"/>
                    </a:cubicBezTo>
                    <a:cubicBezTo>
                      <a:pt x="26" y="21"/>
                      <a:pt x="25" y="19"/>
                      <a:pt x="25" y="18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3" name="Freeform 174">
                <a:extLst>
                  <a:ext uri="{FF2B5EF4-FFF2-40B4-BE49-F238E27FC236}">
                    <a16:creationId xmlns:a16="http://schemas.microsoft.com/office/drawing/2014/main" id="{19CBFC91-307F-4A75-AF4D-954E5F06675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45324" y="3256660"/>
                <a:ext cx="92850" cy="75284"/>
              </a:xfrm>
              <a:custGeom>
                <a:avLst/>
                <a:gdLst>
                  <a:gd name="T0" fmla="*/ 38 w 40"/>
                  <a:gd name="T1" fmla="*/ 11 h 33"/>
                  <a:gd name="T2" fmla="*/ 31 w 40"/>
                  <a:gd name="T3" fmla="*/ 2 h 33"/>
                  <a:gd name="T4" fmla="*/ 25 w 40"/>
                  <a:gd name="T5" fmla="*/ 5 h 33"/>
                  <a:gd name="T6" fmla="*/ 22 w 40"/>
                  <a:gd name="T7" fmla="*/ 5 h 33"/>
                  <a:gd name="T8" fmla="*/ 16 w 40"/>
                  <a:gd name="T9" fmla="*/ 1 h 33"/>
                  <a:gd name="T10" fmla="*/ 13 w 40"/>
                  <a:gd name="T11" fmla="*/ 0 h 33"/>
                  <a:gd name="T12" fmla="*/ 12 w 40"/>
                  <a:gd name="T13" fmla="*/ 3 h 33"/>
                  <a:gd name="T14" fmla="*/ 14 w 40"/>
                  <a:gd name="T15" fmla="*/ 7 h 33"/>
                  <a:gd name="T16" fmla="*/ 8 w 40"/>
                  <a:gd name="T17" fmla="*/ 6 h 33"/>
                  <a:gd name="T18" fmla="*/ 3 w 40"/>
                  <a:gd name="T19" fmla="*/ 4 h 33"/>
                  <a:gd name="T20" fmla="*/ 5 w 40"/>
                  <a:gd name="T21" fmla="*/ 11 h 33"/>
                  <a:gd name="T22" fmla="*/ 8 w 40"/>
                  <a:gd name="T23" fmla="*/ 17 h 33"/>
                  <a:gd name="T24" fmla="*/ 13 w 40"/>
                  <a:gd name="T25" fmla="*/ 23 h 33"/>
                  <a:gd name="T26" fmla="*/ 15 w 40"/>
                  <a:gd name="T27" fmla="*/ 27 h 33"/>
                  <a:gd name="T28" fmla="*/ 24 w 40"/>
                  <a:gd name="T29" fmla="*/ 21 h 33"/>
                  <a:gd name="T30" fmla="*/ 26 w 40"/>
                  <a:gd name="T31" fmla="*/ 29 h 33"/>
                  <a:gd name="T32" fmla="*/ 32 w 40"/>
                  <a:gd name="T33" fmla="*/ 33 h 33"/>
                  <a:gd name="T34" fmla="*/ 33 w 40"/>
                  <a:gd name="T35" fmla="*/ 28 h 33"/>
                  <a:gd name="T36" fmla="*/ 38 w 40"/>
                  <a:gd name="T37" fmla="*/ 11 h 33"/>
                  <a:gd name="T38" fmla="*/ 4 w 40"/>
                  <a:gd name="T39" fmla="*/ 23 h 33"/>
                  <a:gd name="T40" fmla="*/ 0 w 40"/>
                  <a:gd name="T41" fmla="*/ 21 h 33"/>
                  <a:gd name="T42" fmla="*/ 3 w 40"/>
                  <a:gd name="T43" fmla="*/ 25 h 33"/>
                  <a:gd name="T44" fmla="*/ 8 w 40"/>
                  <a:gd name="T45" fmla="*/ 28 h 33"/>
                  <a:gd name="T46" fmla="*/ 10 w 40"/>
                  <a:gd name="T47" fmla="*/ 28 h 33"/>
                  <a:gd name="T48" fmla="*/ 8 w 40"/>
                  <a:gd name="T49" fmla="*/ 24 h 33"/>
                  <a:gd name="T50" fmla="*/ 4 w 40"/>
                  <a:gd name="T51" fmla="*/ 2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40" h="33">
                    <a:moveTo>
                      <a:pt x="38" y="11"/>
                    </a:moveTo>
                    <a:cubicBezTo>
                      <a:pt x="37" y="9"/>
                      <a:pt x="34" y="6"/>
                      <a:pt x="31" y="2"/>
                    </a:cubicBezTo>
                    <a:cubicBezTo>
                      <a:pt x="30" y="5"/>
                      <a:pt x="26" y="4"/>
                      <a:pt x="25" y="5"/>
                    </a:cubicBezTo>
                    <a:cubicBezTo>
                      <a:pt x="25" y="7"/>
                      <a:pt x="23" y="5"/>
                      <a:pt x="22" y="5"/>
                    </a:cubicBezTo>
                    <a:cubicBezTo>
                      <a:pt x="21" y="6"/>
                      <a:pt x="18" y="2"/>
                      <a:pt x="16" y="1"/>
                    </a:cubicBezTo>
                    <a:cubicBezTo>
                      <a:pt x="15" y="1"/>
                      <a:pt x="14" y="1"/>
                      <a:pt x="13" y="0"/>
                    </a:cubicBezTo>
                    <a:cubicBezTo>
                      <a:pt x="12" y="1"/>
                      <a:pt x="11" y="2"/>
                      <a:pt x="12" y="3"/>
                    </a:cubicBezTo>
                    <a:cubicBezTo>
                      <a:pt x="12" y="4"/>
                      <a:pt x="16" y="5"/>
                      <a:pt x="14" y="7"/>
                    </a:cubicBezTo>
                    <a:cubicBezTo>
                      <a:pt x="13" y="8"/>
                      <a:pt x="9" y="7"/>
                      <a:pt x="8" y="6"/>
                    </a:cubicBezTo>
                    <a:cubicBezTo>
                      <a:pt x="7" y="5"/>
                      <a:pt x="3" y="3"/>
                      <a:pt x="3" y="4"/>
                    </a:cubicBezTo>
                    <a:cubicBezTo>
                      <a:pt x="2" y="6"/>
                      <a:pt x="6" y="9"/>
                      <a:pt x="5" y="11"/>
                    </a:cubicBezTo>
                    <a:cubicBezTo>
                      <a:pt x="5" y="13"/>
                      <a:pt x="8" y="15"/>
                      <a:pt x="8" y="17"/>
                    </a:cubicBezTo>
                    <a:cubicBezTo>
                      <a:pt x="8" y="20"/>
                      <a:pt x="13" y="21"/>
                      <a:pt x="13" y="23"/>
                    </a:cubicBezTo>
                    <a:cubicBezTo>
                      <a:pt x="13" y="24"/>
                      <a:pt x="14" y="26"/>
                      <a:pt x="15" y="27"/>
                    </a:cubicBezTo>
                    <a:cubicBezTo>
                      <a:pt x="19" y="26"/>
                      <a:pt x="22" y="23"/>
                      <a:pt x="24" y="21"/>
                    </a:cubicBezTo>
                    <a:cubicBezTo>
                      <a:pt x="28" y="19"/>
                      <a:pt x="27" y="27"/>
                      <a:pt x="26" y="29"/>
                    </a:cubicBezTo>
                    <a:cubicBezTo>
                      <a:pt x="25" y="30"/>
                      <a:pt x="29" y="32"/>
                      <a:pt x="32" y="33"/>
                    </a:cubicBezTo>
                    <a:cubicBezTo>
                      <a:pt x="32" y="31"/>
                      <a:pt x="32" y="29"/>
                      <a:pt x="33" y="28"/>
                    </a:cubicBezTo>
                    <a:cubicBezTo>
                      <a:pt x="37" y="23"/>
                      <a:pt x="40" y="15"/>
                      <a:pt x="38" y="11"/>
                    </a:cubicBezTo>
                    <a:close/>
                    <a:moveTo>
                      <a:pt x="4" y="23"/>
                    </a:moveTo>
                    <a:cubicBezTo>
                      <a:pt x="3" y="22"/>
                      <a:pt x="2" y="21"/>
                      <a:pt x="0" y="21"/>
                    </a:cubicBezTo>
                    <a:cubicBezTo>
                      <a:pt x="1" y="22"/>
                      <a:pt x="1" y="24"/>
                      <a:pt x="3" y="25"/>
                    </a:cubicBezTo>
                    <a:cubicBezTo>
                      <a:pt x="6" y="27"/>
                      <a:pt x="1" y="27"/>
                      <a:pt x="8" y="28"/>
                    </a:cubicBezTo>
                    <a:cubicBezTo>
                      <a:pt x="9" y="28"/>
                      <a:pt x="9" y="28"/>
                      <a:pt x="10" y="28"/>
                    </a:cubicBezTo>
                    <a:cubicBezTo>
                      <a:pt x="10" y="27"/>
                      <a:pt x="10" y="26"/>
                      <a:pt x="8" y="24"/>
                    </a:cubicBezTo>
                    <a:cubicBezTo>
                      <a:pt x="6" y="22"/>
                      <a:pt x="5" y="23"/>
                      <a:pt x="4" y="2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4" name="Freeform 175">
                <a:extLst>
                  <a:ext uri="{FF2B5EF4-FFF2-40B4-BE49-F238E27FC236}">
                    <a16:creationId xmlns:a16="http://schemas.microsoft.com/office/drawing/2014/main" id="{7DB09ADC-EE60-4BFA-8965-A13CE0877C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41439" y="3334453"/>
                <a:ext cx="264747" cy="189464"/>
              </a:xfrm>
              <a:custGeom>
                <a:avLst/>
                <a:gdLst>
                  <a:gd name="T0" fmla="*/ 111 w 115"/>
                  <a:gd name="T1" fmla="*/ 11 h 82"/>
                  <a:gd name="T2" fmla="*/ 108 w 115"/>
                  <a:gd name="T3" fmla="*/ 9 h 82"/>
                  <a:gd name="T4" fmla="*/ 99 w 115"/>
                  <a:gd name="T5" fmla="*/ 15 h 82"/>
                  <a:gd name="T6" fmla="*/ 95 w 115"/>
                  <a:gd name="T7" fmla="*/ 16 h 82"/>
                  <a:gd name="T8" fmla="*/ 91 w 115"/>
                  <a:gd name="T9" fmla="*/ 16 h 82"/>
                  <a:gd name="T10" fmla="*/ 91 w 115"/>
                  <a:gd name="T11" fmla="*/ 7 h 82"/>
                  <a:gd name="T12" fmla="*/ 88 w 115"/>
                  <a:gd name="T13" fmla="*/ 0 h 82"/>
                  <a:gd name="T14" fmla="*/ 81 w 115"/>
                  <a:gd name="T15" fmla="*/ 7 h 82"/>
                  <a:gd name="T16" fmla="*/ 73 w 115"/>
                  <a:gd name="T17" fmla="*/ 11 h 82"/>
                  <a:gd name="T18" fmla="*/ 65 w 115"/>
                  <a:gd name="T19" fmla="*/ 13 h 82"/>
                  <a:gd name="T20" fmla="*/ 58 w 115"/>
                  <a:gd name="T21" fmla="*/ 11 h 82"/>
                  <a:gd name="T22" fmla="*/ 51 w 115"/>
                  <a:gd name="T23" fmla="*/ 9 h 82"/>
                  <a:gd name="T24" fmla="*/ 44 w 115"/>
                  <a:gd name="T25" fmla="*/ 8 h 82"/>
                  <a:gd name="T26" fmla="*/ 38 w 115"/>
                  <a:gd name="T27" fmla="*/ 11 h 82"/>
                  <a:gd name="T28" fmla="*/ 33 w 115"/>
                  <a:gd name="T29" fmla="*/ 19 h 82"/>
                  <a:gd name="T30" fmla="*/ 22 w 115"/>
                  <a:gd name="T31" fmla="*/ 26 h 82"/>
                  <a:gd name="T32" fmla="*/ 15 w 115"/>
                  <a:gd name="T33" fmla="*/ 29 h 82"/>
                  <a:gd name="T34" fmla="*/ 9 w 115"/>
                  <a:gd name="T35" fmla="*/ 27 h 82"/>
                  <a:gd name="T36" fmla="*/ 6 w 115"/>
                  <a:gd name="T37" fmla="*/ 31 h 82"/>
                  <a:gd name="T38" fmla="*/ 2 w 115"/>
                  <a:gd name="T39" fmla="*/ 37 h 82"/>
                  <a:gd name="T40" fmla="*/ 1 w 115"/>
                  <a:gd name="T41" fmla="*/ 44 h 82"/>
                  <a:gd name="T42" fmla="*/ 1 w 115"/>
                  <a:gd name="T43" fmla="*/ 53 h 82"/>
                  <a:gd name="T44" fmla="*/ 3 w 115"/>
                  <a:gd name="T45" fmla="*/ 62 h 82"/>
                  <a:gd name="T46" fmla="*/ 11 w 115"/>
                  <a:gd name="T47" fmla="*/ 66 h 82"/>
                  <a:gd name="T48" fmla="*/ 2 w 115"/>
                  <a:gd name="T49" fmla="*/ 78 h 82"/>
                  <a:gd name="T50" fmla="*/ 4 w 115"/>
                  <a:gd name="T51" fmla="*/ 80 h 82"/>
                  <a:gd name="T52" fmla="*/ 16 w 115"/>
                  <a:gd name="T53" fmla="*/ 82 h 82"/>
                  <a:gd name="T54" fmla="*/ 49 w 115"/>
                  <a:gd name="T55" fmla="*/ 78 h 82"/>
                  <a:gd name="T56" fmla="*/ 48 w 115"/>
                  <a:gd name="T57" fmla="*/ 69 h 82"/>
                  <a:gd name="T58" fmla="*/ 54 w 115"/>
                  <a:gd name="T59" fmla="*/ 66 h 82"/>
                  <a:gd name="T60" fmla="*/ 60 w 115"/>
                  <a:gd name="T61" fmla="*/ 64 h 82"/>
                  <a:gd name="T62" fmla="*/ 68 w 115"/>
                  <a:gd name="T63" fmla="*/ 61 h 82"/>
                  <a:gd name="T64" fmla="*/ 72 w 115"/>
                  <a:gd name="T65" fmla="*/ 58 h 82"/>
                  <a:gd name="T66" fmla="*/ 75 w 115"/>
                  <a:gd name="T67" fmla="*/ 49 h 82"/>
                  <a:gd name="T68" fmla="*/ 80 w 115"/>
                  <a:gd name="T69" fmla="*/ 46 h 82"/>
                  <a:gd name="T70" fmla="*/ 78 w 115"/>
                  <a:gd name="T71" fmla="*/ 41 h 82"/>
                  <a:gd name="T72" fmla="*/ 87 w 115"/>
                  <a:gd name="T73" fmla="*/ 41 h 82"/>
                  <a:gd name="T74" fmla="*/ 87 w 115"/>
                  <a:gd name="T75" fmla="*/ 34 h 82"/>
                  <a:gd name="T76" fmla="*/ 91 w 115"/>
                  <a:gd name="T77" fmla="*/ 29 h 82"/>
                  <a:gd name="T78" fmla="*/ 90 w 115"/>
                  <a:gd name="T79" fmla="*/ 24 h 82"/>
                  <a:gd name="T80" fmla="*/ 91 w 115"/>
                  <a:gd name="T81" fmla="*/ 20 h 82"/>
                  <a:gd name="T82" fmla="*/ 92 w 115"/>
                  <a:gd name="T83" fmla="*/ 19 h 82"/>
                  <a:gd name="T84" fmla="*/ 96 w 115"/>
                  <a:gd name="T85" fmla="*/ 18 h 82"/>
                  <a:gd name="T86" fmla="*/ 107 w 115"/>
                  <a:gd name="T87" fmla="*/ 15 h 82"/>
                  <a:gd name="T88" fmla="*/ 115 w 115"/>
                  <a:gd name="T89" fmla="*/ 12 h 82"/>
                  <a:gd name="T90" fmla="*/ 111 w 115"/>
                  <a:gd name="T91" fmla="*/ 11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15" h="82">
                    <a:moveTo>
                      <a:pt x="111" y="11"/>
                    </a:moveTo>
                    <a:cubicBezTo>
                      <a:pt x="110" y="12"/>
                      <a:pt x="110" y="10"/>
                      <a:pt x="108" y="9"/>
                    </a:cubicBezTo>
                    <a:cubicBezTo>
                      <a:pt x="107" y="8"/>
                      <a:pt x="103" y="12"/>
                      <a:pt x="99" y="15"/>
                    </a:cubicBezTo>
                    <a:cubicBezTo>
                      <a:pt x="98" y="15"/>
                      <a:pt x="96" y="16"/>
                      <a:pt x="95" y="16"/>
                    </a:cubicBezTo>
                    <a:cubicBezTo>
                      <a:pt x="93" y="17"/>
                      <a:pt x="92" y="17"/>
                      <a:pt x="91" y="16"/>
                    </a:cubicBezTo>
                    <a:cubicBezTo>
                      <a:pt x="89" y="14"/>
                      <a:pt x="94" y="8"/>
                      <a:pt x="91" y="7"/>
                    </a:cubicBezTo>
                    <a:cubicBezTo>
                      <a:pt x="88" y="5"/>
                      <a:pt x="91" y="0"/>
                      <a:pt x="88" y="0"/>
                    </a:cubicBezTo>
                    <a:cubicBezTo>
                      <a:pt x="85" y="0"/>
                      <a:pt x="81" y="5"/>
                      <a:pt x="81" y="7"/>
                    </a:cubicBezTo>
                    <a:cubicBezTo>
                      <a:pt x="81" y="9"/>
                      <a:pt x="73" y="9"/>
                      <a:pt x="73" y="11"/>
                    </a:cubicBezTo>
                    <a:cubicBezTo>
                      <a:pt x="73" y="13"/>
                      <a:pt x="66" y="11"/>
                      <a:pt x="65" y="13"/>
                    </a:cubicBezTo>
                    <a:cubicBezTo>
                      <a:pt x="63" y="16"/>
                      <a:pt x="60" y="11"/>
                      <a:pt x="58" y="11"/>
                    </a:cubicBezTo>
                    <a:cubicBezTo>
                      <a:pt x="55" y="11"/>
                      <a:pt x="54" y="8"/>
                      <a:pt x="51" y="9"/>
                    </a:cubicBezTo>
                    <a:cubicBezTo>
                      <a:pt x="48" y="10"/>
                      <a:pt x="47" y="8"/>
                      <a:pt x="44" y="8"/>
                    </a:cubicBezTo>
                    <a:cubicBezTo>
                      <a:pt x="42" y="7"/>
                      <a:pt x="41" y="12"/>
                      <a:pt x="38" y="11"/>
                    </a:cubicBezTo>
                    <a:cubicBezTo>
                      <a:pt x="35" y="11"/>
                      <a:pt x="34" y="16"/>
                      <a:pt x="33" y="19"/>
                    </a:cubicBezTo>
                    <a:cubicBezTo>
                      <a:pt x="32" y="23"/>
                      <a:pt x="21" y="23"/>
                      <a:pt x="22" y="26"/>
                    </a:cubicBezTo>
                    <a:cubicBezTo>
                      <a:pt x="22" y="30"/>
                      <a:pt x="15" y="31"/>
                      <a:pt x="15" y="29"/>
                    </a:cubicBezTo>
                    <a:cubicBezTo>
                      <a:pt x="14" y="26"/>
                      <a:pt x="10" y="28"/>
                      <a:pt x="9" y="27"/>
                    </a:cubicBezTo>
                    <a:cubicBezTo>
                      <a:pt x="8" y="26"/>
                      <a:pt x="5" y="28"/>
                      <a:pt x="6" y="31"/>
                    </a:cubicBezTo>
                    <a:cubicBezTo>
                      <a:pt x="6" y="34"/>
                      <a:pt x="3" y="36"/>
                      <a:pt x="2" y="37"/>
                    </a:cubicBezTo>
                    <a:cubicBezTo>
                      <a:pt x="2" y="38"/>
                      <a:pt x="0" y="42"/>
                      <a:pt x="1" y="44"/>
                    </a:cubicBezTo>
                    <a:cubicBezTo>
                      <a:pt x="3" y="46"/>
                      <a:pt x="0" y="49"/>
                      <a:pt x="1" y="53"/>
                    </a:cubicBezTo>
                    <a:cubicBezTo>
                      <a:pt x="3" y="56"/>
                      <a:pt x="2" y="61"/>
                      <a:pt x="3" y="62"/>
                    </a:cubicBezTo>
                    <a:cubicBezTo>
                      <a:pt x="3" y="63"/>
                      <a:pt x="9" y="63"/>
                      <a:pt x="11" y="66"/>
                    </a:cubicBezTo>
                    <a:cubicBezTo>
                      <a:pt x="12" y="70"/>
                      <a:pt x="3" y="76"/>
                      <a:pt x="2" y="78"/>
                    </a:cubicBezTo>
                    <a:cubicBezTo>
                      <a:pt x="2" y="78"/>
                      <a:pt x="3" y="79"/>
                      <a:pt x="4" y="80"/>
                    </a:cubicBezTo>
                    <a:cubicBezTo>
                      <a:pt x="8" y="80"/>
                      <a:pt x="12" y="81"/>
                      <a:pt x="16" y="82"/>
                    </a:cubicBezTo>
                    <a:cubicBezTo>
                      <a:pt x="22" y="82"/>
                      <a:pt x="48" y="78"/>
                      <a:pt x="49" y="78"/>
                    </a:cubicBezTo>
                    <a:cubicBezTo>
                      <a:pt x="49" y="77"/>
                      <a:pt x="48" y="71"/>
                      <a:pt x="48" y="69"/>
                    </a:cubicBezTo>
                    <a:cubicBezTo>
                      <a:pt x="48" y="68"/>
                      <a:pt x="52" y="65"/>
                      <a:pt x="54" y="66"/>
                    </a:cubicBezTo>
                    <a:cubicBezTo>
                      <a:pt x="57" y="66"/>
                      <a:pt x="60" y="66"/>
                      <a:pt x="60" y="64"/>
                    </a:cubicBezTo>
                    <a:cubicBezTo>
                      <a:pt x="60" y="62"/>
                      <a:pt x="68" y="59"/>
                      <a:pt x="68" y="61"/>
                    </a:cubicBezTo>
                    <a:cubicBezTo>
                      <a:pt x="69" y="63"/>
                      <a:pt x="72" y="63"/>
                      <a:pt x="72" y="58"/>
                    </a:cubicBezTo>
                    <a:cubicBezTo>
                      <a:pt x="73" y="53"/>
                      <a:pt x="72" y="49"/>
                      <a:pt x="75" y="49"/>
                    </a:cubicBezTo>
                    <a:cubicBezTo>
                      <a:pt x="78" y="49"/>
                      <a:pt x="81" y="47"/>
                      <a:pt x="80" y="46"/>
                    </a:cubicBezTo>
                    <a:cubicBezTo>
                      <a:pt x="80" y="44"/>
                      <a:pt x="77" y="42"/>
                      <a:pt x="78" y="41"/>
                    </a:cubicBezTo>
                    <a:cubicBezTo>
                      <a:pt x="79" y="40"/>
                      <a:pt x="86" y="43"/>
                      <a:pt x="87" y="41"/>
                    </a:cubicBezTo>
                    <a:cubicBezTo>
                      <a:pt x="88" y="39"/>
                      <a:pt x="86" y="36"/>
                      <a:pt x="87" y="34"/>
                    </a:cubicBezTo>
                    <a:cubicBezTo>
                      <a:pt x="89" y="33"/>
                      <a:pt x="92" y="31"/>
                      <a:pt x="91" y="29"/>
                    </a:cubicBezTo>
                    <a:cubicBezTo>
                      <a:pt x="91" y="27"/>
                      <a:pt x="92" y="26"/>
                      <a:pt x="90" y="24"/>
                    </a:cubicBezTo>
                    <a:cubicBezTo>
                      <a:pt x="88" y="22"/>
                      <a:pt x="89" y="20"/>
                      <a:pt x="91" y="20"/>
                    </a:cubicBezTo>
                    <a:cubicBezTo>
                      <a:pt x="91" y="20"/>
                      <a:pt x="92" y="20"/>
                      <a:pt x="92" y="19"/>
                    </a:cubicBezTo>
                    <a:cubicBezTo>
                      <a:pt x="94" y="19"/>
                      <a:pt x="95" y="19"/>
                      <a:pt x="96" y="18"/>
                    </a:cubicBezTo>
                    <a:cubicBezTo>
                      <a:pt x="99" y="16"/>
                      <a:pt x="105" y="14"/>
                      <a:pt x="107" y="15"/>
                    </a:cubicBezTo>
                    <a:cubicBezTo>
                      <a:pt x="109" y="15"/>
                      <a:pt x="113" y="15"/>
                      <a:pt x="115" y="12"/>
                    </a:cubicBezTo>
                    <a:cubicBezTo>
                      <a:pt x="114" y="12"/>
                      <a:pt x="112" y="11"/>
                      <a:pt x="111" y="1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5" name="Freeform 176">
                <a:extLst>
                  <a:ext uri="{FF2B5EF4-FFF2-40B4-BE49-F238E27FC236}">
                    <a16:creationId xmlns:a16="http://schemas.microsoft.com/office/drawing/2014/main" id="{5F612F07-26EA-45FC-A6A9-CACAD599B1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50223" y="3362057"/>
                <a:ext cx="306153" cy="277294"/>
              </a:xfrm>
              <a:custGeom>
                <a:avLst/>
                <a:gdLst>
                  <a:gd name="T0" fmla="*/ 123 w 133"/>
                  <a:gd name="T1" fmla="*/ 7 h 120"/>
                  <a:gd name="T2" fmla="*/ 113 w 133"/>
                  <a:gd name="T3" fmla="*/ 1 h 120"/>
                  <a:gd name="T4" fmla="*/ 103 w 133"/>
                  <a:gd name="T5" fmla="*/ 3 h 120"/>
                  <a:gd name="T6" fmla="*/ 88 w 133"/>
                  <a:gd name="T7" fmla="*/ 7 h 120"/>
                  <a:gd name="T8" fmla="*/ 86 w 133"/>
                  <a:gd name="T9" fmla="*/ 12 h 120"/>
                  <a:gd name="T10" fmla="*/ 83 w 133"/>
                  <a:gd name="T11" fmla="*/ 22 h 120"/>
                  <a:gd name="T12" fmla="*/ 74 w 133"/>
                  <a:gd name="T13" fmla="*/ 29 h 120"/>
                  <a:gd name="T14" fmla="*/ 71 w 133"/>
                  <a:gd name="T15" fmla="*/ 37 h 120"/>
                  <a:gd name="T16" fmla="*/ 64 w 133"/>
                  <a:gd name="T17" fmla="*/ 49 h 120"/>
                  <a:gd name="T18" fmla="*/ 50 w 133"/>
                  <a:gd name="T19" fmla="*/ 54 h 120"/>
                  <a:gd name="T20" fmla="*/ 45 w 133"/>
                  <a:gd name="T21" fmla="*/ 66 h 120"/>
                  <a:gd name="T22" fmla="*/ 0 w 133"/>
                  <a:gd name="T23" fmla="*/ 68 h 120"/>
                  <a:gd name="T24" fmla="*/ 12 w 133"/>
                  <a:gd name="T25" fmla="*/ 79 h 120"/>
                  <a:gd name="T26" fmla="*/ 18 w 133"/>
                  <a:gd name="T27" fmla="*/ 94 h 120"/>
                  <a:gd name="T28" fmla="*/ 5 w 133"/>
                  <a:gd name="T29" fmla="*/ 105 h 120"/>
                  <a:gd name="T30" fmla="*/ 21 w 133"/>
                  <a:gd name="T31" fmla="*/ 106 h 120"/>
                  <a:gd name="T32" fmla="*/ 40 w 133"/>
                  <a:gd name="T33" fmla="*/ 105 h 120"/>
                  <a:gd name="T34" fmla="*/ 50 w 133"/>
                  <a:gd name="T35" fmla="*/ 111 h 120"/>
                  <a:gd name="T36" fmla="*/ 59 w 133"/>
                  <a:gd name="T37" fmla="*/ 120 h 120"/>
                  <a:gd name="T38" fmla="*/ 60 w 133"/>
                  <a:gd name="T39" fmla="*/ 120 h 120"/>
                  <a:gd name="T40" fmla="*/ 75 w 133"/>
                  <a:gd name="T41" fmla="*/ 114 h 120"/>
                  <a:gd name="T42" fmla="*/ 78 w 133"/>
                  <a:gd name="T43" fmla="*/ 106 h 120"/>
                  <a:gd name="T44" fmla="*/ 70 w 133"/>
                  <a:gd name="T45" fmla="*/ 92 h 120"/>
                  <a:gd name="T46" fmla="*/ 82 w 133"/>
                  <a:gd name="T47" fmla="*/ 85 h 120"/>
                  <a:gd name="T48" fmla="*/ 92 w 133"/>
                  <a:gd name="T49" fmla="*/ 78 h 120"/>
                  <a:gd name="T50" fmla="*/ 102 w 133"/>
                  <a:gd name="T51" fmla="*/ 66 h 120"/>
                  <a:gd name="T52" fmla="*/ 110 w 133"/>
                  <a:gd name="T53" fmla="*/ 57 h 120"/>
                  <a:gd name="T54" fmla="*/ 116 w 133"/>
                  <a:gd name="T55" fmla="*/ 45 h 120"/>
                  <a:gd name="T56" fmla="*/ 107 w 133"/>
                  <a:gd name="T57" fmla="*/ 34 h 120"/>
                  <a:gd name="T58" fmla="*/ 110 w 133"/>
                  <a:gd name="T59" fmla="*/ 22 h 120"/>
                  <a:gd name="T60" fmla="*/ 130 w 133"/>
                  <a:gd name="T61" fmla="*/ 21 h 120"/>
                  <a:gd name="T62" fmla="*/ 127 w 133"/>
                  <a:gd name="T63" fmla="*/ 13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33" h="120">
                    <a:moveTo>
                      <a:pt x="127" y="13"/>
                    </a:moveTo>
                    <a:cubicBezTo>
                      <a:pt x="123" y="11"/>
                      <a:pt x="123" y="8"/>
                      <a:pt x="123" y="7"/>
                    </a:cubicBezTo>
                    <a:cubicBezTo>
                      <a:pt x="123" y="6"/>
                      <a:pt x="118" y="3"/>
                      <a:pt x="115" y="1"/>
                    </a:cubicBezTo>
                    <a:cubicBezTo>
                      <a:pt x="115" y="1"/>
                      <a:pt x="114" y="1"/>
                      <a:pt x="113" y="1"/>
                    </a:cubicBezTo>
                    <a:cubicBezTo>
                      <a:pt x="113" y="1"/>
                      <a:pt x="112" y="1"/>
                      <a:pt x="111" y="0"/>
                    </a:cubicBezTo>
                    <a:cubicBezTo>
                      <a:pt x="109" y="3"/>
                      <a:pt x="105" y="3"/>
                      <a:pt x="103" y="3"/>
                    </a:cubicBezTo>
                    <a:cubicBezTo>
                      <a:pt x="101" y="2"/>
                      <a:pt x="95" y="4"/>
                      <a:pt x="92" y="6"/>
                    </a:cubicBezTo>
                    <a:cubicBezTo>
                      <a:pt x="91" y="7"/>
                      <a:pt x="90" y="7"/>
                      <a:pt x="88" y="7"/>
                    </a:cubicBezTo>
                    <a:cubicBezTo>
                      <a:pt x="88" y="8"/>
                      <a:pt x="87" y="8"/>
                      <a:pt x="87" y="8"/>
                    </a:cubicBezTo>
                    <a:cubicBezTo>
                      <a:pt x="85" y="8"/>
                      <a:pt x="84" y="10"/>
                      <a:pt x="86" y="12"/>
                    </a:cubicBezTo>
                    <a:cubicBezTo>
                      <a:pt x="88" y="14"/>
                      <a:pt x="87" y="15"/>
                      <a:pt x="87" y="17"/>
                    </a:cubicBezTo>
                    <a:cubicBezTo>
                      <a:pt x="88" y="19"/>
                      <a:pt x="85" y="21"/>
                      <a:pt x="83" y="22"/>
                    </a:cubicBezTo>
                    <a:cubicBezTo>
                      <a:pt x="82" y="24"/>
                      <a:pt x="84" y="27"/>
                      <a:pt x="83" y="29"/>
                    </a:cubicBezTo>
                    <a:cubicBezTo>
                      <a:pt x="82" y="31"/>
                      <a:pt x="75" y="28"/>
                      <a:pt x="74" y="29"/>
                    </a:cubicBezTo>
                    <a:cubicBezTo>
                      <a:pt x="73" y="30"/>
                      <a:pt x="76" y="32"/>
                      <a:pt x="76" y="34"/>
                    </a:cubicBezTo>
                    <a:cubicBezTo>
                      <a:pt x="77" y="35"/>
                      <a:pt x="74" y="37"/>
                      <a:pt x="71" y="37"/>
                    </a:cubicBezTo>
                    <a:cubicBezTo>
                      <a:pt x="68" y="37"/>
                      <a:pt x="69" y="41"/>
                      <a:pt x="68" y="46"/>
                    </a:cubicBezTo>
                    <a:cubicBezTo>
                      <a:pt x="68" y="51"/>
                      <a:pt x="65" y="51"/>
                      <a:pt x="64" y="49"/>
                    </a:cubicBezTo>
                    <a:cubicBezTo>
                      <a:pt x="64" y="47"/>
                      <a:pt x="56" y="50"/>
                      <a:pt x="56" y="52"/>
                    </a:cubicBezTo>
                    <a:cubicBezTo>
                      <a:pt x="56" y="54"/>
                      <a:pt x="53" y="54"/>
                      <a:pt x="50" y="54"/>
                    </a:cubicBezTo>
                    <a:cubicBezTo>
                      <a:pt x="48" y="53"/>
                      <a:pt x="44" y="56"/>
                      <a:pt x="44" y="57"/>
                    </a:cubicBezTo>
                    <a:cubicBezTo>
                      <a:pt x="44" y="59"/>
                      <a:pt x="45" y="65"/>
                      <a:pt x="45" y="66"/>
                    </a:cubicBezTo>
                    <a:cubicBezTo>
                      <a:pt x="44" y="66"/>
                      <a:pt x="18" y="70"/>
                      <a:pt x="12" y="70"/>
                    </a:cubicBezTo>
                    <a:cubicBezTo>
                      <a:pt x="8" y="69"/>
                      <a:pt x="4" y="68"/>
                      <a:pt x="0" y="68"/>
                    </a:cubicBezTo>
                    <a:cubicBezTo>
                      <a:pt x="1" y="70"/>
                      <a:pt x="3" y="71"/>
                      <a:pt x="4" y="73"/>
                    </a:cubicBezTo>
                    <a:cubicBezTo>
                      <a:pt x="5" y="75"/>
                      <a:pt x="8" y="78"/>
                      <a:pt x="12" y="79"/>
                    </a:cubicBezTo>
                    <a:cubicBezTo>
                      <a:pt x="16" y="81"/>
                      <a:pt x="14" y="88"/>
                      <a:pt x="16" y="88"/>
                    </a:cubicBezTo>
                    <a:cubicBezTo>
                      <a:pt x="18" y="89"/>
                      <a:pt x="20" y="94"/>
                      <a:pt x="18" y="94"/>
                    </a:cubicBezTo>
                    <a:cubicBezTo>
                      <a:pt x="15" y="95"/>
                      <a:pt x="13" y="95"/>
                      <a:pt x="10" y="97"/>
                    </a:cubicBezTo>
                    <a:cubicBezTo>
                      <a:pt x="8" y="98"/>
                      <a:pt x="5" y="101"/>
                      <a:pt x="5" y="105"/>
                    </a:cubicBezTo>
                    <a:cubicBezTo>
                      <a:pt x="5" y="105"/>
                      <a:pt x="6" y="106"/>
                      <a:pt x="6" y="107"/>
                    </a:cubicBezTo>
                    <a:cubicBezTo>
                      <a:pt x="12" y="107"/>
                      <a:pt x="20" y="107"/>
                      <a:pt x="21" y="106"/>
                    </a:cubicBezTo>
                    <a:cubicBezTo>
                      <a:pt x="22" y="104"/>
                      <a:pt x="25" y="104"/>
                      <a:pt x="27" y="105"/>
                    </a:cubicBezTo>
                    <a:cubicBezTo>
                      <a:pt x="29" y="106"/>
                      <a:pt x="37" y="107"/>
                      <a:pt x="40" y="105"/>
                    </a:cubicBezTo>
                    <a:cubicBezTo>
                      <a:pt x="44" y="103"/>
                      <a:pt x="46" y="105"/>
                      <a:pt x="46" y="107"/>
                    </a:cubicBezTo>
                    <a:cubicBezTo>
                      <a:pt x="46" y="109"/>
                      <a:pt x="48" y="109"/>
                      <a:pt x="50" y="111"/>
                    </a:cubicBezTo>
                    <a:cubicBezTo>
                      <a:pt x="52" y="113"/>
                      <a:pt x="50" y="115"/>
                      <a:pt x="52" y="117"/>
                    </a:cubicBezTo>
                    <a:cubicBezTo>
                      <a:pt x="53" y="118"/>
                      <a:pt x="55" y="118"/>
                      <a:pt x="59" y="120"/>
                    </a:cubicBezTo>
                    <a:cubicBezTo>
                      <a:pt x="59" y="120"/>
                      <a:pt x="59" y="120"/>
                      <a:pt x="60" y="120"/>
                    </a:cubicBezTo>
                    <a:cubicBezTo>
                      <a:pt x="60" y="120"/>
                      <a:pt x="60" y="120"/>
                      <a:pt x="60" y="120"/>
                    </a:cubicBezTo>
                    <a:cubicBezTo>
                      <a:pt x="62" y="118"/>
                      <a:pt x="63" y="114"/>
                      <a:pt x="68" y="115"/>
                    </a:cubicBezTo>
                    <a:cubicBezTo>
                      <a:pt x="73" y="116"/>
                      <a:pt x="72" y="114"/>
                      <a:pt x="75" y="114"/>
                    </a:cubicBezTo>
                    <a:cubicBezTo>
                      <a:pt x="78" y="115"/>
                      <a:pt x="80" y="115"/>
                      <a:pt x="81" y="113"/>
                    </a:cubicBezTo>
                    <a:cubicBezTo>
                      <a:pt x="83" y="111"/>
                      <a:pt x="80" y="107"/>
                      <a:pt x="78" y="106"/>
                    </a:cubicBezTo>
                    <a:cubicBezTo>
                      <a:pt x="77" y="104"/>
                      <a:pt x="75" y="100"/>
                      <a:pt x="75" y="97"/>
                    </a:cubicBezTo>
                    <a:cubicBezTo>
                      <a:pt x="75" y="94"/>
                      <a:pt x="70" y="94"/>
                      <a:pt x="70" y="92"/>
                    </a:cubicBezTo>
                    <a:cubicBezTo>
                      <a:pt x="70" y="89"/>
                      <a:pt x="75" y="85"/>
                      <a:pt x="76" y="84"/>
                    </a:cubicBezTo>
                    <a:cubicBezTo>
                      <a:pt x="77" y="83"/>
                      <a:pt x="81" y="86"/>
                      <a:pt x="82" y="85"/>
                    </a:cubicBezTo>
                    <a:cubicBezTo>
                      <a:pt x="83" y="83"/>
                      <a:pt x="86" y="84"/>
                      <a:pt x="87" y="84"/>
                    </a:cubicBezTo>
                    <a:cubicBezTo>
                      <a:pt x="89" y="85"/>
                      <a:pt x="91" y="81"/>
                      <a:pt x="92" y="78"/>
                    </a:cubicBezTo>
                    <a:cubicBezTo>
                      <a:pt x="92" y="75"/>
                      <a:pt x="97" y="75"/>
                      <a:pt x="98" y="74"/>
                    </a:cubicBezTo>
                    <a:cubicBezTo>
                      <a:pt x="99" y="73"/>
                      <a:pt x="101" y="67"/>
                      <a:pt x="102" y="66"/>
                    </a:cubicBezTo>
                    <a:cubicBezTo>
                      <a:pt x="102" y="64"/>
                      <a:pt x="106" y="65"/>
                      <a:pt x="106" y="62"/>
                    </a:cubicBezTo>
                    <a:cubicBezTo>
                      <a:pt x="106" y="58"/>
                      <a:pt x="108" y="58"/>
                      <a:pt x="110" y="57"/>
                    </a:cubicBezTo>
                    <a:cubicBezTo>
                      <a:pt x="112" y="57"/>
                      <a:pt x="111" y="54"/>
                      <a:pt x="112" y="51"/>
                    </a:cubicBezTo>
                    <a:cubicBezTo>
                      <a:pt x="112" y="49"/>
                      <a:pt x="113" y="46"/>
                      <a:pt x="116" y="45"/>
                    </a:cubicBezTo>
                    <a:cubicBezTo>
                      <a:pt x="118" y="45"/>
                      <a:pt x="115" y="41"/>
                      <a:pt x="112" y="42"/>
                    </a:cubicBezTo>
                    <a:cubicBezTo>
                      <a:pt x="109" y="42"/>
                      <a:pt x="107" y="34"/>
                      <a:pt x="107" y="34"/>
                    </a:cubicBezTo>
                    <a:cubicBezTo>
                      <a:pt x="107" y="34"/>
                      <a:pt x="108" y="27"/>
                      <a:pt x="106" y="26"/>
                    </a:cubicBezTo>
                    <a:cubicBezTo>
                      <a:pt x="104" y="26"/>
                      <a:pt x="107" y="22"/>
                      <a:pt x="110" y="22"/>
                    </a:cubicBezTo>
                    <a:cubicBezTo>
                      <a:pt x="114" y="22"/>
                      <a:pt x="120" y="26"/>
                      <a:pt x="122" y="24"/>
                    </a:cubicBezTo>
                    <a:cubicBezTo>
                      <a:pt x="124" y="23"/>
                      <a:pt x="129" y="22"/>
                      <a:pt x="130" y="21"/>
                    </a:cubicBezTo>
                    <a:cubicBezTo>
                      <a:pt x="131" y="21"/>
                      <a:pt x="132" y="18"/>
                      <a:pt x="133" y="16"/>
                    </a:cubicBezTo>
                    <a:cubicBezTo>
                      <a:pt x="132" y="15"/>
                      <a:pt x="129" y="14"/>
                      <a:pt x="127" y="1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5" name="Freeform 177">
                <a:extLst>
                  <a:ext uri="{FF2B5EF4-FFF2-40B4-BE49-F238E27FC236}">
                    <a16:creationId xmlns:a16="http://schemas.microsoft.com/office/drawing/2014/main" id="{B37C169E-05F7-4F09-BB91-FDF1FA4AB81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63784" y="3980637"/>
                <a:ext cx="851959" cy="311172"/>
              </a:xfrm>
              <a:custGeom>
                <a:avLst/>
                <a:gdLst>
                  <a:gd name="T0" fmla="*/ 27 w 370"/>
                  <a:gd name="T1" fmla="*/ 57 h 135"/>
                  <a:gd name="T2" fmla="*/ 105 w 370"/>
                  <a:gd name="T3" fmla="*/ 72 h 135"/>
                  <a:gd name="T4" fmla="*/ 16 w 370"/>
                  <a:gd name="T5" fmla="*/ 37 h 135"/>
                  <a:gd name="T6" fmla="*/ 199 w 370"/>
                  <a:gd name="T7" fmla="*/ 95 h 135"/>
                  <a:gd name="T8" fmla="*/ 207 w 370"/>
                  <a:gd name="T9" fmla="*/ 76 h 135"/>
                  <a:gd name="T10" fmla="*/ 219 w 370"/>
                  <a:gd name="T11" fmla="*/ 79 h 135"/>
                  <a:gd name="T12" fmla="*/ 227 w 370"/>
                  <a:gd name="T13" fmla="*/ 54 h 135"/>
                  <a:gd name="T14" fmla="*/ 227 w 370"/>
                  <a:gd name="T15" fmla="*/ 45 h 135"/>
                  <a:gd name="T16" fmla="*/ 212 w 370"/>
                  <a:gd name="T17" fmla="*/ 38 h 135"/>
                  <a:gd name="T18" fmla="*/ 190 w 370"/>
                  <a:gd name="T19" fmla="*/ 69 h 135"/>
                  <a:gd name="T20" fmla="*/ 88 w 370"/>
                  <a:gd name="T21" fmla="*/ 75 h 135"/>
                  <a:gd name="T22" fmla="*/ 85 w 370"/>
                  <a:gd name="T23" fmla="*/ 62 h 135"/>
                  <a:gd name="T24" fmla="*/ 82 w 370"/>
                  <a:gd name="T25" fmla="*/ 68 h 135"/>
                  <a:gd name="T26" fmla="*/ 68 w 370"/>
                  <a:gd name="T27" fmla="*/ 51 h 135"/>
                  <a:gd name="T28" fmla="*/ 56 w 370"/>
                  <a:gd name="T29" fmla="*/ 36 h 135"/>
                  <a:gd name="T30" fmla="*/ 38 w 370"/>
                  <a:gd name="T31" fmla="*/ 24 h 135"/>
                  <a:gd name="T32" fmla="*/ 2 w 370"/>
                  <a:gd name="T33" fmla="*/ 3 h 135"/>
                  <a:gd name="T34" fmla="*/ 33 w 370"/>
                  <a:gd name="T35" fmla="*/ 46 h 135"/>
                  <a:gd name="T36" fmla="*/ 71 w 370"/>
                  <a:gd name="T37" fmla="*/ 91 h 135"/>
                  <a:gd name="T38" fmla="*/ 87 w 370"/>
                  <a:gd name="T39" fmla="*/ 84 h 135"/>
                  <a:gd name="T40" fmla="*/ 266 w 370"/>
                  <a:gd name="T41" fmla="*/ 37 h 135"/>
                  <a:gd name="T42" fmla="*/ 268 w 370"/>
                  <a:gd name="T43" fmla="*/ 46 h 135"/>
                  <a:gd name="T44" fmla="*/ 249 w 370"/>
                  <a:gd name="T45" fmla="*/ 75 h 135"/>
                  <a:gd name="T46" fmla="*/ 198 w 370"/>
                  <a:gd name="T47" fmla="*/ 119 h 135"/>
                  <a:gd name="T48" fmla="*/ 230 w 370"/>
                  <a:gd name="T49" fmla="*/ 115 h 135"/>
                  <a:gd name="T50" fmla="*/ 276 w 370"/>
                  <a:gd name="T51" fmla="*/ 76 h 135"/>
                  <a:gd name="T52" fmla="*/ 156 w 370"/>
                  <a:gd name="T53" fmla="*/ 113 h 135"/>
                  <a:gd name="T54" fmla="*/ 140 w 370"/>
                  <a:gd name="T55" fmla="*/ 105 h 135"/>
                  <a:gd name="T56" fmla="*/ 88 w 370"/>
                  <a:gd name="T57" fmla="*/ 98 h 135"/>
                  <a:gd name="T58" fmla="*/ 94 w 370"/>
                  <a:gd name="T59" fmla="*/ 109 h 135"/>
                  <a:gd name="T60" fmla="*/ 144 w 370"/>
                  <a:gd name="T61" fmla="*/ 117 h 135"/>
                  <a:gd name="T62" fmla="*/ 156 w 370"/>
                  <a:gd name="T63" fmla="*/ 113 h 135"/>
                  <a:gd name="T64" fmla="*/ 323 w 370"/>
                  <a:gd name="T65" fmla="*/ 76 h 135"/>
                  <a:gd name="T66" fmla="*/ 289 w 370"/>
                  <a:gd name="T67" fmla="*/ 59 h 135"/>
                  <a:gd name="T68" fmla="*/ 310 w 370"/>
                  <a:gd name="T69" fmla="*/ 67 h 135"/>
                  <a:gd name="T70" fmla="*/ 298 w 370"/>
                  <a:gd name="T71" fmla="*/ 72 h 135"/>
                  <a:gd name="T72" fmla="*/ 317 w 370"/>
                  <a:gd name="T73" fmla="*/ 81 h 135"/>
                  <a:gd name="T74" fmla="*/ 351 w 370"/>
                  <a:gd name="T75" fmla="*/ 102 h 135"/>
                  <a:gd name="T76" fmla="*/ 362 w 370"/>
                  <a:gd name="T77" fmla="*/ 115 h 135"/>
                  <a:gd name="T78" fmla="*/ 343 w 370"/>
                  <a:gd name="T79" fmla="*/ 61 h 135"/>
                  <a:gd name="T80" fmla="*/ 236 w 370"/>
                  <a:gd name="T81" fmla="*/ 125 h 135"/>
                  <a:gd name="T82" fmla="*/ 240 w 370"/>
                  <a:gd name="T83" fmla="*/ 127 h 135"/>
                  <a:gd name="T84" fmla="*/ 242 w 370"/>
                  <a:gd name="T85" fmla="*/ 124 h 135"/>
                  <a:gd name="T86" fmla="*/ 178 w 370"/>
                  <a:gd name="T87" fmla="*/ 48 h 135"/>
                  <a:gd name="T88" fmla="*/ 183 w 370"/>
                  <a:gd name="T89" fmla="*/ 28 h 135"/>
                  <a:gd name="T90" fmla="*/ 182 w 370"/>
                  <a:gd name="T91" fmla="*/ 14 h 135"/>
                  <a:gd name="T92" fmla="*/ 161 w 370"/>
                  <a:gd name="T93" fmla="*/ 25 h 135"/>
                  <a:gd name="T94" fmla="*/ 144 w 370"/>
                  <a:gd name="T95" fmla="*/ 36 h 135"/>
                  <a:gd name="T96" fmla="*/ 118 w 370"/>
                  <a:gd name="T97" fmla="*/ 37 h 135"/>
                  <a:gd name="T98" fmla="*/ 110 w 370"/>
                  <a:gd name="T99" fmla="*/ 43 h 135"/>
                  <a:gd name="T100" fmla="*/ 129 w 370"/>
                  <a:gd name="T101" fmla="*/ 73 h 135"/>
                  <a:gd name="T102" fmla="*/ 156 w 370"/>
                  <a:gd name="T103" fmla="*/ 80 h 135"/>
                  <a:gd name="T104" fmla="*/ 192 w 370"/>
                  <a:gd name="T105" fmla="*/ 127 h 135"/>
                  <a:gd name="T106" fmla="*/ 192 w 370"/>
                  <a:gd name="T107" fmla="*/ 127 h 135"/>
                  <a:gd name="T108" fmla="*/ 168 w 370"/>
                  <a:gd name="T109" fmla="*/ 120 h 135"/>
                  <a:gd name="T110" fmla="*/ 180 w 370"/>
                  <a:gd name="T111" fmla="*/ 115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370" h="135">
                    <a:moveTo>
                      <a:pt x="27" y="57"/>
                    </a:moveTo>
                    <a:cubicBezTo>
                      <a:pt x="27" y="58"/>
                      <a:pt x="30" y="63"/>
                      <a:pt x="31" y="62"/>
                    </a:cubicBezTo>
                    <a:cubicBezTo>
                      <a:pt x="33" y="60"/>
                      <a:pt x="29" y="53"/>
                      <a:pt x="27" y="57"/>
                    </a:cubicBezTo>
                    <a:close/>
                    <a:moveTo>
                      <a:pt x="105" y="72"/>
                    </a:moveTo>
                    <a:cubicBezTo>
                      <a:pt x="105" y="70"/>
                      <a:pt x="99" y="71"/>
                      <a:pt x="101" y="74"/>
                    </a:cubicBezTo>
                    <a:cubicBezTo>
                      <a:pt x="103" y="77"/>
                      <a:pt x="105" y="74"/>
                      <a:pt x="105" y="72"/>
                    </a:cubicBezTo>
                    <a:close/>
                    <a:moveTo>
                      <a:pt x="16" y="37"/>
                    </a:moveTo>
                    <a:cubicBezTo>
                      <a:pt x="15" y="39"/>
                      <a:pt x="18" y="46"/>
                      <a:pt x="21" y="43"/>
                    </a:cubicBezTo>
                    <a:cubicBezTo>
                      <a:pt x="24" y="40"/>
                      <a:pt x="16" y="34"/>
                      <a:pt x="16" y="37"/>
                    </a:cubicBezTo>
                    <a:close/>
                    <a:moveTo>
                      <a:pt x="195" y="77"/>
                    </a:moveTo>
                    <a:cubicBezTo>
                      <a:pt x="199" y="78"/>
                      <a:pt x="198" y="83"/>
                      <a:pt x="198" y="86"/>
                    </a:cubicBezTo>
                    <a:cubicBezTo>
                      <a:pt x="197" y="89"/>
                      <a:pt x="196" y="96"/>
                      <a:pt x="199" y="95"/>
                    </a:cubicBezTo>
                    <a:cubicBezTo>
                      <a:pt x="202" y="94"/>
                      <a:pt x="205" y="89"/>
                      <a:pt x="203" y="87"/>
                    </a:cubicBezTo>
                    <a:cubicBezTo>
                      <a:pt x="201" y="86"/>
                      <a:pt x="201" y="75"/>
                      <a:pt x="202" y="73"/>
                    </a:cubicBezTo>
                    <a:cubicBezTo>
                      <a:pt x="203" y="70"/>
                      <a:pt x="209" y="72"/>
                      <a:pt x="207" y="76"/>
                    </a:cubicBezTo>
                    <a:cubicBezTo>
                      <a:pt x="205" y="80"/>
                      <a:pt x="211" y="80"/>
                      <a:pt x="211" y="84"/>
                    </a:cubicBezTo>
                    <a:cubicBezTo>
                      <a:pt x="211" y="89"/>
                      <a:pt x="215" y="86"/>
                      <a:pt x="218" y="85"/>
                    </a:cubicBezTo>
                    <a:cubicBezTo>
                      <a:pt x="222" y="84"/>
                      <a:pt x="222" y="82"/>
                      <a:pt x="219" y="79"/>
                    </a:cubicBezTo>
                    <a:cubicBezTo>
                      <a:pt x="216" y="76"/>
                      <a:pt x="221" y="72"/>
                      <a:pt x="217" y="70"/>
                    </a:cubicBezTo>
                    <a:cubicBezTo>
                      <a:pt x="214" y="67"/>
                      <a:pt x="211" y="64"/>
                      <a:pt x="215" y="63"/>
                    </a:cubicBezTo>
                    <a:cubicBezTo>
                      <a:pt x="218" y="62"/>
                      <a:pt x="228" y="56"/>
                      <a:pt x="227" y="54"/>
                    </a:cubicBezTo>
                    <a:cubicBezTo>
                      <a:pt x="226" y="52"/>
                      <a:pt x="212" y="55"/>
                      <a:pt x="210" y="59"/>
                    </a:cubicBezTo>
                    <a:cubicBezTo>
                      <a:pt x="209" y="63"/>
                      <a:pt x="199" y="58"/>
                      <a:pt x="200" y="51"/>
                    </a:cubicBezTo>
                    <a:cubicBezTo>
                      <a:pt x="202" y="44"/>
                      <a:pt x="221" y="42"/>
                      <a:pt x="227" y="45"/>
                    </a:cubicBezTo>
                    <a:cubicBezTo>
                      <a:pt x="233" y="48"/>
                      <a:pt x="239" y="41"/>
                      <a:pt x="241" y="37"/>
                    </a:cubicBezTo>
                    <a:cubicBezTo>
                      <a:pt x="243" y="33"/>
                      <a:pt x="236" y="37"/>
                      <a:pt x="232" y="40"/>
                    </a:cubicBezTo>
                    <a:cubicBezTo>
                      <a:pt x="228" y="43"/>
                      <a:pt x="218" y="40"/>
                      <a:pt x="212" y="38"/>
                    </a:cubicBezTo>
                    <a:cubicBezTo>
                      <a:pt x="207" y="36"/>
                      <a:pt x="207" y="41"/>
                      <a:pt x="202" y="42"/>
                    </a:cubicBezTo>
                    <a:cubicBezTo>
                      <a:pt x="198" y="43"/>
                      <a:pt x="199" y="53"/>
                      <a:pt x="197" y="54"/>
                    </a:cubicBezTo>
                    <a:cubicBezTo>
                      <a:pt x="195" y="55"/>
                      <a:pt x="195" y="62"/>
                      <a:pt x="190" y="69"/>
                    </a:cubicBezTo>
                    <a:cubicBezTo>
                      <a:pt x="186" y="76"/>
                      <a:pt x="192" y="77"/>
                      <a:pt x="195" y="77"/>
                    </a:cubicBezTo>
                    <a:close/>
                    <a:moveTo>
                      <a:pt x="87" y="84"/>
                    </a:moveTo>
                    <a:cubicBezTo>
                      <a:pt x="86" y="80"/>
                      <a:pt x="88" y="77"/>
                      <a:pt x="88" y="75"/>
                    </a:cubicBezTo>
                    <a:cubicBezTo>
                      <a:pt x="88" y="74"/>
                      <a:pt x="89" y="73"/>
                      <a:pt x="91" y="73"/>
                    </a:cubicBezTo>
                    <a:cubicBezTo>
                      <a:pt x="93" y="74"/>
                      <a:pt x="93" y="69"/>
                      <a:pt x="91" y="68"/>
                    </a:cubicBezTo>
                    <a:cubicBezTo>
                      <a:pt x="90" y="68"/>
                      <a:pt x="89" y="62"/>
                      <a:pt x="85" y="62"/>
                    </a:cubicBezTo>
                    <a:cubicBezTo>
                      <a:pt x="81" y="62"/>
                      <a:pt x="81" y="65"/>
                      <a:pt x="84" y="65"/>
                    </a:cubicBezTo>
                    <a:cubicBezTo>
                      <a:pt x="86" y="66"/>
                      <a:pt x="88" y="68"/>
                      <a:pt x="87" y="69"/>
                    </a:cubicBezTo>
                    <a:cubicBezTo>
                      <a:pt x="86" y="71"/>
                      <a:pt x="85" y="68"/>
                      <a:pt x="82" y="68"/>
                    </a:cubicBezTo>
                    <a:cubicBezTo>
                      <a:pt x="79" y="68"/>
                      <a:pt x="81" y="64"/>
                      <a:pt x="77" y="64"/>
                    </a:cubicBezTo>
                    <a:cubicBezTo>
                      <a:pt x="73" y="63"/>
                      <a:pt x="74" y="56"/>
                      <a:pt x="70" y="56"/>
                    </a:cubicBezTo>
                    <a:cubicBezTo>
                      <a:pt x="66" y="56"/>
                      <a:pt x="66" y="53"/>
                      <a:pt x="68" y="51"/>
                    </a:cubicBezTo>
                    <a:cubicBezTo>
                      <a:pt x="71" y="48"/>
                      <a:pt x="64" y="46"/>
                      <a:pt x="64" y="43"/>
                    </a:cubicBezTo>
                    <a:cubicBezTo>
                      <a:pt x="64" y="41"/>
                      <a:pt x="60" y="42"/>
                      <a:pt x="60" y="40"/>
                    </a:cubicBezTo>
                    <a:cubicBezTo>
                      <a:pt x="60" y="37"/>
                      <a:pt x="58" y="39"/>
                      <a:pt x="56" y="36"/>
                    </a:cubicBezTo>
                    <a:cubicBezTo>
                      <a:pt x="54" y="33"/>
                      <a:pt x="53" y="36"/>
                      <a:pt x="51" y="33"/>
                    </a:cubicBezTo>
                    <a:cubicBezTo>
                      <a:pt x="49" y="31"/>
                      <a:pt x="46" y="30"/>
                      <a:pt x="45" y="31"/>
                    </a:cubicBezTo>
                    <a:cubicBezTo>
                      <a:pt x="43" y="31"/>
                      <a:pt x="39" y="28"/>
                      <a:pt x="38" y="24"/>
                    </a:cubicBezTo>
                    <a:cubicBezTo>
                      <a:pt x="37" y="21"/>
                      <a:pt x="26" y="16"/>
                      <a:pt x="24" y="12"/>
                    </a:cubicBezTo>
                    <a:cubicBezTo>
                      <a:pt x="23" y="8"/>
                      <a:pt x="19" y="6"/>
                      <a:pt x="12" y="6"/>
                    </a:cubicBezTo>
                    <a:cubicBezTo>
                      <a:pt x="6" y="7"/>
                      <a:pt x="4" y="0"/>
                      <a:pt x="2" y="3"/>
                    </a:cubicBezTo>
                    <a:cubicBezTo>
                      <a:pt x="0" y="7"/>
                      <a:pt x="9" y="16"/>
                      <a:pt x="13" y="19"/>
                    </a:cubicBezTo>
                    <a:cubicBezTo>
                      <a:pt x="17" y="21"/>
                      <a:pt x="19" y="30"/>
                      <a:pt x="24" y="30"/>
                    </a:cubicBezTo>
                    <a:cubicBezTo>
                      <a:pt x="29" y="31"/>
                      <a:pt x="29" y="46"/>
                      <a:pt x="33" y="46"/>
                    </a:cubicBezTo>
                    <a:cubicBezTo>
                      <a:pt x="36" y="47"/>
                      <a:pt x="44" y="59"/>
                      <a:pt x="45" y="65"/>
                    </a:cubicBezTo>
                    <a:cubicBezTo>
                      <a:pt x="46" y="71"/>
                      <a:pt x="54" y="74"/>
                      <a:pt x="57" y="79"/>
                    </a:cubicBezTo>
                    <a:cubicBezTo>
                      <a:pt x="59" y="83"/>
                      <a:pt x="70" y="89"/>
                      <a:pt x="71" y="91"/>
                    </a:cubicBezTo>
                    <a:cubicBezTo>
                      <a:pt x="73" y="93"/>
                      <a:pt x="74" y="97"/>
                      <a:pt x="75" y="95"/>
                    </a:cubicBezTo>
                    <a:cubicBezTo>
                      <a:pt x="76" y="93"/>
                      <a:pt x="81" y="95"/>
                      <a:pt x="84" y="95"/>
                    </a:cubicBezTo>
                    <a:cubicBezTo>
                      <a:pt x="86" y="96"/>
                      <a:pt x="87" y="87"/>
                      <a:pt x="87" y="84"/>
                    </a:cubicBezTo>
                    <a:close/>
                    <a:moveTo>
                      <a:pt x="268" y="46"/>
                    </a:moveTo>
                    <a:cubicBezTo>
                      <a:pt x="274" y="46"/>
                      <a:pt x="271" y="43"/>
                      <a:pt x="271" y="40"/>
                    </a:cubicBezTo>
                    <a:cubicBezTo>
                      <a:pt x="271" y="36"/>
                      <a:pt x="266" y="39"/>
                      <a:pt x="266" y="37"/>
                    </a:cubicBezTo>
                    <a:cubicBezTo>
                      <a:pt x="266" y="36"/>
                      <a:pt x="265" y="29"/>
                      <a:pt x="261" y="34"/>
                    </a:cubicBezTo>
                    <a:cubicBezTo>
                      <a:pt x="257" y="40"/>
                      <a:pt x="262" y="53"/>
                      <a:pt x="265" y="52"/>
                    </a:cubicBezTo>
                    <a:cubicBezTo>
                      <a:pt x="268" y="51"/>
                      <a:pt x="263" y="45"/>
                      <a:pt x="268" y="46"/>
                    </a:cubicBezTo>
                    <a:close/>
                    <a:moveTo>
                      <a:pt x="249" y="75"/>
                    </a:moveTo>
                    <a:cubicBezTo>
                      <a:pt x="250" y="79"/>
                      <a:pt x="257" y="81"/>
                      <a:pt x="259" y="78"/>
                    </a:cubicBezTo>
                    <a:cubicBezTo>
                      <a:pt x="261" y="75"/>
                      <a:pt x="248" y="71"/>
                      <a:pt x="249" y="75"/>
                    </a:cubicBezTo>
                    <a:close/>
                    <a:moveTo>
                      <a:pt x="230" y="115"/>
                    </a:moveTo>
                    <a:cubicBezTo>
                      <a:pt x="224" y="114"/>
                      <a:pt x="219" y="119"/>
                      <a:pt x="213" y="117"/>
                    </a:cubicBezTo>
                    <a:cubicBezTo>
                      <a:pt x="207" y="114"/>
                      <a:pt x="197" y="117"/>
                      <a:pt x="198" y="119"/>
                    </a:cubicBezTo>
                    <a:cubicBezTo>
                      <a:pt x="199" y="121"/>
                      <a:pt x="205" y="121"/>
                      <a:pt x="211" y="121"/>
                    </a:cubicBezTo>
                    <a:cubicBezTo>
                      <a:pt x="217" y="122"/>
                      <a:pt x="223" y="118"/>
                      <a:pt x="227" y="118"/>
                    </a:cubicBezTo>
                    <a:cubicBezTo>
                      <a:pt x="232" y="118"/>
                      <a:pt x="236" y="116"/>
                      <a:pt x="230" y="115"/>
                    </a:cubicBezTo>
                    <a:close/>
                    <a:moveTo>
                      <a:pt x="281" y="72"/>
                    </a:moveTo>
                    <a:cubicBezTo>
                      <a:pt x="275" y="70"/>
                      <a:pt x="264" y="72"/>
                      <a:pt x="265" y="75"/>
                    </a:cubicBezTo>
                    <a:cubicBezTo>
                      <a:pt x="266" y="78"/>
                      <a:pt x="271" y="76"/>
                      <a:pt x="276" y="76"/>
                    </a:cubicBezTo>
                    <a:cubicBezTo>
                      <a:pt x="281" y="76"/>
                      <a:pt x="284" y="80"/>
                      <a:pt x="286" y="80"/>
                    </a:cubicBezTo>
                    <a:cubicBezTo>
                      <a:pt x="289" y="80"/>
                      <a:pt x="287" y="74"/>
                      <a:pt x="281" y="72"/>
                    </a:cubicBezTo>
                    <a:close/>
                    <a:moveTo>
                      <a:pt x="156" y="113"/>
                    </a:moveTo>
                    <a:cubicBezTo>
                      <a:pt x="155" y="110"/>
                      <a:pt x="146" y="113"/>
                      <a:pt x="142" y="111"/>
                    </a:cubicBezTo>
                    <a:cubicBezTo>
                      <a:pt x="137" y="109"/>
                      <a:pt x="147" y="107"/>
                      <a:pt x="150" y="105"/>
                    </a:cubicBezTo>
                    <a:cubicBezTo>
                      <a:pt x="153" y="103"/>
                      <a:pt x="148" y="103"/>
                      <a:pt x="140" y="105"/>
                    </a:cubicBezTo>
                    <a:cubicBezTo>
                      <a:pt x="133" y="107"/>
                      <a:pt x="124" y="100"/>
                      <a:pt x="124" y="103"/>
                    </a:cubicBezTo>
                    <a:cubicBezTo>
                      <a:pt x="123" y="106"/>
                      <a:pt x="110" y="102"/>
                      <a:pt x="106" y="99"/>
                    </a:cubicBezTo>
                    <a:cubicBezTo>
                      <a:pt x="103" y="97"/>
                      <a:pt x="90" y="94"/>
                      <a:pt x="88" y="98"/>
                    </a:cubicBezTo>
                    <a:cubicBezTo>
                      <a:pt x="85" y="103"/>
                      <a:pt x="83" y="99"/>
                      <a:pt x="84" y="103"/>
                    </a:cubicBezTo>
                    <a:cubicBezTo>
                      <a:pt x="85" y="106"/>
                      <a:pt x="88" y="104"/>
                      <a:pt x="90" y="104"/>
                    </a:cubicBezTo>
                    <a:cubicBezTo>
                      <a:pt x="92" y="104"/>
                      <a:pt x="91" y="108"/>
                      <a:pt x="94" y="109"/>
                    </a:cubicBezTo>
                    <a:cubicBezTo>
                      <a:pt x="97" y="109"/>
                      <a:pt x="107" y="112"/>
                      <a:pt x="108" y="110"/>
                    </a:cubicBezTo>
                    <a:cubicBezTo>
                      <a:pt x="109" y="108"/>
                      <a:pt x="119" y="110"/>
                      <a:pt x="124" y="114"/>
                    </a:cubicBezTo>
                    <a:cubicBezTo>
                      <a:pt x="128" y="118"/>
                      <a:pt x="139" y="118"/>
                      <a:pt x="144" y="117"/>
                    </a:cubicBezTo>
                    <a:cubicBezTo>
                      <a:pt x="148" y="116"/>
                      <a:pt x="153" y="120"/>
                      <a:pt x="154" y="118"/>
                    </a:cubicBezTo>
                    <a:cubicBezTo>
                      <a:pt x="156" y="115"/>
                      <a:pt x="159" y="121"/>
                      <a:pt x="164" y="118"/>
                    </a:cubicBezTo>
                    <a:cubicBezTo>
                      <a:pt x="168" y="114"/>
                      <a:pt x="156" y="116"/>
                      <a:pt x="156" y="113"/>
                    </a:cubicBezTo>
                    <a:close/>
                    <a:moveTo>
                      <a:pt x="343" y="61"/>
                    </a:moveTo>
                    <a:cubicBezTo>
                      <a:pt x="339" y="61"/>
                      <a:pt x="339" y="67"/>
                      <a:pt x="336" y="67"/>
                    </a:cubicBezTo>
                    <a:cubicBezTo>
                      <a:pt x="333" y="67"/>
                      <a:pt x="328" y="74"/>
                      <a:pt x="323" y="76"/>
                    </a:cubicBezTo>
                    <a:cubicBezTo>
                      <a:pt x="317" y="78"/>
                      <a:pt x="317" y="59"/>
                      <a:pt x="314" y="56"/>
                    </a:cubicBezTo>
                    <a:cubicBezTo>
                      <a:pt x="311" y="52"/>
                      <a:pt x="297" y="49"/>
                      <a:pt x="296" y="53"/>
                    </a:cubicBezTo>
                    <a:cubicBezTo>
                      <a:pt x="294" y="57"/>
                      <a:pt x="289" y="55"/>
                      <a:pt x="289" y="59"/>
                    </a:cubicBezTo>
                    <a:cubicBezTo>
                      <a:pt x="288" y="62"/>
                      <a:pt x="290" y="61"/>
                      <a:pt x="293" y="61"/>
                    </a:cubicBezTo>
                    <a:cubicBezTo>
                      <a:pt x="296" y="61"/>
                      <a:pt x="296" y="63"/>
                      <a:pt x="298" y="66"/>
                    </a:cubicBezTo>
                    <a:cubicBezTo>
                      <a:pt x="299" y="69"/>
                      <a:pt x="308" y="67"/>
                      <a:pt x="310" y="67"/>
                    </a:cubicBezTo>
                    <a:cubicBezTo>
                      <a:pt x="313" y="67"/>
                      <a:pt x="314" y="71"/>
                      <a:pt x="310" y="69"/>
                    </a:cubicBezTo>
                    <a:cubicBezTo>
                      <a:pt x="306" y="68"/>
                      <a:pt x="306" y="71"/>
                      <a:pt x="303" y="70"/>
                    </a:cubicBezTo>
                    <a:cubicBezTo>
                      <a:pt x="300" y="70"/>
                      <a:pt x="296" y="70"/>
                      <a:pt x="298" y="72"/>
                    </a:cubicBezTo>
                    <a:cubicBezTo>
                      <a:pt x="300" y="73"/>
                      <a:pt x="303" y="75"/>
                      <a:pt x="303" y="79"/>
                    </a:cubicBezTo>
                    <a:cubicBezTo>
                      <a:pt x="303" y="83"/>
                      <a:pt x="309" y="82"/>
                      <a:pt x="309" y="79"/>
                    </a:cubicBezTo>
                    <a:cubicBezTo>
                      <a:pt x="309" y="76"/>
                      <a:pt x="311" y="80"/>
                      <a:pt x="317" y="81"/>
                    </a:cubicBezTo>
                    <a:cubicBezTo>
                      <a:pt x="322" y="83"/>
                      <a:pt x="319" y="85"/>
                      <a:pt x="324" y="85"/>
                    </a:cubicBezTo>
                    <a:cubicBezTo>
                      <a:pt x="329" y="85"/>
                      <a:pt x="342" y="89"/>
                      <a:pt x="347" y="93"/>
                    </a:cubicBezTo>
                    <a:cubicBezTo>
                      <a:pt x="351" y="96"/>
                      <a:pt x="348" y="99"/>
                      <a:pt x="351" y="102"/>
                    </a:cubicBezTo>
                    <a:cubicBezTo>
                      <a:pt x="354" y="105"/>
                      <a:pt x="355" y="109"/>
                      <a:pt x="351" y="109"/>
                    </a:cubicBezTo>
                    <a:cubicBezTo>
                      <a:pt x="347" y="109"/>
                      <a:pt x="342" y="114"/>
                      <a:pt x="343" y="116"/>
                    </a:cubicBezTo>
                    <a:cubicBezTo>
                      <a:pt x="344" y="118"/>
                      <a:pt x="358" y="115"/>
                      <a:pt x="362" y="115"/>
                    </a:cubicBezTo>
                    <a:cubicBezTo>
                      <a:pt x="364" y="115"/>
                      <a:pt x="366" y="119"/>
                      <a:pt x="370" y="121"/>
                    </a:cubicBezTo>
                    <a:cubicBezTo>
                      <a:pt x="370" y="71"/>
                      <a:pt x="370" y="71"/>
                      <a:pt x="370" y="71"/>
                    </a:cubicBezTo>
                    <a:cubicBezTo>
                      <a:pt x="360" y="67"/>
                      <a:pt x="346" y="61"/>
                      <a:pt x="343" y="61"/>
                    </a:cubicBezTo>
                    <a:close/>
                    <a:moveTo>
                      <a:pt x="240" y="121"/>
                    </a:moveTo>
                    <a:cubicBezTo>
                      <a:pt x="239" y="122"/>
                      <a:pt x="238" y="122"/>
                      <a:pt x="237" y="122"/>
                    </a:cubicBezTo>
                    <a:cubicBezTo>
                      <a:pt x="237" y="123"/>
                      <a:pt x="237" y="124"/>
                      <a:pt x="236" y="125"/>
                    </a:cubicBezTo>
                    <a:cubicBezTo>
                      <a:pt x="235" y="125"/>
                      <a:pt x="234" y="124"/>
                      <a:pt x="233" y="123"/>
                    </a:cubicBezTo>
                    <a:cubicBezTo>
                      <a:pt x="229" y="125"/>
                      <a:pt x="226" y="131"/>
                      <a:pt x="230" y="132"/>
                    </a:cubicBezTo>
                    <a:cubicBezTo>
                      <a:pt x="233" y="134"/>
                      <a:pt x="237" y="130"/>
                      <a:pt x="240" y="127"/>
                    </a:cubicBezTo>
                    <a:cubicBezTo>
                      <a:pt x="240" y="126"/>
                      <a:pt x="240" y="126"/>
                      <a:pt x="241" y="125"/>
                    </a:cubicBezTo>
                    <a:cubicBezTo>
                      <a:pt x="241" y="125"/>
                      <a:pt x="241" y="125"/>
                      <a:pt x="242" y="124"/>
                    </a:cubicBezTo>
                    <a:cubicBezTo>
                      <a:pt x="242" y="124"/>
                      <a:pt x="242" y="124"/>
                      <a:pt x="242" y="124"/>
                    </a:cubicBezTo>
                    <a:cubicBezTo>
                      <a:pt x="242" y="123"/>
                      <a:pt x="241" y="122"/>
                      <a:pt x="240" y="121"/>
                    </a:cubicBezTo>
                    <a:close/>
                    <a:moveTo>
                      <a:pt x="174" y="60"/>
                    </a:moveTo>
                    <a:cubicBezTo>
                      <a:pt x="178" y="57"/>
                      <a:pt x="179" y="52"/>
                      <a:pt x="178" y="48"/>
                    </a:cubicBezTo>
                    <a:cubicBezTo>
                      <a:pt x="178" y="43"/>
                      <a:pt x="189" y="43"/>
                      <a:pt x="191" y="41"/>
                    </a:cubicBezTo>
                    <a:cubicBezTo>
                      <a:pt x="192" y="39"/>
                      <a:pt x="188" y="36"/>
                      <a:pt x="185" y="34"/>
                    </a:cubicBezTo>
                    <a:cubicBezTo>
                      <a:pt x="182" y="33"/>
                      <a:pt x="185" y="30"/>
                      <a:pt x="183" y="28"/>
                    </a:cubicBezTo>
                    <a:cubicBezTo>
                      <a:pt x="180" y="26"/>
                      <a:pt x="177" y="21"/>
                      <a:pt x="180" y="21"/>
                    </a:cubicBezTo>
                    <a:cubicBezTo>
                      <a:pt x="183" y="21"/>
                      <a:pt x="178" y="16"/>
                      <a:pt x="180" y="15"/>
                    </a:cubicBezTo>
                    <a:cubicBezTo>
                      <a:pt x="181" y="15"/>
                      <a:pt x="181" y="14"/>
                      <a:pt x="182" y="14"/>
                    </a:cubicBezTo>
                    <a:cubicBezTo>
                      <a:pt x="180" y="13"/>
                      <a:pt x="179" y="13"/>
                      <a:pt x="178" y="13"/>
                    </a:cubicBezTo>
                    <a:cubicBezTo>
                      <a:pt x="174" y="13"/>
                      <a:pt x="165" y="12"/>
                      <a:pt x="165" y="18"/>
                    </a:cubicBezTo>
                    <a:cubicBezTo>
                      <a:pt x="166" y="24"/>
                      <a:pt x="160" y="22"/>
                      <a:pt x="161" y="25"/>
                    </a:cubicBezTo>
                    <a:cubicBezTo>
                      <a:pt x="161" y="29"/>
                      <a:pt x="158" y="29"/>
                      <a:pt x="158" y="33"/>
                    </a:cubicBezTo>
                    <a:cubicBezTo>
                      <a:pt x="159" y="37"/>
                      <a:pt x="156" y="35"/>
                      <a:pt x="151" y="38"/>
                    </a:cubicBezTo>
                    <a:cubicBezTo>
                      <a:pt x="146" y="40"/>
                      <a:pt x="148" y="36"/>
                      <a:pt x="144" y="36"/>
                    </a:cubicBezTo>
                    <a:cubicBezTo>
                      <a:pt x="139" y="36"/>
                      <a:pt x="138" y="39"/>
                      <a:pt x="135" y="40"/>
                    </a:cubicBezTo>
                    <a:cubicBezTo>
                      <a:pt x="133" y="41"/>
                      <a:pt x="127" y="39"/>
                      <a:pt x="125" y="41"/>
                    </a:cubicBezTo>
                    <a:cubicBezTo>
                      <a:pt x="123" y="42"/>
                      <a:pt x="120" y="37"/>
                      <a:pt x="118" y="37"/>
                    </a:cubicBezTo>
                    <a:cubicBezTo>
                      <a:pt x="117" y="37"/>
                      <a:pt x="116" y="35"/>
                      <a:pt x="116" y="32"/>
                    </a:cubicBezTo>
                    <a:cubicBezTo>
                      <a:pt x="116" y="32"/>
                      <a:pt x="115" y="32"/>
                      <a:pt x="115" y="32"/>
                    </a:cubicBezTo>
                    <a:cubicBezTo>
                      <a:pt x="112" y="32"/>
                      <a:pt x="107" y="40"/>
                      <a:pt x="110" y="43"/>
                    </a:cubicBezTo>
                    <a:cubicBezTo>
                      <a:pt x="113" y="46"/>
                      <a:pt x="112" y="52"/>
                      <a:pt x="114" y="54"/>
                    </a:cubicBezTo>
                    <a:cubicBezTo>
                      <a:pt x="116" y="57"/>
                      <a:pt x="121" y="57"/>
                      <a:pt x="121" y="62"/>
                    </a:cubicBezTo>
                    <a:cubicBezTo>
                      <a:pt x="121" y="67"/>
                      <a:pt x="125" y="75"/>
                      <a:pt x="129" y="73"/>
                    </a:cubicBezTo>
                    <a:cubicBezTo>
                      <a:pt x="132" y="71"/>
                      <a:pt x="134" y="74"/>
                      <a:pt x="135" y="76"/>
                    </a:cubicBezTo>
                    <a:cubicBezTo>
                      <a:pt x="136" y="78"/>
                      <a:pt x="143" y="75"/>
                      <a:pt x="146" y="75"/>
                    </a:cubicBezTo>
                    <a:cubicBezTo>
                      <a:pt x="148" y="75"/>
                      <a:pt x="155" y="77"/>
                      <a:pt x="156" y="80"/>
                    </a:cubicBezTo>
                    <a:cubicBezTo>
                      <a:pt x="156" y="83"/>
                      <a:pt x="163" y="80"/>
                      <a:pt x="168" y="78"/>
                    </a:cubicBezTo>
                    <a:cubicBezTo>
                      <a:pt x="172" y="76"/>
                      <a:pt x="169" y="63"/>
                      <a:pt x="174" y="60"/>
                    </a:cubicBezTo>
                    <a:close/>
                    <a:moveTo>
                      <a:pt x="192" y="127"/>
                    </a:moveTo>
                    <a:cubicBezTo>
                      <a:pt x="193" y="129"/>
                      <a:pt x="197" y="129"/>
                      <a:pt x="199" y="130"/>
                    </a:cubicBezTo>
                    <a:cubicBezTo>
                      <a:pt x="200" y="132"/>
                      <a:pt x="206" y="135"/>
                      <a:pt x="206" y="131"/>
                    </a:cubicBezTo>
                    <a:cubicBezTo>
                      <a:pt x="206" y="127"/>
                      <a:pt x="190" y="124"/>
                      <a:pt x="192" y="127"/>
                    </a:cubicBezTo>
                    <a:close/>
                    <a:moveTo>
                      <a:pt x="180" y="115"/>
                    </a:moveTo>
                    <a:cubicBezTo>
                      <a:pt x="179" y="117"/>
                      <a:pt x="175" y="118"/>
                      <a:pt x="172" y="116"/>
                    </a:cubicBezTo>
                    <a:cubicBezTo>
                      <a:pt x="170" y="114"/>
                      <a:pt x="167" y="118"/>
                      <a:pt x="168" y="120"/>
                    </a:cubicBezTo>
                    <a:cubicBezTo>
                      <a:pt x="169" y="121"/>
                      <a:pt x="174" y="125"/>
                      <a:pt x="180" y="122"/>
                    </a:cubicBezTo>
                    <a:cubicBezTo>
                      <a:pt x="186" y="119"/>
                      <a:pt x="190" y="122"/>
                      <a:pt x="192" y="119"/>
                    </a:cubicBezTo>
                    <a:cubicBezTo>
                      <a:pt x="193" y="116"/>
                      <a:pt x="181" y="113"/>
                      <a:pt x="180" y="11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6" name="Freeform 178">
                <a:extLst>
                  <a:ext uri="{FF2B5EF4-FFF2-40B4-BE49-F238E27FC236}">
                    <a16:creationId xmlns:a16="http://schemas.microsoft.com/office/drawing/2014/main" id="{DB1CCE59-D01C-4498-8428-6F422AC2365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200806" y="4242875"/>
                <a:ext cx="61482" cy="26349"/>
              </a:xfrm>
              <a:custGeom>
                <a:avLst/>
                <a:gdLst>
                  <a:gd name="T0" fmla="*/ 3 w 27"/>
                  <a:gd name="T1" fmla="*/ 9 h 11"/>
                  <a:gd name="T2" fmla="*/ 0 w 27"/>
                  <a:gd name="T3" fmla="*/ 9 h 11"/>
                  <a:gd name="T4" fmla="*/ 3 w 27"/>
                  <a:gd name="T5" fmla="*/ 11 h 11"/>
                  <a:gd name="T6" fmla="*/ 4 w 27"/>
                  <a:gd name="T7" fmla="*/ 8 h 11"/>
                  <a:gd name="T8" fmla="*/ 3 w 27"/>
                  <a:gd name="T9" fmla="*/ 9 h 11"/>
                  <a:gd name="T10" fmla="*/ 3 w 27"/>
                  <a:gd name="T11" fmla="*/ 9 h 11"/>
                  <a:gd name="T12" fmla="*/ 14 w 27"/>
                  <a:gd name="T13" fmla="*/ 2 h 11"/>
                  <a:gd name="T14" fmla="*/ 8 w 27"/>
                  <a:gd name="T15" fmla="*/ 7 h 11"/>
                  <a:gd name="T16" fmla="*/ 7 w 27"/>
                  <a:gd name="T17" fmla="*/ 7 h 11"/>
                  <a:gd name="T18" fmla="*/ 9 w 27"/>
                  <a:gd name="T19" fmla="*/ 10 h 11"/>
                  <a:gd name="T20" fmla="*/ 26 w 27"/>
                  <a:gd name="T21" fmla="*/ 2 h 11"/>
                  <a:gd name="T22" fmla="*/ 14 w 27"/>
                  <a:gd name="T23" fmla="*/ 2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7" h="11">
                    <a:moveTo>
                      <a:pt x="3" y="9"/>
                    </a:moveTo>
                    <a:cubicBezTo>
                      <a:pt x="2" y="9"/>
                      <a:pt x="1" y="9"/>
                      <a:pt x="0" y="9"/>
                    </a:cubicBezTo>
                    <a:cubicBezTo>
                      <a:pt x="1" y="10"/>
                      <a:pt x="2" y="11"/>
                      <a:pt x="3" y="11"/>
                    </a:cubicBezTo>
                    <a:cubicBezTo>
                      <a:pt x="4" y="10"/>
                      <a:pt x="4" y="9"/>
                      <a:pt x="4" y="8"/>
                    </a:cubicBezTo>
                    <a:cubicBezTo>
                      <a:pt x="4" y="8"/>
                      <a:pt x="4" y="9"/>
                      <a:pt x="3" y="9"/>
                    </a:cubicBezTo>
                    <a:cubicBezTo>
                      <a:pt x="3" y="9"/>
                      <a:pt x="3" y="9"/>
                      <a:pt x="3" y="9"/>
                    </a:cubicBezTo>
                    <a:close/>
                    <a:moveTo>
                      <a:pt x="14" y="2"/>
                    </a:moveTo>
                    <a:cubicBezTo>
                      <a:pt x="11" y="2"/>
                      <a:pt x="10" y="5"/>
                      <a:pt x="8" y="7"/>
                    </a:cubicBezTo>
                    <a:cubicBezTo>
                      <a:pt x="7" y="7"/>
                      <a:pt x="7" y="7"/>
                      <a:pt x="7" y="7"/>
                    </a:cubicBezTo>
                    <a:cubicBezTo>
                      <a:pt x="8" y="8"/>
                      <a:pt x="9" y="9"/>
                      <a:pt x="9" y="10"/>
                    </a:cubicBezTo>
                    <a:cubicBezTo>
                      <a:pt x="14" y="7"/>
                      <a:pt x="26" y="4"/>
                      <a:pt x="26" y="2"/>
                    </a:cubicBezTo>
                    <a:cubicBezTo>
                      <a:pt x="27" y="0"/>
                      <a:pt x="19" y="3"/>
                      <a:pt x="14" y="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7" name="Freeform 179">
                <a:extLst>
                  <a:ext uri="{FF2B5EF4-FFF2-40B4-BE49-F238E27FC236}">
                    <a16:creationId xmlns:a16="http://schemas.microsoft.com/office/drawing/2014/main" id="{F7988573-2527-4619-9B40-44B145BE367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45187" y="3136207"/>
                <a:ext cx="214558" cy="233379"/>
              </a:xfrm>
              <a:custGeom>
                <a:avLst/>
                <a:gdLst>
                  <a:gd name="T0" fmla="*/ 65 w 93"/>
                  <a:gd name="T1" fmla="*/ 87 h 101"/>
                  <a:gd name="T2" fmla="*/ 55 w 93"/>
                  <a:gd name="T3" fmla="*/ 87 h 101"/>
                  <a:gd name="T4" fmla="*/ 48 w 93"/>
                  <a:gd name="T5" fmla="*/ 90 h 101"/>
                  <a:gd name="T6" fmla="*/ 57 w 93"/>
                  <a:gd name="T7" fmla="*/ 95 h 101"/>
                  <a:gd name="T8" fmla="*/ 66 w 93"/>
                  <a:gd name="T9" fmla="*/ 101 h 101"/>
                  <a:gd name="T10" fmla="*/ 68 w 93"/>
                  <a:gd name="T11" fmla="*/ 95 h 101"/>
                  <a:gd name="T12" fmla="*/ 71 w 93"/>
                  <a:gd name="T13" fmla="*/ 88 h 101"/>
                  <a:gd name="T14" fmla="*/ 65 w 93"/>
                  <a:gd name="T15" fmla="*/ 87 h 101"/>
                  <a:gd name="T16" fmla="*/ 19 w 93"/>
                  <a:gd name="T17" fmla="*/ 60 h 101"/>
                  <a:gd name="T18" fmla="*/ 13 w 93"/>
                  <a:gd name="T19" fmla="*/ 62 h 101"/>
                  <a:gd name="T20" fmla="*/ 16 w 93"/>
                  <a:gd name="T21" fmla="*/ 72 h 101"/>
                  <a:gd name="T22" fmla="*/ 19 w 93"/>
                  <a:gd name="T23" fmla="*/ 80 h 101"/>
                  <a:gd name="T24" fmla="*/ 25 w 93"/>
                  <a:gd name="T25" fmla="*/ 76 h 101"/>
                  <a:gd name="T26" fmla="*/ 26 w 93"/>
                  <a:gd name="T27" fmla="*/ 63 h 101"/>
                  <a:gd name="T28" fmla="*/ 19 w 93"/>
                  <a:gd name="T29" fmla="*/ 60 h 101"/>
                  <a:gd name="T30" fmla="*/ 77 w 93"/>
                  <a:gd name="T31" fmla="*/ 56 h 101"/>
                  <a:gd name="T32" fmla="*/ 71 w 93"/>
                  <a:gd name="T33" fmla="*/ 52 h 101"/>
                  <a:gd name="T34" fmla="*/ 59 w 93"/>
                  <a:gd name="T35" fmla="*/ 39 h 101"/>
                  <a:gd name="T36" fmla="*/ 47 w 93"/>
                  <a:gd name="T37" fmla="*/ 27 h 101"/>
                  <a:gd name="T38" fmla="*/ 47 w 93"/>
                  <a:gd name="T39" fmla="*/ 19 h 101"/>
                  <a:gd name="T40" fmla="*/ 51 w 93"/>
                  <a:gd name="T41" fmla="*/ 15 h 101"/>
                  <a:gd name="T42" fmla="*/ 51 w 93"/>
                  <a:gd name="T43" fmla="*/ 4 h 101"/>
                  <a:gd name="T44" fmla="*/ 47 w 93"/>
                  <a:gd name="T45" fmla="*/ 3 h 101"/>
                  <a:gd name="T46" fmla="*/ 46 w 93"/>
                  <a:gd name="T47" fmla="*/ 0 h 101"/>
                  <a:gd name="T48" fmla="*/ 39 w 93"/>
                  <a:gd name="T49" fmla="*/ 1 h 101"/>
                  <a:gd name="T50" fmla="*/ 34 w 93"/>
                  <a:gd name="T51" fmla="*/ 2 h 101"/>
                  <a:gd name="T52" fmla="*/ 33 w 93"/>
                  <a:gd name="T53" fmla="*/ 2 h 101"/>
                  <a:gd name="T54" fmla="*/ 32 w 93"/>
                  <a:gd name="T55" fmla="*/ 3 h 101"/>
                  <a:gd name="T56" fmla="*/ 31 w 93"/>
                  <a:gd name="T57" fmla="*/ 5 h 101"/>
                  <a:gd name="T58" fmla="*/ 28 w 93"/>
                  <a:gd name="T59" fmla="*/ 6 h 101"/>
                  <a:gd name="T60" fmla="*/ 24 w 93"/>
                  <a:gd name="T61" fmla="*/ 7 h 101"/>
                  <a:gd name="T62" fmla="*/ 22 w 93"/>
                  <a:gd name="T63" fmla="*/ 9 h 101"/>
                  <a:gd name="T64" fmla="*/ 19 w 93"/>
                  <a:gd name="T65" fmla="*/ 12 h 101"/>
                  <a:gd name="T66" fmla="*/ 15 w 93"/>
                  <a:gd name="T67" fmla="*/ 6 h 101"/>
                  <a:gd name="T68" fmla="*/ 11 w 93"/>
                  <a:gd name="T69" fmla="*/ 12 h 101"/>
                  <a:gd name="T70" fmla="*/ 4 w 93"/>
                  <a:gd name="T71" fmla="*/ 12 h 101"/>
                  <a:gd name="T72" fmla="*/ 5 w 93"/>
                  <a:gd name="T73" fmla="*/ 16 h 101"/>
                  <a:gd name="T74" fmla="*/ 3 w 93"/>
                  <a:gd name="T75" fmla="*/ 19 h 101"/>
                  <a:gd name="T76" fmla="*/ 2 w 93"/>
                  <a:gd name="T77" fmla="*/ 21 h 101"/>
                  <a:gd name="T78" fmla="*/ 4 w 93"/>
                  <a:gd name="T79" fmla="*/ 25 h 101"/>
                  <a:gd name="T80" fmla="*/ 6 w 93"/>
                  <a:gd name="T81" fmla="*/ 29 h 101"/>
                  <a:gd name="T82" fmla="*/ 10 w 93"/>
                  <a:gd name="T83" fmla="*/ 31 h 101"/>
                  <a:gd name="T84" fmla="*/ 9 w 93"/>
                  <a:gd name="T85" fmla="*/ 33 h 101"/>
                  <a:gd name="T86" fmla="*/ 13 w 93"/>
                  <a:gd name="T87" fmla="*/ 32 h 101"/>
                  <a:gd name="T88" fmla="*/ 18 w 93"/>
                  <a:gd name="T89" fmla="*/ 27 h 101"/>
                  <a:gd name="T90" fmla="*/ 29 w 93"/>
                  <a:gd name="T91" fmla="*/ 32 h 101"/>
                  <a:gd name="T92" fmla="*/ 32 w 93"/>
                  <a:gd name="T93" fmla="*/ 37 h 101"/>
                  <a:gd name="T94" fmla="*/ 40 w 93"/>
                  <a:gd name="T95" fmla="*/ 47 h 101"/>
                  <a:gd name="T96" fmla="*/ 50 w 93"/>
                  <a:gd name="T97" fmla="*/ 56 h 101"/>
                  <a:gd name="T98" fmla="*/ 58 w 93"/>
                  <a:gd name="T99" fmla="*/ 59 h 101"/>
                  <a:gd name="T100" fmla="*/ 65 w 93"/>
                  <a:gd name="T101" fmla="*/ 64 h 101"/>
                  <a:gd name="T102" fmla="*/ 71 w 93"/>
                  <a:gd name="T103" fmla="*/ 69 h 101"/>
                  <a:gd name="T104" fmla="*/ 74 w 93"/>
                  <a:gd name="T105" fmla="*/ 73 h 101"/>
                  <a:gd name="T106" fmla="*/ 74 w 93"/>
                  <a:gd name="T107" fmla="*/ 82 h 101"/>
                  <a:gd name="T108" fmla="*/ 74 w 93"/>
                  <a:gd name="T109" fmla="*/ 89 h 101"/>
                  <a:gd name="T110" fmla="*/ 78 w 93"/>
                  <a:gd name="T111" fmla="*/ 82 h 101"/>
                  <a:gd name="T112" fmla="*/ 83 w 93"/>
                  <a:gd name="T113" fmla="*/ 77 h 101"/>
                  <a:gd name="T114" fmla="*/ 79 w 93"/>
                  <a:gd name="T115" fmla="*/ 71 h 101"/>
                  <a:gd name="T116" fmla="*/ 87 w 93"/>
                  <a:gd name="T117" fmla="*/ 67 h 101"/>
                  <a:gd name="T118" fmla="*/ 93 w 93"/>
                  <a:gd name="T119" fmla="*/ 68 h 101"/>
                  <a:gd name="T120" fmla="*/ 77 w 93"/>
                  <a:gd name="T121" fmla="*/ 56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93" h="101">
                    <a:moveTo>
                      <a:pt x="65" y="87"/>
                    </a:moveTo>
                    <a:cubicBezTo>
                      <a:pt x="60" y="88"/>
                      <a:pt x="58" y="89"/>
                      <a:pt x="55" y="87"/>
                    </a:cubicBezTo>
                    <a:cubicBezTo>
                      <a:pt x="52" y="86"/>
                      <a:pt x="48" y="89"/>
                      <a:pt x="48" y="90"/>
                    </a:cubicBezTo>
                    <a:cubicBezTo>
                      <a:pt x="49" y="92"/>
                      <a:pt x="51" y="93"/>
                      <a:pt x="57" y="95"/>
                    </a:cubicBezTo>
                    <a:cubicBezTo>
                      <a:pt x="63" y="97"/>
                      <a:pt x="63" y="101"/>
                      <a:pt x="66" y="101"/>
                    </a:cubicBezTo>
                    <a:cubicBezTo>
                      <a:pt x="68" y="101"/>
                      <a:pt x="69" y="98"/>
                      <a:pt x="68" y="95"/>
                    </a:cubicBezTo>
                    <a:cubicBezTo>
                      <a:pt x="67" y="92"/>
                      <a:pt x="71" y="88"/>
                      <a:pt x="71" y="88"/>
                    </a:cubicBezTo>
                    <a:cubicBezTo>
                      <a:pt x="72" y="87"/>
                      <a:pt x="70" y="86"/>
                      <a:pt x="65" y="87"/>
                    </a:cubicBezTo>
                    <a:close/>
                    <a:moveTo>
                      <a:pt x="19" y="60"/>
                    </a:moveTo>
                    <a:cubicBezTo>
                      <a:pt x="16" y="63"/>
                      <a:pt x="14" y="60"/>
                      <a:pt x="13" y="62"/>
                    </a:cubicBezTo>
                    <a:cubicBezTo>
                      <a:pt x="12" y="64"/>
                      <a:pt x="17" y="67"/>
                      <a:pt x="16" y="72"/>
                    </a:cubicBezTo>
                    <a:cubicBezTo>
                      <a:pt x="15" y="77"/>
                      <a:pt x="17" y="83"/>
                      <a:pt x="19" y="80"/>
                    </a:cubicBezTo>
                    <a:cubicBezTo>
                      <a:pt x="22" y="77"/>
                      <a:pt x="23" y="78"/>
                      <a:pt x="25" y="76"/>
                    </a:cubicBezTo>
                    <a:cubicBezTo>
                      <a:pt x="26" y="74"/>
                      <a:pt x="25" y="67"/>
                      <a:pt x="26" y="63"/>
                    </a:cubicBezTo>
                    <a:cubicBezTo>
                      <a:pt x="27" y="60"/>
                      <a:pt x="21" y="58"/>
                      <a:pt x="19" y="60"/>
                    </a:cubicBezTo>
                    <a:close/>
                    <a:moveTo>
                      <a:pt x="77" y="56"/>
                    </a:moveTo>
                    <a:cubicBezTo>
                      <a:pt x="74" y="55"/>
                      <a:pt x="76" y="52"/>
                      <a:pt x="71" y="52"/>
                    </a:cubicBezTo>
                    <a:cubicBezTo>
                      <a:pt x="66" y="52"/>
                      <a:pt x="60" y="46"/>
                      <a:pt x="59" y="39"/>
                    </a:cubicBezTo>
                    <a:cubicBezTo>
                      <a:pt x="57" y="32"/>
                      <a:pt x="49" y="32"/>
                      <a:pt x="47" y="27"/>
                    </a:cubicBezTo>
                    <a:cubicBezTo>
                      <a:pt x="45" y="23"/>
                      <a:pt x="49" y="23"/>
                      <a:pt x="47" y="19"/>
                    </a:cubicBezTo>
                    <a:cubicBezTo>
                      <a:pt x="47" y="17"/>
                      <a:pt x="49" y="16"/>
                      <a:pt x="51" y="15"/>
                    </a:cubicBezTo>
                    <a:cubicBezTo>
                      <a:pt x="51" y="11"/>
                      <a:pt x="51" y="7"/>
                      <a:pt x="51" y="4"/>
                    </a:cubicBezTo>
                    <a:cubicBezTo>
                      <a:pt x="50" y="4"/>
                      <a:pt x="48" y="4"/>
                      <a:pt x="47" y="3"/>
                    </a:cubicBezTo>
                    <a:cubicBezTo>
                      <a:pt x="46" y="3"/>
                      <a:pt x="46" y="0"/>
                      <a:pt x="46" y="0"/>
                    </a:cubicBezTo>
                    <a:cubicBezTo>
                      <a:pt x="45" y="0"/>
                      <a:pt x="40" y="0"/>
                      <a:pt x="39" y="1"/>
                    </a:cubicBezTo>
                    <a:cubicBezTo>
                      <a:pt x="38" y="2"/>
                      <a:pt x="36" y="3"/>
                      <a:pt x="34" y="2"/>
                    </a:cubicBezTo>
                    <a:cubicBezTo>
                      <a:pt x="34" y="2"/>
                      <a:pt x="34" y="2"/>
                      <a:pt x="33" y="2"/>
                    </a:cubicBezTo>
                    <a:cubicBezTo>
                      <a:pt x="32" y="3"/>
                      <a:pt x="32" y="3"/>
                      <a:pt x="32" y="3"/>
                    </a:cubicBezTo>
                    <a:cubicBezTo>
                      <a:pt x="32" y="3"/>
                      <a:pt x="32" y="5"/>
                      <a:pt x="31" y="5"/>
                    </a:cubicBezTo>
                    <a:cubicBezTo>
                      <a:pt x="30" y="5"/>
                      <a:pt x="28" y="4"/>
                      <a:pt x="28" y="6"/>
                    </a:cubicBezTo>
                    <a:cubicBezTo>
                      <a:pt x="28" y="8"/>
                      <a:pt x="26" y="7"/>
                      <a:pt x="24" y="7"/>
                    </a:cubicBezTo>
                    <a:cubicBezTo>
                      <a:pt x="23" y="7"/>
                      <a:pt x="22" y="7"/>
                      <a:pt x="22" y="9"/>
                    </a:cubicBezTo>
                    <a:cubicBezTo>
                      <a:pt x="22" y="10"/>
                      <a:pt x="21" y="13"/>
                      <a:pt x="19" y="12"/>
                    </a:cubicBezTo>
                    <a:cubicBezTo>
                      <a:pt x="18" y="10"/>
                      <a:pt x="16" y="6"/>
                      <a:pt x="15" y="6"/>
                    </a:cubicBezTo>
                    <a:cubicBezTo>
                      <a:pt x="14" y="7"/>
                      <a:pt x="13" y="12"/>
                      <a:pt x="11" y="12"/>
                    </a:cubicBezTo>
                    <a:cubicBezTo>
                      <a:pt x="10" y="12"/>
                      <a:pt x="6" y="12"/>
                      <a:pt x="4" y="12"/>
                    </a:cubicBezTo>
                    <a:cubicBezTo>
                      <a:pt x="3" y="14"/>
                      <a:pt x="4" y="16"/>
                      <a:pt x="5" y="16"/>
                    </a:cubicBezTo>
                    <a:cubicBezTo>
                      <a:pt x="6" y="17"/>
                      <a:pt x="4" y="19"/>
                      <a:pt x="3" y="19"/>
                    </a:cubicBezTo>
                    <a:cubicBezTo>
                      <a:pt x="2" y="20"/>
                      <a:pt x="0" y="19"/>
                      <a:pt x="2" y="21"/>
                    </a:cubicBezTo>
                    <a:cubicBezTo>
                      <a:pt x="3" y="23"/>
                      <a:pt x="5" y="23"/>
                      <a:pt x="4" y="25"/>
                    </a:cubicBezTo>
                    <a:cubicBezTo>
                      <a:pt x="3" y="27"/>
                      <a:pt x="4" y="29"/>
                      <a:pt x="6" y="29"/>
                    </a:cubicBezTo>
                    <a:cubicBezTo>
                      <a:pt x="8" y="29"/>
                      <a:pt x="10" y="29"/>
                      <a:pt x="10" y="31"/>
                    </a:cubicBezTo>
                    <a:cubicBezTo>
                      <a:pt x="9" y="31"/>
                      <a:pt x="9" y="32"/>
                      <a:pt x="9" y="33"/>
                    </a:cubicBezTo>
                    <a:cubicBezTo>
                      <a:pt x="10" y="33"/>
                      <a:pt x="11" y="33"/>
                      <a:pt x="13" y="32"/>
                    </a:cubicBezTo>
                    <a:cubicBezTo>
                      <a:pt x="15" y="31"/>
                      <a:pt x="14" y="29"/>
                      <a:pt x="18" y="27"/>
                    </a:cubicBezTo>
                    <a:cubicBezTo>
                      <a:pt x="22" y="26"/>
                      <a:pt x="28" y="30"/>
                      <a:pt x="29" y="32"/>
                    </a:cubicBezTo>
                    <a:cubicBezTo>
                      <a:pt x="31" y="35"/>
                      <a:pt x="32" y="35"/>
                      <a:pt x="32" y="37"/>
                    </a:cubicBezTo>
                    <a:cubicBezTo>
                      <a:pt x="32" y="39"/>
                      <a:pt x="34" y="43"/>
                      <a:pt x="40" y="47"/>
                    </a:cubicBezTo>
                    <a:cubicBezTo>
                      <a:pt x="45" y="50"/>
                      <a:pt x="47" y="54"/>
                      <a:pt x="50" y="56"/>
                    </a:cubicBezTo>
                    <a:cubicBezTo>
                      <a:pt x="53" y="58"/>
                      <a:pt x="56" y="57"/>
                      <a:pt x="58" y="59"/>
                    </a:cubicBezTo>
                    <a:cubicBezTo>
                      <a:pt x="60" y="61"/>
                      <a:pt x="62" y="63"/>
                      <a:pt x="65" y="64"/>
                    </a:cubicBezTo>
                    <a:cubicBezTo>
                      <a:pt x="68" y="65"/>
                      <a:pt x="68" y="68"/>
                      <a:pt x="71" y="69"/>
                    </a:cubicBezTo>
                    <a:cubicBezTo>
                      <a:pt x="74" y="69"/>
                      <a:pt x="72" y="71"/>
                      <a:pt x="74" y="73"/>
                    </a:cubicBezTo>
                    <a:cubicBezTo>
                      <a:pt x="75" y="76"/>
                      <a:pt x="76" y="80"/>
                      <a:pt x="74" y="82"/>
                    </a:cubicBezTo>
                    <a:cubicBezTo>
                      <a:pt x="72" y="85"/>
                      <a:pt x="73" y="89"/>
                      <a:pt x="74" y="89"/>
                    </a:cubicBezTo>
                    <a:cubicBezTo>
                      <a:pt x="75" y="89"/>
                      <a:pt x="78" y="84"/>
                      <a:pt x="78" y="82"/>
                    </a:cubicBezTo>
                    <a:cubicBezTo>
                      <a:pt x="79" y="80"/>
                      <a:pt x="81" y="80"/>
                      <a:pt x="83" y="77"/>
                    </a:cubicBezTo>
                    <a:cubicBezTo>
                      <a:pt x="85" y="75"/>
                      <a:pt x="80" y="74"/>
                      <a:pt x="79" y="71"/>
                    </a:cubicBezTo>
                    <a:cubicBezTo>
                      <a:pt x="78" y="68"/>
                      <a:pt x="83" y="65"/>
                      <a:pt x="87" y="67"/>
                    </a:cubicBezTo>
                    <a:cubicBezTo>
                      <a:pt x="91" y="70"/>
                      <a:pt x="93" y="72"/>
                      <a:pt x="93" y="68"/>
                    </a:cubicBezTo>
                    <a:cubicBezTo>
                      <a:pt x="93" y="64"/>
                      <a:pt x="80" y="58"/>
                      <a:pt x="77" y="56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8" name="Freeform 180">
                <a:extLst>
                  <a:ext uri="{FF2B5EF4-FFF2-40B4-BE49-F238E27FC236}">
                    <a16:creationId xmlns:a16="http://schemas.microsoft.com/office/drawing/2014/main" id="{37D15F75-35B9-44BC-AE67-6BF589890F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59745" y="3221528"/>
                <a:ext cx="22585" cy="30113"/>
              </a:xfrm>
              <a:custGeom>
                <a:avLst/>
                <a:gdLst>
                  <a:gd name="T0" fmla="*/ 4 w 10"/>
                  <a:gd name="T1" fmla="*/ 0 h 13"/>
                  <a:gd name="T2" fmla="*/ 0 w 10"/>
                  <a:gd name="T3" fmla="*/ 6 h 13"/>
                  <a:gd name="T4" fmla="*/ 0 w 10"/>
                  <a:gd name="T5" fmla="*/ 8 h 13"/>
                  <a:gd name="T6" fmla="*/ 6 w 10"/>
                  <a:gd name="T7" fmla="*/ 13 h 13"/>
                  <a:gd name="T8" fmla="*/ 6 w 10"/>
                  <a:gd name="T9" fmla="*/ 13 h 13"/>
                  <a:gd name="T10" fmla="*/ 10 w 10"/>
                  <a:gd name="T11" fmla="*/ 7 h 13"/>
                  <a:gd name="T12" fmla="*/ 4 w 10"/>
                  <a:gd name="T13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13">
                    <a:moveTo>
                      <a:pt x="4" y="0"/>
                    </a:moveTo>
                    <a:cubicBezTo>
                      <a:pt x="2" y="2"/>
                      <a:pt x="0" y="5"/>
                      <a:pt x="0" y="6"/>
                    </a:cubicBezTo>
                    <a:cubicBezTo>
                      <a:pt x="1" y="6"/>
                      <a:pt x="0" y="7"/>
                      <a:pt x="0" y="8"/>
                    </a:cubicBezTo>
                    <a:cubicBezTo>
                      <a:pt x="2" y="10"/>
                      <a:pt x="4" y="12"/>
                      <a:pt x="6" y="13"/>
                    </a:cubicBezTo>
                    <a:cubicBezTo>
                      <a:pt x="6" y="13"/>
                      <a:pt x="6" y="13"/>
                      <a:pt x="6" y="13"/>
                    </a:cubicBezTo>
                    <a:cubicBezTo>
                      <a:pt x="7" y="10"/>
                      <a:pt x="9" y="7"/>
                      <a:pt x="10" y="7"/>
                    </a:cubicBezTo>
                    <a:cubicBezTo>
                      <a:pt x="8" y="5"/>
                      <a:pt x="5" y="2"/>
                      <a:pt x="4" y="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9" name="Freeform 181">
                <a:extLst>
                  <a:ext uri="{FF2B5EF4-FFF2-40B4-BE49-F238E27FC236}">
                    <a16:creationId xmlns:a16="http://schemas.microsoft.com/office/drawing/2014/main" id="{56893D7D-6A56-4356-8DBF-8B59664638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66019" y="3155028"/>
                <a:ext cx="76538" cy="92850"/>
              </a:xfrm>
              <a:custGeom>
                <a:avLst/>
                <a:gdLst>
                  <a:gd name="T0" fmla="*/ 29 w 33"/>
                  <a:gd name="T1" fmla="*/ 27 h 40"/>
                  <a:gd name="T2" fmla="*/ 29 w 33"/>
                  <a:gd name="T3" fmla="*/ 21 h 40"/>
                  <a:gd name="T4" fmla="*/ 29 w 33"/>
                  <a:gd name="T5" fmla="*/ 17 h 40"/>
                  <a:gd name="T6" fmla="*/ 20 w 33"/>
                  <a:gd name="T7" fmla="*/ 14 h 40"/>
                  <a:gd name="T8" fmla="*/ 19 w 33"/>
                  <a:gd name="T9" fmla="*/ 9 h 40"/>
                  <a:gd name="T10" fmla="*/ 16 w 33"/>
                  <a:gd name="T11" fmla="*/ 7 h 40"/>
                  <a:gd name="T12" fmla="*/ 13 w 33"/>
                  <a:gd name="T13" fmla="*/ 2 h 40"/>
                  <a:gd name="T14" fmla="*/ 14 w 33"/>
                  <a:gd name="T15" fmla="*/ 2 h 40"/>
                  <a:gd name="T16" fmla="*/ 11 w 33"/>
                  <a:gd name="T17" fmla="*/ 1 h 40"/>
                  <a:gd name="T18" fmla="*/ 8 w 33"/>
                  <a:gd name="T19" fmla="*/ 0 h 40"/>
                  <a:gd name="T20" fmla="*/ 0 w 33"/>
                  <a:gd name="T21" fmla="*/ 3 h 40"/>
                  <a:gd name="T22" fmla="*/ 2 w 33"/>
                  <a:gd name="T23" fmla="*/ 8 h 40"/>
                  <a:gd name="T24" fmla="*/ 4 w 33"/>
                  <a:gd name="T25" fmla="*/ 13 h 40"/>
                  <a:gd name="T26" fmla="*/ 4 w 33"/>
                  <a:gd name="T27" fmla="*/ 26 h 40"/>
                  <a:gd name="T28" fmla="*/ 1 w 33"/>
                  <a:gd name="T29" fmla="*/ 29 h 40"/>
                  <a:gd name="T30" fmla="*/ 7 w 33"/>
                  <a:gd name="T31" fmla="*/ 36 h 40"/>
                  <a:gd name="T32" fmla="*/ 7 w 33"/>
                  <a:gd name="T33" fmla="*/ 36 h 40"/>
                  <a:gd name="T34" fmla="*/ 15 w 33"/>
                  <a:gd name="T35" fmla="*/ 40 h 40"/>
                  <a:gd name="T36" fmla="*/ 28 w 33"/>
                  <a:gd name="T37" fmla="*/ 38 h 40"/>
                  <a:gd name="T38" fmla="*/ 29 w 33"/>
                  <a:gd name="T39" fmla="*/ 35 h 40"/>
                  <a:gd name="T40" fmla="*/ 31 w 33"/>
                  <a:gd name="T41" fmla="*/ 32 h 40"/>
                  <a:gd name="T42" fmla="*/ 29 w 33"/>
                  <a:gd name="T43" fmla="*/ 27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3" h="40">
                    <a:moveTo>
                      <a:pt x="29" y="27"/>
                    </a:moveTo>
                    <a:cubicBezTo>
                      <a:pt x="27" y="25"/>
                      <a:pt x="27" y="23"/>
                      <a:pt x="29" y="21"/>
                    </a:cubicBezTo>
                    <a:cubicBezTo>
                      <a:pt x="30" y="20"/>
                      <a:pt x="29" y="19"/>
                      <a:pt x="29" y="17"/>
                    </a:cubicBezTo>
                    <a:cubicBezTo>
                      <a:pt x="29" y="15"/>
                      <a:pt x="21" y="15"/>
                      <a:pt x="20" y="14"/>
                    </a:cubicBezTo>
                    <a:cubicBezTo>
                      <a:pt x="19" y="14"/>
                      <a:pt x="21" y="9"/>
                      <a:pt x="19" y="9"/>
                    </a:cubicBezTo>
                    <a:cubicBezTo>
                      <a:pt x="17" y="9"/>
                      <a:pt x="16" y="8"/>
                      <a:pt x="16" y="7"/>
                    </a:cubicBezTo>
                    <a:cubicBezTo>
                      <a:pt x="16" y="5"/>
                      <a:pt x="13" y="3"/>
                      <a:pt x="13" y="2"/>
                    </a:cubicBezTo>
                    <a:cubicBezTo>
                      <a:pt x="13" y="2"/>
                      <a:pt x="14" y="2"/>
                      <a:pt x="14" y="2"/>
                    </a:cubicBezTo>
                    <a:cubicBezTo>
                      <a:pt x="13" y="1"/>
                      <a:pt x="12" y="1"/>
                      <a:pt x="11" y="1"/>
                    </a:cubicBezTo>
                    <a:cubicBezTo>
                      <a:pt x="10" y="1"/>
                      <a:pt x="8" y="0"/>
                      <a:pt x="8" y="0"/>
                    </a:cubicBezTo>
                    <a:cubicBezTo>
                      <a:pt x="8" y="0"/>
                      <a:pt x="3" y="2"/>
                      <a:pt x="0" y="3"/>
                    </a:cubicBezTo>
                    <a:cubicBezTo>
                      <a:pt x="0" y="5"/>
                      <a:pt x="0" y="7"/>
                      <a:pt x="2" y="8"/>
                    </a:cubicBezTo>
                    <a:cubicBezTo>
                      <a:pt x="4" y="9"/>
                      <a:pt x="3" y="11"/>
                      <a:pt x="4" y="13"/>
                    </a:cubicBezTo>
                    <a:cubicBezTo>
                      <a:pt x="5" y="16"/>
                      <a:pt x="5" y="26"/>
                      <a:pt x="4" y="26"/>
                    </a:cubicBezTo>
                    <a:cubicBezTo>
                      <a:pt x="3" y="26"/>
                      <a:pt x="2" y="27"/>
                      <a:pt x="1" y="29"/>
                    </a:cubicBezTo>
                    <a:cubicBezTo>
                      <a:pt x="2" y="31"/>
                      <a:pt x="5" y="34"/>
                      <a:pt x="7" y="36"/>
                    </a:cubicBezTo>
                    <a:cubicBezTo>
                      <a:pt x="7" y="36"/>
                      <a:pt x="7" y="36"/>
                      <a:pt x="7" y="36"/>
                    </a:cubicBezTo>
                    <a:cubicBezTo>
                      <a:pt x="9" y="36"/>
                      <a:pt x="15" y="40"/>
                      <a:pt x="15" y="40"/>
                    </a:cubicBezTo>
                    <a:cubicBezTo>
                      <a:pt x="15" y="40"/>
                      <a:pt x="23" y="39"/>
                      <a:pt x="28" y="38"/>
                    </a:cubicBezTo>
                    <a:cubicBezTo>
                      <a:pt x="28" y="37"/>
                      <a:pt x="29" y="36"/>
                      <a:pt x="29" y="35"/>
                    </a:cubicBezTo>
                    <a:cubicBezTo>
                      <a:pt x="28" y="34"/>
                      <a:pt x="30" y="32"/>
                      <a:pt x="31" y="32"/>
                    </a:cubicBezTo>
                    <a:cubicBezTo>
                      <a:pt x="33" y="32"/>
                      <a:pt x="31" y="29"/>
                      <a:pt x="29" y="2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560" name="Text Placeholder 553">
            <a:extLst>
              <a:ext uri="{FF2B5EF4-FFF2-40B4-BE49-F238E27FC236}">
                <a16:creationId xmlns:a16="http://schemas.microsoft.com/office/drawing/2014/main" id="{D912895C-B21A-4D2F-8D0B-7647A17FE88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706106" y="2732181"/>
            <a:ext cx="470585" cy="568049"/>
          </a:xfrm>
          <a:custGeom>
            <a:avLst/>
            <a:gdLst>
              <a:gd name="connsiteX0" fmla="*/ 197521 w 395043"/>
              <a:gd name="connsiteY0" fmla="*/ 127878 h 476860"/>
              <a:gd name="connsiteX1" fmla="*/ 134426 w 395043"/>
              <a:gd name="connsiteY1" fmla="*/ 190974 h 476860"/>
              <a:gd name="connsiteX2" fmla="*/ 197521 w 395043"/>
              <a:gd name="connsiteY2" fmla="*/ 254069 h 476860"/>
              <a:gd name="connsiteX3" fmla="*/ 260616 w 395043"/>
              <a:gd name="connsiteY3" fmla="*/ 190974 h 476860"/>
              <a:gd name="connsiteX4" fmla="*/ 197521 w 395043"/>
              <a:gd name="connsiteY4" fmla="*/ 127878 h 476860"/>
              <a:gd name="connsiteX5" fmla="*/ 197522 w 395043"/>
              <a:gd name="connsiteY5" fmla="*/ 0 h 476860"/>
              <a:gd name="connsiteX6" fmla="*/ 337191 w 395043"/>
              <a:gd name="connsiteY6" fmla="*/ 57853 h 476860"/>
              <a:gd name="connsiteX7" fmla="*/ 337191 w 395043"/>
              <a:gd name="connsiteY7" fmla="*/ 57854 h 476860"/>
              <a:gd name="connsiteX8" fmla="*/ 337191 w 395043"/>
              <a:gd name="connsiteY8" fmla="*/ 337192 h 476860"/>
              <a:gd name="connsiteX9" fmla="*/ 197522 w 395043"/>
              <a:gd name="connsiteY9" fmla="*/ 476860 h 476860"/>
              <a:gd name="connsiteX10" fmla="*/ 57853 w 395043"/>
              <a:gd name="connsiteY10" fmla="*/ 337191 h 476860"/>
              <a:gd name="connsiteX11" fmla="*/ 57853 w 395043"/>
              <a:gd name="connsiteY11" fmla="*/ 57853 h 476860"/>
              <a:gd name="connsiteX12" fmla="*/ 197522 w 395043"/>
              <a:gd name="connsiteY12" fmla="*/ 0 h 4768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95043" h="476860">
                <a:moveTo>
                  <a:pt x="197521" y="127878"/>
                </a:moveTo>
                <a:cubicBezTo>
                  <a:pt x="162675" y="127878"/>
                  <a:pt x="134426" y="156127"/>
                  <a:pt x="134426" y="190974"/>
                </a:cubicBezTo>
                <a:cubicBezTo>
                  <a:pt x="134427" y="225819"/>
                  <a:pt x="162676" y="254068"/>
                  <a:pt x="197521" y="254069"/>
                </a:cubicBezTo>
                <a:cubicBezTo>
                  <a:pt x="232368" y="254069"/>
                  <a:pt x="260616" y="225820"/>
                  <a:pt x="260616" y="190974"/>
                </a:cubicBezTo>
                <a:cubicBezTo>
                  <a:pt x="260616" y="156127"/>
                  <a:pt x="232368" y="127878"/>
                  <a:pt x="197521" y="127878"/>
                </a:cubicBezTo>
                <a:close/>
                <a:moveTo>
                  <a:pt x="197522" y="0"/>
                </a:moveTo>
                <a:cubicBezTo>
                  <a:pt x="248073" y="0"/>
                  <a:pt x="298623" y="19285"/>
                  <a:pt x="337191" y="57853"/>
                </a:cubicBezTo>
                <a:lnTo>
                  <a:pt x="337191" y="57854"/>
                </a:lnTo>
                <a:cubicBezTo>
                  <a:pt x="414327" y="134991"/>
                  <a:pt x="414327" y="260055"/>
                  <a:pt x="337191" y="337192"/>
                </a:cubicBezTo>
                <a:lnTo>
                  <a:pt x="197522" y="476860"/>
                </a:lnTo>
                <a:lnTo>
                  <a:pt x="57853" y="337191"/>
                </a:lnTo>
                <a:cubicBezTo>
                  <a:pt x="-19284" y="260054"/>
                  <a:pt x="-19284" y="134990"/>
                  <a:pt x="57853" y="57853"/>
                </a:cubicBezTo>
                <a:cubicBezTo>
                  <a:pt x="96421" y="19285"/>
                  <a:pt x="146971" y="0"/>
                  <a:pt x="197522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none" lIns="640080" anchor="ctr" anchorCtr="0">
            <a:noAutofit/>
          </a:bodyPr>
          <a:lstStyle>
            <a:lvl1pPr>
              <a:defRPr sz="2400" b="1"/>
            </a:lvl1pPr>
          </a:lstStyle>
          <a:p>
            <a:pPr lvl="0"/>
            <a:r>
              <a:rPr lang="en-US"/>
              <a:t>Bucharest, Romani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21CB5D4-DEF6-472D-B7B9-053874552D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677687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ptop Screensh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 hidden="1">
            <a:extLst>
              <a:ext uri="{FF2B5EF4-FFF2-40B4-BE49-F238E27FC236}">
                <a16:creationId xmlns:a16="http://schemas.microsoft.com/office/drawing/2014/main" id="{17CDA781-D5FC-4C3F-93B0-299A1CC43DE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312103" y="715198"/>
            <a:ext cx="9301845" cy="5352540"/>
          </a:xfrm>
          <a:prstGeom prst="rect">
            <a:avLst/>
          </a:prstGeom>
        </p:spPr>
      </p:pic>
      <p:pic>
        <p:nvPicPr>
          <p:cNvPr id="2" name="Picture 1" descr="A picture containing text, indoor, monitor, computer&#10;&#10;Description automatically generated">
            <a:extLst>
              <a:ext uri="{FF2B5EF4-FFF2-40B4-BE49-F238E27FC236}">
                <a16:creationId xmlns:a16="http://schemas.microsoft.com/office/drawing/2014/main" id="{BEAF30E4-CBE2-3B5A-FDB6-0BDA6F356A9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3502" y="43252"/>
            <a:ext cx="10461820" cy="6408347"/>
          </a:xfrm>
          <a:prstGeom prst="rect">
            <a:avLst/>
          </a:prstGeom>
        </p:spPr>
      </p:pic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6A381892-F17C-1B89-14B9-205523C66862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2387956" y="1162050"/>
            <a:ext cx="7412912" cy="417830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4" name="Graphic 3" hidden="1">
            <a:extLst>
              <a:ext uri="{FF2B5EF4-FFF2-40B4-BE49-F238E27FC236}">
                <a16:creationId xmlns:a16="http://schemas.microsoft.com/office/drawing/2014/main" id="{502CA0DB-B040-9169-EDBA-986B2D6CDDA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312103" y="715198"/>
            <a:ext cx="9301845" cy="53525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15478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Imag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5">
            <a:extLst>
              <a:ext uri="{FF2B5EF4-FFF2-40B4-BE49-F238E27FC236}">
                <a16:creationId xmlns:a16="http://schemas.microsoft.com/office/drawing/2014/main" id="{E1B3FAEE-4E78-46C7-9DB6-5C22BB3E16F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-1" y="0"/>
            <a:ext cx="12188825" cy="685800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94686204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FD6920A-CA0A-440A-B89B-D0A900738D6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160463" y="1322024"/>
            <a:ext cx="10648950" cy="307777"/>
          </a:xfrm>
          <a:prstGeom prst="rect">
            <a:avLst/>
          </a:prstGeom>
        </p:spPr>
        <p:txBody>
          <a:bodyPr numCol="2">
            <a:spAutoFit/>
          </a:bodyPr>
          <a:lstStyle>
            <a:lvl1pPr marL="365760" indent="-365760">
              <a:buClr>
                <a:schemeClr val="tx1"/>
              </a:buClr>
              <a:buFont typeface="+mj-lt"/>
              <a:buAutoNum type="arabicPeriod"/>
              <a:defRPr b="0"/>
            </a:lvl1pPr>
            <a:lvl2pPr marL="342900" indent="-342900">
              <a:buFont typeface="+mj-lt"/>
              <a:buAutoNum type="arabicPeriod"/>
              <a:defRPr/>
            </a:lvl2pPr>
            <a:lvl3pPr marL="517525" indent="-342900">
              <a:buFont typeface="+mj-lt"/>
              <a:buAutoNum type="arabicPeriod"/>
              <a:defRPr/>
            </a:lvl3pPr>
            <a:lvl4pPr marL="682625" indent="-342900">
              <a:buFont typeface="+mj-lt"/>
              <a:buAutoNum type="arabicPeriod"/>
              <a:defRPr/>
            </a:lvl4pPr>
            <a:lvl5pPr marL="855663" indent="-342900">
              <a:buFont typeface="+mj-lt"/>
              <a:buAutoNum type="arabicPeriod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C79F9E-CF3E-49D2-B8AD-365D78D209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485993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D3DA1B0-C113-FCEE-6789-DF6457821F9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60463" y="1322024"/>
            <a:ext cx="10648950" cy="1679947"/>
          </a:xfrm>
        </p:spPr>
        <p:txBody>
          <a:bodyPr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D75A9F1-F559-4661-B1CA-5CB648D42B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877094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3FBEF1A-752D-C69D-4A34-E35561D1DCE9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160463" y="1785137"/>
            <a:ext cx="10648950" cy="1679947"/>
          </a:xfrm>
        </p:spPr>
        <p:txBody>
          <a:bodyPr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1160583" y="1384313"/>
            <a:ext cx="10647468" cy="276999"/>
          </a:xfrm>
          <a:prstGeom prst="rect">
            <a:avLst/>
          </a:prstGeo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3649FBC-93E5-4D8B-93CB-3D81E660FC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112276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89DB295E-C37C-4211-B0AE-52425FDE08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61078" y="1384313"/>
            <a:ext cx="5179503" cy="276999"/>
          </a:xfrm>
          <a:prstGeom prst="rect">
            <a:avLst/>
          </a:prstGeo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94777BAB-A976-435B-9BA1-5B6E981D317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630880" y="1384313"/>
            <a:ext cx="5179503" cy="276999"/>
          </a:xfrm>
          <a:prstGeom prst="rect">
            <a:avLst/>
          </a:prstGeo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33E1FC2-280F-76DE-3D8F-7B1B499AF5F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160463" y="1781174"/>
            <a:ext cx="5180119" cy="1679947"/>
          </a:xfrm>
        </p:spPr>
        <p:txBody>
          <a:bodyPr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8199FF3B-CC9C-2262-873B-1D2F1472E72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630265" y="1781174"/>
            <a:ext cx="5180119" cy="1679947"/>
          </a:xfrm>
        </p:spPr>
        <p:txBody>
          <a:bodyPr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87531C1-F1BB-4CFB-AE4B-213ADE2666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238494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8BABC588-5798-4369-86EA-9B137E4E1DB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59931" y="1388275"/>
            <a:ext cx="3369916" cy="276999"/>
          </a:xfrm>
          <a:prstGeom prst="rect">
            <a:avLst/>
          </a:prstGeo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A7AD1E4-146D-CF19-80CE-F0848A61569A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1159931" y="1785136"/>
            <a:ext cx="3375258" cy="1679947"/>
          </a:xfrm>
        </p:spPr>
        <p:txBody>
          <a:bodyPr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EFCBBFC1-DBA9-47B0-8B7C-C8EF0A6DD6E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97598" y="1388275"/>
            <a:ext cx="3369916" cy="276999"/>
          </a:xfrm>
          <a:prstGeom prst="rect">
            <a:avLst/>
          </a:prstGeo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4EDB11E2-7885-0ACE-5CD8-8C2BE3CE311A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4794524" y="1785136"/>
            <a:ext cx="3375258" cy="1679947"/>
          </a:xfrm>
        </p:spPr>
        <p:txBody>
          <a:bodyPr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00983EFC-9FEF-46E8-9574-59C9D66F27C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435265" y="1388275"/>
            <a:ext cx="3369916" cy="276999"/>
          </a:xfrm>
          <a:prstGeom prst="rect">
            <a:avLst/>
          </a:prstGeo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C55FF47C-A405-C697-4537-0E71F8D06F51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8429117" y="1785136"/>
            <a:ext cx="3375258" cy="1679947"/>
          </a:xfrm>
        </p:spPr>
        <p:txBody>
          <a:bodyPr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FA818DC-A01E-4615-916C-C7E30AE9F1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86065226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FBF14531-4635-4BAC-8BFB-80B5D5B93B7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60463" y="1384313"/>
            <a:ext cx="2460294" cy="276999"/>
          </a:xfrm>
          <a:prstGeom prst="rect">
            <a:avLst/>
          </a:prstGeo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F13C670-0586-233E-E756-9FDA1D0AA9ED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1160572" y="1781174"/>
            <a:ext cx="2464193" cy="1987724"/>
          </a:xfrm>
        </p:spPr>
        <p:txBody>
          <a:bodyPr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5DED9890-AE6A-4175-A2D3-94CD8046DE1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890113" y="1384313"/>
            <a:ext cx="2460294" cy="276999"/>
          </a:xfrm>
          <a:prstGeom prst="rect">
            <a:avLst/>
          </a:prstGeo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F85D0E4C-F8F2-1308-A907-010AEC48790C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888690" y="1781174"/>
            <a:ext cx="2464193" cy="1987724"/>
          </a:xfrm>
        </p:spPr>
        <p:txBody>
          <a:bodyPr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85B79AD3-9CCE-4AA6-A9B4-5F9A43BC781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619763" y="1384313"/>
            <a:ext cx="2460294" cy="276999"/>
          </a:xfrm>
          <a:prstGeom prst="rect">
            <a:avLst/>
          </a:prstGeo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E26A5369-C258-7C75-9BB0-83D8966510E8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6616807" y="1781174"/>
            <a:ext cx="2464193" cy="1987724"/>
          </a:xfrm>
        </p:spPr>
        <p:txBody>
          <a:bodyPr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2AD1F5CB-9325-407F-A82E-AD63D7DB55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349412" y="1384313"/>
            <a:ext cx="2460294" cy="276999"/>
          </a:xfrm>
          <a:prstGeom prst="rect">
            <a:avLst/>
          </a:prstGeo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ED0574E4-B104-8563-93B5-8543D4DFFB62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9344927" y="1781174"/>
            <a:ext cx="2464193" cy="1987724"/>
          </a:xfrm>
        </p:spPr>
        <p:txBody>
          <a:bodyPr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59BFCF5-49C9-40AA-B1B2-4B41F90744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0407874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FBF14531-4635-4BAC-8BFB-80B5D5B93B7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60463" y="1412013"/>
            <a:ext cx="2003946" cy="249299"/>
          </a:xfrm>
          <a:prstGeom prst="rect">
            <a:avLst/>
          </a:prstGeo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18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BB4E2362-E356-4A39-BFCD-3E1AEA06E41E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160463" y="1781174"/>
            <a:ext cx="2007122" cy="1803058"/>
          </a:xfrm>
          <a:prstGeom prst="rect">
            <a:avLst/>
          </a:prstGeom>
        </p:spPr>
        <p:txBody>
          <a:bodyPr tIns="0">
            <a:spAutoFit/>
          </a:bodyPr>
          <a:lstStyle>
            <a:lvl1pPr>
              <a:defRPr sz="1800"/>
            </a:lvl1pPr>
            <a:lvl2pPr>
              <a:buClr>
                <a:schemeClr val="accent1"/>
              </a:buClr>
              <a:defRPr sz="1800" baseline="0"/>
            </a:lvl2pPr>
            <a:lvl3pPr>
              <a:buClr>
                <a:schemeClr val="accent1"/>
              </a:buClr>
              <a:defRPr sz="1800"/>
            </a:lvl3pPr>
            <a:lvl4pPr>
              <a:buClr>
                <a:schemeClr val="accent1"/>
              </a:buClr>
              <a:defRPr sz="1800"/>
            </a:lvl4pPr>
            <a:lvl5pPr>
              <a:buClr>
                <a:schemeClr val="accent1"/>
              </a:buCl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2472D317-8C7C-4435-97B7-AD733CBE008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321013" y="1412013"/>
            <a:ext cx="2003946" cy="249299"/>
          </a:xfrm>
          <a:prstGeom prst="rect">
            <a:avLst/>
          </a:prstGeo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18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E4D2D360-EEE9-4391-80AA-F3022B2E44BA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3320920" y="1781174"/>
            <a:ext cx="2007122" cy="1803058"/>
          </a:xfrm>
          <a:prstGeom prst="rect">
            <a:avLst/>
          </a:prstGeom>
        </p:spPr>
        <p:txBody>
          <a:bodyPr tIns="0">
            <a:spAutoFit/>
          </a:bodyPr>
          <a:lstStyle>
            <a:lvl1pPr>
              <a:defRPr sz="1800"/>
            </a:lvl1pPr>
            <a:lvl2pPr>
              <a:buClr>
                <a:schemeClr val="accent1"/>
              </a:buClr>
              <a:defRPr sz="1800" baseline="0"/>
            </a:lvl2pPr>
            <a:lvl3pPr>
              <a:buClr>
                <a:schemeClr val="accent1"/>
              </a:buClr>
              <a:defRPr sz="1800"/>
            </a:lvl3pPr>
            <a:lvl4pPr>
              <a:buClr>
                <a:schemeClr val="accent1"/>
              </a:buClr>
              <a:defRPr sz="1800"/>
            </a:lvl4pPr>
            <a:lvl5pPr>
              <a:buClr>
                <a:schemeClr val="accent1"/>
              </a:buCl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7C950CA8-931F-42EC-8D1C-684B10BA33D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481563" y="1412013"/>
            <a:ext cx="2003946" cy="249299"/>
          </a:xfrm>
          <a:prstGeom prst="rect">
            <a:avLst/>
          </a:prstGeo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18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424531BF-7D09-4306-9D8E-78BAF0CD5048}"/>
              </a:ext>
            </a:extLst>
          </p:cNvPr>
          <p:cNvSpPr>
            <a:spLocks noGrp="1"/>
          </p:cNvSpPr>
          <p:nvPr>
            <p:ph idx="24"/>
          </p:nvPr>
        </p:nvSpPr>
        <p:spPr>
          <a:xfrm>
            <a:off x="5481377" y="1781174"/>
            <a:ext cx="2007122" cy="1803058"/>
          </a:xfrm>
          <a:prstGeom prst="rect">
            <a:avLst/>
          </a:prstGeom>
        </p:spPr>
        <p:txBody>
          <a:bodyPr tIns="0">
            <a:spAutoFit/>
          </a:bodyPr>
          <a:lstStyle>
            <a:lvl1pPr>
              <a:defRPr sz="1800"/>
            </a:lvl1pPr>
            <a:lvl2pPr>
              <a:buClr>
                <a:schemeClr val="accent1"/>
              </a:buClr>
              <a:defRPr sz="1800" baseline="0"/>
            </a:lvl2pPr>
            <a:lvl3pPr>
              <a:buClr>
                <a:schemeClr val="accent1"/>
              </a:buClr>
              <a:defRPr sz="1800"/>
            </a:lvl3pPr>
            <a:lvl4pPr>
              <a:buClr>
                <a:schemeClr val="accent1"/>
              </a:buClr>
              <a:defRPr sz="1800"/>
            </a:lvl4pPr>
            <a:lvl5pPr>
              <a:buClr>
                <a:schemeClr val="accent1"/>
              </a:buCl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1" name="Text Placeholder 14">
            <a:extLst>
              <a:ext uri="{FF2B5EF4-FFF2-40B4-BE49-F238E27FC236}">
                <a16:creationId xmlns:a16="http://schemas.microsoft.com/office/drawing/2014/main" id="{CFB36ED7-BBFD-4DB9-9421-F9BE8CD07C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642113" y="1412013"/>
            <a:ext cx="2003946" cy="249299"/>
          </a:xfrm>
          <a:prstGeom prst="rect">
            <a:avLst/>
          </a:prstGeo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18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BBEA8CD3-8F3D-4C64-8375-1733B126A69B}"/>
              </a:ext>
            </a:extLst>
          </p:cNvPr>
          <p:cNvSpPr>
            <a:spLocks noGrp="1"/>
          </p:cNvSpPr>
          <p:nvPr>
            <p:ph idx="26"/>
          </p:nvPr>
        </p:nvSpPr>
        <p:spPr>
          <a:xfrm>
            <a:off x="7641834" y="1781174"/>
            <a:ext cx="2007122" cy="1803058"/>
          </a:xfrm>
          <a:prstGeom prst="rect">
            <a:avLst/>
          </a:prstGeom>
        </p:spPr>
        <p:txBody>
          <a:bodyPr tIns="0">
            <a:spAutoFit/>
          </a:bodyPr>
          <a:lstStyle>
            <a:lvl1pPr>
              <a:defRPr sz="1800"/>
            </a:lvl1pPr>
            <a:lvl2pPr>
              <a:buClr>
                <a:schemeClr val="accent1"/>
              </a:buClr>
              <a:defRPr sz="1800" baseline="0"/>
            </a:lvl2pPr>
            <a:lvl3pPr>
              <a:buClr>
                <a:schemeClr val="accent1"/>
              </a:buClr>
              <a:defRPr sz="1800"/>
            </a:lvl3pPr>
            <a:lvl4pPr>
              <a:buClr>
                <a:schemeClr val="accent1"/>
              </a:buClr>
              <a:defRPr sz="1800"/>
            </a:lvl4pPr>
            <a:lvl5pPr>
              <a:buClr>
                <a:schemeClr val="accent1"/>
              </a:buCl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3" name="Text Placeholder 14">
            <a:extLst>
              <a:ext uri="{FF2B5EF4-FFF2-40B4-BE49-F238E27FC236}">
                <a16:creationId xmlns:a16="http://schemas.microsoft.com/office/drawing/2014/main" id="{D6519DA7-2099-4BBE-BC01-9482B3B5413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802663" y="1412013"/>
            <a:ext cx="2003946" cy="249299"/>
          </a:xfrm>
          <a:prstGeom prst="rect">
            <a:avLst/>
          </a:prstGeo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18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18DDB658-7F30-450F-B746-304E5B393DA7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9802291" y="1781174"/>
            <a:ext cx="2007122" cy="1803058"/>
          </a:xfrm>
          <a:prstGeom prst="rect">
            <a:avLst/>
          </a:prstGeom>
        </p:spPr>
        <p:txBody>
          <a:bodyPr tIns="0">
            <a:spAutoFit/>
          </a:bodyPr>
          <a:lstStyle>
            <a:lvl1pPr>
              <a:defRPr sz="1800"/>
            </a:lvl1pPr>
            <a:lvl2pPr>
              <a:buClr>
                <a:schemeClr val="accent1"/>
              </a:buClr>
              <a:defRPr sz="1800" baseline="0"/>
            </a:lvl2pPr>
            <a:lvl3pPr>
              <a:buClr>
                <a:schemeClr val="accent1"/>
              </a:buClr>
              <a:defRPr sz="1800"/>
            </a:lvl3pPr>
            <a:lvl4pPr>
              <a:buClr>
                <a:schemeClr val="accent1"/>
              </a:buClr>
              <a:defRPr sz="1800"/>
            </a:lvl4pPr>
            <a:lvl5pPr>
              <a:buClr>
                <a:schemeClr val="accent1"/>
              </a:buCl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658ADA2-4405-4FD2-9A48-B6CC3FA4B6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52208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Title – Grid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49">
            <a:extLst>
              <a:ext uri="{FF2B5EF4-FFF2-40B4-BE49-F238E27FC236}">
                <a16:creationId xmlns:a16="http://schemas.microsoft.com/office/drawing/2014/main" id="{F553573E-D271-036E-1A63-693C2015B88F}"/>
              </a:ext>
            </a:extLst>
          </p:cNvPr>
          <p:cNvSpPr txBox="1">
            <a:spLocks/>
          </p:cNvSpPr>
          <p:nvPr userDrawn="1"/>
        </p:nvSpPr>
        <p:spPr>
          <a:xfrm>
            <a:off x="3554947" y="3895115"/>
            <a:ext cx="2120055" cy="2120038"/>
          </a:xfrm>
          <a:custGeom>
            <a:avLst/>
            <a:gdLst>
              <a:gd name="connsiteX0" fmla="*/ 265718 w 531436"/>
              <a:gd name="connsiteY0" fmla="*/ 0 h 531432"/>
              <a:gd name="connsiteX1" fmla="*/ 531436 w 531436"/>
              <a:gd name="connsiteY1" fmla="*/ 265716 h 531432"/>
              <a:gd name="connsiteX2" fmla="*/ 265718 w 531436"/>
              <a:gd name="connsiteY2" fmla="*/ 531432 h 531432"/>
              <a:gd name="connsiteX3" fmla="*/ 0 w 531436"/>
              <a:gd name="connsiteY3" fmla="*/ 265716 h 531432"/>
              <a:gd name="connsiteX4" fmla="*/ 265718 w 531436"/>
              <a:gd name="connsiteY4" fmla="*/ 0 h 531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1436" h="531432">
                <a:moveTo>
                  <a:pt x="265718" y="0"/>
                </a:moveTo>
                <a:cubicBezTo>
                  <a:pt x="412470" y="0"/>
                  <a:pt x="531436" y="118965"/>
                  <a:pt x="531436" y="265716"/>
                </a:cubicBezTo>
                <a:cubicBezTo>
                  <a:pt x="531436" y="412467"/>
                  <a:pt x="412470" y="531432"/>
                  <a:pt x="265718" y="531432"/>
                </a:cubicBezTo>
                <a:cubicBezTo>
                  <a:pt x="118966" y="531432"/>
                  <a:pt x="0" y="412467"/>
                  <a:pt x="0" y="265716"/>
                </a:cubicBezTo>
                <a:cubicBezTo>
                  <a:pt x="0" y="118965"/>
                  <a:pt x="118966" y="0"/>
                  <a:pt x="265718" y="0"/>
                </a:cubicBezTo>
                <a:close/>
              </a:path>
            </a:pathLst>
          </a:custGeom>
          <a:solidFill>
            <a:srgbClr val="E7EA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 algn="ctr">
              <a:defRPr sz="1400" b="0" i="0">
                <a:solidFill>
                  <a:schemeClr val="lt1"/>
                </a:solidFill>
                <a:latin typeface="Arial"/>
                <a:cs typeface="Arial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606D22B-8EDE-DD68-97A9-8DF7ACB52C7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2972" y="2298411"/>
            <a:ext cx="5292030" cy="1231106"/>
          </a:xfrm>
        </p:spPr>
        <p:txBody>
          <a:bodyPr lIns="0" tIns="0" rIns="0" bIns="0" anchor="b" anchorCtr="0">
            <a:spAutoFit/>
          </a:bodyPr>
          <a:lstStyle>
            <a:lvl1pPr algn="l">
              <a:lnSpc>
                <a:spcPct val="80000"/>
              </a:lnSpc>
              <a:defRPr sz="5000" b="1" i="0" spc="-100">
                <a:solidFill>
                  <a:schemeClr val="tx2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77A68C55-B8B8-0655-B427-79CB9926F05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2972" y="3583491"/>
            <a:ext cx="5292030" cy="366254"/>
          </a:xfrm>
        </p:spPr>
        <p:txBody>
          <a:bodyPr lIns="0" tIns="0" rIns="0" bIns="0" anchor="t" anchorCtr="0">
            <a:spAutoFit/>
          </a:bodyPr>
          <a:lstStyle>
            <a:lvl1pPr marL="0" indent="0" algn="l">
              <a:lnSpc>
                <a:spcPct val="85000"/>
              </a:lnSpc>
              <a:spcBef>
                <a:spcPts val="800"/>
              </a:spcBef>
              <a:buNone/>
              <a:defRPr sz="2800" b="1" i="0" spc="-50">
                <a:solidFill>
                  <a:schemeClr val="tx2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subtitle style</a:t>
            </a:r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CF8D5089-7EDC-6E81-DD24-CFB2E3B23E54}"/>
              </a:ext>
            </a:extLst>
          </p:cNvPr>
          <p:cNvSpPr/>
          <p:nvPr userDrawn="1"/>
        </p:nvSpPr>
        <p:spPr>
          <a:xfrm>
            <a:off x="8125180" y="2180403"/>
            <a:ext cx="4063645" cy="4677597"/>
          </a:xfrm>
          <a:custGeom>
            <a:avLst/>
            <a:gdLst>
              <a:gd name="connsiteX0" fmla="*/ 4063645 w 4063645"/>
              <a:gd name="connsiteY0" fmla="*/ 0 h 4677597"/>
              <a:gd name="connsiteX1" fmla="*/ 4063645 w 4063645"/>
              <a:gd name="connsiteY1" fmla="*/ 2137265 h 4677597"/>
              <a:gd name="connsiteX2" fmla="*/ 3862190 w 4063645"/>
              <a:gd name="connsiteY2" fmla="*/ 2166337 h 4677597"/>
              <a:gd name="connsiteX3" fmla="*/ 2758545 w 4063645"/>
              <a:gd name="connsiteY3" fmla="*/ 2753506 h 4677597"/>
              <a:gd name="connsiteX4" fmla="*/ 2171374 w 4063645"/>
              <a:gd name="connsiteY4" fmla="*/ 4673988 h 4677597"/>
              <a:gd name="connsiteX5" fmla="*/ 2172255 w 4063645"/>
              <a:gd name="connsiteY5" fmla="*/ 4677597 h 4677597"/>
              <a:gd name="connsiteX6" fmla="*/ 19867 w 4063645"/>
              <a:gd name="connsiteY6" fmla="*/ 4677596 h 4677597"/>
              <a:gd name="connsiteX7" fmla="*/ 19545 w 4063645"/>
              <a:gd name="connsiteY7" fmla="*/ 4674915 h 4677597"/>
              <a:gd name="connsiteX8" fmla="*/ 1250832 w 4063645"/>
              <a:gd name="connsiteY8" fmla="*/ 1245793 h 4677597"/>
              <a:gd name="connsiteX9" fmla="*/ 3861258 w 4063645"/>
              <a:gd name="connsiteY9" fmla="*/ 14507 h 4677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063645" h="4677597">
                <a:moveTo>
                  <a:pt x="4063645" y="0"/>
                </a:moveTo>
                <a:lnTo>
                  <a:pt x="4063645" y="2137265"/>
                </a:lnTo>
                <a:lnTo>
                  <a:pt x="3862190" y="2166337"/>
                </a:lnTo>
                <a:cubicBezTo>
                  <a:pt x="3457826" y="2244626"/>
                  <a:pt x="3071703" y="2440348"/>
                  <a:pt x="2758545" y="2753506"/>
                </a:cubicBezTo>
                <a:cubicBezTo>
                  <a:pt x="2236616" y="3275436"/>
                  <a:pt x="2040891" y="4000046"/>
                  <a:pt x="2171374" y="4673988"/>
                </a:cubicBezTo>
                <a:lnTo>
                  <a:pt x="2172255" y="4677597"/>
                </a:lnTo>
                <a:lnTo>
                  <a:pt x="19867" y="4677596"/>
                </a:lnTo>
                <a:lnTo>
                  <a:pt x="19545" y="4674915"/>
                </a:lnTo>
                <a:cubicBezTo>
                  <a:pt x="-97720" y="3449909"/>
                  <a:pt x="312708" y="2183917"/>
                  <a:pt x="1250832" y="1245793"/>
                </a:cubicBezTo>
                <a:cubicBezTo>
                  <a:pt x="1980483" y="516142"/>
                  <a:pt x="2908474" y="105714"/>
                  <a:pt x="3861258" y="14507"/>
                </a:cubicBezTo>
                <a:close/>
              </a:path>
            </a:pathLst>
          </a:custGeom>
          <a:solidFill>
            <a:srgbClr val="E7EA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/>
            <a:endParaRPr lang="en-US" sz="1400" b="0" i="0" err="1">
              <a:latin typeface="Arial"/>
              <a:cs typeface="Arial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2EA109C-D8E3-4290-A765-1F82509627B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59978" y="6221029"/>
            <a:ext cx="6549436" cy="357052"/>
          </a:xfrm>
        </p:spPr>
        <p:txBody>
          <a:bodyPr anchor="b" anchorCtr="0"/>
          <a:lstStyle>
            <a:lvl1pPr algn="r">
              <a:defRPr sz="800">
                <a:solidFill>
                  <a:schemeClr val="tx2"/>
                </a:solidFill>
              </a:defRPr>
            </a:lvl1pPr>
            <a:lvl2pPr marL="0" indent="0">
              <a:buNone/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3FE3E5CE-4FE0-0D4E-EE3E-1C9B61B9E92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877" y="6084140"/>
            <a:ext cx="3034341" cy="557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783447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8BABC588-5798-4369-86EA-9B137E4E1DB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60463" y="1384313"/>
            <a:ext cx="3413768" cy="276999"/>
          </a:xfrm>
          <a:prstGeom prst="rect">
            <a:avLst/>
          </a:prstGeo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34ECCFE-5E9D-8469-1733-382188732332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1160463" y="1781173"/>
            <a:ext cx="3419180" cy="1359346"/>
          </a:xfrm>
        </p:spPr>
        <p:txBody>
          <a:bodyPr>
            <a:sp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EFCBBFC1-DBA9-47B0-8B7C-C8EF0A6DD6E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78457" y="1384313"/>
            <a:ext cx="3413768" cy="276999"/>
          </a:xfrm>
          <a:prstGeom prst="rect">
            <a:avLst/>
          </a:prstGeo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3311A710-EC90-5B77-0D11-54B2D942512A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4775349" y="1781173"/>
            <a:ext cx="3419180" cy="1359346"/>
          </a:xfrm>
        </p:spPr>
        <p:txBody>
          <a:bodyPr>
            <a:sp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00983EFC-9FEF-46E8-9574-59C9D66F27C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96451" y="1384313"/>
            <a:ext cx="3413768" cy="276999"/>
          </a:xfrm>
          <a:prstGeom prst="rect">
            <a:avLst/>
          </a:prstGeo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B3C1BDA2-CA11-6050-A74B-229A6922386C}"/>
              </a:ext>
            </a:extLst>
          </p:cNvPr>
          <p:cNvSpPr>
            <a:spLocks noGrp="1"/>
          </p:cNvSpPr>
          <p:nvPr>
            <p:ph sz="quarter" idx="33" hasCustomPrompt="1"/>
          </p:nvPr>
        </p:nvSpPr>
        <p:spPr>
          <a:xfrm>
            <a:off x="8390234" y="1781173"/>
            <a:ext cx="3419180" cy="1359346"/>
          </a:xfrm>
        </p:spPr>
        <p:txBody>
          <a:bodyPr>
            <a:sp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3433CE7C-F359-47A8-841D-14982B8C8FE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160463" y="4079682"/>
            <a:ext cx="3413768" cy="276999"/>
          </a:xfrm>
          <a:prstGeom prst="rect">
            <a:avLst/>
          </a:prstGeo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2199A181-023B-FCA5-9318-A776D54D6B8F}"/>
              </a:ext>
            </a:extLst>
          </p:cNvPr>
          <p:cNvSpPr>
            <a:spLocks noGrp="1"/>
          </p:cNvSpPr>
          <p:nvPr>
            <p:ph sz="quarter" idx="34" hasCustomPrompt="1"/>
          </p:nvPr>
        </p:nvSpPr>
        <p:spPr>
          <a:xfrm>
            <a:off x="1160463" y="4476543"/>
            <a:ext cx="3419180" cy="1359346"/>
          </a:xfrm>
        </p:spPr>
        <p:txBody>
          <a:bodyPr>
            <a:sp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3B24EDE4-1DE9-4DA3-A5DE-8AA56EA30F8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778457" y="4079682"/>
            <a:ext cx="3413768" cy="276999"/>
          </a:xfrm>
          <a:prstGeom prst="rect">
            <a:avLst/>
          </a:prstGeo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A6ACB7FA-B849-BB4F-1C0C-0B4769E52F8F}"/>
              </a:ext>
            </a:extLst>
          </p:cNvPr>
          <p:cNvSpPr>
            <a:spLocks noGrp="1"/>
          </p:cNvSpPr>
          <p:nvPr>
            <p:ph sz="quarter" idx="35" hasCustomPrompt="1"/>
          </p:nvPr>
        </p:nvSpPr>
        <p:spPr>
          <a:xfrm>
            <a:off x="4775349" y="4476543"/>
            <a:ext cx="3419180" cy="1359346"/>
          </a:xfrm>
        </p:spPr>
        <p:txBody>
          <a:bodyPr>
            <a:sp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753DB1F1-4AE8-4CB2-9862-800506C55B5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396451" y="4079682"/>
            <a:ext cx="3413768" cy="276999"/>
          </a:xfrm>
          <a:prstGeom prst="rect">
            <a:avLst/>
          </a:prstGeo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04F2BD07-AF79-8283-0055-007F568BB0BE}"/>
              </a:ext>
            </a:extLst>
          </p:cNvPr>
          <p:cNvSpPr>
            <a:spLocks noGrp="1"/>
          </p:cNvSpPr>
          <p:nvPr>
            <p:ph sz="quarter" idx="36" hasCustomPrompt="1"/>
          </p:nvPr>
        </p:nvSpPr>
        <p:spPr>
          <a:xfrm>
            <a:off x="8390234" y="4476543"/>
            <a:ext cx="3419180" cy="1359346"/>
          </a:xfrm>
        </p:spPr>
        <p:txBody>
          <a:bodyPr>
            <a:sp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EA1EF5B-7AA7-4E03-ACD2-316437D05C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6919148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3">
            <a:extLst>
              <a:ext uri="{FF2B5EF4-FFF2-40B4-BE49-F238E27FC236}">
                <a16:creationId xmlns:a16="http://schemas.microsoft.com/office/drawing/2014/main" id="{F6851EF3-E456-437C-A6B0-4799E41CBB8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4413" y="0"/>
            <a:ext cx="6094412" cy="6858000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 baseline="0"/>
            </a:lvl1pPr>
          </a:lstStyle>
          <a:p>
            <a:r>
              <a:rPr lang="en-US"/>
              <a:t>Click icon or drag to insert imag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2F28095-8795-2431-B7D9-B75CF603F44B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1160462" y="1781173"/>
            <a:ext cx="4624701" cy="1679947"/>
          </a:xfrm>
        </p:spPr>
        <p:txBody>
          <a:bodyPr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1160435" y="1384313"/>
            <a:ext cx="4624057" cy="276999"/>
          </a:xfrm>
          <a:prstGeom prst="rect">
            <a:avLst/>
          </a:prstGeo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63A8C2A-FE0D-47DE-A82D-E9DE17072F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22511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1160463" y="3687741"/>
            <a:ext cx="2462006" cy="276999"/>
          </a:xfrm>
          <a:prstGeom prst="rect">
            <a:avLst/>
          </a:prstGeom>
        </p:spPr>
        <p:txBody>
          <a:bodyPr tIns="0" anchor="b" anchorCtr="1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B5A77170-A9FD-45D4-8584-19D45A2A8F9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160421" y="4084602"/>
            <a:ext cx="2462349" cy="802784"/>
          </a:xfrm>
          <a:prstGeom prst="rect">
            <a:avLst/>
          </a:prstGeom>
        </p:spPr>
        <p:txBody>
          <a:bodyPr anchor="t" anchorCtr="1">
            <a:spAutoFit/>
          </a:bodyPr>
          <a:lstStyle>
            <a:lvl1pPr>
              <a:defRPr sz="1600"/>
            </a:lvl1pPr>
            <a:lvl2pPr>
              <a:defRPr sz="16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D45E12E6-5FC6-4DAD-AFC7-D1C06F78D641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1488973" y="1455724"/>
            <a:ext cx="1804987" cy="1804988"/>
          </a:xfrm>
          <a:prstGeom prst="ellipse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5B70EEE1-61F9-44E3-AE83-70A2FCDE472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88865" y="3687741"/>
            <a:ext cx="2462006" cy="276999"/>
          </a:xfrm>
          <a:prstGeom prst="rect">
            <a:avLst/>
          </a:prstGeom>
        </p:spPr>
        <p:txBody>
          <a:bodyPr tIns="0" anchor="b" anchorCtr="1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CBF3F0D4-7BA6-430E-8092-94251D5111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888772" y="4084602"/>
            <a:ext cx="2462349" cy="802784"/>
          </a:xfrm>
          <a:prstGeom prst="rect">
            <a:avLst/>
          </a:prstGeom>
        </p:spPr>
        <p:txBody>
          <a:bodyPr anchor="t" anchorCtr="1">
            <a:spAutoFit/>
          </a:bodyPr>
          <a:lstStyle>
            <a:lvl1pPr>
              <a:defRPr sz="1600"/>
            </a:lvl1pPr>
            <a:lvl2pPr>
              <a:defRPr sz="16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Picture Placeholder 6">
            <a:extLst>
              <a:ext uri="{FF2B5EF4-FFF2-40B4-BE49-F238E27FC236}">
                <a16:creationId xmlns:a16="http://schemas.microsoft.com/office/drawing/2014/main" id="{1D2FC425-D823-47D8-9213-2BED7731FFA9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4217375" y="1455724"/>
            <a:ext cx="1804987" cy="1804988"/>
          </a:xfrm>
          <a:prstGeom prst="ellipse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178182FC-A485-4780-8095-1090C2B8ED1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617267" y="3687741"/>
            <a:ext cx="2462006" cy="276999"/>
          </a:xfrm>
          <a:prstGeom prst="rect">
            <a:avLst/>
          </a:prstGeom>
        </p:spPr>
        <p:txBody>
          <a:bodyPr tIns="0" anchor="b" anchorCtr="1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B467F341-791E-49E5-84A8-2C48795FE71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617123" y="4084602"/>
            <a:ext cx="2462349" cy="802784"/>
          </a:xfrm>
          <a:prstGeom prst="rect">
            <a:avLst/>
          </a:prstGeom>
        </p:spPr>
        <p:txBody>
          <a:bodyPr anchor="t" anchorCtr="1">
            <a:spAutoFit/>
          </a:bodyPr>
          <a:lstStyle>
            <a:lvl1pPr>
              <a:defRPr sz="1600"/>
            </a:lvl1pPr>
            <a:lvl2pPr>
              <a:defRPr sz="16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Picture Placeholder 6">
            <a:extLst>
              <a:ext uri="{FF2B5EF4-FFF2-40B4-BE49-F238E27FC236}">
                <a16:creationId xmlns:a16="http://schemas.microsoft.com/office/drawing/2014/main" id="{665B243A-457D-4431-A51D-DE024E17A13D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945777" y="1455724"/>
            <a:ext cx="1804987" cy="1804988"/>
          </a:xfrm>
          <a:prstGeom prst="ellipse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6666DD00-9E5D-4272-9205-D57612EE559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345668" y="3687741"/>
            <a:ext cx="2462006" cy="276999"/>
          </a:xfrm>
          <a:prstGeom prst="rect">
            <a:avLst/>
          </a:prstGeom>
        </p:spPr>
        <p:txBody>
          <a:bodyPr tIns="0" anchor="b" anchorCtr="1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3A0CC58B-4150-475B-A65A-9286B8F46A8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345475" y="4084602"/>
            <a:ext cx="2462349" cy="802784"/>
          </a:xfrm>
          <a:prstGeom prst="rect">
            <a:avLst/>
          </a:prstGeom>
        </p:spPr>
        <p:txBody>
          <a:bodyPr anchor="t" anchorCtr="1">
            <a:spAutoFit/>
          </a:bodyPr>
          <a:lstStyle>
            <a:lvl1pPr>
              <a:defRPr sz="1600"/>
            </a:lvl1pPr>
            <a:lvl2pPr>
              <a:defRPr sz="16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535117A4-648E-4187-ABAF-F046B1725C1E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9674178" y="1455724"/>
            <a:ext cx="1804987" cy="1804988"/>
          </a:xfrm>
          <a:prstGeom prst="ellipse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8AD715D-1621-4744-8DBB-B3ACD0AEA8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110572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able Placeholder 5">
            <a:extLst>
              <a:ext uri="{FF2B5EF4-FFF2-40B4-BE49-F238E27FC236}">
                <a16:creationId xmlns:a16="http://schemas.microsoft.com/office/drawing/2014/main" id="{05CE8878-73D0-49A2-BE7D-7B98477652C3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1160463" y="1322388"/>
            <a:ext cx="10647361" cy="4849812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91E35FD-3210-4FE6-9F6D-8FAB11C8AD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814729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 +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1160462" y="2967587"/>
            <a:ext cx="2006203" cy="180049"/>
          </a:xfrm>
          <a:prstGeom prst="rect">
            <a:avLst/>
          </a:prstGeo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13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Nam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21" hasCustomPrompt="1"/>
          </p:nvPr>
        </p:nvSpPr>
        <p:spPr>
          <a:xfrm>
            <a:off x="1160463" y="3201502"/>
            <a:ext cx="2005968" cy="593689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200" baseline="0"/>
            </a:lvl1pPr>
            <a:lvl2pPr marL="112713" indent="-112713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defRPr sz="1200"/>
            </a:lvl2pPr>
            <a:lvl3pPr marL="225425" indent="-112713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defRPr sz="1200"/>
            </a:lvl3pPr>
            <a:lvl4pPr marL="339725" indent="-114300">
              <a:lnSpc>
                <a:spcPct val="110000"/>
              </a:lnSpc>
              <a:spcBef>
                <a:spcPts val="0"/>
              </a:spcBef>
              <a:defRPr sz="1200"/>
            </a:lvl4pPr>
            <a:lvl5pPr marL="460375" indent="-120650">
              <a:lnSpc>
                <a:spcPct val="110000"/>
              </a:lnSpc>
              <a:spcBef>
                <a:spcPts val="0"/>
              </a:spcBef>
              <a:defRPr sz="1200"/>
            </a:lvl5pPr>
          </a:lstStyle>
          <a:p>
            <a:pPr lvl="0"/>
            <a:r>
              <a:rPr lang="en-US"/>
              <a:t>Insert title &amp; email addres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28" hasCustomPrompt="1"/>
          </p:nvPr>
        </p:nvSpPr>
        <p:spPr>
          <a:xfrm>
            <a:off x="1160463" y="4208971"/>
            <a:ext cx="8523909" cy="6283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750"/>
            </a:lvl1pPr>
            <a:lvl2pPr marL="114300" indent="-114300">
              <a:spcBef>
                <a:spcPts val="100"/>
              </a:spcBef>
              <a:buClr>
                <a:schemeClr val="accent1"/>
              </a:buClr>
              <a:tabLst/>
              <a:defRPr sz="750"/>
            </a:lvl2pPr>
            <a:lvl3pPr marL="230188" indent="-115888">
              <a:spcBef>
                <a:spcPts val="100"/>
              </a:spcBef>
              <a:buClr>
                <a:schemeClr val="accent1"/>
              </a:buClr>
              <a:tabLst/>
              <a:defRPr sz="750"/>
            </a:lvl3pPr>
            <a:lvl4pPr marL="346075" indent="-115888">
              <a:spcBef>
                <a:spcPts val="100"/>
              </a:spcBef>
              <a:buClr>
                <a:schemeClr val="accent1"/>
              </a:buClr>
              <a:tabLst/>
              <a:defRPr sz="750"/>
            </a:lvl4pPr>
            <a:lvl5pPr marL="460375" indent="-114300">
              <a:spcBef>
                <a:spcPts val="100"/>
              </a:spcBef>
              <a:buClr>
                <a:schemeClr val="accent1"/>
              </a:buClr>
              <a:tabLst/>
              <a:defRPr sz="750"/>
            </a:lvl5pPr>
          </a:lstStyle>
          <a:p>
            <a:pPr lvl="0"/>
            <a:r>
              <a:rPr lang="en-US"/>
              <a:t>Insert Legal Copy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AC53361B-5856-4302-8CF7-6BF7C17066C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333031" y="2967587"/>
            <a:ext cx="2006203" cy="180049"/>
          </a:xfrm>
          <a:prstGeom prst="rect">
            <a:avLst/>
          </a:prstGeo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13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Name</a:t>
            </a:r>
          </a:p>
        </p:txBody>
      </p:sp>
      <p:sp>
        <p:nvSpPr>
          <p:cNvPr id="31" name="Text Placeholder 20">
            <a:extLst>
              <a:ext uri="{FF2B5EF4-FFF2-40B4-BE49-F238E27FC236}">
                <a16:creationId xmlns:a16="http://schemas.microsoft.com/office/drawing/2014/main" id="{95A3F7CB-6CED-43C7-A382-F2A8F2EBD76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333032" y="3201502"/>
            <a:ext cx="2005968" cy="593689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200" baseline="0"/>
            </a:lvl1pPr>
            <a:lvl2pPr marL="112713" indent="-112713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defRPr sz="1200"/>
            </a:lvl2pPr>
            <a:lvl3pPr marL="225425" indent="-112713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defRPr sz="1200"/>
            </a:lvl3pPr>
            <a:lvl4pPr marL="339725" indent="-114300">
              <a:lnSpc>
                <a:spcPct val="110000"/>
              </a:lnSpc>
              <a:spcBef>
                <a:spcPts val="0"/>
              </a:spcBef>
              <a:defRPr sz="1200"/>
            </a:lvl4pPr>
            <a:lvl5pPr marL="460375" indent="-120650">
              <a:lnSpc>
                <a:spcPct val="110000"/>
              </a:lnSpc>
              <a:spcBef>
                <a:spcPts val="0"/>
              </a:spcBef>
              <a:defRPr sz="1200"/>
            </a:lvl5pPr>
          </a:lstStyle>
          <a:p>
            <a:pPr lvl="0"/>
            <a:r>
              <a:rPr lang="en-US"/>
              <a:t>Insert title &amp; email addres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2" name="Text Placeholder 14">
            <a:extLst>
              <a:ext uri="{FF2B5EF4-FFF2-40B4-BE49-F238E27FC236}">
                <a16:creationId xmlns:a16="http://schemas.microsoft.com/office/drawing/2014/main" id="{A59C17CE-8E20-47E7-9745-BD8DF5D69E9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505600" y="2967587"/>
            <a:ext cx="2006203" cy="180049"/>
          </a:xfrm>
          <a:prstGeom prst="rect">
            <a:avLst/>
          </a:prstGeo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13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Name</a:t>
            </a:r>
          </a:p>
        </p:txBody>
      </p:sp>
      <p:sp>
        <p:nvSpPr>
          <p:cNvPr id="33" name="Text Placeholder 20">
            <a:extLst>
              <a:ext uri="{FF2B5EF4-FFF2-40B4-BE49-F238E27FC236}">
                <a16:creationId xmlns:a16="http://schemas.microsoft.com/office/drawing/2014/main" id="{0231F24C-AA35-4993-B9E0-BBEE487530C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505601" y="3201502"/>
            <a:ext cx="2005968" cy="593689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200" baseline="0"/>
            </a:lvl1pPr>
            <a:lvl2pPr marL="112713" indent="-112713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defRPr sz="1200"/>
            </a:lvl2pPr>
            <a:lvl3pPr marL="225425" indent="-112713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defRPr sz="1200"/>
            </a:lvl3pPr>
            <a:lvl4pPr marL="339725" indent="-114300">
              <a:lnSpc>
                <a:spcPct val="110000"/>
              </a:lnSpc>
              <a:spcBef>
                <a:spcPts val="0"/>
              </a:spcBef>
              <a:defRPr sz="1200"/>
            </a:lvl4pPr>
            <a:lvl5pPr marL="460375" indent="-120650">
              <a:lnSpc>
                <a:spcPct val="110000"/>
              </a:lnSpc>
              <a:spcBef>
                <a:spcPts val="0"/>
              </a:spcBef>
              <a:defRPr sz="1200"/>
            </a:lvl5pPr>
          </a:lstStyle>
          <a:p>
            <a:pPr lvl="0"/>
            <a:r>
              <a:rPr lang="en-US"/>
              <a:t>Insert title &amp; email addres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4" name="Text Placeholder 14">
            <a:extLst>
              <a:ext uri="{FF2B5EF4-FFF2-40B4-BE49-F238E27FC236}">
                <a16:creationId xmlns:a16="http://schemas.microsoft.com/office/drawing/2014/main" id="{4A5AC34E-3B4C-469E-B9C4-C085D8EC027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678169" y="2967587"/>
            <a:ext cx="2006203" cy="180049"/>
          </a:xfrm>
          <a:prstGeom prst="rect">
            <a:avLst/>
          </a:prstGeo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13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Name</a:t>
            </a:r>
          </a:p>
        </p:txBody>
      </p:sp>
      <p:sp>
        <p:nvSpPr>
          <p:cNvPr id="35" name="Text Placeholder 20">
            <a:extLst>
              <a:ext uri="{FF2B5EF4-FFF2-40B4-BE49-F238E27FC236}">
                <a16:creationId xmlns:a16="http://schemas.microsoft.com/office/drawing/2014/main" id="{A0A6254F-A341-4409-90BD-661FAACB8D4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678170" y="3201502"/>
            <a:ext cx="2005968" cy="593689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200" baseline="0"/>
            </a:lvl1pPr>
            <a:lvl2pPr marL="112713" indent="-112713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defRPr sz="1200"/>
            </a:lvl2pPr>
            <a:lvl3pPr marL="225425" indent="-112713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defRPr sz="1200"/>
            </a:lvl3pPr>
            <a:lvl4pPr marL="339725" indent="-114300">
              <a:lnSpc>
                <a:spcPct val="110000"/>
              </a:lnSpc>
              <a:spcBef>
                <a:spcPts val="0"/>
              </a:spcBef>
              <a:defRPr sz="1200"/>
            </a:lvl4pPr>
            <a:lvl5pPr marL="460375" indent="-120650">
              <a:lnSpc>
                <a:spcPct val="110000"/>
              </a:lnSpc>
              <a:spcBef>
                <a:spcPts val="0"/>
              </a:spcBef>
              <a:defRPr sz="1200"/>
            </a:lvl5pPr>
          </a:lstStyle>
          <a:p>
            <a:pPr lvl="0"/>
            <a:r>
              <a:rPr lang="en-US"/>
              <a:t>Insert title &amp; email addres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9C240F33-C742-49C8-8DE8-183098A7D65C}"/>
              </a:ext>
            </a:extLst>
          </p:cNvPr>
          <p:cNvSpPr txBox="1">
            <a:spLocks/>
          </p:cNvSpPr>
          <p:nvPr/>
        </p:nvSpPr>
        <p:spPr>
          <a:xfrm>
            <a:off x="3976870" y="6364224"/>
            <a:ext cx="1737360" cy="120649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457200" rtl="0" eaLnBrk="1" latinLnBrk="0" hangingPunct="1">
              <a:defRPr sz="7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/>
              <a:t>© 2005–2020 UiPath. All rights reserve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7F49872-E3D6-4637-BA74-61EC3BC448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35394F67-5761-98C4-47CD-AD2D8C7D5876}"/>
              </a:ext>
            </a:extLst>
          </p:cNvPr>
          <p:cNvSpPr txBox="1">
            <a:spLocks/>
          </p:cNvSpPr>
          <p:nvPr userDrawn="1"/>
        </p:nvSpPr>
        <p:spPr>
          <a:xfrm>
            <a:off x="3976870" y="6364224"/>
            <a:ext cx="1737360" cy="120649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457200" rtl="0" eaLnBrk="1" latinLnBrk="0" hangingPunct="1">
              <a:defRPr sz="7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/>
              <a:t>© 2005–2020 UiPath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75721373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1803882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F88AD5-E949-4AE1-8644-686DA8A505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64881" y="325065"/>
            <a:ext cx="9569137" cy="453264"/>
          </a:xfrm>
          <a:prstGeom prst="rect">
            <a:avLst/>
          </a:prstGeom>
        </p:spPr>
        <p:txBody>
          <a:bodyPr/>
          <a:lstStyle>
            <a:lvl1pPr>
              <a:defRPr sz="2299"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43EDDFAA-3DFA-523F-8C1A-16DC0B3EACB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63291" y="350585"/>
            <a:ext cx="1752089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28283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256BC646-61BC-49E4-5F98-3E6A71D2132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63291" y="350585"/>
            <a:ext cx="1752089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47197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022972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Section">
    <p:bg>
      <p:bgPr>
        <a:solidFill>
          <a:srgbClr val="0067D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4">
            <a:extLst>
              <a:ext uri="{FF2B5EF4-FFF2-40B4-BE49-F238E27FC236}">
                <a16:creationId xmlns:a16="http://schemas.microsoft.com/office/drawing/2014/main" id="{F293A3D2-4F4A-7E69-3345-2D685A95B867}"/>
              </a:ext>
            </a:extLst>
          </p:cNvPr>
          <p:cNvSpPr/>
          <p:nvPr userDrawn="1"/>
        </p:nvSpPr>
        <p:spPr>
          <a:xfrm>
            <a:off x="10291997" y="1535990"/>
            <a:ext cx="1896829" cy="2168206"/>
          </a:xfrm>
          <a:custGeom>
            <a:avLst/>
            <a:gdLst/>
            <a:ahLst/>
            <a:cxnLst/>
            <a:rect l="l" t="t" r="r" b="b"/>
            <a:pathLst>
              <a:path w="2108200" h="2409190">
                <a:moveTo>
                  <a:pt x="0" y="0"/>
                </a:moveTo>
                <a:lnTo>
                  <a:pt x="2108200" y="0"/>
                </a:lnTo>
                <a:lnTo>
                  <a:pt x="2108200" y="2408745"/>
                </a:lnTo>
                <a:lnTo>
                  <a:pt x="0" y="2408745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4999"/>
            </a:srgbClr>
          </a:solidFill>
        </p:spPr>
        <p:txBody>
          <a:bodyPr wrap="square" lIns="0" tIns="0" rIns="0" bIns="0" rtlCol="0"/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object 6">
            <a:extLst>
              <a:ext uri="{FF2B5EF4-FFF2-40B4-BE49-F238E27FC236}">
                <a16:creationId xmlns:a16="http://schemas.microsoft.com/office/drawing/2014/main" id="{6EB0CA21-4C30-C47B-88C8-94452A7E4C5F}"/>
              </a:ext>
            </a:extLst>
          </p:cNvPr>
          <p:cNvSpPr/>
          <p:nvPr userDrawn="1"/>
        </p:nvSpPr>
        <p:spPr>
          <a:xfrm>
            <a:off x="0" y="0"/>
            <a:ext cx="4213017" cy="3580912"/>
          </a:xfrm>
          <a:custGeom>
            <a:avLst/>
            <a:gdLst/>
            <a:ahLst/>
            <a:cxnLst/>
            <a:rect l="l" t="t" r="r" b="b"/>
            <a:pathLst>
              <a:path w="4682490" h="3978910">
                <a:moveTo>
                  <a:pt x="4682301" y="0"/>
                </a:moveTo>
                <a:lnTo>
                  <a:pt x="2196364" y="0"/>
                </a:lnTo>
                <a:lnTo>
                  <a:pt x="2182861" y="35678"/>
                </a:lnTo>
                <a:lnTo>
                  <a:pt x="2165806" y="78255"/>
                </a:lnTo>
                <a:lnTo>
                  <a:pt x="2147969" y="120427"/>
                </a:lnTo>
                <a:lnTo>
                  <a:pt x="2129359" y="162185"/>
                </a:lnTo>
                <a:lnTo>
                  <a:pt x="2109984" y="203520"/>
                </a:lnTo>
                <a:lnTo>
                  <a:pt x="2089853" y="244424"/>
                </a:lnTo>
                <a:lnTo>
                  <a:pt x="2068977" y="284888"/>
                </a:lnTo>
                <a:lnTo>
                  <a:pt x="2047362" y="324901"/>
                </a:lnTo>
                <a:lnTo>
                  <a:pt x="2025020" y="364456"/>
                </a:lnTo>
                <a:lnTo>
                  <a:pt x="2001957" y="403544"/>
                </a:lnTo>
                <a:lnTo>
                  <a:pt x="1978185" y="442155"/>
                </a:lnTo>
                <a:lnTo>
                  <a:pt x="1953711" y="480280"/>
                </a:lnTo>
                <a:lnTo>
                  <a:pt x="1928544" y="517911"/>
                </a:lnTo>
                <a:lnTo>
                  <a:pt x="1902694" y="555038"/>
                </a:lnTo>
                <a:lnTo>
                  <a:pt x="1876169" y="591652"/>
                </a:lnTo>
                <a:lnTo>
                  <a:pt x="1848979" y="627745"/>
                </a:lnTo>
                <a:lnTo>
                  <a:pt x="1821133" y="663307"/>
                </a:lnTo>
                <a:lnTo>
                  <a:pt x="1792639" y="698330"/>
                </a:lnTo>
                <a:lnTo>
                  <a:pt x="1763506" y="732804"/>
                </a:lnTo>
                <a:lnTo>
                  <a:pt x="1733744" y="766721"/>
                </a:lnTo>
                <a:lnTo>
                  <a:pt x="1703361" y="800071"/>
                </a:lnTo>
                <a:lnTo>
                  <a:pt x="1672367" y="832846"/>
                </a:lnTo>
                <a:lnTo>
                  <a:pt x="1640771" y="865036"/>
                </a:lnTo>
                <a:lnTo>
                  <a:pt x="1608580" y="896633"/>
                </a:lnTo>
                <a:lnTo>
                  <a:pt x="1575806" y="927627"/>
                </a:lnTo>
                <a:lnTo>
                  <a:pt x="1542455" y="958009"/>
                </a:lnTo>
                <a:lnTo>
                  <a:pt x="1508539" y="987771"/>
                </a:lnTo>
                <a:lnTo>
                  <a:pt x="1474064" y="1016904"/>
                </a:lnTo>
                <a:lnTo>
                  <a:pt x="1439041" y="1045398"/>
                </a:lnTo>
                <a:lnTo>
                  <a:pt x="1403479" y="1073244"/>
                </a:lnTo>
                <a:lnTo>
                  <a:pt x="1367386" y="1100434"/>
                </a:lnTo>
                <a:lnTo>
                  <a:pt x="1330771" y="1126958"/>
                </a:lnTo>
                <a:lnTo>
                  <a:pt x="1293644" y="1152808"/>
                </a:lnTo>
                <a:lnTo>
                  <a:pt x="1256013" y="1177975"/>
                </a:lnTo>
                <a:lnTo>
                  <a:pt x="1217887" y="1202449"/>
                </a:lnTo>
                <a:lnTo>
                  <a:pt x="1179276" y="1226222"/>
                </a:lnTo>
                <a:lnTo>
                  <a:pt x="1140189" y="1249284"/>
                </a:lnTo>
                <a:lnTo>
                  <a:pt x="1100633" y="1271626"/>
                </a:lnTo>
                <a:lnTo>
                  <a:pt x="1060619" y="1293241"/>
                </a:lnTo>
                <a:lnTo>
                  <a:pt x="1020156" y="1314117"/>
                </a:lnTo>
                <a:lnTo>
                  <a:pt x="979252" y="1334248"/>
                </a:lnTo>
                <a:lnTo>
                  <a:pt x="937916" y="1353623"/>
                </a:lnTo>
                <a:lnTo>
                  <a:pt x="896158" y="1372233"/>
                </a:lnTo>
                <a:lnTo>
                  <a:pt x="853986" y="1390070"/>
                </a:lnTo>
                <a:lnTo>
                  <a:pt x="811409" y="1407125"/>
                </a:lnTo>
                <a:lnTo>
                  <a:pt x="768436" y="1423388"/>
                </a:lnTo>
                <a:lnTo>
                  <a:pt x="725077" y="1438851"/>
                </a:lnTo>
                <a:lnTo>
                  <a:pt x="681341" y="1453504"/>
                </a:lnTo>
                <a:lnTo>
                  <a:pt x="637235" y="1467339"/>
                </a:lnTo>
                <a:lnTo>
                  <a:pt x="592770" y="1480347"/>
                </a:lnTo>
                <a:lnTo>
                  <a:pt x="547955" y="1492518"/>
                </a:lnTo>
                <a:lnTo>
                  <a:pt x="502797" y="1503844"/>
                </a:lnTo>
                <a:lnTo>
                  <a:pt x="457307" y="1514315"/>
                </a:lnTo>
                <a:lnTo>
                  <a:pt x="411493" y="1523923"/>
                </a:lnTo>
                <a:lnTo>
                  <a:pt x="365365" y="1532659"/>
                </a:lnTo>
                <a:lnTo>
                  <a:pt x="318931" y="1540514"/>
                </a:lnTo>
                <a:lnTo>
                  <a:pt x="272200" y="1547478"/>
                </a:lnTo>
                <a:lnTo>
                  <a:pt x="225181" y="1553542"/>
                </a:lnTo>
                <a:lnTo>
                  <a:pt x="177884" y="1558699"/>
                </a:lnTo>
                <a:lnTo>
                  <a:pt x="130317" y="1562938"/>
                </a:lnTo>
                <a:lnTo>
                  <a:pt x="82489" y="1566250"/>
                </a:lnTo>
                <a:lnTo>
                  <a:pt x="34409" y="1568627"/>
                </a:lnTo>
                <a:lnTo>
                  <a:pt x="0" y="1569648"/>
                </a:lnTo>
                <a:lnTo>
                  <a:pt x="0" y="3978840"/>
                </a:lnTo>
                <a:lnTo>
                  <a:pt x="82146" y="3977156"/>
                </a:lnTo>
                <a:lnTo>
                  <a:pt x="177972" y="3973390"/>
                </a:lnTo>
                <a:lnTo>
                  <a:pt x="273309" y="3967766"/>
                </a:lnTo>
                <a:lnTo>
                  <a:pt x="368141" y="3960302"/>
                </a:lnTo>
                <a:lnTo>
                  <a:pt x="462449" y="3951017"/>
                </a:lnTo>
                <a:lnTo>
                  <a:pt x="556216" y="3939928"/>
                </a:lnTo>
                <a:lnTo>
                  <a:pt x="649423" y="3927052"/>
                </a:lnTo>
                <a:lnTo>
                  <a:pt x="742055" y="3912407"/>
                </a:lnTo>
                <a:lnTo>
                  <a:pt x="788149" y="3904426"/>
                </a:lnTo>
                <a:lnTo>
                  <a:pt x="834092" y="3896010"/>
                </a:lnTo>
                <a:lnTo>
                  <a:pt x="879882" y="3887161"/>
                </a:lnTo>
                <a:lnTo>
                  <a:pt x="925517" y="3877881"/>
                </a:lnTo>
                <a:lnTo>
                  <a:pt x="970994" y="3868171"/>
                </a:lnTo>
                <a:lnTo>
                  <a:pt x="1016312" y="3858035"/>
                </a:lnTo>
                <a:lnTo>
                  <a:pt x="1061469" y="3847474"/>
                </a:lnTo>
                <a:lnTo>
                  <a:pt x="1106461" y="3836491"/>
                </a:lnTo>
                <a:lnTo>
                  <a:pt x="1151287" y="3825088"/>
                </a:lnTo>
                <a:lnTo>
                  <a:pt x="1195944" y="3813267"/>
                </a:lnTo>
                <a:lnTo>
                  <a:pt x="1240431" y="3801030"/>
                </a:lnTo>
                <a:lnTo>
                  <a:pt x="1284745" y="3788379"/>
                </a:lnTo>
                <a:lnTo>
                  <a:pt x="1328884" y="3775318"/>
                </a:lnTo>
                <a:lnTo>
                  <a:pt x="1372846" y="3761847"/>
                </a:lnTo>
                <a:lnTo>
                  <a:pt x="1416628" y="3747969"/>
                </a:lnTo>
                <a:lnTo>
                  <a:pt x="1460228" y="3733687"/>
                </a:lnTo>
                <a:lnTo>
                  <a:pt x="1503645" y="3719002"/>
                </a:lnTo>
                <a:lnTo>
                  <a:pt x="1546876" y="3703916"/>
                </a:lnTo>
                <a:lnTo>
                  <a:pt x="1589918" y="3688433"/>
                </a:lnTo>
                <a:lnTo>
                  <a:pt x="1632770" y="3672554"/>
                </a:lnTo>
                <a:lnTo>
                  <a:pt x="1675429" y="3656281"/>
                </a:lnTo>
                <a:lnTo>
                  <a:pt x="1717893" y="3639617"/>
                </a:lnTo>
                <a:lnTo>
                  <a:pt x="1760160" y="3622564"/>
                </a:lnTo>
                <a:lnTo>
                  <a:pt x="1802227" y="3605123"/>
                </a:lnTo>
                <a:lnTo>
                  <a:pt x="1844093" y="3587298"/>
                </a:lnTo>
                <a:lnTo>
                  <a:pt x="1885756" y="3569090"/>
                </a:lnTo>
                <a:lnTo>
                  <a:pt x="1927212" y="3550502"/>
                </a:lnTo>
                <a:lnTo>
                  <a:pt x="1968460" y="3531536"/>
                </a:lnTo>
                <a:lnTo>
                  <a:pt x="2009498" y="3512193"/>
                </a:lnTo>
                <a:lnTo>
                  <a:pt x="2050323" y="3492477"/>
                </a:lnTo>
                <a:lnTo>
                  <a:pt x="2090933" y="3472389"/>
                </a:lnTo>
                <a:lnTo>
                  <a:pt x="2131327" y="3451932"/>
                </a:lnTo>
                <a:lnTo>
                  <a:pt x="2171501" y="3431108"/>
                </a:lnTo>
                <a:lnTo>
                  <a:pt x="2211454" y="3409919"/>
                </a:lnTo>
                <a:lnTo>
                  <a:pt x="2251183" y="3388367"/>
                </a:lnTo>
                <a:lnTo>
                  <a:pt x="2290686" y="3366454"/>
                </a:lnTo>
                <a:lnTo>
                  <a:pt x="2329961" y="3344184"/>
                </a:lnTo>
                <a:lnTo>
                  <a:pt x="2369006" y="3321557"/>
                </a:lnTo>
                <a:lnTo>
                  <a:pt x="2407819" y="3298576"/>
                </a:lnTo>
                <a:lnTo>
                  <a:pt x="2446397" y="3275244"/>
                </a:lnTo>
                <a:lnTo>
                  <a:pt x="2484738" y="3251562"/>
                </a:lnTo>
                <a:lnTo>
                  <a:pt x="2522840" y="3227532"/>
                </a:lnTo>
                <a:lnTo>
                  <a:pt x="2560700" y="3203158"/>
                </a:lnTo>
                <a:lnTo>
                  <a:pt x="2598317" y="3178441"/>
                </a:lnTo>
                <a:lnTo>
                  <a:pt x="2635689" y="3153383"/>
                </a:lnTo>
                <a:lnTo>
                  <a:pt x="2672812" y="3127987"/>
                </a:lnTo>
                <a:lnTo>
                  <a:pt x="2709685" y="3102254"/>
                </a:lnTo>
                <a:lnTo>
                  <a:pt x="2746306" y="3076188"/>
                </a:lnTo>
                <a:lnTo>
                  <a:pt x="2782673" y="3049789"/>
                </a:lnTo>
                <a:lnTo>
                  <a:pt x="2818783" y="3023061"/>
                </a:lnTo>
                <a:lnTo>
                  <a:pt x="2854633" y="2996006"/>
                </a:lnTo>
                <a:lnTo>
                  <a:pt x="2890223" y="2968626"/>
                </a:lnTo>
                <a:lnTo>
                  <a:pt x="2925549" y="2940922"/>
                </a:lnTo>
                <a:lnTo>
                  <a:pt x="2960610" y="2912898"/>
                </a:lnTo>
                <a:lnTo>
                  <a:pt x="2995403" y="2884555"/>
                </a:lnTo>
                <a:lnTo>
                  <a:pt x="3029925" y="2855895"/>
                </a:lnTo>
                <a:lnTo>
                  <a:pt x="3064176" y="2826922"/>
                </a:lnTo>
                <a:lnTo>
                  <a:pt x="3098152" y="2797637"/>
                </a:lnTo>
                <a:lnTo>
                  <a:pt x="3131852" y="2768042"/>
                </a:lnTo>
                <a:lnTo>
                  <a:pt x="3165273" y="2738139"/>
                </a:lnTo>
                <a:lnTo>
                  <a:pt x="3198412" y="2707931"/>
                </a:lnTo>
                <a:lnTo>
                  <a:pt x="3231269" y="2677420"/>
                </a:lnTo>
                <a:lnTo>
                  <a:pt x="3263840" y="2646608"/>
                </a:lnTo>
                <a:lnTo>
                  <a:pt x="3296123" y="2615497"/>
                </a:lnTo>
                <a:lnTo>
                  <a:pt x="3328117" y="2584090"/>
                </a:lnTo>
                <a:lnTo>
                  <a:pt x="3359818" y="2552388"/>
                </a:lnTo>
                <a:lnTo>
                  <a:pt x="3391225" y="2520395"/>
                </a:lnTo>
                <a:lnTo>
                  <a:pt x="3422336" y="2488112"/>
                </a:lnTo>
                <a:lnTo>
                  <a:pt x="3453148" y="2455540"/>
                </a:lnTo>
                <a:lnTo>
                  <a:pt x="3483659" y="2422684"/>
                </a:lnTo>
                <a:lnTo>
                  <a:pt x="3513867" y="2389544"/>
                </a:lnTo>
                <a:lnTo>
                  <a:pt x="3543769" y="2356123"/>
                </a:lnTo>
                <a:lnTo>
                  <a:pt x="3573364" y="2322424"/>
                </a:lnTo>
                <a:lnTo>
                  <a:pt x="3602650" y="2288447"/>
                </a:lnTo>
                <a:lnTo>
                  <a:pt x="3631623" y="2254197"/>
                </a:lnTo>
                <a:lnTo>
                  <a:pt x="3660282" y="2219674"/>
                </a:lnTo>
                <a:lnTo>
                  <a:pt x="3688625" y="2184881"/>
                </a:lnTo>
                <a:lnTo>
                  <a:pt x="3716649" y="2149820"/>
                </a:lnTo>
                <a:lnTo>
                  <a:pt x="3744353" y="2114494"/>
                </a:lnTo>
                <a:lnTo>
                  <a:pt x="3771733" y="2078904"/>
                </a:lnTo>
                <a:lnTo>
                  <a:pt x="3798789" y="2043054"/>
                </a:lnTo>
                <a:lnTo>
                  <a:pt x="3825517" y="2006944"/>
                </a:lnTo>
                <a:lnTo>
                  <a:pt x="3851915" y="1970577"/>
                </a:lnTo>
                <a:lnTo>
                  <a:pt x="3877981" y="1933956"/>
                </a:lnTo>
                <a:lnTo>
                  <a:pt x="3903714" y="1897083"/>
                </a:lnTo>
                <a:lnTo>
                  <a:pt x="3929110" y="1859960"/>
                </a:lnTo>
                <a:lnTo>
                  <a:pt x="3954168" y="1822588"/>
                </a:lnTo>
                <a:lnTo>
                  <a:pt x="3978885" y="1784971"/>
                </a:lnTo>
                <a:lnTo>
                  <a:pt x="4003259" y="1747111"/>
                </a:lnTo>
                <a:lnTo>
                  <a:pt x="4027288" y="1709009"/>
                </a:lnTo>
                <a:lnTo>
                  <a:pt x="4050970" y="1670668"/>
                </a:lnTo>
                <a:lnTo>
                  <a:pt x="4074302" y="1632090"/>
                </a:lnTo>
                <a:lnTo>
                  <a:pt x="4097283" y="1593277"/>
                </a:lnTo>
                <a:lnTo>
                  <a:pt x="4119910" y="1554232"/>
                </a:lnTo>
                <a:lnTo>
                  <a:pt x="4142181" y="1514957"/>
                </a:lnTo>
                <a:lnTo>
                  <a:pt x="4164093" y="1475454"/>
                </a:lnTo>
                <a:lnTo>
                  <a:pt x="4185645" y="1435725"/>
                </a:lnTo>
                <a:lnTo>
                  <a:pt x="4206834" y="1395772"/>
                </a:lnTo>
                <a:lnTo>
                  <a:pt x="4227658" y="1355598"/>
                </a:lnTo>
                <a:lnTo>
                  <a:pt x="4248115" y="1315204"/>
                </a:lnTo>
                <a:lnTo>
                  <a:pt x="4268203" y="1274594"/>
                </a:lnTo>
                <a:lnTo>
                  <a:pt x="4287919" y="1233769"/>
                </a:lnTo>
                <a:lnTo>
                  <a:pt x="4307261" y="1192731"/>
                </a:lnTo>
                <a:lnTo>
                  <a:pt x="4326228" y="1151483"/>
                </a:lnTo>
                <a:lnTo>
                  <a:pt x="4344816" y="1110027"/>
                </a:lnTo>
                <a:lnTo>
                  <a:pt x="4363024" y="1068364"/>
                </a:lnTo>
                <a:lnTo>
                  <a:pt x="4380849" y="1026498"/>
                </a:lnTo>
                <a:lnTo>
                  <a:pt x="4398289" y="984431"/>
                </a:lnTo>
                <a:lnTo>
                  <a:pt x="4415342" y="942164"/>
                </a:lnTo>
                <a:lnTo>
                  <a:pt x="4432006" y="899700"/>
                </a:lnTo>
                <a:lnTo>
                  <a:pt x="4448279" y="857041"/>
                </a:lnTo>
                <a:lnTo>
                  <a:pt x="4464158" y="814189"/>
                </a:lnTo>
                <a:lnTo>
                  <a:pt x="4479641" y="771147"/>
                </a:lnTo>
                <a:lnTo>
                  <a:pt x="4494726" y="727917"/>
                </a:lnTo>
                <a:lnTo>
                  <a:pt x="4509411" y="684500"/>
                </a:lnTo>
                <a:lnTo>
                  <a:pt x="4523694" y="640900"/>
                </a:lnTo>
                <a:lnTo>
                  <a:pt x="4537571" y="597117"/>
                </a:lnTo>
                <a:lnTo>
                  <a:pt x="4551042" y="553156"/>
                </a:lnTo>
                <a:lnTo>
                  <a:pt x="4564104" y="509017"/>
                </a:lnTo>
                <a:lnTo>
                  <a:pt x="4576754" y="464703"/>
                </a:lnTo>
                <a:lnTo>
                  <a:pt x="4588991" y="420216"/>
                </a:lnTo>
                <a:lnTo>
                  <a:pt x="4600812" y="375559"/>
                </a:lnTo>
                <a:lnTo>
                  <a:pt x="4612215" y="330733"/>
                </a:lnTo>
                <a:lnTo>
                  <a:pt x="4623198" y="285741"/>
                </a:lnTo>
                <a:lnTo>
                  <a:pt x="4633759" y="240585"/>
                </a:lnTo>
                <a:lnTo>
                  <a:pt x="4643895" y="195267"/>
                </a:lnTo>
                <a:lnTo>
                  <a:pt x="4653605" y="149790"/>
                </a:lnTo>
                <a:lnTo>
                  <a:pt x="4662885" y="104155"/>
                </a:lnTo>
                <a:lnTo>
                  <a:pt x="4671734" y="58365"/>
                </a:lnTo>
                <a:lnTo>
                  <a:pt x="4680150" y="12422"/>
                </a:lnTo>
                <a:lnTo>
                  <a:pt x="4682301" y="0"/>
                </a:lnTo>
                <a:close/>
              </a:path>
            </a:pathLst>
          </a:custGeom>
          <a:solidFill>
            <a:srgbClr val="FFFFFF">
              <a:alpha val="14999"/>
            </a:srgbClr>
          </a:solidFill>
        </p:spPr>
        <p:txBody>
          <a:bodyPr wrap="square" lIns="0" tIns="0" rIns="0" bIns="0" rtlCol="0"/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object 4">
            <a:extLst>
              <a:ext uri="{FF2B5EF4-FFF2-40B4-BE49-F238E27FC236}">
                <a16:creationId xmlns:a16="http://schemas.microsoft.com/office/drawing/2014/main" id="{795D36C6-A3B7-B6D0-53B4-3AE62CED2A8B}"/>
              </a:ext>
            </a:extLst>
          </p:cNvPr>
          <p:cNvSpPr/>
          <p:nvPr userDrawn="1"/>
        </p:nvSpPr>
        <p:spPr>
          <a:xfrm>
            <a:off x="1637930" y="6167120"/>
            <a:ext cx="4961676" cy="690881"/>
          </a:xfrm>
          <a:custGeom>
            <a:avLst/>
            <a:gdLst/>
            <a:ahLst/>
            <a:cxnLst/>
            <a:rect l="l" t="t" r="r" b="b"/>
            <a:pathLst>
              <a:path w="2108200" h="2409190">
                <a:moveTo>
                  <a:pt x="0" y="0"/>
                </a:moveTo>
                <a:lnTo>
                  <a:pt x="2108200" y="0"/>
                </a:lnTo>
                <a:lnTo>
                  <a:pt x="2108200" y="2408745"/>
                </a:lnTo>
                <a:lnTo>
                  <a:pt x="0" y="2408745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4999"/>
            </a:srgbClr>
          </a:solidFill>
        </p:spPr>
        <p:txBody>
          <a:bodyPr wrap="square" lIns="0" tIns="0" rIns="0" bIns="0" rtlCol="0"/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656496AA-8BD2-8AFB-1F2E-09817FEA76A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78948" y="3244851"/>
            <a:ext cx="6030929" cy="798513"/>
          </a:xfrm>
          <a:prstGeom prst="rect">
            <a:avLst/>
          </a:prstGeom>
          <a:solidFill>
            <a:schemeClr val="bg1"/>
          </a:solidFill>
        </p:spPr>
        <p:txBody>
          <a:bodyPr vert="horz" wrap="none" lIns="0" tIns="0" rIns="0" bIns="0" rtlCol="0" anchor="ctr" anchorCtr="0">
            <a:noAutofit/>
          </a:bodyPr>
          <a:lstStyle>
            <a:lvl1pPr>
              <a:defRPr kumimoji="0" lang="de-AT" sz="2799" b="1" i="0" u="none" strike="noStrike" cap="none" spc="0" normalizeH="0" baseline="0" dirty="0">
                <a:ln>
                  <a:noFill/>
                </a:ln>
                <a:solidFill>
                  <a:srgbClr val="0067DF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Open Sans Extrabold" panose="020B0906030804020204" pitchFamily="34" charset="0"/>
              </a:defRPr>
            </a:lvl1pPr>
          </a:lstStyle>
          <a:p>
            <a:pPr marR="5078" lvl="0" algn="ctr" defTabSz="914126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en-US" noProof="0"/>
              <a:t>Title</a:t>
            </a:r>
          </a:p>
        </p:txBody>
      </p:sp>
      <p:sp>
        <p:nvSpPr>
          <p:cNvPr id="7" name="object 18">
            <a:extLst>
              <a:ext uri="{FF2B5EF4-FFF2-40B4-BE49-F238E27FC236}">
                <a16:creationId xmlns:a16="http://schemas.microsoft.com/office/drawing/2014/main" id="{109D634D-D066-65BF-4C33-75BA8EAF3D9D}"/>
              </a:ext>
            </a:extLst>
          </p:cNvPr>
          <p:cNvSpPr txBox="1"/>
          <p:nvPr userDrawn="1"/>
        </p:nvSpPr>
        <p:spPr>
          <a:xfrm>
            <a:off x="2441691" y="4323240"/>
            <a:ext cx="7305441" cy="690767"/>
          </a:xfrm>
          <a:prstGeom prst="rect">
            <a:avLst/>
          </a:prstGeom>
        </p:spPr>
        <p:txBody>
          <a:bodyPr vert="horz" wrap="square" lIns="0" tIns="63483" rIns="0" bIns="0" rtlCol="0">
            <a:spAutoFit/>
          </a:bodyPr>
          <a:lstStyle/>
          <a:p>
            <a:pPr marL="12696" marR="5078" lvl="0" indent="0" algn="ctr" defTabSz="914126" rtl="0" eaLnBrk="1" fontAlgn="auto" latinLnBrk="0" hangingPunct="1">
              <a:lnSpc>
                <a:spcPct val="106100"/>
              </a:lnSpc>
              <a:spcBef>
                <a:spcPts val="84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Test Suite, the resilient testing solution powered by the UiPath Business Automation</a:t>
            </a:r>
            <a:b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</a:br>
            <a: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Platform. Leverage production-grade, AI-powered, low-code, no-code, and coding tools</a:t>
            </a:r>
            <a:b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</a:br>
            <a: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to automate testing for any technology while still managing testing your way.</a:t>
            </a:r>
          </a:p>
        </p:txBody>
      </p:sp>
      <p:sp>
        <p:nvSpPr>
          <p:cNvPr id="2" name="object 18">
            <a:extLst>
              <a:ext uri="{FF2B5EF4-FFF2-40B4-BE49-F238E27FC236}">
                <a16:creationId xmlns:a16="http://schemas.microsoft.com/office/drawing/2014/main" id="{8DDD7B7E-DDE3-38D3-B23A-55184823FB00}"/>
              </a:ext>
            </a:extLst>
          </p:cNvPr>
          <p:cNvSpPr txBox="1"/>
          <p:nvPr userDrawn="1"/>
        </p:nvSpPr>
        <p:spPr>
          <a:xfrm>
            <a:off x="2441692" y="2276505"/>
            <a:ext cx="7305441" cy="687176"/>
          </a:xfrm>
          <a:prstGeom prst="rect">
            <a:avLst/>
          </a:prstGeom>
        </p:spPr>
        <p:txBody>
          <a:bodyPr vert="horz" wrap="square" lIns="0" tIns="63483" rIns="0" bIns="0" rtlCol="0">
            <a:spAutoFit/>
          </a:bodyPr>
          <a:lstStyle/>
          <a:p>
            <a:pPr marL="12696" marR="5078" lvl="0" indent="0" algn="ctr" defTabSz="914126" rtl="0" eaLnBrk="1" fontAlgn="auto" latinLnBrk="0" hangingPunct="1">
              <a:lnSpc>
                <a:spcPct val="106100"/>
              </a:lnSpc>
              <a:spcBef>
                <a:spcPts val="84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999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UiPath Test Suite</a:t>
            </a:r>
          </a:p>
        </p:txBody>
      </p:sp>
    </p:spTree>
    <p:extLst>
      <p:ext uri="{BB962C8B-B14F-4D97-AF65-F5344CB8AC3E}">
        <p14:creationId xmlns:p14="http://schemas.microsoft.com/office/powerpoint/2010/main" val="16153425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Title – Grid Ligh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5C48506-5B62-D34E-2132-466245E667F9}"/>
              </a:ext>
            </a:extLst>
          </p:cNvPr>
          <p:cNvSpPr/>
          <p:nvPr userDrawn="1"/>
        </p:nvSpPr>
        <p:spPr>
          <a:xfrm>
            <a:off x="8125180" y="2180403"/>
            <a:ext cx="4063645" cy="4677597"/>
          </a:xfrm>
          <a:custGeom>
            <a:avLst/>
            <a:gdLst>
              <a:gd name="connsiteX0" fmla="*/ 4063645 w 4063645"/>
              <a:gd name="connsiteY0" fmla="*/ 0 h 4677597"/>
              <a:gd name="connsiteX1" fmla="*/ 4063645 w 4063645"/>
              <a:gd name="connsiteY1" fmla="*/ 2137265 h 4677597"/>
              <a:gd name="connsiteX2" fmla="*/ 3862190 w 4063645"/>
              <a:gd name="connsiteY2" fmla="*/ 2166337 h 4677597"/>
              <a:gd name="connsiteX3" fmla="*/ 2758545 w 4063645"/>
              <a:gd name="connsiteY3" fmla="*/ 2753506 h 4677597"/>
              <a:gd name="connsiteX4" fmla="*/ 2171374 w 4063645"/>
              <a:gd name="connsiteY4" fmla="*/ 4673988 h 4677597"/>
              <a:gd name="connsiteX5" fmla="*/ 2172255 w 4063645"/>
              <a:gd name="connsiteY5" fmla="*/ 4677597 h 4677597"/>
              <a:gd name="connsiteX6" fmla="*/ 19867 w 4063645"/>
              <a:gd name="connsiteY6" fmla="*/ 4677596 h 4677597"/>
              <a:gd name="connsiteX7" fmla="*/ 19545 w 4063645"/>
              <a:gd name="connsiteY7" fmla="*/ 4674915 h 4677597"/>
              <a:gd name="connsiteX8" fmla="*/ 1250832 w 4063645"/>
              <a:gd name="connsiteY8" fmla="*/ 1245793 h 4677597"/>
              <a:gd name="connsiteX9" fmla="*/ 3861258 w 4063645"/>
              <a:gd name="connsiteY9" fmla="*/ 14507 h 4677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063645" h="4677597">
                <a:moveTo>
                  <a:pt x="4063645" y="0"/>
                </a:moveTo>
                <a:lnTo>
                  <a:pt x="4063645" y="2137265"/>
                </a:lnTo>
                <a:lnTo>
                  <a:pt x="3862190" y="2166337"/>
                </a:lnTo>
                <a:cubicBezTo>
                  <a:pt x="3457826" y="2244626"/>
                  <a:pt x="3071703" y="2440348"/>
                  <a:pt x="2758545" y="2753506"/>
                </a:cubicBezTo>
                <a:cubicBezTo>
                  <a:pt x="2236616" y="3275436"/>
                  <a:pt x="2040891" y="4000046"/>
                  <a:pt x="2171374" y="4673988"/>
                </a:cubicBezTo>
                <a:lnTo>
                  <a:pt x="2172255" y="4677597"/>
                </a:lnTo>
                <a:lnTo>
                  <a:pt x="19867" y="4677596"/>
                </a:lnTo>
                <a:lnTo>
                  <a:pt x="19545" y="4674915"/>
                </a:lnTo>
                <a:cubicBezTo>
                  <a:pt x="-97720" y="3449909"/>
                  <a:pt x="312708" y="2183917"/>
                  <a:pt x="1250832" y="1245793"/>
                </a:cubicBezTo>
                <a:cubicBezTo>
                  <a:pt x="1980483" y="516142"/>
                  <a:pt x="2908474" y="105714"/>
                  <a:pt x="3861258" y="14507"/>
                </a:cubicBezTo>
                <a:close/>
              </a:path>
            </a:pathLst>
          </a:custGeom>
          <a:solidFill>
            <a:srgbClr val="FB5C3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/>
            <a:endParaRPr lang="en-US" sz="1400" b="0" i="0" err="1">
              <a:latin typeface="Arial"/>
              <a:cs typeface="Arial"/>
            </a:endParaRPr>
          </a:p>
        </p:txBody>
      </p:sp>
      <p:sp>
        <p:nvSpPr>
          <p:cNvPr id="11" name="Text Placeholder 49">
            <a:extLst>
              <a:ext uri="{FF2B5EF4-FFF2-40B4-BE49-F238E27FC236}">
                <a16:creationId xmlns:a16="http://schemas.microsoft.com/office/drawing/2014/main" id="{7D4E8EC0-79BD-D9F1-19DC-99943FFD11BD}"/>
              </a:ext>
            </a:extLst>
          </p:cNvPr>
          <p:cNvSpPr txBox="1">
            <a:spLocks/>
          </p:cNvSpPr>
          <p:nvPr userDrawn="1"/>
        </p:nvSpPr>
        <p:spPr>
          <a:xfrm>
            <a:off x="3554947" y="3895115"/>
            <a:ext cx="2120055" cy="2120038"/>
          </a:xfrm>
          <a:custGeom>
            <a:avLst/>
            <a:gdLst>
              <a:gd name="connsiteX0" fmla="*/ 265718 w 531436"/>
              <a:gd name="connsiteY0" fmla="*/ 0 h 531432"/>
              <a:gd name="connsiteX1" fmla="*/ 531436 w 531436"/>
              <a:gd name="connsiteY1" fmla="*/ 265716 h 531432"/>
              <a:gd name="connsiteX2" fmla="*/ 265718 w 531436"/>
              <a:gd name="connsiteY2" fmla="*/ 531432 h 531432"/>
              <a:gd name="connsiteX3" fmla="*/ 0 w 531436"/>
              <a:gd name="connsiteY3" fmla="*/ 265716 h 531432"/>
              <a:gd name="connsiteX4" fmla="*/ 265718 w 531436"/>
              <a:gd name="connsiteY4" fmla="*/ 0 h 531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1436" h="531432">
                <a:moveTo>
                  <a:pt x="265718" y="0"/>
                </a:moveTo>
                <a:cubicBezTo>
                  <a:pt x="412470" y="0"/>
                  <a:pt x="531436" y="118965"/>
                  <a:pt x="531436" y="265716"/>
                </a:cubicBezTo>
                <a:cubicBezTo>
                  <a:pt x="531436" y="412467"/>
                  <a:pt x="412470" y="531432"/>
                  <a:pt x="265718" y="531432"/>
                </a:cubicBezTo>
                <a:cubicBezTo>
                  <a:pt x="118966" y="531432"/>
                  <a:pt x="0" y="412467"/>
                  <a:pt x="0" y="265716"/>
                </a:cubicBezTo>
                <a:cubicBezTo>
                  <a:pt x="0" y="118965"/>
                  <a:pt x="118966" y="0"/>
                  <a:pt x="265718" y="0"/>
                </a:cubicBezTo>
                <a:close/>
              </a:path>
            </a:pathLst>
          </a:custGeom>
          <a:solidFill>
            <a:srgbClr val="FB5C3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 algn="ctr">
              <a:defRPr sz="1400" b="0" i="0">
                <a:solidFill>
                  <a:schemeClr val="lt1"/>
                </a:solidFill>
                <a:latin typeface="Arial"/>
                <a:cs typeface="Arial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D821BAD0-49D0-C707-6EED-2545641FFBD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2972" y="2298411"/>
            <a:ext cx="5292030" cy="1231106"/>
          </a:xfrm>
        </p:spPr>
        <p:txBody>
          <a:bodyPr lIns="0" tIns="0" rIns="0" bIns="0" anchor="b" anchorCtr="0">
            <a:spAutoFit/>
          </a:bodyPr>
          <a:lstStyle>
            <a:lvl1pPr algn="l">
              <a:lnSpc>
                <a:spcPct val="80000"/>
              </a:lnSpc>
              <a:defRPr sz="5000" b="1" i="0" spc="-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19049BAA-F0AE-E76A-341E-A583E1C4787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2972" y="3583491"/>
            <a:ext cx="5292030" cy="366254"/>
          </a:xfrm>
        </p:spPr>
        <p:txBody>
          <a:bodyPr lIns="0" tIns="0" rIns="0" bIns="0" anchor="t" anchorCtr="0">
            <a:spAutoFit/>
          </a:bodyPr>
          <a:lstStyle>
            <a:lvl1pPr marL="0" indent="0" algn="l">
              <a:lnSpc>
                <a:spcPct val="85000"/>
              </a:lnSpc>
              <a:spcBef>
                <a:spcPts val="800"/>
              </a:spcBef>
              <a:buNone/>
              <a:defRPr sz="2800" b="1" i="0" spc="-5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subtitle style</a:t>
            </a: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A76FF9C8-9630-D255-5748-61FABDDC7E0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59978" y="6221029"/>
            <a:ext cx="6549436" cy="357052"/>
          </a:xfrm>
        </p:spPr>
        <p:txBody>
          <a:bodyPr anchor="b" anchorCtr="0"/>
          <a:lstStyle>
            <a:lvl1pPr algn="r">
              <a:defRPr sz="800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EF699570-67D9-1C8E-253F-51BC7744047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877" y="6084140"/>
            <a:ext cx="3034341" cy="557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79139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39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 Section">
    <p:bg>
      <p:bgPr>
        <a:solidFill>
          <a:srgbClr val="FA461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4">
            <a:extLst>
              <a:ext uri="{FF2B5EF4-FFF2-40B4-BE49-F238E27FC236}">
                <a16:creationId xmlns:a16="http://schemas.microsoft.com/office/drawing/2014/main" id="{F293A3D2-4F4A-7E69-3345-2D685A95B867}"/>
              </a:ext>
            </a:extLst>
          </p:cNvPr>
          <p:cNvSpPr/>
          <p:nvPr userDrawn="1"/>
        </p:nvSpPr>
        <p:spPr>
          <a:xfrm>
            <a:off x="10291997" y="1535990"/>
            <a:ext cx="1896829" cy="2168206"/>
          </a:xfrm>
          <a:custGeom>
            <a:avLst/>
            <a:gdLst/>
            <a:ahLst/>
            <a:cxnLst/>
            <a:rect l="l" t="t" r="r" b="b"/>
            <a:pathLst>
              <a:path w="2108200" h="2409190">
                <a:moveTo>
                  <a:pt x="0" y="0"/>
                </a:moveTo>
                <a:lnTo>
                  <a:pt x="2108200" y="0"/>
                </a:lnTo>
                <a:lnTo>
                  <a:pt x="2108200" y="2408745"/>
                </a:lnTo>
                <a:lnTo>
                  <a:pt x="0" y="2408745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4999"/>
            </a:srgbClr>
          </a:solidFill>
        </p:spPr>
        <p:txBody>
          <a:bodyPr wrap="square" lIns="0" tIns="0" rIns="0" bIns="0" rtlCol="0"/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object 6">
            <a:extLst>
              <a:ext uri="{FF2B5EF4-FFF2-40B4-BE49-F238E27FC236}">
                <a16:creationId xmlns:a16="http://schemas.microsoft.com/office/drawing/2014/main" id="{6EB0CA21-4C30-C47B-88C8-94452A7E4C5F}"/>
              </a:ext>
            </a:extLst>
          </p:cNvPr>
          <p:cNvSpPr/>
          <p:nvPr userDrawn="1"/>
        </p:nvSpPr>
        <p:spPr>
          <a:xfrm>
            <a:off x="0" y="0"/>
            <a:ext cx="4213017" cy="3580912"/>
          </a:xfrm>
          <a:custGeom>
            <a:avLst/>
            <a:gdLst/>
            <a:ahLst/>
            <a:cxnLst/>
            <a:rect l="l" t="t" r="r" b="b"/>
            <a:pathLst>
              <a:path w="4682490" h="3978910">
                <a:moveTo>
                  <a:pt x="4682301" y="0"/>
                </a:moveTo>
                <a:lnTo>
                  <a:pt x="2196364" y="0"/>
                </a:lnTo>
                <a:lnTo>
                  <a:pt x="2182861" y="35678"/>
                </a:lnTo>
                <a:lnTo>
                  <a:pt x="2165806" y="78255"/>
                </a:lnTo>
                <a:lnTo>
                  <a:pt x="2147969" y="120427"/>
                </a:lnTo>
                <a:lnTo>
                  <a:pt x="2129359" y="162185"/>
                </a:lnTo>
                <a:lnTo>
                  <a:pt x="2109984" y="203520"/>
                </a:lnTo>
                <a:lnTo>
                  <a:pt x="2089853" y="244424"/>
                </a:lnTo>
                <a:lnTo>
                  <a:pt x="2068977" y="284888"/>
                </a:lnTo>
                <a:lnTo>
                  <a:pt x="2047362" y="324901"/>
                </a:lnTo>
                <a:lnTo>
                  <a:pt x="2025020" y="364456"/>
                </a:lnTo>
                <a:lnTo>
                  <a:pt x="2001957" y="403544"/>
                </a:lnTo>
                <a:lnTo>
                  <a:pt x="1978185" y="442155"/>
                </a:lnTo>
                <a:lnTo>
                  <a:pt x="1953711" y="480280"/>
                </a:lnTo>
                <a:lnTo>
                  <a:pt x="1928544" y="517911"/>
                </a:lnTo>
                <a:lnTo>
                  <a:pt x="1902694" y="555038"/>
                </a:lnTo>
                <a:lnTo>
                  <a:pt x="1876169" y="591652"/>
                </a:lnTo>
                <a:lnTo>
                  <a:pt x="1848979" y="627745"/>
                </a:lnTo>
                <a:lnTo>
                  <a:pt x="1821133" y="663307"/>
                </a:lnTo>
                <a:lnTo>
                  <a:pt x="1792639" y="698330"/>
                </a:lnTo>
                <a:lnTo>
                  <a:pt x="1763506" y="732804"/>
                </a:lnTo>
                <a:lnTo>
                  <a:pt x="1733744" y="766721"/>
                </a:lnTo>
                <a:lnTo>
                  <a:pt x="1703361" y="800071"/>
                </a:lnTo>
                <a:lnTo>
                  <a:pt x="1672367" y="832846"/>
                </a:lnTo>
                <a:lnTo>
                  <a:pt x="1640771" y="865036"/>
                </a:lnTo>
                <a:lnTo>
                  <a:pt x="1608580" y="896633"/>
                </a:lnTo>
                <a:lnTo>
                  <a:pt x="1575806" y="927627"/>
                </a:lnTo>
                <a:lnTo>
                  <a:pt x="1542455" y="958009"/>
                </a:lnTo>
                <a:lnTo>
                  <a:pt x="1508539" y="987771"/>
                </a:lnTo>
                <a:lnTo>
                  <a:pt x="1474064" y="1016904"/>
                </a:lnTo>
                <a:lnTo>
                  <a:pt x="1439041" y="1045398"/>
                </a:lnTo>
                <a:lnTo>
                  <a:pt x="1403479" y="1073244"/>
                </a:lnTo>
                <a:lnTo>
                  <a:pt x="1367386" y="1100434"/>
                </a:lnTo>
                <a:lnTo>
                  <a:pt x="1330771" y="1126958"/>
                </a:lnTo>
                <a:lnTo>
                  <a:pt x="1293644" y="1152808"/>
                </a:lnTo>
                <a:lnTo>
                  <a:pt x="1256013" y="1177975"/>
                </a:lnTo>
                <a:lnTo>
                  <a:pt x="1217887" y="1202449"/>
                </a:lnTo>
                <a:lnTo>
                  <a:pt x="1179276" y="1226222"/>
                </a:lnTo>
                <a:lnTo>
                  <a:pt x="1140189" y="1249284"/>
                </a:lnTo>
                <a:lnTo>
                  <a:pt x="1100633" y="1271626"/>
                </a:lnTo>
                <a:lnTo>
                  <a:pt x="1060619" y="1293241"/>
                </a:lnTo>
                <a:lnTo>
                  <a:pt x="1020156" y="1314117"/>
                </a:lnTo>
                <a:lnTo>
                  <a:pt x="979252" y="1334248"/>
                </a:lnTo>
                <a:lnTo>
                  <a:pt x="937916" y="1353623"/>
                </a:lnTo>
                <a:lnTo>
                  <a:pt x="896158" y="1372233"/>
                </a:lnTo>
                <a:lnTo>
                  <a:pt x="853986" y="1390070"/>
                </a:lnTo>
                <a:lnTo>
                  <a:pt x="811409" y="1407125"/>
                </a:lnTo>
                <a:lnTo>
                  <a:pt x="768436" y="1423388"/>
                </a:lnTo>
                <a:lnTo>
                  <a:pt x="725077" y="1438851"/>
                </a:lnTo>
                <a:lnTo>
                  <a:pt x="681341" y="1453504"/>
                </a:lnTo>
                <a:lnTo>
                  <a:pt x="637235" y="1467339"/>
                </a:lnTo>
                <a:lnTo>
                  <a:pt x="592770" y="1480347"/>
                </a:lnTo>
                <a:lnTo>
                  <a:pt x="547955" y="1492518"/>
                </a:lnTo>
                <a:lnTo>
                  <a:pt x="502797" y="1503844"/>
                </a:lnTo>
                <a:lnTo>
                  <a:pt x="457307" y="1514315"/>
                </a:lnTo>
                <a:lnTo>
                  <a:pt x="411493" y="1523923"/>
                </a:lnTo>
                <a:lnTo>
                  <a:pt x="365365" y="1532659"/>
                </a:lnTo>
                <a:lnTo>
                  <a:pt x="318931" y="1540514"/>
                </a:lnTo>
                <a:lnTo>
                  <a:pt x="272200" y="1547478"/>
                </a:lnTo>
                <a:lnTo>
                  <a:pt x="225181" y="1553542"/>
                </a:lnTo>
                <a:lnTo>
                  <a:pt x="177884" y="1558699"/>
                </a:lnTo>
                <a:lnTo>
                  <a:pt x="130317" y="1562938"/>
                </a:lnTo>
                <a:lnTo>
                  <a:pt x="82489" y="1566250"/>
                </a:lnTo>
                <a:lnTo>
                  <a:pt x="34409" y="1568627"/>
                </a:lnTo>
                <a:lnTo>
                  <a:pt x="0" y="1569648"/>
                </a:lnTo>
                <a:lnTo>
                  <a:pt x="0" y="3978840"/>
                </a:lnTo>
                <a:lnTo>
                  <a:pt x="82146" y="3977156"/>
                </a:lnTo>
                <a:lnTo>
                  <a:pt x="177972" y="3973390"/>
                </a:lnTo>
                <a:lnTo>
                  <a:pt x="273309" y="3967766"/>
                </a:lnTo>
                <a:lnTo>
                  <a:pt x="368141" y="3960302"/>
                </a:lnTo>
                <a:lnTo>
                  <a:pt x="462449" y="3951017"/>
                </a:lnTo>
                <a:lnTo>
                  <a:pt x="556216" y="3939928"/>
                </a:lnTo>
                <a:lnTo>
                  <a:pt x="649423" y="3927052"/>
                </a:lnTo>
                <a:lnTo>
                  <a:pt x="742055" y="3912407"/>
                </a:lnTo>
                <a:lnTo>
                  <a:pt x="788149" y="3904426"/>
                </a:lnTo>
                <a:lnTo>
                  <a:pt x="834092" y="3896010"/>
                </a:lnTo>
                <a:lnTo>
                  <a:pt x="879882" y="3887161"/>
                </a:lnTo>
                <a:lnTo>
                  <a:pt x="925517" y="3877881"/>
                </a:lnTo>
                <a:lnTo>
                  <a:pt x="970994" y="3868171"/>
                </a:lnTo>
                <a:lnTo>
                  <a:pt x="1016312" y="3858035"/>
                </a:lnTo>
                <a:lnTo>
                  <a:pt x="1061469" y="3847474"/>
                </a:lnTo>
                <a:lnTo>
                  <a:pt x="1106461" y="3836491"/>
                </a:lnTo>
                <a:lnTo>
                  <a:pt x="1151287" y="3825088"/>
                </a:lnTo>
                <a:lnTo>
                  <a:pt x="1195944" y="3813267"/>
                </a:lnTo>
                <a:lnTo>
                  <a:pt x="1240431" y="3801030"/>
                </a:lnTo>
                <a:lnTo>
                  <a:pt x="1284745" y="3788379"/>
                </a:lnTo>
                <a:lnTo>
                  <a:pt x="1328884" y="3775318"/>
                </a:lnTo>
                <a:lnTo>
                  <a:pt x="1372846" y="3761847"/>
                </a:lnTo>
                <a:lnTo>
                  <a:pt x="1416628" y="3747969"/>
                </a:lnTo>
                <a:lnTo>
                  <a:pt x="1460228" y="3733687"/>
                </a:lnTo>
                <a:lnTo>
                  <a:pt x="1503645" y="3719002"/>
                </a:lnTo>
                <a:lnTo>
                  <a:pt x="1546876" y="3703916"/>
                </a:lnTo>
                <a:lnTo>
                  <a:pt x="1589918" y="3688433"/>
                </a:lnTo>
                <a:lnTo>
                  <a:pt x="1632770" y="3672554"/>
                </a:lnTo>
                <a:lnTo>
                  <a:pt x="1675429" y="3656281"/>
                </a:lnTo>
                <a:lnTo>
                  <a:pt x="1717893" y="3639617"/>
                </a:lnTo>
                <a:lnTo>
                  <a:pt x="1760160" y="3622564"/>
                </a:lnTo>
                <a:lnTo>
                  <a:pt x="1802227" y="3605123"/>
                </a:lnTo>
                <a:lnTo>
                  <a:pt x="1844093" y="3587298"/>
                </a:lnTo>
                <a:lnTo>
                  <a:pt x="1885756" y="3569090"/>
                </a:lnTo>
                <a:lnTo>
                  <a:pt x="1927212" y="3550502"/>
                </a:lnTo>
                <a:lnTo>
                  <a:pt x="1968460" y="3531536"/>
                </a:lnTo>
                <a:lnTo>
                  <a:pt x="2009498" y="3512193"/>
                </a:lnTo>
                <a:lnTo>
                  <a:pt x="2050323" y="3492477"/>
                </a:lnTo>
                <a:lnTo>
                  <a:pt x="2090933" y="3472389"/>
                </a:lnTo>
                <a:lnTo>
                  <a:pt x="2131327" y="3451932"/>
                </a:lnTo>
                <a:lnTo>
                  <a:pt x="2171501" y="3431108"/>
                </a:lnTo>
                <a:lnTo>
                  <a:pt x="2211454" y="3409919"/>
                </a:lnTo>
                <a:lnTo>
                  <a:pt x="2251183" y="3388367"/>
                </a:lnTo>
                <a:lnTo>
                  <a:pt x="2290686" y="3366454"/>
                </a:lnTo>
                <a:lnTo>
                  <a:pt x="2329961" y="3344184"/>
                </a:lnTo>
                <a:lnTo>
                  <a:pt x="2369006" y="3321557"/>
                </a:lnTo>
                <a:lnTo>
                  <a:pt x="2407819" y="3298576"/>
                </a:lnTo>
                <a:lnTo>
                  <a:pt x="2446397" y="3275244"/>
                </a:lnTo>
                <a:lnTo>
                  <a:pt x="2484738" y="3251562"/>
                </a:lnTo>
                <a:lnTo>
                  <a:pt x="2522840" y="3227532"/>
                </a:lnTo>
                <a:lnTo>
                  <a:pt x="2560700" y="3203158"/>
                </a:lnTo>
                <a:lnTo>
                  <a:pt x="2598317" y="3178441"/>
                </a:lnTo>
                <a:lnTo>
                  <a:pt x="2635689" y="3153383"/>
                </a:lnTo>
                <a:lnTo>
                  <a:pt x="2672812" y="3127987"/>
                </a:lnTo>
                <a:lnTo>
                  <a:pt x="2709685" y="3102254"/>
                </a:lnTo>
                <a:lnTo>
                  <a:pt x="2746306" y="3076188"/>
                </a:lnTo>
                <a:lnTo>
                  <a:pt x="2782673" y="3049789"/>
                </a:lnTo>
                <a:lnTo>
                  <a:pt x="2818783" y="3023061"/>
                </a:lnTo>
                <a:lnTo>
                  <a:pt x="2854633" y="2996006"/>
                </a:lnTo>
                <a:lnTo>
                  <a:pt x="2890223" y="2968626"/>
                </a:lnTo>
                <a:lnTo>
                  <a:pt x="2925549" y="2940922"/>
                </a:lnTo>
                <a:lnTo>
                  <a:pt x="2960610" y="2912898"/>
                </a:lnTo>
                <a:lnTo>
                  <a:pt x="2995403" y="2884555"/>
                </a:lnTo>
                <a:lnTo>
                  <a:pt x="3029925" y="2855895"/>
                </a:lnTo>
                <a:lnTo>
                  <a:pt x="3064176" y="2826922"/>
                </a:lnTo>
                <a:lnTo>
                  <a:pt x="3098152" y="2797637"/>
                </a:lnTo>
                <a:lnTo>
                  <a:pt x="3131852" y="2768042"/>
                </a:lnTo>
                <a:lnTo>
                  <a:pt x="3165273" y="2738139"/>
                </a:lnTo>
                <a:lnTo>
                  <a:pt x="3198412" y="2707931"/>
                </a:lnTo>
                <a:lnTo>
                  <a:pt x="3231269" y="2677420"/>
                </a:lnTo>
                <a:lnTo>
                  <a:pt x="3263840" y="2646608"/>
                </a:lnTo>
                <a:lnTo>
                  <a:pt x="3296123" y="2615497"/>
                </a:lnTo>
                <a:lnTo>
                  <a:pt x="3328117" y="2584090"/>
                </a:lnTo>
                <a:lnTo>
                  <a:pt x="3359818" y="2552388"/>
                </a:lnTo>
                <a:lnTo>
                  <a:pt x="3391225" y="2520395"/>
                </a:lnTo>
                <a:lnTo>
                  <a:pt x="3422336" y="2488112"/>
                </a:lnTo>
                <a:lnTo>
                  <a:pt x="3453148" y="2455540"/>
                </a:lnTo>
                <a:lnTo>
                  <a:pt x="3483659" y="2422684"/>
                </a:lnTo>
                <a:lnTo>
                  <a:pt x="3513867" y="2389544"/>
                </a:lnTo>
                <a:lnTo>
                  <a:pt x="3543769" y="2356123"/>
                </a:lnTo>
                <a:lnTo>
                  <a:pt x="3573364" y="2322424"/>
                </a:lnTo>
                <a:lnTo>
                  <a:pt x="3602650" y="2288447"/>
                </a:lnTo>
                <a:lnTo>
                  <a:pt x="3631623" y="2254197"/>
                </a:lnTo>
                <a:lnTo>
                  <a:pt x="3660282" y="2219674"/>
                </a:lnTo>
                <a:lnTo>
                  <a:pt x="3688625" y="2184881"/>
                </a:lnTo>
                <a:lnTo>
                  <a:pt x="3716649" y="2149820"/>
                </a:lnTo>
                <a:lnTo>
                  <a:pt x="3744353" y="2114494"/>
                </a:lnTo>
                <a:lnTo>
                  <a:pt x="3771733" y="2078904"/>
                </a:lnTo>
                <a:lnTo>
                  <a:pt x="3798789" y="2043054"/>
                </a:lnTo>
                <a:lnTo>
                  <a:pt x="3825517" y="2006944"/>
                </a:lnTo>
                <a:lnTo>
                  <a:pt x="3851915" y="1970577"/>
                </a:lnTo>
                <a:lnTo>
                  <a:pt x="3877981" y="1933956"/>
                </a:lnTo>
                <a:lnTo>
                  <a:pt x="3903714" y="1897083"/>
                </a:lnTo>
                <a:lnTo>
                  <a:pt x="3929110" y="1859960"/>
                </a:lnTo>
                <a:lnTo>
                  <a:pt x="3954168" y="1822588"/>
                </a:lnTo>
                <a:lnTo>
                  <a:pt x="3978885" y="1784971"/>
                </a:lnTo>
                <a:lnTo>
                  <a:pt x="4003259" y="1747111"/>
                </a:lnTo>
                <a:lnTo>
                  <a:pt x="4027288" y="1709009"/>
                </a:lnTo>
                <a:lnTo>
                  <a:pt x="4050970" y="1670668"/>
                </a:lnTo>
                <a:lnTo>
                  <a:pt x="4074302" y="1632090"/>
                </a:lnTo>
                <a:lnTo>
                  <a:pt x="4097283" y="1593277"/>
                </a:lnTo>
                <a:lnTo>
                  <a:pt x="4119910" y="1554232"/>
                </a:lnTo>
                <a:lnTo>
                  <a:pt x="4142181" y="1514957"/>
                </a:lnTo>
                <a:lnTo>
                  <a:pt x="4164093" y="1475454"/>
                </a:lnTo>
                <a:lnTo>
                  <a:pt x="4185645" y="1435725"/>
                </a:lnTo>
                <a:lnTo>
                  <a:pt x="4206834" y="1395772"/>
                </a:lnTo>
                <a:lnTo>
                  <a:pt x="4227658" y="1355598"/>
                </a:lnTo>
                <a:lnTo>
                  <a:pt x="4248115" y="1315204"/>
                </a:lnTo>
                <a:lnTo>
                  <a:pt x="4268203" y="1274594"/>
                </a:lnTo>
                <a:lnTo>
                  <a:pt x="4287919" y="1233769"/>
                </a:lnTo>
                <a:lnTo>
                  <a:pt x="4307261" y="1192731"/>
                </a:lnTo>
                <a:lnTo>
                  <a:pt x="4326228" y="1151483"/>
                </a:lnTo>
                <a:lnTo>
                  <a:pt x="4344816" y="1110027"/>
                </a:lnTo>
                <a:lnTo>
                  <a:pt x="4363024" y="1068364"/>
                </a:lnTo>
                <a:lnTo>
                  <a:pt x="4380849" y="1026498"/>
                </a:lnTo>
                <a:lnTo>
                  <a:pt x="4398289" y="984431"/>
                </a:lnTo>
                <a:lnTo>
                  <a:pt x="4415342" y="942164"/>
                </a:lnTo>
                <a:lnTo>
                  <a:pt x="4432006" y="899700"/>
                </a:lnTo>
                <a:lnTo>
                  <a:pt x="4448279" y="857041"/>
                </a:lnTo>
                <a:lnTo>
                  <a:pt x="4464158" y="814189"/>
                </a:lnTo>
                <a:lnTo>
                  <a:pt x="4479641" y="771147"/>
                </a:lnTo>
                <a:lnTo>
                  <a:pt x="4494726" y="727917"/>
                </a:lnTo>
                <a:lnTo>
                  <a:pt x="4509411" y="684500"/>
                </a:lnTo>
                <a:lnTo>
                  <a:pt x="4523694" y="640900"/>
                </a:lnTo>
                <a:lnTo>
                  <a:pt x="4537571" y="597117"/>
                </a:lnTo>
                <a:lnTo>
                  <a:pt x="4551042" y="553156"/>
                </a:lnTo>
                <a:lnTo>
                  <a:pt x="4564104" y="509017"/>
                </a:lnTo>
                <a:lnTo>
                  <a:pt x="4576754" y="464703"/>
                </a:lnTo>
                <a:lnTo>
                  <a:pt x="4588991" y="420216"/>
                </a:lnTo>
                <a:lnTo>
                  <a:pt x="4600812" y="375559"/>
                </a:lnTo>
                <a:lnTo>
                  <a:pt x="4612215" y="330733"/>
                </a:lnTo>
                <a:lnTo>
                  <a:pt x="4623198" y="285741"/>
                </a:lnTo>
                <a:lnTo>
                  <a:pt x="4633759" y="240585"/>
                </a:lnTo>
                <a:lnTo>
                  <a:pt x="4643895" y="195267"/>
                </a:lnTo>
                <a:lnTo>
                  <a:pt x="4653605" y="149790"/>
                </a:lnTo>
                <a:lnTo>
                  <a:pt x="4662885" y="104155"/>
                </a:lnTo>
                <a:lnTo>
                  <a:pt x="4671734" y="58365"/>
                </a:lnTo>
                <a:lnTo>
                  <a:pt x="4680150" y="12422"/>
                </a:lnTo>
                <a:lnTo>
                  <a:pt x="4682301" y="0"/>
                </a:lnTo>
                <a:close/>
              </a:path>
            </a:pathLst>
          </a:custGeom>
          <a:solidFill>
            <a:srgbClr val="FFFFFF">
              <a:alpha val="14999"/>
            </a:srgbClr>
          </a:solidFill>
        </p:spPr>
        <p:txBody>
          <a:bodyPr wrap="square" lIns="0" tIns="0" rIns="0" bIns="0" rtlCol="0"/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object 4">
            <a:extLst>
              <a:ext uri="{FF2B5EF4-FFF2-40B4-BE49-F238E27FC236}">
                <a16:creationId xmlns:a16="http://schemas.microsoft.com/office/drawing/2014/main" id="{795D36C6-A3B7-B6D0-53B4-3AE62CED2A8B}"/>
              </a:ext>
            </a:extLst>
          </p:cNvPr>
          <p:cNvSpPr/>
          <p:nvPr userDrawn="1"/>
        </p:nvSpPr>
        <p:spPr>
          <a:xfrm>
            <a:off x="1637930" y="6167120"/>
            <a:ext cx="4961676" cy="690881"/>
          </a:xfrm>
          <a:custGeom>
            <a:avLst/>
            <a:gdLst/>
            <a:ahLst/>
            <a:cxnLst/>
            <a:rect l="l" t="t" r="r" b="b"/>
            <a:pathLst>
              <a:path w="2108200" h="2409190">
                <a:moveTo>
                  <a:pt x="0" y="0"/>
                </a:moveTo>
                <a:lnTo>
                  <a:pt x="2108200" y="0"/>
                </a:lnTo>
                <a:lnTo>
                  <a:pt x="2108200" y="2408745"/>
                </a:lnTo>
                <a:lnTo>
                  <a:pt x="0" y="2408745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4999"/>
            </a:srgbClr>
          </a:solidFill>
        </p:spPr>
        <p:txBody>
          <a:bodyPr wrap="square" lIns="0" tIns="0" rIns="0" bIns="0" rtlCol="0"/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656496AA-8BD2-8AFB-1F2E-09817FEA76A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78948" y="3244851"/>
            <a:ext cx="6030929" cy="798513"/>
          </a:xfrm>
          <a:prstGeom prst="rect">
            <a:avLst/>
          </a:prstGeom>
          <a:solidFill>
            <a:schemeClr val="bg1"/>
          </a:solidFill>
        </p:spPr>
        <p:txBody>
          <a:bodyPr vert="horz" wrap="none" lIns="0" tIns="0" rIns="0" bIns="0" rtlCol="0" anchor="ctr" anchorCtr="0">
            <a:noAutofit/>
          </a:bodyPr>
          <a:lstStyle>
            <a:lvl1pPr>
              <a:defRPr kumimoji="0" lang="de-AT" sz="2799" b="1" i="0" u="none" strike="noStrike" cap="none" spc="0" normalizeH="0" baseline="0" dirty="0">
                <a:ln>
                  <a:noFill/>
                </a:ln>
                <a:solidFill>
                  <a:srgbClr val="FA4616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Open Sans Extrabold" panose="020B0906030804020204" pitchFamily="34" charset="0"/>
              </a:defRPr>
            </a:lvl1pPr>
          </a:lstStyle>
          <a:p>
            <a:pPr marR="5078" lvl="0" algn="ctr" defTabSz="914126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en-US" noProof="0"/>
              <a:t>Title</a:t>
            </a:r>
          </a:p>
        </p:txBody>
      </p:sp>
      <p:sp>
        <p:nvSpPr>
          <p:cNvPr id="2" name="object 18">
            <a:extLst>
              <a:ext uri="{FF2B5EF4-FFF2-40B4-BE49-F238E27FC236}">
                <a16:creationId xmlns:a16="http://schemas.microsoft.com/office/drawing/2014/main" id="{CF3574CE-8BF9-7215-85D8-C024638FF0DE}"/>
              </a:ext>
            </a:extLst>
          </p:cNvPr>
          <p:cNvSpPr txBox="1"/>
          <p:nvPr userDrawn="1"/>
        </p:nvSpPr>
        <p:spPr>
          <a:xfrm>
            <a:off x="2441692" y="2276505"/>
            <a:ext cx="7305441" cy="687176"/>
          </a:xfrm>
          <a:prstGeom prst="rect">
            <a:avLst/>
          </a:prstGeom>
        </p:spPr>
        <p:txBody>
          <a:bodyPr vert="horz" wrap="square" lIns="0" tIns="63483" rIns="0" bIns="0" rtlCol="0">
            <a:spAutoFit/>
          </a:bodyPr>
          <a:lstStyle/>
          <a:p>
            <a:pPr marL="12696" marR="5078" lvl="0" indent="0" algn="ctr" defTabSz="914126" rtl="0" eaLnBrk="1" fontAlgn="auto" latinLnBrk="0" hangingPunct="1">
              <a:lnSpc>
                <a:spcPct val="106100"/>
              </a:lnSpc>
              <a:spcBef>
                <a:spcPts val="84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999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UiPath Test Suite</a:t>
            </a:r>
          </a:p>
        </p:txBody>
      </p:sp>
    </p:spTree>
    <p:extLst>
      <p:ext uri="{BB962C8B-B14F-4D97-AF65-F5344CB8AC3E}">
        <p14:creationId xmlns:p14="http://schemas.microsoft.com/office/powerpoint/2010/main" val="3063439482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– Grid Ligh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49">
            <a:extLst>
              <a:ext uri="{FF2B5EF4-FFF2-40B4-BE49-F238E27FC236}">
                <a16:creationId xmlns:a16="http://schemas.microsoft.com/office/drawing/2014/main" id="{73B0CE92-879B-4EA7-9079-D1F8261FC8D8}"/>
              </a:ext>
            </a:extLst>
          </p:cNvPr>
          <p:cNvSpPr txBox="1">
            <a:spLocks/>
          </p:cNvSpPr>
          <p:nvPr userDrawn="1"/>
        </p:nvSpPr>
        <p:spPr>
          <a:xfrm>
            <a:off x="3554947" y="3895115"/>
            <a:ext cx="2120055" cy="2120038"/>
          </a:xfrm>
          <a:custGeom>
            <a:avLst/>
            <a:gdLst>
              <a:gd name="connsiteX0" fmla="*/ 265718 w 531436"/>
              <a:gd name="connsiteY0" fmla="*/ 0 h 531432"/>
              <a:gd name="connsiteX1" fmla="*/ 531436 w 531436"/>
              <a:gd name="connsiteY1" fmla="*/ 265716 h 531432"/>
              <a:gd name="connsiteX2" fmla="*/ 265718 w 531436"/>
              <a:gd name="connsiteY2" fmla="*/ 531432 h 531432"/>
              <a:gd name="connsiteX3" fmla="*/ 0 w 531436"/>
              <a:gd name="connsiteY3" fmla="*/ 265716 h 531432"/>
              <a:gd name="connsiteX4" fmla="*/ 265718 w 531436"/>
              <a:gd name="connsiteY4" fmla="*/ 0 h 531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1436" h="531432">
                <a:moveTo>
                  <a:pt x="265718" y="0"/>
                </a:moveTo>
                <a:cubicBezTo>
                  <a:pt x="412470" y="0"/>
                  <a:pt x="531436" y="118965"/>
                  <a:pt x="531436" y="265716"/>
                </a:cubicBezTo>
                <a:cubicBezTo>
                  <a:pt x="531436" y="412467"/>
                  <a:pt x="412470" y="531432"/>
                  <a:pt x="265718" y="531432"/>
                </a:cubicBezTo>
                <a:cubicBezTo>
                  <a:pt x="118966" y="531432"/>
                  <a:pt x="0" y="412467"/>
                  <a:pt x="0" y="265716"/>
                </a:cubicBezTo>
                <a:cubicBezTo>
                  <a:pt x="0" y="118965"/>
                  <a:pt x="118966" y="0"/>
                  <a:pt x="265718" y="0"/>
                </a:cubicBezTo>
                <a:close/>
              </a:path>
            </a:pathLst>
          </a:custGeom>
          <a:solidFill>
            <a:schemeClr val="bg1">
              <a:alpha val="75000"/>
            </a:schemeClr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20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7E36862B-3B07-4416-9F20-076D4CB58644}"/>
              </a:ext>
            </a:extLst>
          </p:cNvPr>
          <p:cNvSpPr txBox="1">
            <a:spLocks/>
          </p:cNvSpPr>
          <p:nvPr userDrawn="1"/>
        </p:nvSpPr>
        <p:spPr>
          <a:xfrm rot="18900000" flipV="1">
            <a:off x="7229807" y="3126446"/>
            <a:ext cx="6166943" cy="3078196"/>
          </a:xfrm>
          <a:custGeom>
            <a:avLst/>
            <a:gdLst>
              <a:gd name="connsiteX0" fmla="*/ 6166943 w 6166943"/>
              <a:gd name="connsiteY0" fmla="*/ 1970146 h 3078196"/>
              <a:gd name="connsiteX1" fmla="*/ 4655668 w 6166943"/>
              <a:gd name="connsiteY1" fmla="*/ 458871 h 3078196"/>
              <a:gd name="connsiteX2" fmla="*/ 4492661 w 6166943"/>
              <a:gd name="connsiteY2" fmla="*/ 580765 h 3078196"/>
              <a:gd name="connsiteX3" fmla="*/ 3297075 w 6166943"/>
              <a:gd name="connsiteY3" fmla="*/ 945968 h 3078196"/>
              <a:gd name="connsiteX4" fmla="*/ 1523897 w 6166943"/>
              <a:gd name="connsiteY4" fmla="*/ 3175 h 3078196"/>
              <a:gd name="connsiteX5" fmla="*/ 1521968 w 6166943"/>
              <a:gd name="connsiteY5" fmla="*/ 0 h 3078196"/>
              <a:gd name="connsiteX6" fmla="*/ 0 w 6166943"/>
              <a:gd name="connsiteY6" fmla="*/ 1521969 h 3078196"/>
              <a:gd name="connsiteX7" fmla="*/ 1668 w 6166943"/>
              <a:gd name="connsiteY7" fmla="*/ 1524092 h 3078196"/>
              <a:gd name="connsiteX8" fmla="*/ 3297075 w 6166943"/>
              <a:gd name="connsiteY8" fmla="*/ 3078196 h 3078196"/>
              <a:gd name="connsiteX9" fmla="*/ 6013576 w 6166943"/>
              <a:gd name="connsiteY9" fmla="*/ 2102997 h 30781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166943" h="3078196">
                <a:moveTo>
                  <a:pt x="6166943" y="1970146"/>
                </a:moveTo>
                <a:lnTo>
                  <a:pt x="4655668" y="458871"/>
                </a:lnTo>
                <a:lnTo>
                  <a:pt x="4492661" y="580765"/>
                </a:lnTo>
                <a:cubicBezTo>
                  <a:pt x="4151374" y="811334"/>
                  <a:pt x="3739947" y="945968"/>
                  <a:pt x="3297075" y="945968"/>
                </a:cubicBezTo>
                <a:cubicBezTo>
                  <a:pt x="2558955" y="945968"/>
                  <a:pt x="1908180" y="571989"/>
                  <a:pt x="1523897" y="3175"/>
                </a:cubicBezTo>
                <a:lnTo>
                  <a:pt x="1521968" y="0"/>
                </a:lnTo>
                <a:lnTo>
                  <a:pt x="0" y="1521969"/>
                </a:lnTo>
                <a:lnTo>
                  <a:pt x="1668" y="1524092"/>
                </a:lnTo>
                <a:cubicBezTo>
                  <a:pt x="784959" y="2473222"/>
                  <a:pt x="1970367" y="3078196"/>
                  <a:pt x="3297075" y="3078196"/>
                </a:cubicBezTo>
                <a:cubicBezTo>
                  <a:pt x="4328957" y="3078196"/>
                  <a:pt x="5275363" y="2712224"/>
                  <a:pt x="6013576" y="2102997"/>
                </a:cubicBezTo>
                <a:close/>
              </a:path>
            </a:pathLst>
          </a:custGeom>
          <a:solidFill>
            <a:schemeClr val="bg1">
              <a:alpha val="75000"/>
            </a:schemeClr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20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28" name="Freeform: Shape 83">
            <a:extLst>
              <a:ext uri="{FF2B5EF4-FFF2-40B4-BE49-F238E27FC236}">
                <a16:creationId xmlns:a16="http://schemas.microsoft.com/office/drawing/2014/main" id="{0A6A95A8-7693-4E00-A8BA-D2D5D75DE11B}"/>
              </a:ext>
            </a:extLst>
          </p:cNvPr>
          <p:cNvSpPr txBox="1">
            <a:spLocks/>
          </p:cNvSpPr>
          <p:nvPr userDrawn="1"/>
        </p:nvSpPr>
        <p:spPr>
          <a:xfrm>
            <a:off x="5880100" y="-1"/>
            <a:ext cx="2121043" cy="2692401"/>
          </a:xfrm>
          <a:custGeom>
            <a:avLst/>
            <a:gdLst>
              <a:gd name="connsiteX0" fmla="*/ 0 w 530877"/>
              <a:gd name="connsiteY0" fmla="*/ 0 h 1012276"/>
              <a:gd name="connsiteX1" fmla="*/ 530877 w 530877"/>
              <a:gd name="connsiteY1" fmla="*/ 0 h 1012276"/>
              <a:gd name="connsiteX2" fmla="*/ 530877 w 530877"/>
              <a:gd name="connsiteY2" fmla="*/ 1012276 h 1012276"/>
              <a:gd name="connsiteX3" fmla="*/ 0 w 530877"/>
              <a:gd name="connsiteY3" fmla="*/ 1012276 h 10122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0877" h="1012276">
                <a:moveTo>
                  <a:pt x="0" y="0"/>
                </a:moveTo>
                <a:lnTo>
                  <a:pt x="530877" y="0"/>
                </a:lnTo>
                <a:lnTo>
                  <a:pt x="530877" y="1012276"/>
                </a:lnTo>
                <a:lnTo>
                  <a:pt x="0" y="1012276"/>
                </a:lnTo>
                <a:close/>
              </a:path>
            </a:pathLst>
          </a:custGeom>
          <a:solidFill>
            <a:schemeClr val="bg1">
              <a:alpha val="75000"/>
            </a:schemeClr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20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E2C5D4DA-7E8C-43ED-A21C-F053340146E4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382972" y="1371601"/>
            <a:ext cx="5292030" cy="2157916"/>
          </a:xfr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5000" b="1" i="0" spc="-100">
                <a:solidFill>
                  <a:schemeClr val="tx2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3" name="Subtitle 2">
            <a:extLst>
              <a:ext uri="{FF2B5EF4-FFF2-40B4-BE49-F238E27FC236}">
                <a16:creationId xmlns:a16="http://schemas.microsoft.com/office/drawing/2014/main" id="{45BD93E9-63FB-4FCE-BEE5-95D1E68A981B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382972" y="3583491"/>
            <a:ext cx="5292030" cy="1752600"/>
          </a:xfrm>
        </p:spPr>
        <p:txBody>
          <a:bodyPr lIns="0" tIns="0" rIns="0" bIns="0" anchor="t" anchorCtr="0">
            <a:normAutofit/>
          </a:bodyPr>
          <a:lstStyle>
            <a:lvl1pPr marL="0" indent="0" algn="l">
              <a:lnSpc>
                <a:spcPct val="85000"/>
              </a:lnSpc>
              <a:spcBef>
                <a:spcPts val="800"/>
              </a:spcBef>
              <a:buNone/>
              <a:defRPr sz="2800" b="1" i="0" spc="-50">
                <a:solidFill>
                  <a:schemeClr val="tx2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subtitle style</a:t>
            </a:r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F9271E5E-DB33-4CAF-8A70-DD6F64B8766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31878" y="6081015"/>
            <a:ext cx="2444830" cy="560909"/>
          </a:xfrm>
          <a:prstGeom prst="rect">
            <a:avLst/>
          </a:prstGeom>
        </p:spPr>
      </p:pic>
      <p:pic>
        <p:nvPicPr>
          <p:cNvPr id="25" name="Picture 24" descr="A picture containing drawing&#10;&#10;Description automatically generated">
            <a:extLst>
              <a:ext uri="{FF2B5EF4-FFF2-40B4-BE49-F238E27FC236}">
                <a16:creationId xmlns:a16="http://schemas.microsoft.com/office/drawing/2014/main" id="{F855D337-1AB0-45E3-96B0-607BC4AAB42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13609" y="3225159"/>
            <a:ext cx="1462038" cy="1597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01548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86585E-6 -0.0007 C 0.04468 0.05671 0.28719 0.20879 0.46679 -0.10162 " pathEditMode="relative" rAng="0" ptsTypes="AA">
                                      <p:cBhvr>
                                        <p:cTn id="6" dur="2000" spd="-100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3339" y="-648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32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8" dur="5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9" dur="1000" fill="hold">
                                          <p:stCondLst>
                                            <p:cond delay="100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10" dur="1000" fill="hold">
                                          <p:stCondLst>
                                            <p:cond delay="200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11" dur="1000" fill="hold">
                                          <p:stCondLst>
                                            <p:cond delay="300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12" dur="1000" fill="hold">
                                          <p:stCondLst>
                                            <p:cond delay="400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– Grid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49">
            <a:extLst>
              <a:ext uri="{FF2B5EF4-FFF2-40B4-BE49-F238E27FC236}">
                <a16:creationId xmlns:a16="http://schemas.microsoft.com/office/drawing/2014/main" id="{1FF5DCBA-0EC1-40C7-BFBE-305DA92326F9}"/>
              </a:ext>
            </a:extLst>
          </p:cNvPr>
          <p:cNvSpPr txBox="1">
            <a:spLocks/>
          </p:cNvSpPr>
          <p:nvPr userDrawn="1"/>
        </p:nvSpPr>
        <p:spPr>
          <a:xfrm>
            <a:off x="3554947" y="3895115"/>
            <a:ext cx="2120055" cy="2120038"/>
          </a:xfrm>
          <a:custGeom>
            <a:avLst/>
            <a:gdLst>
              <a:gd name="connsiteX0" fmla="*/ 265718 w 531436"/>
              <a:gd name="connsiteY0" fmla="*/ 0 h 531432"/>
              <a:gd name="connsiteX1" fmla="*/ 531436 w 531436"/>
              <a:gd name="connsiteY1" fmla="*/ 265716 h 531432"/>
              <a:gd name="connsiteX2" fmla="*/ 265718 w 531436"/>
              <a:gd name="connsiteY2" fmla="*/ 531432 h 531432"/>
              <a:gd name="connsiteX3" fmla="*/ 0 w 531436"/>
              <a:gd name="connsiteY3" fmla="*/ 265716 h 531432"/>
              <a:gd name="connsiteX4" fmla="*/ 265718 w 531436"/>
              <a:gd name="connsiteY4" fmla="*/ 0 h 531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1436" h="531432">
                <a:moveTo>
                  <a:pt x="265718" y="0"/>
                </a:moveTo>
                <a:cubicBezTo>
                  <a:pt x="412470" y="0"/>
                  <a:pt x="531436" y="118965"/>
                  <a:pt x="531436" y="265716"/>
                </a:cubicBezTo>
                <a:cubicBezTo>
                  <a:pt x="531436" y="412467"/>
                  <a:pt x="412470" y="531432"/>
                  <a:pt x="265718" y="531432"/>
                </a:cubicBezTo>
                <a:cubicBezTo>
                  <a:pt x="118966" y="531432"/>
                  <a:pt x="0" y="412467"/>
                  <a:pt x="0" y="265716"/>
                </a:cubicBezTo>
                <a:cubicBezTo>
                  <a:pt x="0" y="118965"/>
                  <a:pt x="118966" y="0"/>
                  <a:pt x="265718" y="0"/>
                </a:cubicBezTo>
                <a:close/>
              </a:path>
            </a:pathLst>
          </a:custGeom>
          <a:solidFill>
            <a:schemeClr val="bg2">
              <a:alpha val="75000"/>
            </a:schemeClr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20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670DDD8-6E70-4BBB-8B22-5F4DA9D1423E}"/>
              </a:ext>
            </a:extLst>
          </p:cNvPr>
          <p:cNvSpPr txBox="1">
            <a:spLocks/>
          </p:cNvSpPr>
          <p:nvPr userDrawn="1"/>
        </p:nvSpPr>
        <p:spPr>
          <a:xfrm rot="18900000" flipV="1">
            <a:off x="7229807" y="3126446"/>
            <a:ext cx="6166943" cy="3078196"/>
          </a:xfrm>
          <a:custGeom>
            <a:avLst/>
            <a:gdLst>
              <a:gd name="connsiteX0" fmla="*/ 6166943 w 6166943"/>
              <a:gd name="connsiteY0" fmla="*/ 1970146 h 3078196"/>
              <a:gd name="connsiteX1" fmla="*/ 4655668 w 6166943"/>
              <a:gd name="connsiteY1" fmla="*/ 458871 h 3078196"/>
              <a:gd name="connsiteX2" fmla="*/ 4492661 w 6166943"/>
              <a:gd name="connsiteY2" fmla="*/ 580765 h 3078196"/>
              <a:gd name="connsiteX3" fmla="*/ 3297075 w 6166943"/>
              <a:gd name="connsiteY3" fmla="*/ 945968 h 3078196"/>
              <a:gd name="connsiteX4" fmla="*/ 1523897 w 6166943"/>
              <a:gd name="connsiteY4" fmla="*/ 3175 h 3078196"/>
              <a:gd name="connsiteX5" fmla="*/ 1521968 w 6166943"/>
              <a:gd name="connsiteY5" fmla="*/ 0 h 3078196"/>
              <a:gd name="connsiteX6" fmla="*/ 0 w 6166943"/>
              <a:gd name="connsiteY6" fmla="*/ 1521969 h 3078196"/>
              <a:gd name="connsiteX7" fmla="*/ 1668 w 6166943"/>
              <a:gd name="connsiteY7" fmla="*/ 1524092 h 3078196"/>
              <a:gd name="connsiteX8" fmla="*/ 3297075 w 6166943"/>
              <a:gd name="connsiteY8" fmla="*/ 3078196 h 3078196"/>
              <a:gd name="connsiteX9" fmla="*/ 6013576 w 6166943"/>
              <a:gd name="connsiteY9" fmla="*/ 2102997 h 30781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166943" h="3078196">
                <a:moveTo>
                  <a:pt x="6166943" y="1970146"/>
                </a:moveTo>
                <a:lnTo>
                  <a:pt x="4655668" y="458871"/>
                </a:lnTo>
                <a:lnTo>
                  <a:pt x="4492661" y="580765"/>
                </a:lnTo>
                <a:cubicBezTo>
                  <a:pt x="4151374" y="811334"/>
                  <a:pt x="3739947" y="945968"/>
                  <a:pt x="3297075" y="945968"/>
                </a:cubicBezTo>
                <a:cubicBezTo>
                  <a:pt x="2558955" y="945968"/>
                  <a:pt x="1908180" y="571989"/>
                  <a:pt x="1523897" y="3175"/>
                </a:cubicBezTo>
                <a:lnTo>
                  <a:pt x="1521968" y="0"/>
                </a:lnTo>
                <a:lnTo>
                  <a:pt x="0" y="1521969"/>
                </a:lnTo>
                <a:lnTo>
                  <a:pt x="1668" y="1524092"/>
                </a:lnTo>
                <a:cubicBezTo>
                  <a:pt x="784959" y="2473222"/>
                  <a:pt x="1970367" y="3078196"/>
                  <a:pt x="3297075" y="3078196"/>
                </a:cubicBezTo>
                <a:cubicBezTo>
                  <a:pt x="4328957" y="3078196"/>
                  <a:pt x="5275363" y="2712224"/>
                  <a:pt x="6013576" y="2102997"/>
                </a:cubicBezTo>
                <a:close/>
              </a:path>
            </a:pathLst>
          </a:custGeom>
          <a:solidFill>
            <a:schemeClr val="bg2">
              <a:alpha val="75000"/>
            </a:schemeClr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20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30" name="Freeform: Shape 83">
            <a:extLst>
              <a:ext uri="{FF2B5EF4-FFF2-40B4-BE49-F238E27FC236}">
                <a16:creationId xmlns:a16="http://schemas.microsoft.com/office/drawing/2014/main" id="{75C0BBDE-001A-47A3-A1E1-6A158E1E0273}"/>
              </a:ext>
            </a:extLst>
          </p:cNvPr>
          <p:cNvSpPr txBox="1">
            <a:spLocks/>
          </p:cNvSpPr>
          <p:nvPr userDrawn="1"/>
        </p:nvSpPr>
        <p:spPr>
          <a:xfrm>
            <a:off x="5880100" y="-1"/>
            <a:ext cx="2121043" cy="2692401"/>
          </a:xfrm>
          <a:custGeom>
            <a:avLst/>
            <a:gdLst>
              <a:gd name="connsiteX0" fmla="*/ 0 w 530877"/>
              <a:gd name="connsiteY0" fmla="*/ 0 h 1012276"/>
              <a:gd name="connsiteX1" fmla="*/ 530877 w 530877"/>
              <a:gd name="connsiteY1" fmla="*/ 0 h 1012276"/>
              <a:gd name="connsiteX2" fmla="*/ 530877 w 530877"/>
              <a:gd name="connsiteY2" fmla="*/ 1012276 h 1012276"/>
              <a:gd name="connsiteX3" fmla="*/ 0 w 530877"/>
              <a:gd name="connsiteY3" fmla="*/ 1012276 h 10122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0877" h="1012276">
                <a:moveTo>
                  <a:pt x="0" y="0"/>
                </a:moveTo>
                <a:lnTo>
                  <a:pt x="530877" y="0"/>
                </a:lnTo>
                <a:lnTo>
                  <a:pt x="530877" y="1012276"/>
                </a:lnTo>
                <a:lnTo>
                  <a:pt x="0" y="1012276"/>
                </a:lnTo>
                <a:close/>
              </a:path>
            </a:pathLst>
          </a:custGeom>
          <a:solidFill>
            <a:schemeClr val="bg2">
              <a:alpha val="75000"/>
            </a:schemeClr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20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E2C5D4DA-7E8C-43ED-A21C-F053340146E4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382972" y="1371601"/>
            <a:ext cx="5292030" cy="2157916"/>
          </a:xfr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5000" b="1" i="0" spc="-100">
                <a:solidFill>
                  <a:schemeClr val="tx2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3" name="Subtitle 2">
            <a:extLst>
              <a:ext uri="{FF2B5EF4-FFF2-40B4-BE49-F238E27FC236}">
                <a16:creationId xmlns:a16="http://schemas.microsoft.com/office/drawing/2014/main" id="{45BD93E9-63FB-4FCE-BEE5-95D1E68A981B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382972" y="3583491"/>
            <a:ext cx="5292030" cy="1752600"/>
          </a:xfrm>
        </p:spPr>
        <p:txBody>
          <a:bodyPr lIns="0" tIns="0" rIns="0" bIns="0" anchor="t" anchorCtr="0">
            <a:normAutofit/>
          </a:bodyPr>
          <a:lstStyle>
            <a:lvl1pPr marL="0" indent="0" algn="l">
              <a:lnSpc>
                <a:spcPct val="85000"/>
              </a:lnSpc>
              <a:spcBef>
                <a:spcPts val="800"/>
              </a:spcBef>
              <a:buNone/>
              <a:defRPr sz="2800" b="1" i="0" spc="-50">
                <a:solidFill>
                  <a:schemeClr val="tx2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subtitle style</a:t>
            </a:r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F9271E5E-DB33-4CAF-8A70-DD6F64B8766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31878" y="6081015"/>
            <a:ext cx="2444830" cy="560909"/>
          </a:xfrm>
          <a:prstGeom prst="rect">
            <a:avLst/>
          </a:prstGeom>
        </p:spPr>
      </p:pic>
      <p:pic>
        <p:nvPicPr>
          <p:cNvPr id="9" name="Picture 8" descr="A picture containing clock&#10;&#10;Description automatically generated">
            <a:extLst>
              <a:ext uri="{FF2B5EF4-FFF2-40B4-BE49-F238E27FC236}">
                <a16:creationId xmlns:a16="http://schemas.microsoft.com/office/drawing/2014/main" id="{D3B18E52-BE6F-4331-A4BD-0F4DC9506B1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1174091">
            <a:off x="6042409" y="2555084"/>
            <a:ext cx="2833886" cy="1440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79224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90675E-6 -0.0007 C 0.04467 0.05671 0.28718 0.20879 0.46679 -0.10162 " pathEditMode="relative" rAng="0" ptsTypes="AA">
                                      <p:cBhvr>
                                        <p:cTn id="6" dur="2000" spd="-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3339" y="-648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42" presetClass="path" presetSubtype="0" repeatCount="indefinite" accel="16000" decel="19000" autoRev="1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animMotion origin="layout" path="M 1.90675E-6 3.7037E-6 L 1.90675E-6 0.01458 " pathEditMode="relative" rAng="0" ptsTypes="AA">
                                      <p:cBhvr>
                                        <p:cTn id="8" dur="1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71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– Grid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49">
            <a:extLst>
              <a:ext uri="{FF2B5EF4-FFF2-40B4-BE49-F238E27FC236}">
                <a16:creationId xmlns:a16="http://schemas.microsoft.com/office/drawing/2014/main" id="{1FF5DCBA-0EC1-40C7-BFBE-305DA92326F9}"/>
              </a:ext>
            </a:extLst>
          </p:cNvPr>
          <p:cNvSpPr txBox="1">
            <a:spLocks/>
          </p:cNvSpPr>
          <p:nvPr userDrawn="1"/>
        </p:nvSpPr>
        <p:spPr>
          <a:xfrm>
            <a:off x="3554947" y="3895115"/>
            <a:ext cx="2120055" cy="2120038"/>
          </a:xfrm>
          <a:custGeom>
            <a:avLst/>
            <a:gdLst>
              <a:gd name="connsiteX0" fmla="*/ 265718 w 531436"/>
              <a:gd name="connsiteY0" fmla="*/ 0 h 531432"/>
              <a:gd name="connsiteX1" fmla="*/ 531436 w 531436"/>
              <a:gd name="connsiteY1" fmla="*/ 265716 h 531432"/>
              <a:gd name="connsiteX2" fmla="*/ 265718 w 531436"/>
              <a:gd name="connsiteY2" fmla="*/ 531432 h 531432"/>
              <a:gd name="connsiteX3" fmla="*/ 0 w 531436"/>
              <a:gd name="connsiteY3" fmla="*/ 265716 h 531432"/>
              <a:gd name="connsiteX4" fmla="*/ 265718 w 531436"/>
              <a:gd name="connsiteY4" fmla="*/ 0 h 531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1436" h="531432">
                <a:moveTo>
                  <a:pt x="265718" y="0"/>
                </a:moveTo>
                <a:cubicBezTo>
                  <a:pt x="412470" y="0"/>
                  <a:pt x="531436" y="118965"/>
                  <a:pt x="531436" y="265716"/>
                </a:cubicBezTo>
                <a:cubicBezTo>
                  <a:pt x="531436" y="412467"/>
                  <a:pt x="412470" y="531432"/>
                  <a:pt x="265718" y="531432"/>
                </a:cubicBezTo>
                <a:cubicBezTo>
                  <a:pt x="118966" y="531432"/>
                  <a:pt x="0" y="412467"/>
                  <a:pt x="0" y="265716"/>
                </a:cubicBezTo>
                <a:cubicBezTo>
                  <a:pt x="0" y="118965"/>
                  <a:pt x="118966" y="0"/>
                  <a:pt x="265718" y="0"/>
                </a:cubicBezTo>
                <a:close/>
              </a:path>
            </a:pathLst>
          </a:custGeom>
          <a:solidFill>
            <a:schemeClr val="bg2">
              <a:alpha val="75000"/>
            </a:schemeClr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20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670DDD8-6E70-4BBB-8B22-5F4DA9D1423E}"/>
              </a:ext>
            </a:extLst>
          </p:cNvPr>
          <p:cNvSpPr txBox="1">
            <a:spLocks/>
          </p:cNvSpPr>
          <p:nvPr userDrawn="1"/>
        </p:nvSpPr>
        <p:spPr>
          <a:xfrm rot="18900000" flipV="1">
            <a:off x="7229807" y="3126446"/>
            <a:ext cx="6166943" cy="3078196"/>
          </a:xfrm>
          <a:custGeom>
            <a:avLst/>
            <a:gdLst>
              <a:gd name="connsiteX0" fmla="*/ 6166943 w 6166943"/>
              <a:gd name="connsiteY0" fmla="*/ 1970146 h 3078196"/>
              <a:gd name="connsiteX1" fmla="*/ 4655668 w 6166943"/>
              <a:gd name="connsiteY1" fmla="*/ 458871 h 3078196"/>
              <a:gd name="connsiteX2" fmla="*/ 4492661 w 6166943"/>
              <a:gd name="connsiteY2" fmla="*/ 580765 h 3078196"/>
              <a:gd name="connsiteX3" fmla="*/ 3297075 w 6166943"/>
              <a:gd name="connsiteY3" fmla="*/ 945968 h 3078196"/>
              <a:gd name="connsiteX4" fmla="*/ 1523897 w 6166943"/>
              <a:gd name="connsiteY4" fmla="*/ 3175 h 3078196"/>
              <a:gd name="connsiteX5" fmla="*/ 1521968 w 6166943"/>
              <a:gd name="connsiteY5" fmla="*/ 0 h 3078196"/>
              <a:gd name="connsiteX6" fmla="*/ 0 w 6166943"/>
              <a:gd name="connsiteY6" fmla="*/ 1521969 h 3078196"/>
              <a:gd name="connsiteX7" fmla="*/ 1668 w 6166943"/>
              <a:gd name="connsiteY7" fmla="*/ 1524092 h 3078196"/>
              <a:gd name="connsiteX8" fmla="*/ 3297075 w 6166943"/>
              <a:gd name="connsiteY8" fmla="*/ 3078196 h 3078196"/>
              <a:gd name="connsiteX9" fmla="*/ 6013576 w 6166943"/>
              <a:gd name="connsiteY9" fmla="*/ 2102997 h 30781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166943" h="3078196">
                <a:moveTo>
                  <a:pt x="6166943" y="1970146"/>
                </a:moveTo>
                <a:lnTo>
                  <a:pt x="4655668" y="458871"/>
                </a:lnTo>
                <a:lnTo>
                  <a:pt x="4492661" y="580765"/>
                </a:lnTo>
                <a:cubicBezTo>
                  <a:pt x="4151374" y="811334"/>
                  <a:pt x="3739947" y="945968"/>
                  <a:pt x="3297075" y="945968"/>
                </a:cubicBezTo>
                <a:cubicBezTo>
                  <a:pt x="2558955" y="945968"/>
                  <a:pt x="1908180" y="571989"/>
                  <a:pt x="1523897" y="3175"/>
                </a:cubicBezTo>
                <a:lnTo>
                  <a:pt x="1521968" y="0"/>
                </a:lnTo>
                <a:lnTo>
                  <a:pt x="0" y="1521969"/>
                </a:lnTo>
                <a:lnTo>
                  <a:pt x="1668" y="1524092"/>
                </a:lnTo>
                <a:cubicBezTo>
                  <a:pt x="784959" y="2473222"/>
                  <a:pt x="1970367" y="3078196"/>
                  <a:pt x="3297075" y="3078196"/>
                </a:cubicBezTo>
                <a:cubicBezTo>
                  <a:pt x="4328957" y="3078196"/>
                  <a:pt x="5275363" y="2712224"/>
                  <a:pt x="6013576" y="2102997"/>
                </a:cubicBezTo>
                <a:close/>
              </a:path>
            </a:pathLst>
          </a:custGeom>
          <a:solidFill>
            <a:schemeClr val="bg2">
              <a:alpha val="75000"/>
            </a:schemeClr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20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30" name="Freeform: Shape 83">
            <a:extLst>
              <a:ext uri="{FF2B5EF4-FFF2-40B4-BE49-F238E27FC236}">
                <a16:creationId xmlns:a16="http://schemas.microsoft.com/office/drawing/2014/main" id="{75C0BBDE-001A-47A3-A1E1-6A158E1E0273}"/>
              </a:ext>
            </a:extLst>
          </p:cNvPr>
          <p:cNvSpPr txBox="1">
            <a:spLocks/>
          </p:cNvSpPr>
          <p:nvPr userDrawn="1"/>
        </p:nvSpPr>
        <p:spPr>
          <a:xfrm>
            <a:off x="5880100" y="-1"/>
            <a:ext cx="2121043" cy="2692401"/>
          </a:xfrm>
          <a:custGeom>
            <a:avLst/>
            <a:gdLst>
              <a:gd name="connsiteX0" fmla="*/ 0 w 530877"/>
              <a:gd name="connsiteY0" fmla="*/ 0 h 1012276"/>
              <a:gd name="connsiteX1" fmla="*/ 530877 w 530877"/>
              <a:gd name="connsiteY1" fmla="*/ 0 h 1012276"/>
              <a:gd name="connsiteX2" fmla="*/ 530877 w 530877"/>
              <a:gd name="connsiteY2" fmla="*/ 1012276 h 1012276"/>
              <a:gd name="connsiteX3" fmla="*/ 0 w 530877"/>
              <a:gd name="connsiteY3" fmla="*/ 1012276 h 10122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0877" h="1012276">
                <a:moveTo>
                  <a:pt x="0" y="0"/>
                </a:moveTo>
                <a:lnTo>
                  <a:pt x="530877" y="0"/>
                </a:lnTo>
                <a:lnTo>
                  <a:pt x="530877" y="1012276"/>
                </a:lnTo>
                <a:lnTo>
                  <a:pt x="0" y="1012276"/>
                </a:lnTo>
                <a:close/>
              </a:path>
            </a:pathLst>
          </a:custGeom>
          <a:solidFill>
            <a:schemeClr val="bg2">
              <a:alpha val="75000"/>
            </a:schemeClr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20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E2C5D4DA-7E8C-43ED-A21C-F053340146E4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382972" y="1371601"/>
            <a:ext cx="5292030" cy="2157916"/>
          </a:xfr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5000" b="1" i="0" spc="-100">
                <a:solidFill>
                  <a:schemeClr val="tx2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3" name="Subtitle 2">
            <a:extLst>
              <a:ext uri="{FF2B5EF4-FFF2-40B4-BE49-F238E27FC236}">
                <a16:creationId xmlns:a16="http://schemas.microsoft.com/office/drawing/2014/main" id="{45BD93E9-63FB-4FCE-BEE5-95D1E68A981B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382972" y="3583491"/>
            <a:ext cx="5292030" cy="1752600"/>
          </a:xfrm>
        </p:spPr>
        <p:txBody>
          <a:bodyPr lIns="0" tIns="0" rIns="0" bIns="0" anchor="t" anchorCtr="0">
            <a:normAutofit/>
          </a:bodyPr>
          <a:lstStyle>
            <a:lvl1pPr marL="0" indent="0" algn="l">
              <a:lnSpc>
                <a:spcPct val="85000"/>
              </a:lnSpc>
              <a:spcBef>
                <a:spcPts val="800"/>
              </a:spcBef>
              <a:buNone/>
              <a:defRPr sz="2800" b="1" i="0" spc="-50">
                <a:solidFill>
                  <a:schemeClr val="tx2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subtitle style</a:t>
            </a:r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F9271E5E-DB33-4CAF-8A70-DD6F64B8766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31878" y="6081015"/>
            <a:ext cx="2444830" cy="560909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2286E45D-4508-4B51-A50C-0DC6A119E56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094878" y="6593621"/>
            <a:ext cx="1690770" cy="268511"/>
          </a:xfrm>
          <a:custGeom>
            <a:avLst/>
            <a:gdLst>
              <a:gd name="connsiteX0" fmla="*/ 0 w 2725821"/>
              <a:gd name="connsiteY0" fmla="*/ 0 h 432887"/>
              <a:gd name="connsiteX1" fmla="*/ 1373148 w 2725821"/>
              <a:gd name="connsiteY1" fmla="*/ 0 h 432887"/>
              <a:gd name="connsiteX2" fmla="*/ 1458972 w 2725821"/>
              <a:gd name="connsiteY2" fmla="*/ 46584 h 432887"/>
              <a:gd name="connsiteX3" fmla="*/ 1788945 w 2725821"/>
              <a:gd name="connsiteY3" fmla="*/ 113202 h 432887"/>
              <a:gd name="connsiteX4" fmla="*/ 2118918 w 2725821"/>
              <a:gd name="connsiteY4" fmla="*/ 46584 h 432887"/>
              <a:gd name="connsiteX5" fmla="*/ 2204742 w 2725821"/>
              <a:gd name="connsiteY5" fmla="*/ 0 h 432887"/>
              <a:gd name="connsiteX6" fmla="*/ 2725821 w 2725821"/>
              <a:gd name="connsiteY6" fmla="*/ 0 h 432887"/>
              <a:gd name="connsiteX7" fmla="*/ 2725821 w 2725821"/>
              <a:gd name="connsiteY7" fmla="*/ 432887 h 432887"/>
              <a:gd name="connsiteX8" fmla="*/ 0 w 2725821"/>
              <a:gd name="connsiteY8" fmla="*/ 432887 h 4328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725821" h="432887">
                <a:moveTo>
                  <a:pt x="0" y="0"/>
                </a:moveTo>
                <a:lnTo>
                  <a:pt x="1373148" y="0"/>
                </a:lnTo>
                <a:lnTo>
                  <a:pt x="1458972" y="46584"/>
                </a:lnTo>
                <a:cubicBezTo>
                  <a:pt x="1560392" y="89481"/>
                  <a:pt x="1671898" y="113202"/>
                  <a:pt x="1788945" y="113202"/>
                </a:cubicBezTo>
                <a:cubicBezTo>
                  <a:pt x="1905991" y="113202"/>
                  <a:pt x="2017498" y="89481"/>
                  <a:pt x="2118918" y="46584"/>
                </a:cubicBezTo>
                <a:lnTo>
                  <a:pt x="2204742" y="0"/>
                </a:lnTo>
                <a:lnTo>
                  <a:pt x="2725821" y="0"/>
                </a:lnTo>
                <a:lnTo>
                  <a:pt x="2725821" y="432887"/>
                </a:lnTo>
                <a:lnTo>
                  <a:pt x="0" y="432887"/>
                </a:lnTo>
                <a:close/>
              </a:path>
            </a:pathLst>
          </a:cu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8E2F6B04-524D-4F78-94AD-D897273218E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091535" y="5591970"/>
            <a:ext cx="1690770" cy="1099586"/>
          </a:xfrm>
          <a:custGeom>
            <a:avLst/>
            <a:gdLst>
              <a:gd name="connsiteX0" fmla="*/ 0 w 2725821"/>
              <a:gd name="connsiteY0" fmla="*/ 0 h 1772727"/>
              <a:gd name="connsiteX1" fmla="*/ 2725821 w 2725821"/>
              <a:gd name="connsiteY1" fmla="*/ 0 h 1772727"/>
              <a:gd name="connsiteX2" fmla="*/ 2725821 w 2725821"/>
              <a:gd name="connsiteY2" fmla="*/ 1659525 h 1772727"/>
              <a:gd name="connsiteX3" fmla="*/ 2204910 w 2725821"/>
              <a:gd name="connsiteY3" fmla="*/ 1659525 h 1772727"/>
              <a:gd name="connsiteX4" fmla="*/ 2119086 w 2725821"/>
              <a:gd name="connsiteY4" fmla="*/ 1706109 h 1772727"/>
              <a:gd name="connsiteX5" fmla="*/ 1789113 w 2725821"/>
              <a:gd name="connsiteY5" fmla="*/ 1772727 h 1772727"/>
              <a:gd name="connsiteX6" fmla="*/ 1459140 w 2725821"/>
              <a:gd name="connsiteY6" fmla="*/ 1706109 h 1772727"/>
              <a:gd name="connsiteX7" fmla="*/ 1373316 w 2725821"/>
              <a:gd name="connsiteY7" fmla="*/ 1659525 h 1772727"/>
              <a:gd name="connsiteX8" fmla="*/ 0 w 2725821"/>
              <a:gd name="connsiteY8" fmla="*/ 1659525 h 17727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725821" h="1772727">
                <a:moveTo>
                  <a:pt x="0" y="0"/>
                </a:moveTo>
                <a:lnTo>
                  <a:pt x="2725821" y="0"/>
                </a:lnTo>
                <a:lnTo>
                  <a:pt x="2725821" y="1659525"/>
                </a:lnTo>
                <a:lnTo>
                  <a:pt x="2204910" y="1659525"/>
                </a:lnTo>
                <a:lnTo>
                  <a:pt x="2119086" y="1706109"/>
                </a:lnTo>
                <a:cubicBezTo>
                  <a:pt x="2017666" y="1749006"/>
                  <a:pt x="1906159" y="1772727"/>
                  <a:pt x="1789113" y="1772727"/>
                </a:cubicBezTo>
                <a:cubicBezTo>
                  <a:pt x="1672066" y="1772727"/>
                  <a:pt x="1560560" y="1749006"/>
                  <a:pt x="1459140" y="1706109"/>
                </a:cubicBezTo>
                <a:lnTo>
                  <a:pt x="1373316" y="1659525"/>
                </a:lnTo>
                <a:lnTo>
                  <a:pt x="0" y="165952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6531281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2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6" dur="5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7" dur="1000" fill="hold">
                                          <p:stCondLst>
                                            <p:cond delay="100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8" dur="1000" fill="hold">
                                          <p:stCondLst>
                                            <p:cond delay="200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9" dur="1000" fill="hold">
                                          <p:stCondLst>
                                            <p:cond delay="300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10" dur="1000" fill="hold">
                                          <p:stCondLst>
                                            <p:cond delay="400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– Grid Ligh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49">
            <a:extLst>
              <a:ext uri="{FF2B5EF4-FFF2-40B4-BE49-F238E27FC236}">
                <a16:creationId xmlns:a16="http://schemas.microsoft.com/office/drawing/2014/main" id="{5FBB86DE-8D78-4D5E-9EA7-C16BA9D026C8}"/>
              </a:ext>
            </a:extLst>
          </p:cNvPr>
          <p:cNvSpPr txBox="1">
            <a:spLocks/>
          </p:cNvSpPr>
          <p:nvPr userDrawn="1"/>
        </p:nvSpPr>
        <p:spPr>
          <a:xfrm>
            <a:off x="3554947" y="3895115"/>
            <a:ext cx="2120055" cy="2120038"/>
          </a:xfrm>
          <a:custGeom>
            <a:avLst/>
            <a:gdLst>
              <a:gd name="connsiteX0" fmla="*/ 265718 w 531436"/>
              <a:gd name="connsiteY0" fmla="*/ 0 h 531432"/>
              <a:gd name="connsiteX1" fmla="*/ 531436 w 531436"/>
              <a:gd name="connsiteY1" fmla="*/ 265716 h 531432"/>
              <a:gd name="connsiteX2" fmla="*/ 265718 w 531436"/>
              <a:gd name="connsiteY2" fmla="*/ 531432 h 531432"/>
              <a:gd name="connsiteX3" fmla="*/ 0 w 531436"/>
              <a:gd name="connsiteY3" fmla="*/ 265716 h 531432"/>
              <a:gd name="connsiteX4" fmla="*/ 265718 w 531436"/>
              <a:gd name="connsiteY4" fmla="*/ 0 h 531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1436" h="531432">
                <a:moveTo>
                  <a:pt x="265718" y="0"/>
                </a:moveTo>
                <a:cubicBezTo>
                  <a:pt x="412470" y="0"/>
                  <a:pt x="531436" y="118965"/>
                  <a:pt x="531436" y="265716"/>
                </a:cubicBezTo>
                <a:cubicBezTo>
                  <a:pt x="531436" y="412467"/>
                  <a:pt x="412470" y="531432"/>
                  <a:pt x="265718" y="531432"/>
                </a:cubicBezTo>
                <a:cubicBezTo>
                  <a:pt x="118966" y="531432"/>
                  <a:pt x="0" y="412467"/>
                  <a:pt x="0" y="265716"/>
                </a:cubicBezTo>
                <a:cubicBezTo>
                  <a:pt x="0" y="118965"/>
                  <a:pt x="118966" y="0"/>
                  <a:pt x="265718" y="0"/>
                </a:cubicBezTo>
                <a:close/>
              </a:path>
            </a:pathLst>
          </a:custGeom>
          <a:solidFill>
            <a:schemeClr val="bg1">
              <a:alpha val="25000"/>
            </a:schemeClr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20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9C0930A-14E9-4C7E-9205-7DEBAC879BC5}"/>
              </a:ext>
            </a:extLst>
          </p:cNvPr>
          <p:cNvSpPr txBox="1">
            <a:spLocks/>
          </p:cNvSpPr>
          <p:nvPr userDrawn="1"/>
        </p:nvSpPr>
        <p:spPr>
          <a:xfrm rot="18900000" flipV="1">
            <a:off x="7229807" y="3126446"/>
            <a:ext cx="6166943" cy="3078196"/>
          </a:xfrm>
          <a:custGeom>
            <a:avLst/>
            <a:gdLst>
              <a:gd name="connsiteX0" fmla="*/ 6166943 w 6166943"/>
              <a:gd name="connsiteY0" fmla="*/ 1970146 h 3078196"/>
              <a:gd name="connsiteX1" fmla="*/ 4655668 w 6166943"/>
              <a:gd name="connsiteY1" fmla="*/ 458871 h 3078196"/>
              <a:gd name="connsiteX2" fmla="*/ 4492661 w 6166943"/>
              <a:gd name="connsiteY2" fmla="*/ 580765 h 3078196"/>
              <a:gd name="connsiteX3" fmla="*/ 3297075 w 6166943"/>
              <a:gd name="connsiteY3" fmla="*/ 945968 h 3078196"/>
              <a:gd name="connsiteX4" fmla="*/ 1523897 w 6166943"/>
              <a:gd name="connsiteY4" fmla="*/ 3175 h 3078196"/>
              <a:gd name="connsiteX5" fmla="*/ 1521968 w 6166943"/>
              <a:gd name="connsiteY5" fmla="*/ 0 h 3078196"/>
              <a:gd name="connsiteX6" fmla="*/ 0 w 6166943"/>
              <a:gd name="connsiteY6" fmla="*/ 1521969 h 3078196"/>
              <a:gd name="connsiteX7" fmla="*/ 1668 w 6166943"/>
              <a:gd name="connsiteY7" fmla="*/ 1524092 h 3078196"/>
              <a:gd name="connsiteX8" fmla="*/ 3297075 w 6166943"/>
              <a:gd name="connsiteY8" fmla="*/ 3078196 h 3078196"/>
              <a:gd name="connsiteX9" fmla="*/ 6013576 w 6166943"/>
              <a:gd name="connsiteY9" fmla="*/ 2102997 h 30781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166943" h="3078196">
                <a:moveTo>
                  <a:pt x="6166943" y="1970146"/>
                </a:moveTo>
                <a:lnTo>
                  <a:pt x="4655668" y="458871"/>
                </a:lnTo>
                <a:lnTo>
                  <a:pt x="4492661" y="580765"/>
                </a:lnTo>
                <a:cubicBezTo>
                  <a:pt x="4151374" y="811334"/>
                  <a:pt x="3739947" y="945968"/>
                  <a:pt x="3297075" y="945968"/>
                </a:cubicBezTo>
                <a:cubicBezTo>
                  <a:pt x="2558955" y="945968"/>
                  <a:pt x="1908180" y="571989"/>
                  <a:pt x="1523897" y="3175"/>
                </a:cubicBezTo>
                <a:lnTo>
                  <a:pt x="1521968" y="0"/>
                </a:lnTo>
                <a:lnTo>
                  <a:pt x="0" y="1521969"/>
                </a:lnTo>
                <a:lnTo>
                  <a:pt x="1668" y="1524092"/>
                </a:lnTo>
                <a:cubicBezTo>
                  <a:pt x="784959" y="2473222"/>
                  <a:pt x="1970367" y="3078196"/>
                  <a:pt x="3297075" y="3078196"/>
                </a:cubicBezTo>
                <a:cubicBezTo>
                  <a:pt x="4328957" y="3078196"/>
                  <a:pt x="5275363" y="2712224"/>
                  <a:pt x="6013576" y="2102997"/>
                </a:cubicBezTo>
                <a:close/>
              </a:path>
            </a:pathLst>
          </a:custGeom>
          <a:solidFill>
            <a:schemeClr val="bg1">
              <a:alpha val="25000"/>
            </a:schemeClr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20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 </a:t>
            </a:r>
          </a:p>
        </p:txBody>
      </p:sp>
      <p:sp>
        <p:nvSpPr>
          <p:cNvPr id="17" name="Freeform: Shape 83">
            <a:extLst>
              <a:ext uri="{FF2B5EF4-FFF2-40B4-BE49-F238E27FC236}">
                <a16:creationId xmlns:a16="http://schemas.microsoft.com/office/drawing/2014/main" id="{6C5D8A50-6C85-4317-B8BC-46A4D7EA59FD}"/>
              </a:ext>
            </a:extLst>
          </p:cNvPr>
          <p:cNvSpPr txBox="1">
            <a:spLocks/>
          </p:cNvSpPr>
          <p:nvPr userDrawn="1"/>
        </p:nvSpPr>
        <p:spPr>
          <a:xfrm>
            <a:off x="5880100" y="-1"/>
            <a:ext cx="2121043" cy="2692401"/>
          </a:xfrm>
          <a:custGeom>
            <a:avLst/>
            <a:gdLst>
              <a:gd name="connsiteX0" fmla="*/ 0 w 530877"/>
              <a:gd name="connsiteY0" fmla="*/ 0 h 1012276"/>
              <a:gd name="connsiteX1" fmla="*/ 530877 w 530877"/>
              <a:gd name="connsiteY1" fmla="*/ 0 h 1012276"/>
              <a:gd name="connsiteX2" fmla="*/ 530877 w 530877"/>
              <a:gd name="connsiteY2" fmla="*/ 1012276 h 1012276"/>
              <a:gd name="connsiteX3" fmla="*/ 0 w 530877"/>
              <a:gd name="connsiteY3" fmla="*/ 1012276 h 10122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0877" h="1012276">
                <a:moveTo>
                  <a:pt x="0" y="0"/>
                </a:moveTo>
                <a:lnTo>
                  <a:pt x="530877" y="0"/>
                </a:lnTo>
                <a:lnTo>
                  <a:pt x="530877" y="1012276"/>
                </a:lnTo>
                <a:lnTo>
                  <a:pt x="0" y="1012276"/>
                </a:lnTo>
                <a:close/>
              </a:path>
            </a:pathLst>
          </a:custGeom>
          <a:solidFill>
            <a:schemeClr val="bg1">
              <a:alpha val="25000"/>
            </a:schemeClr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20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E2C5D4DA-7E8C-43ED-A21C-F053340146E4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382972" y="1371601"/>
            <a:ext cx="5292030" cy="2157916"/>
          </a:xfr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5000" b="1" i="0" spc="-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3" name="Subtitle 2">
            <a:extLst>
              <a:ext uri="{FF2B5EF4-FFF2-40B4-BE49-F238E27FC236}">
                <a16:creationId xmlns:a16="http://schemas.microsoft.com/office/drawing/2014/main" id="{45BD93E9-63FB-4FCE-BEE5-95D1E68A981B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382972" y="3583491"/>
            <a:ext cx="5292030" cy="1752600"/>
          </a:xfrm>
        </p:spPr>
        <p:txBody>
          <a:bodyPr lIns="0" tIns="0" rIns="0" bIns="0" anchor="t" anchorCtr="0">
            <a:normAutofit/>
          </a:bodyPr>
          <a:lstStyle>
            <a:lvl1pPr marL="0" indent="0" algn="l">
              <a:lnSpc>
                <a:spcPct val="85000"/>
              </a:lnSpc>
              <a:spcBef>
                <a:spcPts val="800"/>
              </a:spcBef>
              <a:buNone/>
              <a:defRPr sz="2800" b="1" i="0" spc="-5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subtitle style</a:t>
            </a:r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F9271E5E-DB33-4CAF-8A70-DD6F64B8766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31878" y="6081015"/>
            <a:ext cx="2444830" cy="560909"/>
          </a:xfrm>
          <a:prstGeom prst="rect">
            <a:avLst/>
          </a:prstGeom>
        </p:spPr>
      </p:pic>
      <p:pic>
        <p:nvPicPr>
          <p:cNvPr id="4" name="Picture 3" descr="A picture containing table, blue, sitting, food&#10;&#10;Description automatically generated">
            <a:extLst>
              <a:ext uri="{FF2B5EF4-FFF2-40B4-BE49-F238E27FC236}">
                <a16:creationId xmlns:a16="http://schemas.microsoft.com/office/drawing/2014/main" id="{02C01C83-697B-411C-AFF7-E38A600F121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7044628" y="5233196"/>
            <a:ext cx="2208772" cy="16248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27037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32" presetClass="emph" presetSubtype="0" repeatCount="indefinite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animRot by="120000">
                                      <p:cBhvr>
                                        <p:cTn id="10" dur="5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11" dur="1000" fill="hold">
                                          <p:stCondLst>
                                            <p:cond delay="100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12" dur="1000" fill="hold">
                                          <p:stCondLst>
                                            <p:cond delay="200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13" dur="1000" fill="hold">
                                          <p:stCondLst>
                                            <p:cond delay="300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14" dur="1000" fill="hold">
                                          <p:stCondLst>
                                            <p:cond delay="400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>
    <p:ext uri="{DCECCB84-F9BA-43D5-87BE-67443E8EF086}">
      <p15:sldGuideLst xmlns:p15="http://schemas.microsoft.com/office/powerpoint/2012/main">
        <p15:guide id="1" pos="3839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– Grid Ligh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83">
            <a:extLst>
              <a:ext uri="{FF2B5EF4-FFF2-40B4-BE49-F238E27FC236}">
                <a16:creationId xmlns:a16="http://schemas.microsoft.com/office/drawing/2014/main" id="{A76F60B2-0687-4093-9A57-B230E47D03F2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0" y="-1"/>
            <a:ext cx="8423904" cy="4211955"/>
          </a:xfrm>
          <a:custGeom>
            <a:avLst/>
            <a:gdLst>
              <a:gd name="connsiteX0" fmla="*/ 0 w 2125980"/>
              <a:gd name="connsiteY0" fmla="*/ 0 h 1062991"/>
              <a:gd name="connsiteX1" fmla="*/ 530729 w 2125980"/>
              <a:gd name="connsiteY1" fmla="*/ 0 h 1062991"/>
              <a:gd name="connsiteX2" fmla="*/ 1062990 w 2125980"/>
              <a:gd name="connsiteY2" fmla="*/ 532261 h 1062991"/>
              <a:gd name="connsiteX3" fmla="*/ 1595250 w 2125980"/>
              <a:gd name="connsiteY3" fmla="*/ 0 h 1062991"/>
              <a:gd name="connsiteX4" fmla="*/ 2125980 w 2125980"/>
              <a:gd name="connsiteY4" fmla="*/ 0 h 1062991"/>
              <a:gd name="connsiteX5" fmla="*/ 1062990 w 2125980"/>
              <a:gd name="connsiteY5" fmla="*/ 1062991 h 1062991"/>
              <a:gd name="connsiteX6" fmla="*/ 0 w 2125980"/>
              <a:gd name="connsiteY6" fmla="*/ 0 h 10629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125980" h="1062991">
                <a:moveTo>
                  <a:pt x="0" y="0"/>
                </a:moveTo>
                <a:lnTo>
                  <a:pt x="530729" y="0"/>
                </a:lnTo>
                <a:cubicBezTo>
                  <a:pt x="530729" y="293959"/>
                  <a:pt x="769031" y="532261"/>
                  <a:pt x="1062990" y="532261"/>
                </a:cubicBezTo>
                <a:cubicBezTo>
                  <a:pt x="1356949" y="532261"/>
                  <a:pt x="1595250" y="293959"/>
                  <a:pt x="1595250" y="0"/>
                </a:cubicBezTo>
                <a:lnTo>
                  <a:pt x="2125980" y="0"/>
                </a:lnTo>
                <a:cubicBezTo>
                  <a:pt x="2125980" y="587074"/>
                  <a:pt x="1650063" y="1062991"/>
                  <a:pt x="1062990" y="1062991"/>
                </a:cubicBezTo>
                <a:cubicBezTo>
                  <a:pt x="475916" y="1062991"/>
                  <a:pt x="0" y="587074"/>
                  <a:pt x="0" y="0"/>
                </a:cubicBezTo>
                <a:close/>
              </a:path>
            </a:pathLst>
          </a:custGeom>
          <a:solidFill>
            <a:schemeClr val="bg1">
              <a:alpha val="75000"/>
            </a:schemeClr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20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27" name="Freeform: Shape 83">
            <a:extLst>
              <a:ext uri="{FF2B5EF4-FFF2-40B4-BE49-F238E27FC236}">
                <a16:creationId xmlns:a16="http://schemas.microsoft.com/office/drawing/2014/main" id="{CA002D9B-3E4A-4A7C-9265-41B72AE6634F}"/>
              </a:ext>
            </a:extLst>
          </p:cNvPr>
          <p:cNvSpPr txBox="1">
            <a:spLocks/>
          </p:cNvSpPr>
          <p:nvPr userDrawn="1"/>
        </p:nvSpPr>
        <p:spPr>
          <a:xfrm>
            <a:off x="6302861" y="4901119"/>
            <a:ext cx="2121043" cy="1956881"/>
          </a:xfrm>
          <a:custGeom>
            <a:avLst/>
            <a:gdLst>
              <a:gd name="connsiteX0" fmla="*/ 0 w 530877"/>
              <a:gd name="connsiteY0" fmla="*/ 0 h 1012276"/>
              <a:gd name="connsiteX1" fmla="*/ 530877 w 530877"/>
              <a:gd name="connsiteY1" fmla="*/ 0 h 1012276"/>
              <a:gd name="connsiteX2" fmla="*/ 530877 w 530877"/>
              <a:gd name="connsiteY2" fmla="*/ 1012276 h 1012276"/>
              <a:gd name="connsiteX3" fmla="*/ 0 w 530877"/>
              <a:gd name="connsiteY3" fmla="*/ 1012276 h 10122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0877" h="1012276">
                <a:moveTo>
                  <a:pt x="0" y="0"/>
                </a:moveTo>
                <a:lnTo>
                  <a:pt x="530877" y="0"/>
                </a:lnTo>
                <a:lnTo>
                  <a:pt x="530877" y="1012276"/>
                </a:lnTo>
                <a:lnTo>
                  <a:pt x="0" y="1012276"/>
                </a:lnTo>
                <a:close/>
              </a:path>
            </a:pathLst>
          </a:custGeom>
          <a:solidFill>
            <a:schemeClr val="bg1">
              <a:alpha val="75000"/>
            </a:schemeClr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20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E2C5D4DA-7E8C-43ED-A21C-F053340146E4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382972" y="1371601"/>
            <a:ext cx="5292030" cy="2157916"/>
          </a:xfr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5000" b="1" i="0" spc="-100">
                <a:solidFill>
                  <a:schemeClr val="tx2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3" name="Subtitle 2">
            <a:extLst>
              <a:ext uri="{FF2B5EF4-FFF2-40B4-BE49-F238E27FC236}">
                <a16:creationId xmlns:a16="http://schemas.microsoft.com/office/drawing/2014/main" id="{45BD93E9-63FB-4FCE-BEE5-95D1E68A981B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382972" y="3583491"/>
            <a:ext cx="5292030" cy="1752600"/>
          </a:xfrm>
        </p:spPr>
        <p:txBody>
          <a:bodyPr lIns="0" tIns="0" rIns="0" bIns="0" anchor="t" anchorCtr="0">
            <a:normAutofit/>
          </a:bodyPr>
          <a:lstStyle>
            <a:lvl1pPr marL="0" indent="0" algn="l">
              <a:lnSpc>
                <a:spcPct val="85000"/>
              </a:lnSpc>
              <a:spcBef>
                <a:spcPts val="800"/>
              </a:spcBef>
              <a:buNone/>
              <a:defRPr sz="2800" b="1" i="0" spc="-50">
                <a:solidFill>
                  <a:schemeClr val="tx2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subtitle style</a:t>
            </a:r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F9271E5E-DB33-4CAF-8A70-DD6F64B8766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31878" y="6081015"/>
            <a:ext cx="2444830" cy="560909"/>
          </a:xfrm>
          <a:prstGeom prst="rect">
            <a:avLst/>
          </a:prstGeom>
        </p:spPr>
      </p:pic>
      <p:sp>
        <p:nvSpPr>
          <p:cNvPr id="25" name="Text Placeholder 49">
            <a:extLst>
              <a:ext uri="{FF2B5EF4-FFF2-40B4-BE49-F238E27FC236}">
                <a16:creationId xmlns:a16="http://schemas.microsoft.com/office/drawing/2014/main" id="{F1286419-5447-4BB7-AEE3-097A2929D7B9}"/>
              </a:ext>
            </a:extLst>
          </p:cNvPr>
          <p:cNvSpPr txBox="1">
            <a:spLocks/>
          </p:cNvSpPr>
          <p:nvPr userDrawn="1"/>
        </p:nvSpPr>
        <p:spPr>
          <a:xfrm>
            <a:off x="9159242" y="2105977"/>
            <a:ext cx="2120055" cy="2120038"/>
          </a:xfrm>
          <a:custGeom>
            <a:avLst/>
            <a:gdLst>
              <a:gd name="connsiteX0" fmla="*/ 265718 w 531436"/>
              <a:gd name="connsiteY0" fmla="*/ 0 h 531432"/>
              <a:gd name="connsiteX1" fmla="*/ 531436 w 531436"/>
              <a:gd name="connsiteY1" fmla="*/ 265716 h 531432"/>
              <a:gd name="connsiteX2" fmla="*/ 265718 w 531436"/>
              <a:gd name="connsiteY2" fmla="*/ 531432 h 531432"/>
              <a:gd name="connsiteX3" fmla="*/ 0 w 531436"/>
              <a:gd name="connsiteY3" fmla="*/ 265716 h 531432"/>
              <a:gd name="connsiteX4" fmla="*/ 265718 w 531436"/>
              <a:gd name="connsiteY4" fmla="*/ 0 h 531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1436" h="531432">
                <a:moveTo>
                  <a:pt x="265718" y="0"/>
                </a:moveTo>
                <a:cubicBezTo>
                  <a:pt x="412470" y="0"/>
                  <a:pt x="531436" y="118965"/>
                  <a:pt x="531436" y="265716"/>
                </a:cubicBezTo>
                <a:cubicBezTo>
                  <a:pt x="531436" y="412467"/>
                  <a:pt x="412470" y="531432"/>
                  <a:pt x="265718" y="531432"/>
                </a:cubicBezTo>
                <a:cubicBezTo>
                  <a:pt x="118966" y="531432"/>
                  <a:pt x="0" y="412467"/>
                  <a:pt x="0" y="265716"/>
                </a:cubicBezTo>
                <a:cubicBezTo>
                  <a:pt x="0" y="118965"/>
                  <a:pt x="118966" y="0"/>
                  <a:pt x="265718" y="0"/>
                </a:cubicBezTo>
                <a:close/>
              </a:path>
            </a:pathLst>
          </a:custGeom>
          <a:solidFill>
            <a:schemeClr val="bg1">
              <a:alpha val="75000"/>
            </a:schemeClr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20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278964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le – Grid Ligh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49">
            <a:extLst>
              <a:ext uri="{FF2B5EF4-FFF2-40B4-BE49-F238E27FC236}">
                <a16:creationId xmlns:a16="http://schemas.microsoft.com/office/drawing/2014/main" id="{73B0CE92-879B-4EA7-9079-D1F8261FC8D8}"/>
              </a:ext>
            </a:extLst>
          </p:cNvPr>
          <p:cNvSpPr txBox="1">
            <a:spLocks/>
          </p:cNvSpPr>
          <p:nvPr userDrawn="1"/>
        </p:nvSpPr>
        <p:spPr>
          <a:xfrm>
            <a:off x="3554947" y="3895115"/>
            <a:ext cx="2120055" cy="2120038"/>
          </a:xfrm>
          <a:custGeom>
            <a:avLst/>
            <a:gdLst>
              <a:gd name="connsiteX0" fmla="*/ 265718 w 531436"/>
              <a:gd name="connsiteY0" fmla="*/ 0 h 531432"/>
              <a:gd name="connsiteX1" fmla="*/ 531436 w 531436"/>
              <a:gd name="connsiteY1" fmla="*/ 265716 h 531432"/>
              <a:gd name="connsiteX2" fmla="*/ 265718 w 531436"/>
              <a:gd name="connsiteY2" fmla="*/ 531432 h 531432"/>
              <a:gd name="connsiteX3" fmla="*/ 0 w 531436"/>
              <a:gd name="connsiteY3" fmla="*/ 265716 h 531432"/>
              <a:gd name="connsiteX4" fmla="*/ 265718 w 531436"/>
              <a:gd name="connsiteY4" fmla="*/ 0 h 531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1436" h="531432">
                <a:moveTo>
                  <a:pt x="265718" y="0"/>
                </a:moveTo>
                <a:cubicBezTo>
                  <a:pt x="412470" y="0"/>
                  <a:pt x="531436" y="118965"/>
                  <a:pt x="531436" y="265716"/>
                </a:cubicBezTo>
                <a:cubicBezTo>
                  <a:pt x="531436" y="412467"/>
                  <a:pt x="412470" y="531432"/>
                  <a:pt x="265718" y="531432"/>
                </a:cubicBezTo>
                <a:cubicBezTo>
                  <a:pt x="118966" y="531432"/>
                  <a:pt x="0" y="412467"/>
                  <a:pt x="0" y="265716"/>
                </a:cubicBezTo>
                <a:cubicBezTo>
                  <a:pt x="0" y="118965"/>
                  <a:pt x="118966" y="0"/>
                  <a:pt x="265718" y="0"/>
                </a:cubicBezTo>
                <a:close/>
              </a:path>
            </a:pathLst>
          </a:custGeom>
          <a:solidFill>
            <a:schemeClr val="bg1">
              <a:alpha val="75000"/>
            </a:schemeClr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20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7E36862B-3B07-4416-9F20-076D4CB58644}"/>
              </a:ext>
            </a:extLst>
          </p:cNvPr>
          <p:cNvSpPr txBox="1">
            <a:spLocks/>
          </p:cNvSpPr>
          <p:nvPr userDrawn="1"/>
        </p:nvSpPr>
        <p:spPr>
          <a:xfrm rot="18900000" flipV="1">
            <a:off x="7229807" y="3126446"/>
            <a:ext cx="6166943" cy="3078196"/>
          </a:xfrm>
          <a:custGeom>
            <a:avLst/>
            <a:gdLst>
              <a:gd name="connsiteX0" fmla="*/ 6166943 w 6166943"/>
              <a:gd name="connsiteY0" fmla="*/ 1970146 h 3078196"/>
              <a:gd name="connsiteX1" fmla="*/ 4655668 w 6166943"/>
              <a:gd name="connsiteY1" fmla="*/ 458871 h 3078196"/>
              <a:gd name="connsiteX2" fmla="*/ 4492661 w 6166943"/>
              <a:gd name="connsiteY2" fmla="*/ 580765 h 3078196"/>
              <a:gd name="connsiteX3" fmla="*/ 3297075 w 6166943"/>
              <a:gd name="connsiteY3" fmla="*/ 945968 h 3078196"/>
              <a:gd name="connsiteX4" fmla="*/ 1523897 w 6166943"/>
              <a:gd name="connsiteY4" fmla="*/ 3175 h 3078196"/>
              <a:gd name="connsiteX5" fmla="*/ 1521968 w 6166943"/>
              <a:gd name="connsiteY5" fmla="*/ 0 h 3078196"/>
              <a:gd name="connsiteX6" fmla="*/ 0 w 6166943"/>
              <a:gd name="connsiteY6" fmla="*/ 1521969 h 3078196"/>
              <a:gd name="connsiteX7" fmla="*/ 1668 w 6166943"/>
              <a:gd name="connsiteY7" fmla="*/ 1524092 h 3078196"/>
              <a:gd name="connsiteX8" fmla="*/ 3297075 w 6166943"/>
              <a:gd name="connsiteY8" fmla="*/ 3078196 h 3078196"/>
              <a:gd name="connsiteX9" fmla="*/ 6013576 w 6166943"/>
              <a:gd name="connsiteY9" fmla="*/ 2102997 h 30781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166943" h="3078196">
                <a:moveTo>
                  <a:pt x="6166943" y="1970146"/>
                </a:moveTo>
                <a:lnTo>
                  <a:pt x="4655668" y="458871"/>
                </a:lnTo>
                <a:lnTo>
                  <a:pt x="4492661" y="580765"/>
                </a:lnTo>
                <a:cubicBezTo>
                  <a:pt x="4151374" y="811334"/>
                  <a:pt x="3739947" y="945968"/>
                  <a:pt x="3297075" y="945968"/>
                </a:cubicBezTo>
                <a:cubicBezTo>
                  <a:pt x="2558955" y="945968"/>
                  <a:pt x="1908180" y="571989"/>
                  <a:pt x="1523897" y="3175"/>
                </a:cubicBezTo>
                <a:lnTo>
                  <a:pt x="1521968" y="0"/>
                </a:lnTo>
                <a:lnTo>
                  <a:pt x="0" y="1521969"/>
                </a:lnTo>
                <a:lnTo>
                  <a:pt x="1668" y="1524092"/>
                </a:lnTo>
                <a:cubicBezTo>
                  <a:pt x="784959" y="2473222"/>
                  <a:pt x="1970367" y="3078196"/>
                  <a:pt x="3297075" y="3078196"/>
                </a:cubicBezTo>
                <a:cubicBezTo>
                  <a:pt x="4328957" y="3078196"/>
                  <a:pt x="5275363" y="2712224"/>
                  <a:pt x="6013576" y="2102997"/>
                </a:cubicBezTo>
                <a:close/>
              </a:path>
            </a:pathLst>
          </a:custGeom>
          <a:solidFill>
            <a:schemeClr val="bg1">
              <a:alpha val="75000"/>
            </a:schemeClr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20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28" name="Freeform: Shape 83">
            <a:extLst>
              <a:ext uri="{FF2B5EF4-FFF2-40B4-BE49-F238E27FC236}">
                <a16:creationId xmlns:a16="http://schemas.microsoft.com/office/drawing/2014/main" id="{0A6A95A8-7693-4E00-A8BA-D2D5D75DE11B}"/>
              </a:ext>
            </a:extLst>
          </p:cNvPr>
          <p:cNvSpPr txBox="1">
            <a:spLocks/>
          </p:cNvSpPr>
          <p:nvPr userDrawn="1"/>
        </p:nvSpPr>
        <p:spPr>
          <a:xfrm>
            <a:off x="5880100" y="-1"/>
            <a:ext cx="2121043" cy="2692401"/>
          </a:xfrm>
          <a:custGeom>
            <a:avLst/>
            <a:gdLst>
              <a:gd name="connsiteX0" fmla="*/ 0 w 530877"/>
              <a:gd name="connsiteY0" fmla="*/ 0 h 1012276"/>
              <a:gd name="connsiteX1" fmla="*/ 530877 w 530877"/>
              <a:gd name="connsiteY1" fmla="*/ 0 h 1012276"/>
              <a:gd name="connsiteX2" fmla="*/ 530877 w 530877"/>
              <a:gd name="connsiteY2" fmla="*/ 1012276 h 1012276"/>
              <a:gd name="connsiteX3" fmla="*/ 0 w 530877"/>
              <a:gd name="connsiteY3" fmla="*/ 1012276 h 10122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0877" h="1012276">
                <a:moveTo>
                  <a:pt x="0" y="0"/>
                </a:moveTo>
                <a:lnTo>
                  <a:pt x="530877" y="0"/>
                </a:lnTo>
                <a:lnTo>
                  <a:pt x="530877" y="1012276"/>
                </a:lnTo>
                <a:lnTo>
                  <a:pt x="0" y="1012276"/>
                </a:lnTo>
                <a:close/>
              </a:path>
            </a:pathLst>
          </a:custGeom>
          <a:solidFill>
            <a:schemeClr val="bg1">
              <a:alpha val="75000"/>
            </a:schemeClr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20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E2C5D4DA-7E8C-43ED-A21C-F053340146E4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382972" y="1371601"/>
            <a:ext cx="5292030" cy="2157916"/>
          </a:xfr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5000" b="1" i="0" spc="-100">
                <a:solidFill>
                  <a:schemeClr val="tx2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3" name="Subtitle 2">
            <a:extLst>
              <a:ext uri="{FF2B5EF4-FFF2-40B4-BE49-F238E27FC236}">
                <a16:creationId xmlns:a16="http://schemas.microsoft.com/office/drawing/2014/main" id="{45BD93E9-63FB-4FCE-BEE5-95D1E68A981B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382972" y="3583491"/>
            <a:ext cx="5292030" cy="1752600"/>
          </a:xfrm>
        </p:spPr>
        <p:txBody>
          <a:bodyPr lIns="0" tIns="0" rIns="0" bIns="0" anchor="t" anchorCtr="0">
            <a:normAutofit/>
          </a:bodyPr>
          <a:lstStyle>
            <a:lvl1pPr marL="0" indent="0" algn="l">
              <a:lnSpc>
                <a:spcPct val="85000"/>
              </a:lnSpc>
              <a:spcBef>
                <a:spcPts val="800"/>
              </a:spcBef>
              <a:buNone/>
              <a:defRPr sz="2800" b="1" i="0" spc="-50">
                <a:solidFill>
                  <a:schemeClr val="tx2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subtitle style</a:t>
            </a:r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F9271E5E-DB33-4CAF-8A70-DD6F64B8766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31878" y="6081015"/>
            <a:ext cx="2444830" cy="5609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394937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Title – Grid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49">
            <a:extLst>
              <a:ext uri="{FF2B5EF4-FFF2-40B4-BE49-F238E27FC236}">
                <a16:creationId xmlns:a16="http://schemas.microsoft.com/office/drawing/2014/main" id="{1FF5DCBA-0EC1-40C7-BFBE-305DA92326F9}"/>
              </a:ext>
            </a:extLst>
          </p:cNvPr>
          <p:cNvSpPr txBox="1">
            <a:spLocks/>
          </p:cNvSpPr>
          <p:nvPr userDrawn="1"/>
        </p:nvSpPr>
        <p:spPr>
          <a:xfrm>
            <a:off x="3554947" y="3895115"/>
            <a:ext cx="2120055" cy="2120038"/>
          </a:xfrm>
          <a:custGeom>
            <a:avLst/>
            <a:gdLst>
              <a:gd name="connsiteX0" fmla="*/ 265718 w 531436"/>
              <a:gd name="connsiteY0" fmla="*/ 0 h 531432"/>
              <a:gd name="connsiteX1" fmla="*/ 531436 w 531436"/>
              <a:gd name="connsiteY1" fmla="*/ 265716 h 531432"/>
              <a:gd name="connsiteX2" fmla="*/ 265718 w 531436"/>
              <a:gd name="connsiteY2" fmla="*/ 531432 h 531432"/>
              <a:gd name="connsiteX3" fmla="*/ 0 w 531436"/>
              <a:gd name="connsiteY3" fmla="*/ 265716 h 531432"/>
              <a:gd name="connsiteX4" fmla="*/ 265718 w 531436"/>
              <a:gd name="connsiteY4" fmla="*/ 0 h 531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1436" h="531432">
                <a:moveTo>
                  <a:pt x="265718" y="0"/>
                </a:moveTo>
                <a:cubicBezTo>
                  <a:pt x="412470" y="0"/>
                  <a:pt x="531436" y="118965"/>
                  <a:pt x="531436" y="265716"/>
                </a:cubicBezTo>
                <a:cubicBezTo>
                  <a:pt x="531436" y="412467"/>
                  <a:pt x="412470" y="531432"/>
                  <a:pt x="265718" y="531432"/>
                </a:cubicBezTo>
                <a:cubicBezTo>
                  <a:pt x="118966" y="531432"/>
                  <a:pt x="0" y="412467"/>
                  <a:pt x="0" y="265716"/>
                </a:cubicBezTo>
                <a:cubicBezTo>
                  <a:pt x="0" y="118965"/>
                  <a:pt x="118966" y="0"/>
                  <a:pt x="265718" y="0"/>
                </a:cubicBezTo>
                <a:close/>
              </a:path>
            </a:pathLst>
          </a:custGeom>
          <a:solidFill>
            <a:schemeClr val="bg2">
              <a:alpha val="75000"/>
            </a:schemeClr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20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670DDD8-6E70-4BBB-8B22-5F4DA9D1423E}"/>
              </a:ext>
            </a:extLst>
          </p:cNvPr>
          <p:cNvSpPr txBox="1">
            <a:spLocks/>
          </p:cNvSpPr>
          <p:nvPr userDrawn="1"/>
        </p:nvSpPr>
        <p:spPr>
          <a:xfrm rot="18900000" flipV="1">
            <a:off x="7229807" y="3126446"/>
            <a:ext cx="6166943" cy="3078196"/>
          </a:xfrm>
          <a:custGeom>
            <a:avLst/>
            <a:gdLst>
              <a:gd name="connsiteX0" fmla="*/ 6166943 w 6166943"/>
              <a:gd name="connsiteY0" fmla="*/ 1970146 h 3078196"/>
              <a:gd name="connsiteX1" fmla="*/ 4655668 w 6166943"/>
              <a:gd name="connsiteY1" fmla="*/ 458871 h 3078196"/>
              <a:gd name="connsiteX2" fmla="*/ 4492661 w 6166943"/>
              <a:gd name="connsiteY2" fmla="*/ 580765 h 3078196"/>
              <a:gd name="connsiteX3" fmla="*/ 3297075 w 6166943"/>
              <a:gd name="connsiteY3" fmla="*/ 945968 h 3078196"/>
              <a:gd name="connsiteX4" fmla="*/ 1523897 w 6166943"/>
              <a:gd name="connsiteY4" fmla="*/ 3175 h 3078196"/>
              <a:gd name="connsiteX5" fmla="*/ 1521968 w 6166943"/>
              <a:gd name="connsiteY5" fmla="*/ 0 h 3078196"/>
              <a:gd name="connsiteX6" fmla="*/ 0 w 6166943"/>
              <a:gd name="connsiteY6" fmla="*/ 1521969 h 3078196"/>
              <a:gd name="connsiteX7" fmla="*/ 1668 w 6166943"/>
              <a:gd name="connsiteY7" fmla="*/ 1524092 h 3078196"/>
              <a:gd name="connsiteX8" fmla="*/ 3297075 w 6166943"/>
              <a:gd name="connsiteY8" fmla="*/ 3078196 h 3078196"/>
              <a:gd name="connsiteX9" fmla="*/ 6013576 w 6166943"/>
              <a:gd name="connsiteY9" fmla="*/ 2102997 h 30781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166943" h="3078196">
                <a:moveTo>
                  <a:pt x="6166943" y="1970146"/>
                </a:moveTo>
                <a:lnTo>
                  <a:pt x="4655668" y="458871"/>
                </a:lnTo>
                <a:lnTo>
                  <a:pt x="4492661" y="580765"/>
                </a:lnTo>
                <a:cubicBezTo>
                  <a:pt x="4151374" y="811334"/>
                  <a:pt x="3739947" y="945968"/>
                  <a:pt x="3297075" y="945968"/>
                </a:cubicBezTo>
                <a:cubicBezTo>
                  <a:pt x="2558955" y="945968"/>
                  <a:pt x="1908180" y="571989"/>
                  <a:pt x="1523897" y="3175"/>
                </a:cubicBezTo>
                <a:lnTo>
                  <a:pt x="1521968" y="0"/>
                </a:lnTo>
                <a:lnTo>
                  <a:pt x="0" y="1521969"/>
                </a:lnTo>
                <a:lnTo>
                  <a:pt x="1668" y="1524092"/>
                </a:lnTo>
                <a:cubicBezTo>
                  <a:pt x="784959" y="2473222"/>
                  <a:pt x="1970367" y="3078196"/>
                  <a:pt x="3297075" y="3078196"/>
                </a:cubicBezTo>
                <a:cubicBezTo>
                  <a:pt x="4328957" y="3078196"/>
                  <a:pt x="5275363" y="2712224"/>
                  <a:pt x="6013576" y="2102997"/>
                </a:cubicBezTo>
                <a:close/>
              </a:path>
            </a:pathLst>
          </a:custGeom>
          <a:solidFill>
            <a:schemeClr val="bg2">
              <a:alpha val="75000"/>
            </a:schemeClr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20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30" name="Freeform: Shape 83">
            <a:extLst>
              <a:ext uri="{FF2B5EF4-FFF2-40B4-BE49-F238E27FC236}">
                <a16:creationId xmlns:a16="http://schemas.microsoft.com/office/drawing/2014/main" id="{75C0BBDE-001A-47A3-A1E1-6A158E1E0273}"/>
              </a:ext>
            </a:extLst>
          </p:cNvPr>
          <p:cNvSpPr txBox="1">
            <a:spLocks/>
          </p:cNvSpPr>
          <p:nvPr userDrawn="1"/>
        </p:nvSpPr>
        <p:spPr>
          <a:xfrm>
            <a:off x="5880100" y="-1"/>
            <a:ext cx="2121043" cy="2692401"/>
          </a:xfrm>
          <a:custGeom>
            <a:avLst/>
            <a:gdLst>
              <a:gd name="connsiteX0" fmla="*/ 0 w 530877"/>
              <a:gd name="connsiteY0" fmla="*/ 0 h 1012276"/>
              <a:gd name="connsiteX1" fmla="*/ 530877 w 530877"/>
              <a:gd name="connsiteY1" fmla="*/ 0 h 1012276"/>
              <a:gd name="connsiteX2" fmla="*/ 530877 w 530877"/>
              <a:gd name="connsiteY2" fmla="*/ 1012276 h 1012276"/>
              <a:gd name="connsiteX3" fmla="*/ 0 w 530877"/>
              <a:gd name="connsiteY3" fmla="*/ 1012276 h 10122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0877" h="1012276">
                <a:moveTo>
                  <a:pt x="0" y="0"/>
                </a:moveTo>
                <a:lnTo>
                  <a:pt x="530877" y="0"/>
                </a:lnTo>
                <a:lnTo>
                  <a:pt x="530877" y="1012276"/>
                </a:lnTo>
                <a:lnTo>
                  <a:pt x="0" y="1012276"/>
                </a:lnTo>
                <a:close/>
              </a:path>
            </a:pathLst>
          </a:custGeom>
          <a:solidFill>
            <a:schemeClr val="bg2">
              <a:alpha val="75000"/>
            </a:schemeClr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20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E2C5D4DA-7E8C-43ED-A21C-F053340146E4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382972" y="1371601"/>
            <a:ext cx="5292030" cy="2157916"/>
          </a:xfr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5000" b="1" i="0" spc="-100">
                <a:solidFill>
                  <a:schemeClr val="tx2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3" name="Subtitle 2">
            <a:extLst>
              <a:ext uri="{FF2B5EF4-FFF2-40B4-BE49-F238E27FC236}">
                <a16:creationId xmlns:a16="http://schemas.microsoft.com/office/drawing/2014/main" id="{45BD93E9-63FB-4FCE-BEE5-95D1E68A981B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382972" y="3583491"/>
            <a:ext cx="5292030" cy="1752600"/>
          </a:xfrm>
        </p:spPr>
        <p:txBody>
          <a:bodyPr lIns="0" tIns="0" rIns="0" bIns="0" anchor="t" anchorCtr="0">
            <a:normAutofit/>
          </a:bodyPr>
          <a:lstStyle>
            <a:lvl1pPr marL="0" indent="0" algn="l">
              <a:lnSpc>
                <a:spcPct val="85000"/>
              </a:lnSpc>
              <a:spcBef>
                <a:spcPts val="800"/>
              </a:spcBef>
              <a:buNone/>
              <a:defRPr sz="2800" b="1" i="0" spc="-50">
                <a:solidFill>
                  <a:schemeClr val="tx2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subtitle style</a:t>
            </a:r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F9271E5E-DB33-4CAF-8A70-DD6F64B8766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31878" y="6081015"/>
            <a:ext cx="2444830" cy="5609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2281797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Title – Grid Ligh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49">
            <a:extLst>
              <a:ext uri="{FF2B5EF4-FFF2-40B4-BE49-F238E27FC236}">
                <a16:creationId xmlns:a16="http://schemas.microsoft.com/office/drawing/2014/main" id="{5FBB86DE-8D78-4D5E-9EA7-C16BA9D026C8}"/>
              </a:ext>
            </a:extLst>
          </p:cNvPr>
          <p:cNvSpPr txBox="1">
            <a:spLocks/>
          </p:cNvSpPr>
          <p:nvPr userDrawn="1"/>
        </p:nvSpPr>
        <p:spPr>
          <a:xfrm>
            <a:off x="3554947" y="3895115"/>
            <a:ext cx="2120055" cy="2120038"/>
          </a:xfrm>
          <a:custGeom>
            <a:avLst/>
            <a:gdLst>
              <a:gd name="connsiteX0" fmla="*/ 265718 w 531436"/>
              <a:gd name="connsiteY0" fmla="*/ 0 h 531432"/>
              <a:gd name="connsiteX1" fmla="*/ 531436 w 531436"/>
              <a:gd name="connsiteY1" fmla="*/ 265716 h 531432"/>
              <a:gd name="connsiteX2" fmla="*/ 265718 w 531436"/>
              <a:gd name="connsiteY2" fmla="*/ 531432 h 531432"/>
              <a:gd name="connsiteX3" fmla="*/ 0 w 531436"/>
              <a:gd name="connsiteY3" fmla="*/ 265716 h 531432"/>
              <a:gd name="connsiteX4" fmla="*/ 265718 w 531436"/>
              <a:gd name="connsiteY4" fmla="*/ 0 h 531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1436" h="531432">
                <a:moveTo>
                  <a:pt x="265718" y="0"/>
                </a:moveTo>
                <a:cubicBezTo>
                  <a:pt x="412470" y="0"/>
                  <a:pt x="531436" y="118965"/>
                  <a:pt x="531436" y="265716"/>
                </a:cubicBezTo>
                <a:cubicBezTo>
                  <a:pt x="531436" y="412467"/>
                  <a:pt x="412470" y="531432"/>
                  <a:pt x="265718" y="531432"/>
                </a:cubicBezTo>
                <a:cubicBezTo>
                  <a:pt x="118966" y="531432"/>
                  <a:pt x="0" y="412467"/>
                  <a:pt x="0" y="265716"/>
                </a:cubicBezTo>
                <a:cubicBezTo>
                  <a:pt x="0" y="118965"/>
                  <a:pt x="118966" y="0"/>
                  <a:pt x="265718" y="0"/>
                </a:cubicBezTo>
                <a:close/>
              </a:path>
            </a:pathLst>
          </a:custGeom>
          <a:solidFill>
            <a:schemeClr val="bg1">
              <a:alpha val="25000"/>
            </a:schemeClr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20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9C0930A-14E9-4C7E-9205-7DEBAC879BC5}"/>
              </a:ext>
            </a:extLst>
          </p:cNvPr>
          <p:cNvSpPr txBox="1">
            <a:spLocks/>
          </p:cNvSpPr>
          <p:nvPr userDrawn="1"/>
        </p:nvSpPr>
        <p:spPr>
          <a:xfrm rot="18900000" flipV="1">
            <a:off x="7229807" y="3126446"/>
            <a:ext cx="6166943" cy="3078196"/>
          </a:xfrm>
          <a:custGeom>
            <a:avLst/>
            <a:gdLst>
              <a:gd name="connsiteX0" fmla="*/ 6166943 w 6166943"/>
              <a:gd name="connsiteY0" fmla="*/ 1970146 h 3078196"/>
              <a:gd name="connsiteX1" fmla="*/ 4655668 w 6166943"/>
              <a:gd name="connsiteY1" fmla="*/ 458871 h 3078196"/>
              <a:gd name="connsiteX2" fmla="*/ 4492661 w 6166943"/>
              <a:gd name="connsiteY2" fmla="*/ 580765 h 3078196"/>
              <a:gd name="connsiteX3" fmla="*/ 3297075 w 6166943"/>
              <a:gd name="connsiteY3" fmla="*/ 945968 h 3078196"/>
              <a:gd name="connsiteX4" fmla="*/ 1523897 w 6166943"/>
              <a:gd name="connsiteY4" fmla="*/ 3175 h 3078196"/>
              <a:gd name="connsiteX5" fmla="*/ 1521968 w 6166943"/>
              <a:gd name="connsiteY5" fmla="*/ 0 h 3078196"/>
              <a:gd name="connsiteX6" fmla="*/ 0 w 6166943"/>
              <a:gd name="connsiteY6" fmla="*/ 1521969 h 3078196"/>
              <a:gd name="connsiteX7" fmla="*/ 1668 w 6166943"/>
              <a:gd name="connsiteY7" fmla="*/ 1524092 h 3078196"/>
              <a:gd name="connsiteX8" fmla="*/ 3297075 w 6166943"/>
              <a:gd name="connsiteY8" fmla="*/ 3078196 h 3078196"/>
              <a:gd name="connsiteX9" fmla="*/ 6013576 w 6166943"/>
              <a:gd name="connsiteY9" fmla="*/ 2102997 h 30781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166943" h="3078196">
                <a:moveTo>
                  <a:pt x="6166943" y="1970146"/>
                </a:moveTo>
                <a:lnTo>
                  <a:pt x="4655668" y="458871"/>
                </a:lnTo>
                <a:lnTo>
                  <a:pt x="4492661" y="580765"/>
                </a:lnTo>
                <a:cubicBezTo>
                  <a:pt x="4151374" y="811334"/>
                  <a:pt x="3739947" y="945968"/>
                  <a:pt x="3297075" y="945968"/>
                </a:cubicBezTo>
                <a:cubicBezTo>
                  <a:pt x="2558955" y="945968"/>
                  <a:pt x="1908180" y="571989"/>
                  <a:pt x="1523897" y="3175"/>
                </a:cubicBezTo>
                <a:lnTo>
                  <a:pt x="1521968" y="0"/>
                </a:lnTo>
                <a:lnTo>
                  <a:pt x="0" y="1521969"/>
                </a:lnTo>
                <a:lnTo>
                  <a:pt x="1668" y="1524092"/>
                </a:lnTo>
                <a:cubicBezTo>
                  <a:pt x="784959" y="2473222"/>
                  <a:pt x="1970367" y="3078196"/>
                  <a:pt x="3297075" y="3078196"/>
                </a:cubicBezTo>
                <a:cubicBezTo>
                  <a:pt x="4328957" y="3078196"/>
                  <a:pt x="5275363" y="2712224"/>
                  <a:pt x="6013576" y="2102997"/>
                </a:cubicBezTo>
                <a:close/>
              </a:path>
            </a:pathLst>
          </a:custGeom>
          <a:solidFill>
            <a:schemeClr val="bg1">
              <a:alpha val="25000"/>
            </a:schemeClr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20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 </a:t>
            </a:r>
          </a:p>
        </p:txBody>
      </p:sp>
      <p:sp>
        <p:nvSpPr>
          <p:cNvPr id="17" name="Freeform: Shape 83">
            <a:extLst>
              <a:ext uri="{FF2B5EF4-FFF2-40B4-BE49-F238E27FC236}">
                <a16:creationId xmlns:a16="http://schemas.microsoft.com/office/drawing/2014/main" id="{6C5D8A50-6C85-4317-B8BC-46A4D7EA59FD}"/>
              </a:ext>
            </a:extLst>
          </p:cNvPr>
          <p:cNvSpPr txBox="1">
            <a:spLocks/>
          </p:cNvSpPr>
          <p:nvPr userDrawn="1"/>
        </p:nvSpPr>
        <p:spPr>
          <a:xfrm>
            <a:off x="5880100" y="-1"/>
            <a:ext cx="2121043" cy="2692401"/>
          </a:xfrm>
          <a:custGeom>
            <a:avLst/>
            <a:gdLst>
              <a:gd name="connsiteX0" fmla="*/ 0 w 530877"/>
              <a:gd name="connsiteY0" fmla="*/ 0 h 1012276"/>
              <a:gd name="connsiteX1" fmla="*/ 530877 w 530877"/>
              <a:gd name="connsiteY1" fmla="*/ 0 h 1012276"/>
              <a:gd name="connsiteX2" fmla="*/ 530877 w 530877"/>
              <a:gd name="connsiteY2" fmla="*/ 1012276 h 1012276"/>
              <a:gd name="connsiteX3" fmla="*/ 0 w 530877"/>
              <a:gd name="connsiteY3" fmla="*/ 1012276 h 10122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0877" h="1012276">
                <a:moveTo>
                  <a:pt x="0" y="0"/>
                </a:moveTo>
                <a:lnTo>
                  <a:pt x="530877" y="0"/>
                </a:lnTo>
                <a:lnTo>
                  <a:pt x="530877" y="1012276"/>
                </a:lnTo>
                <a:lnTo>
                  <a:pt x="0" y="1012276"/>
                </a:lnTo>
                <a:close/>
              </a:path>
            </a:pathLst>
          </a:custGeom>
          <a:solidFill>
            <a:schemeClr val="bg1">
              <a:alpha val="25000"/>
            </a:schemeClr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20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E2C5D4DA-7E8C-43ED-A21C-F053340146E4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382972" y="1371601"/>
            <a:ext cx="5292030" cy="2157916"/>
          </a:xfr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5000" b="1" i="0" spc="-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3" name="Subtitle 2">
            <a:extLst>
              <a:ext uri="{FF2B5EF4-FFF2-40B4-BE49-F238E27FC236}">
                <a16:creationId xmlns:a16="http://schemas.microsoft.com/office/drawing/2014/main" id="{45BD93E9-63FB-4FCE-BEE5-95D1E68A981B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382972" y="3583491"/>
            <a:ext cx="5292030" cy="1752600"/>
          </a:xfrm>
        </p:spPr>
        <p:txBody>
          <a:bodyPr lIns="0" tIns="0" rIns="0" bIns="0" anchor="t" anchorCtr="0">
            <a:normAutofit/>
          </a:bodyPr>
          <a:lstStyle>
            <a:lvl1pPr marL="0" indent="0" algn="l">
              <a:lnSpc>
                <a:spcPct val="85000"/>
              </a:lnSpc>
              <a:spcBef>
                <a:spcPts val="800"/>
              </a:spcBef>
              <a:buNone/>
              <a:defRPr sz="2800" b="1" i="0" spc="-5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subtitle style</a:t>
            </a:r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F9271E5E-DB33-4CAF-8A70-DD6F64B8766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31878" y="6081015"/>
            <a:ext cx="2444830" cy="5609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6098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39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– Grid Light Custom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Text Placeholder 49">
            <a:extLst>
              <a:ext uri="{FF2B5EF4-FFF2-40B4-BE49-F238E27FC236}">
                <a16:creationId xmlns:a16="http://schemas.microsoft.com/office/drawing/2014/main" id="{18A4A4F2-9AB2-4B24-87E6-2B75F59E850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780505" y="4315834"/>
            <a:ext cx="2120056" cy="2120040"/>
          </a:xfrm>
          <a:custGeom>
            <a:avLst/>
            <a:gdLst>
              <a:gd name="connsiteX0" fmla="*/ 265718 w 531436"/>
              <a:gd name="connsiteY0" fmla="*/ 0 h 531432"/>
              <a:gd name="connsiteX1" fmla="*/ 531436 w 531436"/>
              <a:gd name="connsiteY1" fmla="*/ 265716 h 531432"/>
              <a:gd name="connsiteX2" fmla="*/ 265718 w 531436"/>
              <a:gd name="connsiteY2" fmla="*/ 531432 h 531432"/>
              <a:gd name="connsiteX3" fmla="*/ 0 w 531436"/>
              <a:gd name="connsiteY3" fmla="*/ 265716 h 531432"/>
              <a:gd name="connsiteX4" fmla="*/ 265718 w 531436"/>
              <a:gd name="connsiteY4" fmla="*/ 0 h 531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1436" h="531432">
                <a:moveTo>
                  <a:pt x="265718" y="0"/>
                </a:moveTo>
                <a:cubicBezTo>
                  <a:pt x="412470" y="0"/>
                  <a:pt x="531436" y="118965"/>
                  <a:pt x="531436" y="265716"/>
                </a:cubicBezTo>
                <a:cubicBezTo>
                  <a:pt x="531436" y="412467"/>
                  <a:pt x="412470" y="531432"/>
                  <a:pt x="265718" y="531432"/>
                </a:cubicBezTo>
                <a:cubicBezTo>
                  <a:pt x="118966" y="531432"/>
                  <a:pt x="0" y="412467"/>
                  <a:pt x="0" y="265716"/>
                </a:cubicBezTo>
                <a:cubicBezTo>
                  <a:pt x="0" y="118965"/>
                  <a:pt x="118966" y="0"/>
                  <a:pt x="265718" y="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8" name="Text Placeholder 64">
            <a:extLst>
              <a:ext uri="{FF2B5EF4-FFF2-40B4-BE49-F238E27FC236}">
                <a16:creationId xmlns:a16="http://schemas.microsoft.com/office/drawing/2014/main" id="{59ED8ACD-8533-448B-B246-0F6A58967FE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 rot="5400000">
            <a:off x="5594421" y="285679"/>
            <a:ext cx="2692400" cy="2121043"/>
          </a:xfrm>
          <a:custGeom>
            <a:avLst/>
            <a:gdLst>
              <a:gd name="connsiteX0" fmla="*/ 0 w 1597025"/>
              <a:gd name="connsiteY0" fmla="*/ 0 h 530877"/>
              <a:gd name="connsiteX1" fmla="*/ 1597025 w 1597025"/>
              <a:gd name="connsiteY1" fmla="*/ 0 h 530877"/>
              <a:gd name="connsiteX2" fmla="*/ 1597025 w 1597025"/>
              <a:gd name="connsiteY2" fmla="*/ 530877 h 530877"/>
              <a:gd name="connsiteX3" fmla="*/ 0 w 1597025"/>
              <a:gd name="connsiteY3" fmla="*/ 530877 h 5308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97025" h="530877">
                <a:moveTo>
                  <a:pt x="0" y="0"/>
                </a:moveTo>
                <a:lnTo>
                  <a:pt x="1597025" y="0"/>
                </a:lnTo>
                <a:lnTo>
                  <a:pt x="1597025" y="530877"/>
                </a:lnTo>
                <a:lnTo>
                  <a:pt x="0" y="530877"/>
                </a:lnTo>
                <a:close/>
              </a:path>
            </a:pathLst>
          </a:custGeom>
          <a:solidFill>
            <a:schemeClr val="bg1">
              <a:alpha val="2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E2C5D4DA-7E8C-43ED-A21C-F053340146E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2972" y="2743200"/>
            <a:ext cx="5292030" cy="786317"/>
          </a:xfrm>
          <a:solidFill>
            <a:schemeClr val="bg1">
              <a:alpha val="65000"/>
            </a:schemeClr>
          </a:solidFill>
        </p:spPr>
        <p:txBody>
          <a:bodyPr lIns="91440" tIns="91440" rIns="91440" bIns="0" anchor="t" anchorCtr="0">
            <a:noAutofit/>
          </a:bodyPr>
          <a:lstStyle>
            <a:lvl1pPr algn="l">
              <a:lnSpc>
                <a:spcPct val="80000"/>
              </a:lnSpc>
              <a:defRPr sz="5000" b="1" i="0" spc="-1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Master title style</a:t>
            </a:r>
          </a:p>
        </p:txBody>
      </p:sp>
      <p:sp>
        <p:nvSpPr>
          <p:cNvPr id="23" name="Subtitle 2">
            <a:extLst>
              <a:ext uri="{FF2B5EF4-FFF2-40B4-BE49-F238E27FC236}">
                <a16:creationId xmlns:a16="http://schemas.microsoft.com/office/drawing/2014/main" id="{45BD93E9-63FB-4FCE-BEE5-95D1E68A981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2972" y="3796115"/>
            <a:ext cx="5292030" cy="560910"/>
          </a:xfrm>
          <a:solidFill>
            <a:schemeClr val="bg1">
              <a:alpha val="65000"/>
            </a:schemeClr>
          </a:solidFill>
        </p:spPr>
        <p:txBody>
          <a:bodyPr lIns="91440" tIns="91440" rIns="91440" bIns="91440" anchor="ctr" anchorCtr="0">
            <a:normAutofit/>
          </a:bodyPr>
          <a:lstStyle>
            <a:lvl1pPr marL="0" indent="0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None/>
              <a:defRPr sz="2800" b="1" i="0" spc="-50">
                <a:solidFill>
                  <a:schemeClr val="accent1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subtitle style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2EED798B-CFA5-40A5-80EA-22AC8E89F13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 rot="18900000" flipV="1">
            <a:off x="7240529" y="3127407"/>
            <a:ext cx="6149993" cy="3076598"/>
          </a:xfrm>
          <a:custGeom>
            <a:avLst/>
            <a:gdLst>
              <a:gd name="connsiteX0" fmla="*/ 6149993 w 6149993"/>
              <a:gd name="connsiteY0" fmla="*/ 1964049 h 3076598"/>
              <a:gd name="connsiteX1" fmla="*/ 4650148 w 6149993"/>
              <a:gd name="connsiteY1" fmla="*/ 464204 h 3076598"/>
              <a:gd name="connsiteX2" fmla="*/ 4638007 w 6149993"/>
              <a:gd name="connsiteY2" fmla="*/ 475238 h 3076598"/>
              <a:gd name="connsiteX3" fmla="*/ 3287753 w 6149993"/>
              <a:gd name="connsiteY3" fmla="*/ 959968 h 3076598"/>
              <a:gd name="connsiteX4" fmla="*/ 1527548 w 6149993"/>
              <a:gd name="connsiteY4" fmla="*/ 24073 h 3076598"/>
              <a:gd name="connsiteX5" fmla="*/ 1512923 w 6149993"/>
              <a:gd name="connsiteY5" fmla="*/ 0 h 3076598"/>
              <a:gd name="connsiteX6" fmla="*/ 0 w 6149993"/>
              <a:gd name="connsiteY6" fmla="*/ 1512924 h 3076598"/>
              <a:gd name="connsiteX7" fmla="*/ 16454 w 6149993"/>
              <a:gd name="connsiteY7" fmla="*/ 1533863 h 3076598"/>
              <a:gd name="connsiteX8" fmla="*/ 3287753 w 6149993"/>
              <a:gd name="connsiteY8" fmla="*/ 3076598 h 3076598"/>
              <a:gd name="connsiteX9" fmla="*/ 6138204 w 6149993"/>
              <a:gd name="connsiteY9" fmla="*/ 1975288 h 3076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149993" h="3076598">
                <a:moveTo>
                  <a:pt x="6149993" y="1964049"/>
                </a:moveTo>
                <a:lnTo>
                  <a:pt x="4650148" y="464204"/>
                </a:lnTo>
                <a:lnTo>
                  <a:pt x="4638007" y="475238"/>
                </a:lnTo>
                <a:cubicBezTo>
                  <a:pt x="4271074" y="778058"/>
                  <a:pt x="3800657" y="959968"/>
                  <a:pt x="3287753" y="959968"/>
                </a:cubicBezTo>
                <a:cubicBezTo>
                  <a:pt x="2555033" y="959968"/>
                  <a:pt x="1909019" y="588724"/>
                  <a:pt x="1527548" y="24073"/>
                </a:cubicBezTo>
                <a:lnTo>
                  <a:pt x="1512923" y="0"/>
                </a:lnTo>
                <a:lnTo>
                  <a:pt x="0" y="1512924"/>
                </a:lnTo>
                <a:lnTo>
                  <a:pt x="16454" y="1533863"/>
                </a:lnTo>
                <a:cubicBezTo>
                  <a:pt x="794015" y="2476050"/>
                  <a:pt x="1970751" y="3076598"/>
                  <a:pt x="3287753" y="3076598"/>
                </a:cubicBezTo>
                <a:cubicBezTo>
                  <a:pt x="4385254" y="3076598"/>
                  <a:pt x="5385348" y="2659551"/>
                  <a:pt x="6138204" y="1975288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CE57984F-CB83-4B8D-B078-EEEED8C2729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31876" y="6081014"/>
            <a:ext cx="2444834" cy="560910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5C16F05-F084-48E8-9A69-0A717D07AF3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82588" y="1169557"/>
            <a:ext cx="5292414" cy="786317"/>
          </a:xfrm>
          <a:solidFill>
            <a:schemeClr val="bg1">
              <a:alpha val="65000"/>
            </a:schemeClr>
          </a:solidFill>
        </p:spPr>
        <p:txBody>
          <a:bodyPr lIns="91440" tIns="0" rIns="91440" bIns="91440" anchor="ctr"/>
          <a:lstStyle>
            <a:lvl1pPr>
              <a:spcBef>
                <a:spcPts val="0"/>
              </a:spcBef>
              <a:defRPr sz="5000" b="1"/>
            </a:lvl1pPr>
          </a:lstStyle>
          <a:p>
            <a:pPr lvl="0"/>
            <a:r>
              <a:rPr lang="en-US" dirty="0"/>
              <a:t>(Third line)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D2BE8780-B07C-4B86-BF28-36A7371AFC16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82588" y="1956883"/>
            <a:ext cx="5292414" cy="786317"/>
          </a:xfrm>
          <a:solidFill>
            <a:schemeClr val="bg1">
              <a:alpha val="65000"/>
            </a:schemeClr>
          </a:solidFill>
        </p:spPr>
        <p:txBody>
          <a:bodyPr lIns="91440" tIns="0" rIns="91440" bIns="91440" anchor="ctr"/>
          <a:lstStyle>
            <a:lvl1pPr>
              <a:spcBef>
                <a:spcPts val="0"/>
              </a:spcBef>
              <a:defRPr sz="5000" b="1"/>
            </a:lvl1pPr>
          </a:lstStyle>
          <a:p>
            <a:pPr lvl="0"/>
            <a:r>
              <a:rPr lang="en-US" dirty="0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363858483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– Grid Light Custom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49">
            <a:extLst>
              <a:ext uri="{FF2B5EF4-FFF2-40B4-BE49-F238E27FC236}">
                <a16:creationId xmlns:a16="http://schemas.microsoft.com/office/drawing/2014/main" id="{2AD7E90F-C106-094C-12C9-959A43A0E9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54946" y="3895115"/>
            <a:ext cx="2120056" cy="2120040"/>
          </a:xfrm>
          <a:custGeom>
            <a:avLst/>
            <a:gdLst>
              <a:gd name="connsiteX0" fmla="*/ 265718 w 531436"/>
              <a:gd name="connsiteY0" fmla="*/ 0 h 531432"/>
              <a:gd name="connsiteX1" fmla="*/ 531436 w 531436"/>
              <a:gd name="connsiteY1" fmla="*/ 265716 h 531432"/>
              <a:gd name="connsiteX2" fmla="*/ 265718 w 531436"/>
              <a:gd name="connsiteY2" fmla="*/ 531432 h 531432"/>
              <a:gd name="connsiteX3" fmla="*/ 0 w 531436"/>
              <a:gd name="connsiteY3" fmla="*/ 265716 h 531432"/>
              <a:gd name="connsiteX4" fmla="*/ 265718 w 531436"/>
              <a:gd name="connsiteY4" fmla="*/ 0 h 531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1436" h="531432">
                <a:moveTo>
                  <a:pt x="265718" y="0"/>
                </a:moveTo>
                <a:cubicBezTo>
                  <a:pt x="412470" y="0"/>
                  <a:pt x="531436" y="118965"/>
                  <a:pt x="531436" y="265716"/>
                </a:cubicBezTo>
                <a:cubicBezTo>
                  <a:pt x="531436" y="412467"/>
                  <a:pt x="412470" y="531432"/>
                  <a:pt x="265718" y="531432"/>
                </a:cubicBezTo>
                <a:cubicBezTo>
                  <a:pt x="118966" y="531432"/>
                  <a:pt x="0" y="412467"/>
                  <a:pt x="0" y="265716"/>
                </a:cubicBezTo>
                <a:cubicBezTo>
                  <a:pt x="0" y="118965"/>
                  <a:pt x="118966" y="0"/>
                  <a:pt x="265718" y="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1610A17-8141-2BB0-4E85-8B849636B66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2972" y="2743200"/>
            <a:ext cx="5292030" cy="786317"/>
          </a:xfrm>
          <a:solidFill>
            <a:schemeClr val="bg1">
              <a:alpha val="65000"/>
            </a:schemeClr>
          </a:solidFill>
        </p:spPr>
        <p:txBody>
          <a:bodyPr lIns="91440" tIns="91440" rIns="91440" bIns="0" anchor="t" anchorCtr="0">
            <a:noAutofit/>
          </a:bodyPr>
          <a:lstStyle>
            <a:lvl1pPr algn="l">
              <a:lnSpc>
                <a:spcPct val="80000"/>
              </a:lnSpc>
              <a:defRPr sz="5000" b="1" i="0" spc="-1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Master title styl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EA3B308D-8373-032E-720E-B14CE83B45E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2972" y="3796115"/>
            <a:ext cx="5292030" cy="560910"/>
          </a:xfrm>
          <a:solidFill>
            <a:schemeClr val="bg1">
              <a:alpha val="65000"/>
            </a:schemeClr>
          </a:solidFill>
        </p:spPr>
        <p:txBody>
          <a:bodyPr lIns="91440" tIns="91440" rIns="91440" bIns="91440" anchor="ctr" anchorCtr="0">
            <a:normAutofit/>
          </a:bodyPr>
          <a:lstStyle>
            <a:lvl1pPr marL="0" indent="0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None/>
              <a:defRPr sz="2800" b="1" i="0" spc="-50">
                <a:solidFill>
                  <a:schemeClr val="accent1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subtitle styl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9DBF0F7F-2D7C-12BB-57AC-91C3F49099A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82588" y="1169557"/>
            <a:ext cx="5292414" cy="786317"/>
          </a:xfrm>
          <a:solidFill>
            <a:schemeClr val="bg1">
              <a:alpha val="65000"/>
            </a:schemeClr>
          </a:solidFill>
        </p:spPr>
        <p:txBody>
          <a:bodyPr lIns="91440" tIns="0" rIns="91440" bIns="91440" anchor="ctr"/>
          <a:lstStyle>
            <a:lvl1pPr>
              <a:spcBef>
                <a:spcPts val="0"/>
              </a:spcBef>
              <a:defRPr sz="5000" b="1"/>
            </a:lvl1pPr>
          </a:lstStyle>
          <a:p>
            <a:pPr lvl="0"/>
            <a:r>
              <a:rPr lang="en-US"/>
              <a:t>(Third line)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23D15997-541E-9917-FE14-A78B9A29DDD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82588" y="1956883"/>
            <a:ext cx="5292414" cy="786317"/>
          </a:xfrm>
          <a:solidFill>
            <a:schemeClr val="bg1">
              <a:alpha val="65000"/>
            </a:schemeClr>
          </a:solidFill>
        </p:spPr>
        <p:txBody>
          <a:bodyPr lIns="91440" tIns="0" rIns="91440" bIns="91440" anchor="ctr"/>
          <a:lstStyle>
            <a:lvl1pPr>
              <a:spcBef>
                <a:spcPts val="0"/>
              </a:spcBef>
              <a:defRPr sz="5000" b="1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11" name="Text Placeholder 29">
            <a:extLst>
              <a:ext uri="{FF2B5EF4-FFF2-40B4-BE49-F238E27FC236}">
                <a16:creationId xmlns:a16="http://schemas.microsoft.com/office/drawing/2014/main" id="{B2353A72-B837-6DCD-E362-57EB1B0A53B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 rot="18900000" flipV="1">
            <a:off x="7240529" y="3127407"/>
            <a:ext cx="6149993" cy="3076598"/>
          </a:xfrm>
          <a:custGeom>
            <a:avLst/>
            <a:gdLst>
              <a:gd name="connsiteX0" fmla="*/ 6149993 w 6149993"/>
              <a:gd name="connsiteY0" fmla="*/ 1964049 h 3076598"/>
              <a:gd name="connsiteX1" fmla="*/ 4650148 w 6149993"/>
              <a:gd name="connsiteY1" fmla="*/ 464204 h 3076598"/>
              <a:gd name="connsiteX2" fmla="*/ 4638007 w 6149993"/>
              <a:gd name="connsiteY2" fmla="*/ 475238 h 3076598"/>
              <a:gd name="connsiteX3" fmla="*/ 3287753 w 6149993"/>
              <a:gd name="connsiteY3" fmla="*/ 959968 h 3076598"/>
              <a:gd name="connsiteX4" fmla="*/ 1527548 w 6149993"/>
              <a:gd name="connsiteY4" fmla="*/ 24073 h 3076598"/>
              <a:gd name="connsiteX5" fmla="*/ 1512923 w 6149993"/>
              <a:gd name="connsiteY5" fmla="*/ 0 h 3076598"/>
              <a:gd name="connsiteX6" fmla="*/ 0 w 6149993"/>
              <a:gd name="connsiteY6" fmla="*/ 1512924 h 3076598"/>
              <a:gd name="connsiteX7" fmla="*/ 16454 w 6149993"/>
              <a:gd name="connsiteY7" fmla="*/ 1533863 h 3076598"/>
              <a:gd name="connsiteX8" fmla="*/ 3287753 w 6149993"/>
              <a:gd name="connsiteY8" fmla="*/ 3076598 h 3076598"/>
              <a:gd name="connsiteX9" fmla="*/ 6138204 w 6149993"/>
              <a:gd name="connsiteY9" fmla="*/ 1975288 h 3076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149993" h="3076598">
                <a:moveTo>
                  <a:pt x="6149993" y="1964049"/>
                </a:moveTo>
                <a:lnTo>
                  <a:pt x="4650148" y="464204"/>
                </a:lnTo>
                <a:lnTo>
                  <a:pt x="4638007" y="475238"/>
                </a:lnTo>
                <a:cubicBezTo>
                  <a:pt x="4271074" y="778058"/>
                  <a:pt x="3800657" y="959968"/>
                  <a:pt x="3287753" y="959968"/>
                </a:cubicBezTo>
                <a:cubicBezTo>
                  <a:pt x="2555033" y="959968"/>
                  <a:pt x="1909019" y="588724"/>
                  <a:pt x="1527548" y="24073"/>
                </a:cubicBezTo>
                <a:lnTo>
                  <a:pt x="1512923" y="0"/>
                </a:lnTo>
                <a:lnTo>
                  <a:pt x="0" y="1512924"/>
                </a:lnTo>
                <a:lnTo>
                  <a:pt x="16454" y="1533863"/>
                </a:lnTo>
                <a:cubicBezTo>
                  <a:pt x="794015" y="2476050"/>
                  <a:pt x="1970751" y="3076598"/>
                  <a:pt x="3287753" y="3076598"/>
                </a:cubicBezTo>
                <a:cubicBezTo>
                  <a:pt x="4385254" y="3076598"/>
                  <a:pt x="5385348" y="2659551"/>
                  <a:pt x="6138204" y="1975288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8801BAC1-BBF9-7F79-76B2-9895C9970F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59978" y="6221029"/>
            <a:ext cx="6549436" cy="357052"/>
          </a:xfrm>
        </p:spPr>
        <p:txBody>
          <a:bodyPr anchor="b" anchorCtr="0"/>
          <a:lstStyle>
            <a:lvl1pPr algn="r">
              <a:defRPr sz="800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E5ADDCCB-0183-4B53-71C4-153A3039A7A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877" y="6084140"/>
            <a:ext cx="3034341" cy="557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6704805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Title – Grid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13C630F6-5777-4826-A8BA-A5E5F67ED8DE}"/>
              </a:ext>
            </a:extLst>
          </p:cNvPr>
          <p:cNvGrpSpPr/>
          <p:nvPr userDrawn="1"/>
        </p:nvGrpSpPr>
        <p:grpSpPr>
          <a:xfrm>
            <a:off x="9346573" y="258374"/>
            <a:ext cx="2592719" cy="6341252"/>
            <a:chOff x="9346573" y="258374"/>
            <a:chExt cx="2592719" cy="6341252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6D23DED4-46CF-4034-A62B-714FB0F82593}"/>
                </a:ext>
              </a:extLst>
            </p:cNvPr>
            <p:cNvGrpSpPr/>
            <p:nvPr userDrawn="1"/>
          </p:nvGrpSpPr>
          <p:grpSpPr>
            <a:xfrm>
              <a:off x="9906425" y="258374"/>
              <a:ext cx="1451546" cy="6341252"/>
              <a:chOff x="10020609" y="242905"/>
              <a:chExt cx="1346145" cy="5880798"/>
            </a:xfrm>
          </p:grpSpPr>
          <p:sp>
            <p:nvSpPr>
              <p:cNvPr id="18" name="Freeform: Shape 17">
                <a:extLst>
                  <a:ext uri="{FF2B5EF4-FFF2-40B4-BE49-F238E27FC236}">
                    <a16:creationId xmlns:a16="http://schemas.microsoft.com/office/drawing/2014/main" id="{102FE358-5F18-4618-841E-AC396B767858}"/>
                  </a:ext>
                </a:extLst>
              </p:cNvPr>
              <p:cNvSpPr/>
              <p:nvPr userDrawn="1"/>
            </p:nvSpPr>
            <p:spPr>
              <a:xfrm>
                <a:off x="10020609" y="242905"/>
                <a:ext cx="561506" cy="5880798"/>
              </a:xfrm>
              <a:custGeom>
                <a:avLst/>
                <a:gdLst>
                  <a:gd name="connsiteX0" fmla="*/ 531921 w 561506"/>
                  <a:gd name="connsiteY0" fmla="*/ 5851213 h 5880798"/>
                  <a:gd name="connsiteX1" fmla="*/ 561506 w 561506"/>
                  <a:gd name="connsiteY1" fmla="*/ 5851213 h 5880798"/>
                  <a:gd name="connsiteX2" fmla="*/ 561506 w 561506"/>
                  <a:gd name="connsiteY2" fmla="*/ 5880798 h 5880798"/>
                  <a:gd name="connsiteX3" fmla="*/ 531921 w 561506"/>
                  <a:gd name="connsiteY3" fmla="*/ 5880798 h 5880798"/>
                  <a:gd name="connsiteX4" fmla="*/ 265961 w 561506"/>
                  <a:gd name="connsiteY4" fmla="*/ 5851213 h 5880798"/>
                  <a:gd name="connsiteX5" fmla="*/ 295547 w 561506"/>
                  <a:gd name="connsiteY5" fmla="*/ 5851213 h 5880798"/>
                  <a:gd name="connsiteX6" fmla="*/ 295547 w 561506"/>
                  <a:gd name="connsiteY6" fmla="*/ 5880798 h 5880798"/>
                  <a:gd name="connsiteX7" fmla="*/ 265961 w 561506"/>
                  <a:gd name="connsiteY7" fmla="*/ 5880798 h 5880798"/>
                  <a:gd name="connsiteX8" fmla="*/ 0 w 561506"/>
                  <a:gd name="connsiteY8" fmla="*/ 5851213 h 5880798"/>
                  <a:gd name="connsiteX9" fmla="*/ 29585 w 561506"/>
                  <a:gd name="connsiteY9" fmla="*/ 5851213 h 5880798"/>
                  <a:gd name="connsiteX10" fmla="*/ 29585 w 561506"/>
                  <a:gd name="connsiteY10" fmla="*/ 5880798 h 5880798"/>
                  <a:gd name="connsiteX11" fmla="*/ 0 w 561506"/>
                  <a:gd name="connsiteY11" fmla="*/ 5880798 h 5880798"/>
                  <a:gd name="connsiteX12" fmla="*/ 531921 w 561506"/>
                  <a:gd name="connsiteY12" fmla="*/ 5585253 h 5880798"/>
                  <a:gd name="connsiteX13" fmla="*/ 561506 w 561506"/>
                  <a:gd name="connsiteY13" fmla="*/ 5585253 h 5880798"/>
                  <a:gd name="connsiteX14" fmla="*/ 561506 w 561506"/>
                  <a:gd name="connsiteY14" fmla="*/ 5614838 h 5880798"/>
                  <a:gd name="connsiteX15" fmla="*/ 531921 w 561506"/>
                  <a:gd name="connsiteY15" fmla="*/ 5614838 h 5880798"/>
                  <a:gd name="connsiteX16" fmla="*/ 265961 w 561506"/>
                  <a:gd name="connsiteY16" fmla="*/ 5585253 h 5880798"/>
                  <a:gd name="connsiteX17" fmla="*/ 295547 w 561506"/>
                  <a:gd name="connsiteY17" fmla="*/ 5585253 h 5880798"/>
                  <a:gd name="connsiteX18" fmla="*/ 295547 w 561506"/>
                  <a:gd name="connsiteY18" fmla="*/ 5614838 h 5880798"/>
                  <a:gd name="connsiteX19" fmla="*/ 265961 w 561506"/>
                  <a:gd name="connsiteY19" fmla="*/ 5614838 h 5880798"/>
                  <a:gd name="connsiteX20" fmla="*/ 0 w 561506"/>
                  <a:gd name="connsiteY20" fmla="*/ 5585253 h 5880798"/>
                  <a:gd name="connsiteX21" fmla="*/ 29585 w 561506"/>
                  <a:gd name="connsiteY21" fmla="*/ 5585253 h 5880798"/>
                  <a:gd name="connsiteX22" fmla="*/ 29585 w 561506"/>
                  <a:gd name="connsiteY22" fmla="*/ 5614838 h 5880798"/>
                  <a:gd name="connsiteX23" fmla="*/ 0 w 561506"/>
                  <a:gd name="connsiteY23" fmla="*/ 5614838 h 5880798"/>
                  <a:gd name="connsiteX24" fmla="*/ 531921 w 561506"/>
                  <a:gd name="connsiteY24" fmla="*/ 5319293 h 5880798"/>
                  <a:gd name="connsiteX25" fmla="*/ 561506 w 561506"/>
                  <a:gd name="connsiteY25" fmla="*/ 5319293 h 5880798"/>
                  <a:gd name="connsiteX26" fmla="*/ 561506 w 561506"/>
                  <a:gd name="connsiteY26" fmla="*/ 5348879 h 5880798"/>
                  <a:gd name="connsiteX27" fmla="*/ 531921 w 561506"/>
                  <a:gd name="connsiteY27" fmla="*/ 5348879 h 5880798"/>
                  <a:gd name="connsiteX28" fmla="*/ 265961 w 561506"/>
                  <a:gd name="connsiteY28" fmla="*/ 5319293 h 5880798"/>
                  <a:gd name="connsiteX29" fmla="*/ 295547 w 561506"/>
                  <a:gd name="connsiteY29" fmla="*/ 5319293 h 5880798"/>
                  <a:gd name="connsiteX30" fmla="*/ 295547 w 561506"/>
                  <a:gd name="connsiteY30" fmla="*/ 5348879 h 5880798"/>
                  <a:gd name="connsiteX31" fmla="*/ 265961 w 561506"/>
                  <a:gd name="connsiteY31" fmla="*/ 5348879 h 5880798"/>
                  <a:gd name="connsiteX32" fmla="*/ 0 w 561506"/>
                  <a:gd name="connsiteY32" fmla="*/ 5319293 h 5880798"/>
                  <a:gd name="connsiteX33" fmla="*/ 29585 w 561506"/>
                  <a:gd name="connsiteY33" fmla="*/ 5319293 h 5880798"/>
                  <a:gd name="connsiteX34" fmla="*/ 29585 w 561506"/>
                  <a:gd name="connsiteY34" fmla="*/ 5348879 h 5880798"/>
                  <a:gd name="connsiteX35" fmla="*/ 0 w 561506"/>
                  <a:gd name="connsiteY35" fmla="*/ 5348879 h 5880798"/>
                  <a:gd name="connsiteX36" fmla="*/ 531921 w 561506"/>
                  <a:gd name="connsiteY36" fmla="*/ 5053332 h 5880798"/>
                  <a:gd name="connsiteX37" fmla="*/ 561506 w 561506"/>
                  <a:gd name="connsiteY37" fmla="*/ 5053332 h 5880798"/>
                  <a:gd name="connsiteX38" fmla="*/ 561506 w 561506"/>
                  <a:gd name="connsiteY38" fmla="*/ 5082917 h 5880798"/>
                  <a:gd name="connsiteX39" fmla="*/ 531921 w 561506"/>
                  <a:gd name="connsiteY39" fmla="*/ 5082917 h 5880798"/>
                  <a:gd name="connsiteX40" fmla="*/ 265961 w 561506"/>
                  <a:gd name="connsiteY40" fmla="*/ 5053332 h 5880798"/>
                  <a:gd name="connsiteX41" fmla="*/ 295547 w 561506"/>
                  <a:gd name="connsiteY41" fmla="*/ 5053332 h 5880798"/>
                  <a:gd name="connsiteX42" fmla="*/ 295547 w 561506"/>
                  <a:gd name="connsiteY42" fmla="*/ 5082917 h 5880798"/>
                  <a:gd name="connsiteX43" fmla="*/ 265961 w 561506"/>
                  <a:gd name="connsiteY43" fmla="*/ 5082917 h 5880798"/>
                  <a:gd name="connsiteX44" fmla="*/ 0 w 561506"/>
                  <a:gd name="connsiteY44" fmla="*/ 5053332 h 5880798"/>
                  <a:gd name="connsiteX45" fmla="*/ 29585 w 561506"/>
                  <a:gd name="connsiteY45" fmla="*/ 5053332 h 5880798"/>
                  <a:gd name="connsiteX46" fmla="*/ 29585 w 561506"/>
                  <a:gd name="connsiteY46" fmla="*/ 5082917 h 5880798"/>
                  <a:gd name="connsiteX47" fmla="*/ 0 w 561506"/>
                  <a:gd name="connsiteY47" fmla="*/ 5082917 h 5880798"/>
                  <a:gd name="connsiteX48" fmla="*/ 531921 w 561506"/>
                  <a:gd name="connsiteY48" fmla="*/ 4787372 h 5880798"/>
                  <a:gd name="connsiteX49" fmla="*/ 561506 w 561506"/>
                  <a:gd name="connsiteY49" fmla="*/ 4787372 h 5880798"/>
                  <a:gd name="connsiteX50" fmla="*/ 561506 w 561506"/>
                  <a:gd name="connsiteY50" fmla="*/ 4816958 h 5880798"/>
                  <a:gd name="connsiteX51" fmla="*/ 531921 w 561506"/>
                  <a:gd name="connsiteY51" fmla="*/ 4816958 h 5880798"/>
                  <a:gd name="connsiteX52" fmla="*/ 265961 w 561506"/>
                  <a:gd name="connsiteY52" fmla="*/ 4787372 h 5880798"/>
                  <a:gd name="connsiteX53" fmla="*/ 295547 w 561506"/>
                  <a:gd name="connsiteY53" fmla="*/ 4787372 h 5880798"/>
                  <a:gd name="connsiteX54" fmla="*/ 295547 w 561506"/>
                  <a:gd name="connsiteY54" fmla="*/ 4816958 h 5880798"/>
                  <a:gd name="connsiteX55" fmla="*/ 265961 w 561506"/>
                  <a:gd name="connsiteY55" fmla="*/ 4816958 h 5880798"/>
                  <a:gd name="connsiteX56" fmla="*/ 0 w 561506"/>
                  <a:gd name="connsiteY56" fmla="*/ 4787372 h 5880798"/>
                  <a:gd name="connsiteX57" fmla="*/ 29585 w 561506"/>
                  <a:gd name="connsiteY57" fmla="*/ 4787372 h 5880798"/>
                  <a:gd name="connsiteX58" fmla="*/ 29585 w 561506"/>
                  <a:gd name="connsiteY58" fmla="*/ 4816958 h 5880798"/>
                  <a:gd name="connsiteX59" fmla="*/ 0 w 561506"/>
                  <a:gd name="connsiteY59" fmla="*/ 4816958 h 5880798"/>
                  <a:gd name="connsiteX60" fmla="*/ 531921 w 561506"/>
                  <a:gd name="connsiteY60" fmla="*/ 4521412 h 5880798"/>
                  <a:gd name="connsiteX61" fmla="*/ 561506 w 561506"/>
                  <a:gd name="connsiteY61" fmla="*/ 4521412 h 5880798"/>
                  <a:gd name="connsiteX62" fmla="*/ 561506 w 561506"/>
                  <a:gd name="connsiteY62" fmla="*/ 4550997 h 5880798"/>
                  <a:gd name="connsiteX63" fmla="*/ 531921 w 561506"/>
                  <a:gd name="connsiteY63" fmla="*/ 4550997 h 5880798"/>
                  <a:gd name="connsiteX64" fmla="*/ 265961 w 561506"/>
                  <a:gd name="connsiteY64" fmla="*/ 4521412 h 5880798"/>
                  <a:gd name="connsiteX65" fmla="*/ 295547 w 561506"/>
                  <a:gd name="connsiteY65" fmla="*/ 4521412 h 5880798"/>
                  <a:gd name="connsiteX66" fmla="*/ 295547 w 561506"/>
                  <a:gd name="connsiteY66" fmla="*/ 4550997 h 5880798"/>
                  <a:gd name="connsiteX67" fmla="*/ 265961 w 561506"/>
                  <a:gd name="connsiteY67" fmla="*/ 4550997 h 5880798"/>
                  <a:gd name="connsiteX68" fmla="*/ 0 w 561506"/>
                  <a:gd name="connsiteY68" fmla="*/ 4521412 h 5880798"/>
                  <a:gd name="connsiteX69" fmla="*/ 29585 w 561506"/>
                  <a:gd name="connsiteY69" fmla="*/ 4521412 h 5880798"/>
                  <a:gd name="connsiteX70" fmla="*/ 29585 w 561506"/>
                  <a:gd name="connsiteY70" fmla="*/ 4550997 h 5880798"/>
                  <a:gd name="connsiteX71" fmla="*/ 0 w 561506"/>
                  <a:gd name="connsiteY71" fmla="*/ 4550997 h 5880798"/>
                  <a:gd name="connsiteX72" fmla="*/ 531921 w 561506"/>
                  <a:gd name="connsiteY72" fmla="*/ 4255451 h 5880798"/>
                  <a:gd name="connsiteX73" fmla="*/ 561506 w 561506"/>
                  <a:gd name="connsiteY73" fmla="*/ 4255451 h 5880798"/>
                  <a:gd name="connsiteX74" fmla="*/ 561506 w 561506"/>
                  <a:gd name="connsiteY74" fmla="*/ 4285036 h 5880798"/>
                  <a:gd name="connsiteX75" fmla="*/ 531921 w 561506"/>
                  <a:gd name="connsiteY75" fmla="*/ 4285036 h 5880798"/>
                  <a:gd name="connsiteX76" fmla="*/ 265961 w 561506"/>
                  <a:gd name="connsiteY76" fmla="*/ 4255451 h 5880798"/>
                  <a:gd name="connsiteX77" fmla="*/ 295547 w 561506"/>
                  <a:gd name="connsiteY77" fmla="*/ 4255451 h 5880798"/>
                  <a:gd name="connsiteX78" fmla="*/ 295547 w 561506"/>
                  <a:gd name="connsiteY78" fmla="*/ 4285036 h 5880798"/>
                  <a:gd name="connsiteX79" fmla="*/ 265961 w 561506"/>
                  <a:gd name="connsiteY79" fmla="*/ 4285036 h 5880798"/>
                  <a:gd name="connsiteX80" fmla="*/ 0 w 561506"/>
                  <a:gd name="connsiteY80" fmla="*/ 4255451 h 5880798"/>
                  <a:gd name="connsiteX81" fmla="*/ 29585 w 561506"/>
                  <a:gd name="connsiteY81" fmla="*/ 4255451 h 5880798"/>
                  <a:gd name="connsiteX82" fmla="*/ 29585 w 561506"/>
                  <a:gd name="connsiteY82" fmla="*/ 4285036 h 5880798"/>
                  <a:gd name="connsiteX83" fmla="*/ 0 w 561506"/>
                  <a:gd name="connsiteY83" fmla="*/ 4285036 h 5880798"/>
                  <a:gd name="connsiteX84" fmla="*/ 531921 w 561506"/>
                  <a:gd name="connsiteY84" fmla="*/ 3989491 h 5880798"/>
                  <a:gd name="connsiteX85" fmla="*/ 561506 w 561506"/>
                  <a:gd name="connsiteY85" fmla="*/ 3989491 h 5880798"/>
                  <a:gd name="connsiteX86" fmla="*/ 561506 w 561506"/>
                  <a:gd name="connsiteY86" fmla="*/ 4019077 h 5880798"/>
                  <a:gd name="connsiteX87" fmla="*/ 531921 w 561506"/>
                  <a:gd name="connsiteY87" fmla="*/ 4019077 h 5880798"/>
                  <a:gd name="connsiteX88" fmla="*/ 265961 w 561506"/>
                  <a:gd name="connsiteY88" fmla="*/ 3989491 h 5880798"/>
                  <a:gd name="connsiteX89" fmla="*/ 295547 w 561506"/>
                  <a:gd name="connsiteY89" fmla="*/ 3989491 h 5880798"/>
                  <a:gd name="connsiteX90" fmla="*/ 295547 w 561506"/>
                  <a:gd name="connsiteY90" fmla="*/ 4019077 h 5880798"/>
                  <a:gd name="connsiteX91" fmla="*/ 265961 w 561506"/>
                  <a:gd name="connsiteY91" fmla="*/ 4019077 h 5880798"/>
                  <a:gd name="connsiteX92" fmla="*/ 0 w 561506"/>
                  <a:gd name="connsiteY92" fmla="*/ 3989491 h 5880798"/>
                  <a:gd name="connsiteX93" fmla="*/ 29585 w 561506"/>
                  <a:gd name="connsiteY93" fmla="*/ 3989491 h 5880798"/>
                  <a:gd name="connsiteX94" fmla="*/ 29585 w 561506"/>
                  <a:gd name="connsiteY94" fmla="*/ 4019077 h 5880798"/>
                  <a:gd name="connsiteX95" fmla="*/ 0 w 561506"/>
                  <a:gd name="connsiteY95" fmla="*/ 4019077 h 5880798"/>
                  <a:gd name="connsiteX96" fmla="*/ 531921 w 561506"/>
                  <a:gd name="connsiteY96" fmla="*/ 3723530 h 5880798"/>
                  <a:gd name="connsiteX97" fmla="*/ 561506 w 561506"/>
                  <a:gd name="connsiteY97" fmla="*/ 3723530 h 5880798"/>
                  <a:gd name="connsiteX98" fmla="*/ 561506 w 561506"/>
                  <a:gd name="connsiteY98" fmla="*/ 3753115 h 5880798"/>
                  <a:gd name="connsiteX99" fmla="*/ 531921 w 561506"/>
                  <a:gd name="connsiteY99" fmla="*/ 3753115 h 5880798"/>
                  <a:gd name="connsiteX100" fmla="*/ 265961 w 561506"/>
                  <a:gd name="connsiteY100" fmla="*/ 3723530 h 5880798"/>
                  <a:gd name="connsiteX101" fmla="*/ 295547 w 561506"/>
                  <a:gd name="connsiteY101" fmla="*/ 3723530 h 5880798"/>
                  <a:gd name="connsiteX102" fmla="*/ 295547 w 561506"/>
                  <a:gd name="connsiteY102" fmla="*/ 3753115 h 5880798"/>
                  <a:gd name="connsiteX103" fmla="*/ 265961 w 561506"/>
                  <a:gd name="connsiteY103" fmla="*/ 3753115 h 5880798"/>
                  <a:gd name="connsiteX104" fmla="*/ 0 w 561506"/>
                  <a:gd name="connsiteY104" fmla="*/ 3723530 h 5880798"/>
                  <a:gd name="connsiteX105" fmla="*/ 29585 w 561506"/>
                  <a:gd name="connsiteY105" fmla="*/ 3723530 h 5880798"/>
                  <a:gd name="connsiteX106" fmla="*/ 29585 w 561506"/>
                  <a:gd name="connsiteY106" fmla="*/ 3753115 h 5880798"/>
                  <a:gd name="connsiteX107" fmla="*/ 0 w 561506"/>
                  <a:gd name="connsiteY107" fmla="*/ 3753115 h 5880798"/>
                  <a:gd name="connsiteX108" fmla="*/ 531921 w 561506"/>
                  <a:gd name="connsiteY108" fmla="*/ 3457570 h 5880798"/>
                  <a:gd name="connsiteX109" fmla="*/ 561506 w 561506"/>
                  <a:gd name="connsiteY109" fmla="*/ 3457570 h 5880798"/>
                  <a:gd name="connsiteX110" fmla="*/ 561506 w 561506"/>
                  <a:gd name="connsiteY110" fmla="*/ 3487156 h 5880798"/>
                  <a:gd name="connsiteX111" fmla="*/ 531921 w 561506"/>
                  <a:gd name="connsiteY111" fmla="*/ 3487156 h 5880798"/>
                  <a:gd name="connsiteX112" fmla="*/ 265961 w 561506"/>
                  <a:gd name="connsiteY112" fmla="*/ 3457570 h 5880798"/>
                  <a:gd name="connsiteX113" fmla="*/ 295547 w 561506"/>
                  <a:gd name="connsiteY113" fmla="*/ 3457570 h 5880798"/>
                  <a:gd name="connsiteX114" fmla="*/ 295547 w 561506"/>
                  <a:gd name="connsiteY114" fmla="*/ 3487156 h 5880798"/>
                  <a:gd name="connsiteX115" fmla="*/ 265961 w 561506"/>
                  <a:gd name="connsiteY115" fmla="*/ 3487156 h 5880798"/>
                  <a:gd name="connsiteX116" fmla="*/ 0 w 561506"/>
                  <a:gd name="connsiteY116" fmla="*/ 3457570 h 5880798"/>
                  <a:gd name="connsiteX117" fmla="*/ 29585 w 561506"/>
                  <a:gd name="connsiteY117" fmla="*/ 3457570 h 5880798"/>
                  <a:gd name="connsiteX118" fmla="*/ 29585 w 561506"/>
                  <a:gd name="connsiteY118" fmla="*/ 3487156 h 5880798"/>
                  <a:gd name="connsiteX119" fmla="*/ 0 w 561506"/>
                  <a:gd name="connsiteY119" fmla="*/ 3487156 h 5880798"/>
                  <a:gd name="connsiteX120" fmla="*/ 531921 w 561506"/>
                  <a:gd name="connsiteY120" fmla="*/ 3191618 h 5880798"/>
                  <a:gd name="connsiteX121" fmla="*/ 561506 w 561506"/>
                  <a:gd name="connsiteY121" fmla="*/ 3191618 h 5880798"/>
                  <a:gd name="connsiteX122" fmla="*/ 561506 w 561506"/>
                  <a:gd name="connsiteY122" fmla="*/ 3221195 h 5880798"/>
                  <a:gd name="connsiteX123" fmla="*/ 531921 w 561506"/>
                  <a:gd name="connsiteY123" fmla="*/ 3221195 h 5880798"/>
                  <a:gd name="connsiteX124" fmla="*/ 265961 w 561506"/>
                  <a:gd name="connsiteY124" fmla="*/ 3191618 h 5880798"/>
                  <a:gd name="connsiteX125" fmla="*/ 295547 w 561506"/>
                  <a:gd name="connsiteY125" fmla="*/ 3191618 h 5880798"/>
                  <a:gd name="connsiteX126" fmla="*/ 295547 w 561506"/>
                  <a:gd name="connsiteY126" fmla="*/ 3221195 h 5880798"/>
                  <a:gd name="connsiteX127" fmla="*/ 265961 w 561506"/>
                  <a:gd name="connsiteY127" fmla="*/ 3221195 h 5880798"/>
                  <a:gd name="connsiteX128" fmla="*/ 0 w 561506"/>
                  <a:gd name="connsiteY128" fmla="*/ 3191617 h 5880798"/>
                  <a:gd name="connsiteX129" fmla="*/ 29585 w 561506"/>
                  <a:gd name="connsiteY129" fmla="*/ 3191617 h 5880798"/>
                  <a:gd name="connsiteX130" fmla="*/ 29585 w 561506"/>
                  <a:gd name="connsiteY130" fmla="*/ 3221195 h 5880798"/>
                  <a:gd name="connsiteX131" fmla="*/ 0 w 561506"/>
                  <a:gd name="connsiteY131" fmla="*/ 3221195 h 5880798"/>
                  <a:gd name="connsiteX132" fmla="*/ 531921 w 561506"/>
                  <a:gd name="connsiteY132" fmla="*/ 2925660 h 5880798"/>
                  <a:gd name="connsiteX133" fmla="*/ 561506 w 561506"/>
                  <a:gd name="connsiteY133" fmla="*/ 2925660 h 5880798"/>
                  <a:gd name="connsiteX134" fmla="*/ 561506 w 561506"/>
                  <a:gd name="connsiteY134" fmla="*/ 2955246 h 5880798"/>
                  <a:gd name="connsiteX135" fmla="*/ 531921 w 561506"/>
                  <a:gd name="connsiteY135" fmla="*/ 2955246 h 5880798"/>
                  <a:gd name="connsiteX136" fmla="*/ 265961 w 561506"/>
                  <a:gd name="connsiteY136" fmla="*/ 2925659 h 5880798"/>
                  <a:gd name="connsiteX137" fmla="*/ 295547 w 561506"/>
                  <a:gd name="connsiteY137" fmla="*/ 2925659 h 5880798"/>
                  <a:gd name="connsiteX138" fmla="*/ 295547 w 561506"/>
                  <a:gd name="connsiteY138" fmla="*/ 2955245 h 5880798"/>
                  <a:gd name="connsiteX139" fmla="*/ 265961 w 561506"/>
                  <a:gd name="connsiteY139" fmla="*/ 2955245 h 5880798"/>
                  <a:gd name="connsiteX140" fmla="*/ 0 w 561506"/>
                  <a:gd name="connsiteY140" fmla="*/ 2925658 h 5880798"/>
                  <a:gd name="connsiteX141" fmla="*/ 29585 w 561506"/>
                  <a:gd name="connsiteY141" fmla="*/ 2925658 h 5880798"/>
                  <a:gd name="connsiteX142" fmla="*/ 29585 w 561506"/>
                  <a:gd name="connsiteY142" fmla="*/ 2955244 h 5880798"/>
                  <a:gd name="connsiteX143" fmla="*/ 0 w 561506"/>
                  <a:gd name="connsiteY143" fmla="*/ 2955244 h 5880798"/>
                  <a:gd name="connsiteX144" fmla="*/ 531921 w 561506"/>
                  <a:gd name="connsiteY144" fmla="*/ 2659620 h 5880798"/>
                  <a:gd name="connsiteX145" fmla="*/ 561506 w 561506"/>
                  <a:gd name="connsiteY145" fmla="*/ 2659620 h 5880798"/>
                  <a:gd name="connsiteX146" fmla="*/ 561506 w 561506"/>
                  <a:gd name="connsiteY146" fmla="*/ 2689204 h 5880798"/>
                  <a:gd name="connsiteX147" fmla="*/ 531921 w 561506"/>
                  <a:gd name="connsiteY147" fmla="*/ 2689204 h 5880798"/>
                  <a:gd name="connsiteX148" fmla="*/ 265961 w 561506"/>
                  <a:gd name="connsiteY148" fmla="*/ 2659616 h 5880798"/>
                  <a:gd name="connsiteX149" fmla="*/ 295547 w 561506"/>
                  <a:gd name="connsiteY149" fmla="*/ 2659616 h 5880798"/>
                  <a:gd name="connsiteX150" fmla="*/ 295547 w 561506"/>
                  <a:gd name="connsiteY150" fmla="*/ 2689201 h 5880798"/>
                  <a:gd name="connsiteX151" fmla="*/ 265961 w 561506"/>
                  <a:gd name="connsiteY151" fmla="*/ 2689201 h 5880798"/>
                  <a:gd name="connsiteX152" fmla="*/ 0 w 561506"/>
                  <a:gd name="connsiteY152" fmla="*/ 2659613 h 5880798"/>
                  <a:gd name="connsiteX153" fmla="*/ 29585 w 561506"/>
                  <a:gd name="connsiteY153" fmla="*/ 2659613 h 5880798"/>
                  <a:gd name="connsiteX154" fmla="*/ 29585 w 561506"/>
                  <a:gd name="connsiteY154" fmla="*/ 2689198 h 5880798"/>
                  <a:gd name="connsiteX155" fmla="*/ 0 w 561506"/>
                  <a:gd name="connsiteY155" fmla="*/ 2689198 h 5880798"/>
                  <a:gd name="connsiteX156" fmla="*/ 531921 w 561506"/>
                  <a:gd name="connsiteY156" fmla="*/ 2393661 h 5880798"/>
                  <a:gd name="connsiteX157" fmla="*/ 561506 w 561506"/>
                  <a:gd name="connsiteY157" fmla="*/ 2393661 h 5880798"/>
                  <a:gd name="connsiteX158" fmla="*/ 561506 w 561506"/>
                  <a:gd name="connsiteY158" fmla="*/ 2423260 h 5880798"/>
                  <a:gd name="connsiteX159" fmla="*/ 531921 w 561506"/>
                  <a:gd name="connsiteY159" fmla="*/ 2423260 h 5880798"/>
                  <a:gd name="connsiteX160" fmla="*/ 265961 w 561506"/>
                  <a:gd name="connsiteY160" fmla="*/ 2393658 h 5880798"/>
                  <a:gd name="connsiteX161" fmla="*/ 295547 w 561506"/>
                  <a:gd name="connsiteY161" fmla="*/ 2393658 h 5880798"/>
                  <a:gd name="connsiteX162" fmla="*/ 295547 w 561506"/>
                  <a:gd name="connsiteY162" fmla="*/ 2423257 h 5880798"/>
                  <a:gd name="connsiteX163" fmla="*/ 265961 w 561506"/>
                  <a:gd name="connsiteY163" fmla="*/ 2423257 h 5880798"/>
                  <a:gd name="connsiteX164" fmla="*/ 0 w 561506"/>
                  <a:gd name="connsiteY164" fmla="*/ 2393655 h 5880798"/>
                  <a:gd name="connsiteX165" fmla="*/ 29585 w 561506"/>
                  <a:gd name="connsiteY165" fmla="*/ 2393655 h 5880798"/>
                  <a:gd name="connsiteX166" fmla="*/ 29585 w 561506"/>
                  <a:gd name="connsiteY166" fmla="*/ 2423251 h 5880798"/>
                  <a:gd name="connsiteX167" fmla="*/ 0 w 561506"/>
                  <a:gd name="connsiteY167" fmla="*/ 2423251 h 5880798"/>
                  <a:gd name="connsiteX168" fmla="*/ 531921 w 561506"/>
                  <a:gd name="connsiteY168" fmla="*/ 2127694 h 5880798"/>
                  <a:gd name="connsiteX169" fmla="*/ 561506 w 561506"/>
                  <a:gd name="connsiteY169" fmla="*/ 2127694 h 5880798"/>
                  <a:gd name="connsiteX170" fmla="*/ 561506 w 561506"/>
                  <a:gd name="connsiteY170" fmla="*/ 2157283 h 5880798"/>
                  <a:gd name="connsiteX171" fmla="*/ 531921 w 561506"/>
                  <a:gd name="connsiteY171" fmla="*/ 2157283 h 5880798"/>
                  <a:gd name="connsiteX172" fmla="*/ 265961 w 561506"/>
                  <a:gd name="connsiteY172" fmla="*/ 2127693 h 5880798"/>
                  <a:gd name="connsiteX173" fmla="*/ 295547 w 561506"/>
                  <a:gd name="connsiteY173" fmla="*/ 2127693 h 5880798"/>
                  <a:gd name="connsiteX174" fmla="*/ 295547 w 561506"/>
                  <a:gd name="connsiteY174" fmla="*/ 2157282 h 5880798"/>
                  <a:gd name="connsiteX175" fmla="*/ 265961 w 561506"/>
                  <a:gd name="connsiteY175" fmla="*/ 2157282 h 5880798"/>
                  <a:gd name="connsiteX176" fmla="*/ 0 w 561506"/>
                  <a:gd name="connsiteY176" fmla="*/ 2127689 h 5880798"/>
                  <a:gd name="connsiteX177" fmla="*/ 29585 w 561506"/>
                  <a:gd name="connsiteY177" fmla="*/ 2127689 h 5880798"/>
                  <a:gd name="connsiteX178" fmla="*/ 29585 w 561506"/>
                  <a:gd name="connsiteY178" fmla="*/ 2157278 h 5880798"/>
                  <a:gd name="connsiteX179" fmla="*/ 0 w 561506"/>
                  <a:gd name="connsiteY179" fmla="*/ 2157278 h 5880798"/>
                  <a:gd name="connsiteX180" fmla="*/ 531921 w 561506"/>
                  <a:gd name="connsiteY180" fmla="*/ 1861731 h 5880798"/>
                  <a:gd name="connsiteX181" fmla="*/ 561506 w 561506"/>
                  <a:gd name="connsiteY181" fmla="*/ 1861731 h 5880798"/>
                  <a:gd name="connsiteX182" fmla="*/ 561506 w 561506"/>
                  <a:gd name="connsiteY182" fmla="*/ 1891308 h 5880798"/>
                  <a:gd name="connsiteX183" fmla="*/ 531921 w 561506"/>
                  <a:gd name="connsiteY183" fmla="*/ 1891308 h 5880798"/>
                  <a:gd name="connsiteX184" fmla="*/ 265961 w 561506"/>
                  <a:gd name="connsiteY184" fmla="*/ 1861728 h 5880798"/>
                  <a:gd name="connsiteX185" fmla="*/ 295547 w 561506"/>
                  <a:gd name="connsiteY185" fmla="*/ 1861728 h 5880798"/>
                  <a:gd name="connsiteX186" fmla="*/ 295547 w 561506"/>
                  <a:gd name="connsiteY186" fmla="*/ 1891306 h 5880798"/>
                  <a:gd name="connsiteX187" fmla="*/ 265961 w 561506"/>
                  <a:gd name="connsiteY187" fmla="*/ 1891306 h 5880798"/>
                  <a:gd name="connsiteX188" fmla="*/ 0 w 561506"/>
                  <a:gd name="connsiteY188" fmla="*/ 1861726 h 5880798"/>
                  <a:gd name="connsiteX189" fmla="*/ 29585 w 561506"/>
                  <a:gd name="connsiteY189" fmla="*/ 1861726 h 5880798"/>
                  <a:gd name="connsiteX190" fmla="*/ 29585 w 561506"/>
                  <a:gd name="connsiteY190" fmla="*/ 1891304 h 5880798"/>
                  <a:gd name="connsiteX191" fmla="*/ 0 w 561506"/>
                  <a:gd name="connsiteY191" fmla="*/ 1891304 h 5880798"/>
                  <a:gd name="connsiteX192" fmla="*/ 531921 w 561506"/>
                  <a:gd name="connsiteY192" fmla="*/ 1595769 h 5880798"/>
                  <a:gd name="connsiteX193" fmla="*/ 561506 w 561506"/>
                  <a:gd name="connsiteY193" fmla="*/ 1595769 h 5880798"/>
                  <a:gd name="connsiteX194" fmla="*/ 561506 w 561506"/>
                  <a:gd name="connsiteY194" fmla="*/ 1625355 h 5880798"/>
                  <a:gd name="connsiteX195" fmla="*/ 531921 w 561506"/>
                  <a:gd name="connsiteY195" fmla="*/ 1625355 h 5880798"/>
                  <a:gd name="connsiteX196" fmla="*/ 265961 w 561506"/>
                  <a:gd name="connsiteY196" fmla="*/ 1595766 h 5880798"/>
                  <a:gd name="connsiteX197" fmla="*/ 295547 w 561506"/>
                  <a:gd name="connsiteY197" fmla="*/ 1595766 h 5880798"/>
                  <a:gd name="connsiteX198" fmla="*/ 295547 w 561506"/>
                  <a:gd name="connsiteY198" fmla="*/ 1625352 h 5880798"/>
                  <a:gd name="connsiteX199" fmla="*/ 265961 w 561506"/>
                  <a:gd name="connsiteY199" fmla="*/ 1625352 h 5880798"/>
                  <a:gd name="connsiteX200" fmla="*/ 0 w 561506"/>
                  <a:gd name="connsiteY200" fmla="*/ 1595764 h 5880798"/>
                  <a:gd name="connsiteX201" fmla="*/ 29585 w 561506"/>
                  <a:gd name="connsiteY201" fmla="*/ 1595764 h 5880798"/>
                  <a:gd name="connsiteX202" fmla="*/ 29585 w 561506"/>
                  <a:gd name="connsiteY202" fmla="*/ 1625350 h 5880798"/>
                  <a:gd name="connsiteX203" fmla="*/ 0 w 561506"/>
                  <a:gd name="connsiteY203" fmla="*/ 1625350 h 5880798"/>
                  <a:gd name="connsiteX204" fmla="*/ 531921 w 561506"/>
                  <a:gd name="connsiteY204" fmla="*/ 1329811 h 5880798"/>
                  <a:gd name="connsiteX205" fmla="*/ 561506 w 561506"/>
                  <a:gd name="connsiteY205" fmla="*/ 1329811 h 5880798"/>
                  <a:gd name="connsiteX206" fmla="*/ 561506 w 561506"/>
                  <a:gd name="connsiteY206" fmla="*/ 1359396 h 5880798"/>
                  <a:gd name="connsiteX207" fmla="*/ 531921 w 561506"/>
                  <a:gd name="connsiteY207" fmla="*/ 1359396 h 5880798"/>
                  <a:gd name="connsiteX208" fmla="*/ 265961 w 561506"/>
                  <a:gd name="connsiteY208" fmla="*/ 1329809 h 5880798"/>
                  <a:gd name="connsiteX209" fmla="*/ 295547 w 561506"/>
                  <a:gd name="connsiteY209" fmla="*/ 1329809 h 5880798"/>
                  <a:gd name="connsiteX210" fmla="*/ 295547 w 561506"/>
                  <a:gd name="connsiteY210" fmla="*/ 1359393 h 5880798"/>
                  <a:gd name="connsiteX211" fmla="*/ 265961 w 561506"/>
                  <a:gd name="connsiteY211" fmla="*/ 1359393 h 5880798"/>
                  <a:gd name="connsiteX212" fmla="*/ 0 w 561506"/>
                  <a:gd name="connsiteY212" fmla="*/ 1329806 h 5880798"/>
                  <a:gd name="connsiteX213" fmla="*/ 29585 w 561506"/>
                  <a:gd name="connsiteY213" fmla="*/ 1329806 h 5880798"/>
                  <a:gd name="connsiteX214" fmla="*/ 29585 w 561506"/>
                  <a:gd name="connsiteY214" fmla="*/ 1359391 h 5880798"/>
                  <a:gd name="connsiteX215" fmla="*/ 0 w 561506"/>
                  <a:gd name="connsiteY215" fmla="*/ 1359391 h 5880798"/>
                  <a:gd name="connsiteX216" fmla="*/ 531921 w 561506"/>
                  <a:gd name="connsiteY216" fmla="*/ 1063855 h 5880798"/>
                  <a:gd name="connsiteX217" fmla="*/ 561506 w 561506"/>
                  <a:gd name="connsiteY217" fmla="*/ 1063855 h 5880798"/>
                  <a:gd name="connsiteX218" fmla="*/ 561506 w 561506"/>
                  <a:gd name="connsiteY218" fmla="*/ 1093441 h 5880798"/>
                  <a:gd name="connsiteX219" fmla="*/ 531921 w 561506"/>
                  <a:gd name="connsiteY219" fmla="*/ 1093441 h 5880798"/>
                  <a:gd name="connsiteX220" fmla="*/ 265961 w 561506"/>
                  <a:gd name="connsiteY220" fmla="*/ 1063852 h 5880798"/>
                  <a:gd name="connsiteX221" fmla="*/ 295547 w 561506"/>
                  <a:gd name="connsiteY221" fmla="*/ 1063852 h 5880798"/>
                  <a:gd name="connsiteX222" fmla="*/ 295547 w 561506"/>
                  <a:gd name="connsiteY222" fmla="*/ 1093438 h 5880798"/>
                  <a:gd name="connsiteX223" fmla="*/ 265961 w 561506"/>
                  <a:gd name="connsiteY223" fmla="*/ 1093438 h 5880798"/>
                  <a:gd name="connsiteX224" fmla="*/ 0 w 561506"/>
                  <a:gd name="connsiteY224" fmla="*/ 1063849 h 5880798"/>
                  <a:gd name="connsiteX225" fmla="*/ 29585 w 561506"/>
                  <a:gd name="connsiteY225" fmla="*/ 1063849 h 5880798"/>
                  <a:gd name="connsiteX226" fmla="*/ 29585 w 561506"/>
                  <a:gd name="connsiteY226" fmla="*/ 1093435 h 5880798"/>
                  <a:gd name="connsiteX227" fmla="*/ 0 w 561506"/>
                  <a:gd name="connsiteY227" fmla="*/ 1093435 h 5880798"/>
                  <a:gd name="connsiteX228" fmla="*/ 531921 w 561506"/>
                  <a:gd name="connsiteY228" fmla="*/ 797884 h 5880798"/>
                  <a:gd name="connsiteX229" fmla="*/ 561506 w 561506"/>
                  <a:gd name="connsiteY229" fmla="*/ 797884 h 5880798"/>
                  <a:gd name="connsiteX230" fmla="*/ 561506 w 561506"/>
                  <a:gd name="connsiteY230" fmla="*/ 827470 h 5880798"/>
                  <a:gd name="connsiteX231" fmla="*/ 531921 w 561506"/>
                  <a:gd name="connsiteY231" fmla="*/ 827470 h 5880798"/>
                  <a:gd name="connsiteX232" fmla="*/ 265961 w 561506"/>
                  <a:gd name="connsiteY232" fmla="*/ 797882 h 5880798"/>
                  <a:gd name="connsiteX233" fmla="*/ 295547 w 561506"/>
                  <a:gd name="connsiteY233" fmla="*/ 797882 h 5880798"/>
                  <a:gd name="connsiteX234" fmla="*/ 295547 w 561506"/>
                  <a:gd name="connsiteY234" fmla="*/ 827468 h 5880798"/>
                  <a:gd name="connsiteX235" fmla="*/ 265961 w 561506"/>
                  <a:gd name="connsiteY235" fmla="*/ 827468 h 5880798"/>
                  <a:gd name="connsiteX236" fmla="*/ 0 w 561506"/>
                  <a:gd name="connsiteY236" fmla="*/ 797879 h 5880798"/>
                  <a:gd name="connsiteX237" fmla="*/ 29585 w 561506"/>
                  <a:gd name="connsiteY237" fmla="*/ 797879 h 5880798"/>
                  <a:gd name="connsiteX238" fmla="*/ 29585 w 561506"/>
                  <a:gd name="connsiteY238" fmla="*/ 827465 h 5880798"/>
                  <a:gd name="connsiteX239" fmla="*/ 0 w 561506"/>
                  <a:gd name="connsiteY239" fmla="*/ 827465 h 5880798"/>
                  <a:gd name="connsiteX240" fmla="*/ 531921 w 561506"/>
                  <a:gd name="connsiteY240" fmla="*/ 531924 h 5880798"/>
                  <a:gd name="connsiteX241" fmla="*/ 561506 w 561506"/>
                  <a:gd name="connsiteY241" fmla="*/ 531924 h 5880798"/>
                  <a:gd name="connsiteX242" fmla="*/ 561506 w 561506"/>
                  <a:gd name="connsiteY242" fmla="*/ 561509 h 5880798"/>
                  <a:gd name="connsiteX243" fmla="*/ 531921 w 561506"/>
                  <a:gd name="connsiteY243" fmla="*/ 561509 h 5880798"/>
                  <a:gd name="connsiteX244" fmla="*/ 265961 w 561506"/>
                  <a:gd name="connsiteY244" fmla="*/ 531922 h 5880798"/>
                  <a:gd name="connsiteX245" fmla="*/ 295547 w 561506"/>
                  <a:gd name="connsiteY245" fmla="*/ 531922 h 5880798"/>
                  <a:gd name="connsiteX246" fmla="*/ 295547 w 561506"/>
                  <a:gd name="connsiteY246" fmla="*/ 561507 h 5880798"/>
                  <a:gd name="connsiteX247" fmla="*/ 265961 w 561506"/>
                  <a:gd name="connsiteY247" fmla="*/ 561507 h 5880798"/>
                  <a:gd name="connsiteX248" fmla="*/ 0 w 561506"/>
                  <a:gd name="connsiteY248" fmla="*/ 531920 h 5880798"/>
                  <a:gd name="connsiteX249" fmla="*/ 29585 w 561506"/>
                  <a:gd name="connsiteY249" fmla="*/ 531920 h 5880798"/>
                  <a:gd name="connsiteX250" fmla="*/ 29585 w 561506"/>
                  <a:gd name="connsiteY250" fmla="*/ 561505 h 5880798"/>
                  <a:gd name="connsiteX251" fmla="*/ 0 w 561506"/>
                  <a:gd name="connsiteY251" fmla="*/ 561505 h 5880798"/>
                  <a:gd name="connsiteX252" fmla="*/ 531921 w 561506"/>
                  <a:gd name="connsiteY252" fmla="*/ 265964 h 5880798"/>
                  <a:gd name="connsiteX253" fmla="*/ 561506 w 561506"/>
                  <a:gd name="connsiteY253" fmla="*/ 265964 h 5880798"/>
                  <a:gd name="connsiteX254" fmla="*/ 561506 w 561506"/>
                  <a:gd name="connsiteY254" fmla="*/ 295550 h 5880798"/>
                  <a:gd name="connsiteX255" fmla="*/ 531921 w 561506"/>
                  <a:gd name="connsiteY255" fmla="*/ 295550 h 5880798"/>
                  <a:gd name="connsiteX256" fmla="*/ 265961 w 561506"/>
                  <a:gd name="connsiteY256" fmla="*/ 265962 h 5880798"/>
                  <a:gd name="connsiteX257" fmla="*/ 295547 w 561506"/>
                  <a:gd name="connsiteY257" fmla="*/ 265962 h 5880798"/>
                  <a:gd name="connsiteX258" fmla="*/ 295547 w 561506"/>
                  <a:gd name="connsiteY258" fmla="*/ 295548 h 5880798"/>
                  <a:gd name="connsiteX259" fmla="*/ 265961 w 561506"/>
                  <a:gd name="connsiteY259" fmla="*/ 295548 h 5880798"/>
                  <a:gd name="connsiteX260" fmla="*/ 0 w 561506"/>
                  <a:gd name="connsiteY260" fmla="*/ 265960 h 5880798"/>
                  <a:gd name="connsiteX261" fmla="*/ 29585 w 561506"/>
                  <a:gd name="connsiteY261" fmla="*/ 265960 h 5880798"/>
                  <a:gd name="connsiteX262" fmla="*/ 29585 w 561506"/>
                  <a:gd name="connsiteY262" fmla="*/ 295546 h 5880798"/>
                  <a:gd name="connsiteX263" fmla="*/ 0 w 561506"/>
                  <a:gd name="connsiteY263" fmla="*/ 295546 h 5880798"/>
                  <a:gd name="connsiteX264" fmla="*/ 531921 w 561506"/>
                  <a:gd name="connsiteY264" fmla="*/ 5 h 5880798"/>
                  <a:gd name="connsiteX265" fmla="*/ 561506 w 561506"/>
                  <a:gd name="connsiteY265" fmla="*/ 5 h 5880798"/>
                  <a:gd name="connsiteX266" fmla="*/ 561506 w 561506"/>
                  <a:gd name="connsiteY266" fmla="*/ 29591 h 5880798"/>
                  <a:gd name="connsiteX267" fmla="*/ 531921 w 561506"/>
                  <a:gd name="connsiteY267" fmla="*/ 29591 h 5880798"/>
                  <a:gd name="connsiteX268" fmla="*/ 265961 w 561506"/>
                  <a:gd name="connsiteY268" fmla="*/ 3 h 5880798"/>
                  <a:gd name="connsiteX269" fmla="*/ 295547 w 561506"/>
                  <a:gd name="connsiteY269" fmla="*/ 3 h 5880798"/>
                  <a:gd name="connsiteX270" fmla="*/ 295547 w 561506"/>
                  <a:gd name="connsiteY270" fmla="*/ 29589 h 5880798"/>
                  <a:gd name="connsiteX271" fmla="*/ 265961 w 561506"/>
                  <a:gd name="connsiteY271" fmla="*/ 29589 h 5880798"/>
                  <a:gd name="connsiteX272" fmla="*/ 0 w 561506"/>
                  <a:gd name="connsiteY272" fmla="*/ 0 h 5880798"/>
                  <a:gd name="connsiteX273" fmla="*/ 29585 w 561506"/>
                  <a:gd name="connsiteY273" fmla="*/ 0 h 5880798"/>
                  <a:gd name="connsiteX274" fmla="*/ 29585 w 561506"/>
                  <a:gd name="connsiteY274" fmla="*/ 29586 h 5880798"/>
                  <a:gd name="connsiteX275" fmla="*/ 0 w 561506"/>
                  <a:gd name="connsiteY275" fmla="*/ 29586 h 58807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</a:cxnLst>
                <a:rect l="l" t="t" r="r" b="b"/>
                <a:pathLst>
                  <a:path w="561506" h="5880798">
                    <a:moveTo>
                      <a:pt x="531921" y="5851213"/>
                    </a:moveTo>
                    <a:lnTo>
                      <a:pt x="561506" y="5851213"/>
                    </a:lnTo>
                    <a:lnTo>
                      <a:pt x="561506" y="5880798"/>
                    </a:lnTo>
                    <a:lnTo>
                      <a:pt x="531921" y="5880798"/>
                    </a:lnTo>
                    <a:close/>
                    <a:moveTo>
                      <a:pt x="265961" y="5851213"/>
                    </a:moveTo>
                    <a:lnTo>
                      <a:pt x="295547" y="5851213"/>
                    </a:lnTo>
                    <a:lnTo>
                      <a:pt x="295547" y="5880798"/>
                    </a:lnTo>
                    <a:lnTo>
                      <a:pt x="265961" y="5880798"/>
                    </a:lnTo>
                    <a:close/>
                    <a:moveTo>
                      <a:pt x="0" y="5851213"/>
                    </a:moveTo>
                    <a:lnTo>
                      <a:pt x="29585" y="5851213"/>
                    </a:lnTo>
                    <a:lnTo>
                      <a:pt x="29585" y="5880798"/>
                    </a:lnTo>
                    <a:lnTo>
                      <a:pt x="0" y="5880798"/>
                    </a:lnTo>
                    <a:close/>
                    <a:moveTo>
                      <a:pt x="531921" y="5585253"/>
                    </a:moveTo>
                    <a:lnTo>
                      <a:pt x="561506" y="5585253"/>
                    </a:lnTo>
                    <a:lnTo>
                      <a:pt x="561506" y="5614838"/>
                    </a:lnTo>
                    <a:lnTo>
                      <a:pt x="531921" y="5614838"/>
                    </a:lnTo>
                    <a:close/>
                    <a:moveTo>
                      <a:pt x="265961" y="5585253"/>
                    </a:moveTo>
                    <a:lnTo>
                      <a:pt x="295547" y="5585253"/>
                    </a:lnTo>
                    <a:lnTo>
                      <a:pt x="295547" y="5614838"/>
                    </a:lnTo>
                    <a:lnTo>
                      <a:pt x="265961" y="5614838"/>
                    </a:lnTo>
                    <a:close/>
                    <a:moveTo>
                      <a:pt x="0" y="5585253"/>
                    </a:moveTo>
                    <a:lnTo>
                      <a:pt x="29585" y="5585253"/>
                    </a:lnTo>
                    <a:lnTo>
                      <a:pt x="29585" y="5614838"/>
                    </a:lnTo>
                    <a:lnTo>
                      <a:pt x="0" y="5614838"/>
                    </a:lnTo>
                    <a:close/>
                    <a:moveTo>
                      <a:pt x="531921" y="5319293"/>
                    </a:moveTo>
                    <a:lnTo>
                      <a:pt x="561506" y="5319293"/>
                    </a:lnTo>
                    <a:lnTo>
                      <a:pt x="561506" y="5348879"/>
                    </a:lnTo>
                    <a:lnTo>
                      <a:pt x="531921" y="5348879"/>
                    </a:lnTo>
                    <a:close/>
                    <a:moveTo>
                      <a:pt x="265961" y="5319293"/>
                    </a:moveTo>
                    <a:lnTo>
                      <a:pt x="295547" y="5319293"/>
                    </a:lnTo>
                    <a:lnTo>
                      <a:pt x="295547" y="5348879"/>
                    </a:lnTo>
                    <a:lnTo>
                      <a:pt x="265961" y="5348879"/>
                    </a:lnTo>
                    <a:close/>
                    <a:moveTo>
                      <a:pt x="0" y="5319293"/>
                    </a:moveTo>
                    <a:lnTo>
                      <a:pt x="29585" y="5319293"/>
                    </a:lnTo>
                    <a:lnTo>
                      <a:pt x="29585" y="5348879"/>
                    </a:lnTo>
                    <a:lnTo>
                      <a:pt x="0" y="5348879"/>
                    </a:lnTo>
                    <a:close/>
                    <a:moveTo>
                      <a:pt x="531921" y="5053332"/>
                    </a:moveTo>
                    <a:lnTo>
                      <a:pt x="561506" y="5053332"/>
                    </a:lnTo>
                    <a:lnTo>
                      <a:pt x="561506" y="5082917"/>
                    </a:lnTo>
                    <a:lnTo>
                      <a:pt x="531921" y="5082917"/>
                    </a:lnTo>
                    <a:close/>
                    <a:moveTo>
                      <a:pt x="265961" y="5053332"/>
                    </a:moveTo>
                    <a:lnTo>
                      <a:pt x="295547" y="5053332"/>
                    </a:lnTo>
                    <a:lnTo>
                      <a:pt x="295547" y="5082917"/>
                    </a:lnTo>
                    <a:lnTo>
                      <a:pt x="265961" y="5082917"/>
                    </a:lnTo>
                    <a:close/>
                    <a:moveTo>
                      <a:pt x="0" y="5053332"/>
                    </a:moveTo>
                    <a:lnTo>
                      <a:pt x="29585" y="5053332"/>
                    </a:lnTo>
                    <a:lnTo>
                      <a:pt x="29585" y="5082917"/>
                    </a:lnTo>
                    <a:lnTo>
                      <a:pt x="0" y="5082917"/>
                    </a:lnTo>
                    <a:close/>
                    <a:moveTo>
                      <a:pt x="531921" y="4787372"/>
                    </a:moveTo>
                    <a:lnTo>
                      <a:pt x="561506" y="4787372"/>
                    </a:lnTo>
                    <a:lnTo>
                      <a:pt x="561506" y="4816958"/>
                    </a:lnTo>
                    <a:lnTo>
                      <a:pt x="531921" y="4816958"/>
                    </a:lnTo>
                    <a:close/>
                    <a:moveTo>
                      <a:pt x="265961" y="4787372"/>
                    </a:moveTo>
                    <a:lnTo>
                      <a:pt x="295547" y="4787372"/>
                    </a:lnTo>
                    <a:lnTo>
                      <a:pt x="295547" y="4816958"/>
                    </a:lnTo>
                    <a:lnTo>
                      <a:pt x="265961" y="4816958"/>
                    </a:lnTo>
                    <a:close/>
                    <a:moveTo>
                      <a:pt x="0" y="4787372"/>
                    </a:moveTo>
                    <a:lnTo>
                      <a:pt x="29585" y="4787372"/>
                    </a:lnTo>
                    <a:lnTo>
                      <a:pt x="29585" y="4816958"/>
                    </a:lnTo>
                    <a:lnTo>
                      <a:pt x="0" y="4816958"/>
                    </a:lnTo>
                    <a:close/>
                    <a:moveTo>
                      <a:pt x="531921" y="4521412"/>
                    </a:moveTo>
                    <a:lnTo>
                      <a:pt x="561506" y="4521412"/>
                    </a:lnTo>
                    <a:lnTo>
                      <a:pt x="561506" y="4550997"/>
                    </a:lnTo>
                    <a:lnTo>
                      <a:pt x="531921" y="4550997"/>
                    </a:lnTo>
                    <a:close/>
                    <a:moveTo>
                      <a:pt x="265961" y="4521412"/>
                    </a:moveTo>
                    <a:lnTo>
                      <a:pt x="295547" y="4521412"/>
                    </a:lnTo>
                    <a:lnTo>
                      <a:pt x="295547" y="4550997"/>
                    </a:lnTo>
                    <a:lnTo>
                      <a:pt x="265961" y="4550997"/>
                    </a:lnTo>
                    <a:close/>
                    <a:moveTo>
                      <a:pt x="0" y="4521412"/>
                    </a:moveTo>
                    <a:lnTo>
                      <a:pt x="29585" y="4521412"/>
                    </a:lnTo>
                    <a:lnTo>
                      <a:pt x="29585" y="4550997"/>
                    </a:lnTo>
                    <a:lnTo>
                      <a:pt x="0" y="4550997"/>
                    </a:lnTo>
                    <a:close/>
                    <a:moveTo>
                      <a:pt x="531921" y="4255451"/>
                    </a:moveTo>
                    <a:lnTo>
                      <a:pt x="561506" y="4255451"/>
                    </a:lnTo>
                    <a:lnTo>
                      <a:pt x="561506" y="4285036"/>
                    </a:lnTo>
                    <a:lnTo>
                      <a:pt x="531921" y="4285036"/>
                    </a:lnTo>
                    <a:close/>
                    <a:moveTo>
                      <a:pt x="265961" y="4255451"/>
                    </a:moveTo>
                    <a:lnTo>
                      <a:pt x="295547" y="4255451"/>
                    </a:lnTo>
                    <a:lnTo>
                      <a:pt x="295547" y="4285036"/>
                    </a:lnTo>
                    <a:lnTo>
                      <a:pt x="265961" y="4285036"/>
                    </a:lnTo>
                    <a:close/>
                    <a:moveTo>
                      <a:pt x="0" y="4255451"/>
                    </a:moveTo>
                    <a:lnTo>
                      <a:pt x="29585" y="4255451"/>
                    </a:lnTo>
                    <a:lnTo>
                      <a:pt x="29585" y="4285036"/>
                    </a:lnTo>
                    <a:lnTo>
                      <a:pt x="0" y="4285036"/>
                    </a:lnTo>
                    <a:close/>
                    <a:moveTo>
                      <a:pt x="531921" y="3989491"/>
                    </a:moveTo>
                    <a:lnTo>
                      <a:pt x="561506" y="3989491"/>
                    </a:lnTo>
                    <a:lnTo>
                      <a:pt x="561506" y="4019077"/>
                    </a:lnTo>
                    <a:lnTo>
                      <a:pt x="531921" y="4019077"/>
                    </a:lnTo>
                    <a:close/>
                    <a:moveTo>
                      <a:pt x="265961" y="3989491"/>
                    </a:moveTo>
                    <a:lnTo>
                      <a:pt x="295547" y="3989491"/>
                    </a:lnTo>
                    <a:lnTo>
                      <a:pt x="295547" y="4019077"/>
                    </a:lnTo>
                    <a:lnTo>
                      <a:pt x="265961" y="4019077"/>
                    </a:lnTo>
                    <a:close/>
                    <a:moveTo>
                      <a:pt x="0" y="3989491"/>
                    </a:moveTo>
                    <a:lnTo>
                      <a:pt x="29585" y="3989491"/>
                    </a:lnTo>
                    <a:lnTo>
                      <a:pt x="29585" y="4019077"/>
                    </a:lnTo>
                    <a:lnTo>
                      <a:pt x="0" y="4019077"/>
                    </a:lnTo>
                    <a:close/>
                    <a:moveTo>
                      <a:pt x="531921" y="3723530"/>
                    </a:moveTo>
                    <a:lnTo>
                      <a:pt x="561506" y="3723530"/>
                    </a:lnTo>
                    <a:lnTo>
                      <a:pt x="561506" y="3753115"/>
                    </a:lnTo>
                    <a:lnTo>
                      <a:pt x="531921" y="3753115"/>
                    </a:lnTo>
                    <a:close/>
                    <a:moveTo>
                      <a:pt x="265961" y="3723530"/>
                    </a:moveTo>
                    <a:lnTo>
                      <a:pt x="295547" y="3723530"/>
                    </a:lnTo>
                    <a:lnTo>
                      <a:pt x="295547" y="3753115"/>
                    </a:lnTo>
                    <a:lnTo>
                      <a:pt x="265961" y="3753115"/>
                    </a:lnTo>
                    <a:close/>
                    <a:moveTo>
                      <a:pt x="0" y="3723530"/>
                    </a:moveTo>
                    <a:lnTo>
                      <a:pt x="29585" y="3723530"/>
                    </a:lnTo>
                    <a:lnTo>
                      <a:pt x="29585" y="3753115"/>
                    </a:lnTo>
                    <a:lnTo>
                      <a:pt x="0" y="3753115"/>
                    </a:lnTo>
                    <a:close/>
                    <a:moveTo>
                      <a:pt x="531921" y="3457570"/>
                    </a:moveTo>
                    <a:lnTo>
                      <a:pt x="561506" y="3457570"/>
                    </a:lnTo>
                    <a:lnTo>
                      <a:pt x="561506" y="3487156"/>
                    </a:lnTo>
                    <a:lnTo>
                      <a:pt x="531921" y="3487156"/>
                    </a:lnTo>
                    <a:close/>
                    <a:moveTo>
                      <a:pt x="265961" y="3457570"/>
                    </a:moveTo>
                    <a:lnTo>
                      <a:pt x="295547" y="3457570"/>
                    </a:lnTo>
                    <a:lnTo>
                      <a:pt x="295547" y="3487156"/>
                    </a:lnTo>
                    <a:lnTo>
                      <a:pt x="265961" y="3487156"/>
                    </a:lnTo>
                    <a:close/>
                    <a:moveTo>
                      <a:pt x="0" y="3457570"/>
                    </a:moveTo>
                    <a:lnTo>
                      <a:pt x="29585" y="3457570"/>
                    </a:lnTo>
                    <a:lnTo>
                      <a:pt x="29585" y="3487156"/>
                    </a:lnTo>
                    <a:lnTo>
                      <a:pt x="0" y="3487156"/>
                    </a:lnTo>
                    <a:close/>
                    <a:moveTo>
                      <a:pt x="531921" y="3191618"/>
                    </a:moveTo>
                    <a:lnTo>
                      <a:pt x="561506" y="3191618"/>
                    </a:lnTo>
                    <a:lnTo>
                      <a:pt x="561506" y="3221195"/>
                    </a:lnTo>
                    <a:lnTo>
                      <a:pt x="531921" y="3221195"/>
                    </a:lnTo>
                    <a:close/>
                    <a:moveTo>
                      <a:pt x="265961" y="3191618"/>
                    </a:moveTo>
                    <a:lnTo>
                      <a:pt x="295547" y="3191618"/>
                    </a:lnTo>
                    <a:lnTo>
                      <a:pt x="295547" y="3221195"/>
                    </a:lnTo>
                    <a:lnTo>
                      <a:pt x="265961" y="3221195"/>
                    </a:lnTo>
                    <a:close/>
                    <a:moveTo>
                      <a:pt x="0" y="3191617"/>
                    </a:moveTo>
                    <a:lnTo>
                      <a:pt x="29585" y="3191617"/>
                    </a:lnTo>
                    <a:lnTo>
                      <a:pt x="29585" y="3221195"/>
                    </a:lnTo>
                    <a:lnTo>
                      <a:pt x="0" y="3221195"/>
                    </a:lnTo>
                    <a:close/>
                    <a:moveTo>
                      <a:pt x="531921" y="2925660"/>
                    </a:moveTo>
                    <a:lnTo>
                      <a:pt x="561506" y="2925660"/>
                    </a:lnTo>
                    <a:lnTo>
                      <a:pt x="561506" y="2955246"/>
                    </a:lnTo>
                    <a:lnTo>
                      <a:pt x="531921" y="2955246"/>
                    </a:lnTo>
                    <a:close/>
                    <a:moveTo>
                      <a:pt x="265961" y="2925659"/>
                    </a:moveTo>
                    <a:lnTo>
                      <a:pt x="295547" y="2925659"/>
                    </a:lnTo>
                    <a:lnTo>
                      <a:pt x="295547" y="2955245"/>
                    </a:lnTo>
                    <a:lnTo>
                      <a:pt x="265961" y="2955245"/>
                    </a:lnTo>
                    <a:close/>
                    <a:moveTo>
                      <a:pt x="0" y="2925658"/>
                    </a:moveTo>
                    <a:lnTo>
                      <a:pt x="29585" y="2925658"/>
                    </a:lnTo>
                    <a:lnTo>
                      <a:pt x="29585" y="2955244"/>
                    </a:lnTo>
                    <a:lnTo>
                      <a:pt x="0" y="2955244"/>
                    </a:lnTo>
                    <a:close/>
                    <a:moveTo>
                      <a:pt x="531921" y="2659620"/>
                    </a:moveTo>
                    <a:lnTo>
                      <a:pt x="561506" y="2659620"/>
                    </a:lnTo>
                    <a:lnTo>
                      <a:pt x="561506" y="2689204"/>
                    </a:lnTo>
                    <a:lnTo>
                      <a:pt x="531921" y="2689204"/>
                    </a:lnTo>
                    <a:close/>
                    <a:moveTo>
                      <a:pt x="265961" y="2659616"/>
                    </a:moveTo>
                    <a:lnTo>
                      <a:pt x="295547" y="2659616"/>
                    </a:lnTo>
                    <a:lnTo>
                      <a:pt x="295547" y="2689201"/>
                    </a:lnTo>
                    <a:lnTo>
                      <a:pt x="265961" y="2689201"/>
                    </a:lnTo>
                    <a:close/>
                    <a:moveTo>
                      <a:pt x="0" y="2659613"/>
                    </a:moveTo>
                    <a:lnTo>
                      <a:pt x="29585" y="2659613"/>
                    </a:lnTo>
                    <a:lnTo>
                      <a:pt x="29585" y="2689198"/>
                    </a:lnTo>
                    <a:lnTo>
                      <a:pt x="0" y="2689198"/>
                    </a:lnTo>
                    <a:close/>
                    <a:moveTo>
                      <a:pt x="531921" y="2393661"/>
                    </a:moveTo>
                    <a:lnTo>
                      <a:pt x="561506" y="2393661"/>
                    </a:lnTo>
                    <a:lnTo>
                      <a:pt x="561506" y="2423260"/>
                    </a:lnTo>
                    <a:lnTo>
                      <a:pt x="531921" y="2423260"/>
                    </a:lnTo>
                    <a:close/>
                    <a:moveTo>
                      <a:pt x="265961" y="2393658"/>
                    </a:moveTo>
                    <a:lnTo>
                      <a:pt x="295547" y="2393658"/>
                    </a:lnTo>
                    <a:lnTo>
                      <a:pt x="295547" y="2423257"/>
                    </a:lnTo>
                    <a:lnTo>
                      <a:pt x="265961" y="2423257"/>
                    </a:lnTo>
                    <a:close/>
                    <a:moveTo>
                      <a:pt x="0" y="2393655"/>
                    </a:moveTo>
                    <a:lnTo>
                      <a:pt x="29585" y="2393655"/>
                    </a:lnTo>
                    <a:lnTo>
                      <a:pt x="29585" y="2423251"/>
                    </a:lnTo>
                    <a:lnTo>
                      <a:pt x="0" y="2423251"/>
                    </a:lnTo>
                    <a:close/>
                    <a:moveTo>
                      <a:pt x="531921" y="2127694"/>
                    </a:moveTo>
                    <a:lnTo>
                      <a:pt x="561506" y="2127694"/>
                    </a:lnTo>
                    <a:lnTo>
                      <a:pt x="561506" y="2157283"/>
                    </a:lnTo>
                    <a:lnTo>
                      <a:pt x="531921" y="2157283"/>
                    </a:lnTo>
                    <a:close/>
                    <a:moveTo>
                      <a:pt x="265961" y="2127693"/>
                    </a:moveTo>
                    <a:lnTo>
                      <a:pt x="295547" y="2127693"/>
                    </a:lnTo>
                    <a:lnTo>
                      <a:pt x="295547" y="2157282"/>
                    </a:lnTo>
                    <a:lnTo>
                      <a:pt x="265961" y="2157282"/>
                    </a:lnTo>
                    <a:close/>
                    <a:moveTo>
                      <a:pt x="0" y="2127689"/>
                    </a:moveTo>
                    <a:lnTo>
                      <a:pt x="29585" y="2127689"/>
                    </a:lnTo>
                    <a:lnTo>
                      <a:pt x="29585" y="2157278"/>
                    </a:lnTo>
                    <a:lnTo>
                      <a:pt x="0" y="2157278"/>
                    </a:lnTo>
                    <a:close/>
                    <a:moveTo>
                      <a:pt x="531921" y="1861731"/>
                    </a:moveTo>
                    <a:lnTo>
                      <a:pt x="561506" y="1861731"/>
                    </a:lnTo>
                    <a:lnTo>
                      <a:pt x="561506" y="1891308"/>
                    </a:lnTo>
                    <a:lnTo>
                      <a:pt x="531921" y="1891308"/>
                    </a:lnTo>
                    <a:close/>
                    <a:moveTo>
                      <a:pt x="265961" y="1861728"/>
                    </a:moveTo>
                    <a:lnTo>
                      <a:pt x="295547" y="1861728"/>
                    </a:lnTo>
                    <a:lnTo>
                      <a:pt x="295547" y="1891306"/>
                    </a:lnTo>
                    <a:lnTo>
                      <a:pt x="265961" y="1891306"/>
                    </a:lnTo>
                    <a:close/>
                    <a:moveTo>
                      <a:pt x="0" y="1861726"/>
                    </a:moveTo>
                    <a:lnTo>
                      <a:pt x="29585" y="1861726"/>
                    </a:lnTo>
                    <a:lnTo>
                      <a:pt x="29585" y="1891304"/>
                    </a:lnTo>
                    <a:lnTo>
                      <a:pt x="0" y="1891304"/>
                    </a:lnTo>
                    <a:close/>
                    <a:moveTo>
                      <a:pt x="531921" y="1595769"/>
                    </a:moveTo>
                    <a:lnTo>
                      <a:pt x="561506" y="1595769"/>
                    </a:lnTo>
                    <a:lnTo>
                      <a:pt x="561506" y="1625355"/>
                    </a:lnTo>
                    <a:lnTo>
                      <a:pt x="531921" y="1625355"/>
                    </a:lnTo>
                    <a:close/>
                    <a:moveTo>
                      <a:pt x="265961" y="1595766"/>
                    </a:moveTo>
                    <a:lnTo>
                      <a:pt x="295547" y="1595766"/>
                    </a:lnTo>
                    <a:lnTo>
                      <a:pt x="295547" y="1625352"/>
                    </a:lnTo>
                    <a:lnTo>
                      <a:pt x="265961" y="1625352"/>
                    </a:lnTo>
                    <a:close/>
                    <a:moveTo>
                      <a:pt x="0" y="1595764"/>
                    </a:moveTo>
                    <a:lnTo>
                      <a:pt x="29585" y="1595764"/>
                    </a:lnTo>
                    <a:lnTo>
                      <a:pt x="29585" y="1625350"/>
                    </a:lnTo>
                    <a:lnTo>
                      <a:pt x="0" y="1625350"/>
                    </a:lnTo>
                    <a:close/>
                    <a:moveTo>
                      <a:pt x="531921" y="1329811"/>
                    </a:moveTo>
                    <a:lnTo>
                      <a:pt x="561506" y="1329811"/>
                    </a:lnTo>
                    <a:lnTo>
                      <a:pt x="561506" y="1359396"/>
                    </a:lnTo>
                    <a:lnTo>
                      <a:pt x="531921" y="1359396"/>
                    </a:lnTo>
                    <a:close/>
                    <a:moveTo>
                      <a:pt x="265961" y="1329809"/>
                    </a:moveTo>
                    <a:lnTo>
                      <a:pt x="295547" y="1329809"/>
                    </a:lnTo>
                    <a:lnTo>
                      <a:pt x="295547" y="1359393"/>
                    </a:lnTo>
                    <a:lnTo>
                      <a:pt x="265961" y="1359393"/>
                    </a:lnTo>
                    <a:close/>
                    <a:moveTo>
                      <a:pt x="0" y="1329806"/>
                    </a:moveTo>
                    <a:lnTo>
                      <a:pt x="29585" y="1329806"/>
                    </a:lnTo>
                    <a:lnTo>
                      <a:pt x="29585" y="1359391"/>
                    </a:lnTo>
                    <a:lnTo>
                      <a:pt x="0" y="1359391"/>
                    </a:lnTo>
                    <a:close/>
                    <a:moveTo>
                      <a:pt x="531921" y="1063855"/>
                    </a:moveTo>
                    <a:lnTo>
                      <a:pt x="561506" y="1063855"/>
                    </a:lnTo>
                    <a:lnTo>
                      <a:pt x="561506" y="1093441"/>
                    </a:lnTo>
                    <a:lnTo>
                      <a:pt x="531921" y="1093441"/>
                    </a:lnTo>
                    <a:close/>
                    <a:moveTo>
                      <a:pt x="265961" y="1063852"/>
                    </a:moveTo>
                    <a:lnTo>
                      <a:pt x="295547" y="1063852"/>
                    </a:lnTo>
                    <a:lnTo>
                      <a:pt x="295547" y="1093438"/>
                    </a:lnTo>
                    <a:lnTo>
                      <a:pt x="265961" y="1093438"/>
                    </a:lnTo>
                    <a:close/>
                    <a:moveTo>
                      <a:pt x="0" y="1063849"/>
                    </a:moveTo>
                    <a:lnTo>
                      <a:pt x="29585" y="1063849"/>
                    </a:lnTo>
                    <a:lnTo>
                      <a:pt x="29585" y="1093435"/>
                    </a:lnTo>
                    <a:lnTo>
                      <a:pt x="0" y="1093435"/>
                    </a:lnTo>
                    <a:close/>
                    <a:moveTo>
                      <a:pt x="531921" y="797884"/>
                    </a:moveTo>
                    <a:lnTo>
                      <a:pt x="561506" y="797884"/>
                    </a:lnTo>
                    <a:lnTo>
                      <a:pt x="561506" y="827470"/>
                    </a:lnTo>
                    <a:lnTo>
                      <a:pt x="531921" y="827470"/>
                    </a:lnTo>
                    <a:close/>
                    <a:moveTo>
                      <a:pt x="265961" y="797882"/>
                    </a:moveTo>
                    <a:lnTo>
                      <a:pt x="295547" y="797882"/>
                    </a:lnTo>
                    <a:lnTo>
                      <a:pt x="295547" y="827468"/>
                    </a:lnTo>
                    <a:lnTo>
                      <a:pt x="265961" y="827468"/>
                    </a:lnTo>
                    <a:close/>
                    <a:moveTo>
                      <a:pt x="0" y="797879"/>
                    </a:moveTo>
                    <a:lnTo>
                      <a:pt x="29585" y="797879"/>
                    </a:lnTo>
                    <a:lnTo>
                      <a:pt x="29585" y="827465"/>
                    </a:lnTo>
                    <a:lnTo>
                      <a:pt x="0" y="827465"/>
                    </a:lnTo>
                    <a:close/>
                    <a:moveTo>
                      <a:pt x="531921" y="531924"/>
                    </a:moveTo>
                    <a:lnTo>
                      <a:pt x="561506" y="531924"/>
                    </a:lnTo>
                    <a:lnTo>
                      <a:pt x="561506" y="561509"/>
                    </a:lnTo>
                    <a:lnTo>
                      <a:pt x="531921" y="561509"/>
                    </a:lnTo>
                    <a:close/>
                    <a:moveTo>
                      <a:pt x="265961" y="531922"/>
                    </a:moveTo>
                    <a:lnTo>
                      <a:pt x="295547" y="531922"/>
                    </a:lnTo>
                    <a:lnTo>
                      <a:pt x="295547" y="561507"/>
                    </a:lnTo>
                    <a:lnTo>
                      <a:pt x="265961" y="561507"/>
                    </a:lnTo>
                    <a:close/>
                    <a:moveTo>
                      <a:pt x="0" y="531920"/>
                    </a:moveTo>
                    <a:lnTo>
                      <a:pt x="29585" y="531920"/>
                    </a:lnTo>
                    <a:lnTo>
                      <a:pt x="29585" y="561505"/>
                    </a:lnTo>
                    <a:lnTo>
                      <a:pt x="0" y="561505"/>
                    </a:lnTo>
                    <a:close/>
                    <a:moveTo>
                      <a:pt x="531921" y="265964"/>
                    </a:moveTo>
                    <a:lnTo>
                      <a:pt x="561506" y="265964"/>
                    </a:lnTo>
                    <a:lnTo>
                      <a:pt x="561506" y="295550"/>
                    </a:lnTo>
                    <a:lnTo>
                      <a:pt x="531921" y="295550"/>
                    </a:lnTo>
                    <a:close/>
                    <a:moveTo>
                      <a:pt x="265961" y="265962"/>
                    </a:moveTo>
                    <a:lnTo>
                      <a:pt x="295547" y="265962"/>
                    </a:lnTo>
                    <a:lnTo>
                      <a:pt x="295547" y="295548"/>
                    </a:lnTo>
                    <a:lnTo>
                      <a:pt x="265961" y="295548"/>
                    </a:lnTo>
                    <a:close/>
                    <a:moveTo>
                      <a:pt x="0" y="265960"/>
                    </a:moveTo>
                    <a:lnTo>
                      <a:pt x="29585" y="265960"/>
                    </a:lnTo>
                    <a:lnTo>
                      <a:pt x="29585" y="295546"/>
                    </a:lnTo>
                    <a:lnTo>
                      <a:pt x="0" y="295546"/>
                    </a:lnTo>
                    <a:close/>
                    <a:moveTo>
                      <a:pt x="531921" y="5"/>
                    </a:moveTo>
                    <a:lnTo>
                      <a:pt x="561506" y="5"/>
                    </a:lnTo>
                    <a:lnTo>
                      <a:pt x="561506" y="29591"/>
                    </a:lnTo>
                    <a:lnTo>
                      <a:pt x="531921" y="29591"/>
                    </a:lnTo>
                    <a:close/>
                    <a:moveTo>
                      <a:pt x="265961" y="3"/>
                    </a:moveTo>
                    <a:lnTo>
                      <a:pt x="295547" y="3"/>
                    </a:lnTo>
                    <a:lnTo>
                      <a:pt x="295547" y="29589"/>
                    </a:lnTo>
                    <a:lnTo>
                      <a:pt x="265961" y="29589"/>
                    </a:lnTo>
                    <a:close/>
                    <a:moveTo>
                      <a:pt x="0" y="0"/>
                    </a:moveTo>
                    <a:lnTo>
                      <a:pt x="29585" y="0"/>
                    </a:lnTo>
                    <a:lnTo>
                      <a:pt x="29585" y="29586"/>
                    </a:lnTo>
                    <a:lnTo>
                      <a:pt x="0" y="29586"/>
                    </a:lnTo>
                    <a:close/>
                  </a:path>
                </a:pathLst>
              </a:custGeom>
              <a:solidFill>
                <a:schemeClr val="tx2">
                  <a:alpha val="20000"/>
                </a:schemeClr>
              </a:solidFill>
              <a:ln w="10294" cap="flat">
                <a:noFill/>
                <a:prstDash val="solid"/>
                <a:miter/>
              </a:ln>
            </p:spPr>
            <p:txBody>
              <a:bodyPr wrap="square" rtlCol="0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933AAC8F-088F-4C17-BF99-81037FD20C59}"/>
                  </a:ext>
                </a:extLst>
              </p:cNvPr>
              <p:cNvSpPr/>
              <p:nvPr userDrawn="1"/>
            </p:nvSpPr>
            <p:spPr>
              <a:xfrm>
                <a:off x="10805248" y="242905"/>
                <a:ext cx="561506" cy="5880798"/>
              </a:xfrm>
              <a:custGeom>
                <a:avLst/>
                <a:gdLst>
                  <a:gd name="connsiteX0" fmla="*/ 531921 w 561506"/>
                  <a:gd name="connsiteY0" fmla="*/ 5851213 h 5880798"/>
                  <a:gd name="connsiteX1" fmla="*/ 561506 w 561506"/>
                  <a:gd name="connsiteY1" fmla="*/ 5851213 h 5880798"/>
                  <a:gd name="connsiteX2" fmla="*/ 561506 w 561506"/>
                  <a:gd name="connsiteY2" fmla="*/ 5880798 h 5880798"/>
                  <a:gd name="connsiteX3" fmla="*/ 531921 w 561506"/>
                  <a:gd name="connsiteY3" fmla="*/ 5880798 h 5880798"/>
                  <a:gd name="connsiteX4" fmla="*/ 265961 w 561506"/>
                  <a:gd name="connsiteY4" fmla="*/ 5851213 h 5880798"/>
                  <a:gd name="connsiteX5" fmla="*/ 295547 w 561506"/>
                  <a:gd name="connsiteY5" fmla="*/ 5851213 h 5880798"/>
                  <a:gd name="connsiteX6" fmla="*/ 295547 w 561506"/>
                  <a:gd name="connsiteY6" fmla="*/ 5880798 h 5880798"/>
                  <a:gd name="connsiteX7" fmla="*/ 265961 w 561506"/>
                  <a:gd name="connsiteY7" fmla="*/ 5880798 h 5880798"/>
                  <a:gd name="connsiteX8" fmla="*/ 0 w 561506"/>
                  <a:gd name="connsiteY8" fmla="*/ 5851213 h 5880798"/>
                  <a:gd name="connsiteX9" fmla="*/ 29585 w 561506"/>
                  <a:gd name="connsiteY9" fmla="*/ 5851213 h 5880798"/>
                  <a:gd name="connsiteX10" fmla="*/ 29585 w 561506"/>
                  <a:gd name="connsiteY10" fmla="*/ 5880798 h 5880798"/>
                  <a:gd name="connsiteX11" fmla="*/ 0 w 561506"/>
                  <a:gd name="connsiteY11" fmla="*/ 5880798 h 5880798"/>
                  <a:gd name="connsiteX12" fmla="*/ 531921 w 561506"/>
                  <a:gd name="connsiteY12" fmla="*/ 5585253 h 5880798"/>
                  <a:gd name="connsiteX13" fmla="*/ 561506 w 561506"/>
                  <a:gd name="connsiteY13" fmla="*/ 5585253 h 5880798"/>
                  <a:gd name="connsiteX14" fmla="*/ 561506 w 561506"/>
                  <a:gd name="connsiteY14" fmla="*/ 5614838 h 5880798"/>
                  <a:gd name="connsiteX15" fmla="*/ 531921 w 561506"/>
                  <a:gd name="connsiteY15" fmla="*/ 5614838 h 5880798"/>
                  <a:gd name="connsiteX16" fmla="*/ 265961 w 561506"/>
                  <a:gd name="connsiteY16" fmla="*/ 5585253 h 5880798"/>
                  <a:gd name="connsiteX17" fmla="*/ 295547 w 561506"/>
                  <a:gd name="connsiteY17" fmla="*/ 5585253 h 5880798"/>
                  <a:gd name="connsiteX18" fmla="*/ 295547 w 561506"/>
                  <a:gd name="connsiteY18" fmla="*/ 5614838 h 5880798"/>
                  <a:gd name="connsiteX19" fmla="*/ 265961 w 561506"/>
                  <a:gd name="connsiteY19" fmla="*/ 5614838 h 5880798"/>
                  <a:gd name="connsiteX20" fmla="*/ 0 w 561506"/>
                  <a:gd name="connsiteY20" fmla="*/ 5585253 h 5880798"/>
                  <a:gd name="connsiteX21" fmla="*/ 29585 w 561506"/>
                  <a:gd name="connsiteY21" fmla="*/ 5585253 h 5880798"/>
                  <a:gd name="connsiteX22" fmla="*/ 29585 w 561506"/>
                  <a:gd name="connsiteY22" fmla="*/ 5614838 h 5880798"/>
                  <a:gd name="connsiteX23" fmla="*/ 0 w 561506"/>
                  <a:gd name="connsiteY23" fmla="*/ 5614838 h 5880798"/>
                  <a:gd name="connsiteX24" fmla="*/ 531921 w 561506"/>
                  <a:gd name="connsiteY24" fmla="*/ 5319293 h 5880798"/>
                  <a:gd name="connsiteX25" fmla="*/ 561506 w 561506"/>
                  <a:gd name="connsiteY25" fmla="*/ 5319293 h 5880798"/>
                  <a:gd name="connsiteX26" fmla="*/ 561506 w 561506"/>
                  <a:gd name="connsiteY26" fmla="*/ 5348879 h 5880798"/>
                  <a:gd name="connsiteX27" fmla="*/ 531921 w 561506"/>
                  <a:gd name="connsiteY27" fmla="*/ 5348879 h 5880798"/>
                  <a:gd name="connsiteX28" fmla="*/ 265961 w 561506"/>
                  <a:gd name="connsiteY28" fmla="*/ 5319293 h 5880798"/>
                  <a:gd name="connsiteX29" fmla="*/ 295547 w 561506"/>
                  <a:gd name="connsiteY29" fmla="*/ 5319293 h 5880798"/>
                  <a:gd name="connsiteX30" fmla="*/ 295547 w 561506"/>
                  <a:gd name="connsiteY30" fmla="*/ 5348879 h 5880798"/>
                  <a:gd name="connsiteX31" fmla="*/ 265961 w 561506"/>
                  <a:gd name="connsiteY31" fmla="*/ 5348879 h 5880798"/>
                  <a:gd name="connsiteX32" fmla="*/ 0 w 561506"/>
                  <a:gd name="connsiteY32" fmla="*/ 5319293 h 5880798"/>
                  <a:gd name="connsiteX33" fmla="*/ 29585 w 561506"/>
                  <a:gd name="connsiteY33" fmla="*/ 5319293 h 5880798"/>
                  <a:gd name="connsiteX34" fmla="*/ 29585 w 561506"/>
                  <a:gd name="connsiteY34" fmla="*/ 5348879 h 5880798"/>
                  <a:gd name="connsiteX35" fmla="*/ 0 w 561506"/>
                  <a:gd name="connsiteY35" fmla="*/ 5348879 h 5880798"/>
                  <a:gd name="connsiteX36" fmla="*/ 531921 w 561506"/>
                  <a:gd name="connsiteY36" fmla="*/ 5053332 h 5880798"/>
                  <a:gd name="connsiteX37" fmla="*/ 561506 w 561506"/>
                  <a:gd name="connsiteY37" fmla="*/ 5053332 h 5880798"/>
                  <a:gd name="connsiteX38" fmla="*/ 561506 w 561506"/>
                  <a:gd name="connsiteY38" fmla="*/ 5082917 h 5880798"/>
                  <a:gd name="connsiteX39" fmla="*/ 531921 w 561506"/>
                  <a:gd name="connsiteY39" fmla="*/ 5082917 h 5880798"/>
                  <a:gd name="connsiteX40" fmla="*/ 265961 w 561506"/>
                  <a:gd name="connsiteY40" fmla="*/ 5053332 h 5880798"/>
                  <a:gd name="connsiteX41" fmla="*/ 295547 w 561506"/>
                  <a:gd name="connsiteY41" fmla="*/ 5053332 h 5880798"/>
                  <a:gd name="connsiteX42" fmla="*/ 295547 w 561506"/>
                  <a:gd name="connsiteY42" fmla="*/ 5082917 h 5880798"/>
                  <a:gd name="connsiteX43" fmla="*/ 265961 w 561506"/>
                  <a:gd name="connsiteY43" fmla="*/ 5082917 h 5880798"/>
                  <a:gd name="connsiteX44" fmla="*/ 0 w 561506"/>
                  <a:gd name="connsiteY44" fmla="*/ 5053332 h 5880798"/>
                  <a:gd name="connsiteX45" fmla="*/ 29585 w 561506"/>
                  <a:gd name="connsiteY45" fmla="*/ 5053332 h 5880798"/>
                  <a:gd name="connsiteX46" fmla="*/ 29585 w 561506"/>
                  <a:gd name="connsiteY46" fmla="*/ 5082917 h 5880798"/>
                  <a:gd name="connsiteX47" fmla="*/ 0 w 561506"/>
                  <a:gd name="connsiteY47" fmla="*/ 5082917 h 5880798"/>
                  <a:gd name="connsiteX48" fmla="*/ 531921 w 561506"/>
                  <a:gd name="connsiteY48" fmla="*/ 4787372 h 5880798"/>
                  <a:gd name="connsiteX49" fmla="*/ 561506 w 561506"/>
                  <a:gd name="connsiteY49" fmla="*/ 4787372 h 5880798"/>
                  <a:gd name="connsiteX50" fmla="*/ 561506 w 561506"/>
                  <a:gd name="connsiteY50" fmla="*/ 4816958 h 5880798"/>
                  <a:gd name="connsiteX51" fmla="*/ 531921 w 561506"/>
                  <a:gd name="connsiteY51" fmla="*/ 4816958 h 5880798"/>
                  <a:gd name="connsiteX52" fmla="*/ 265961 w 561506"/>
                  <a:gd name="connsiteY52" fmla="*/ 4787372 h 5880798"/>
                  <a:gd name="connsiteX53" fmla="*/ 295547 w 561506"/>
                  <a:gd name="connsiteY53" fmla="*/ 4787372 h 5880798"/>
                  <a:gd name="connsiteX54" fmla="*/ 295547 w 561506"/>
                  <a:gd name="connsiteY54" fmla="*/ 4816958 h 5880798"/>
                  <a:gd name="connsiteX55" fmla="*/ 265961 w 561506"/>
                  <a:gd name="connsiteY55" fmla="*/ 4816958 h 5880798"/>
                  <a:gd name="connsiteX56" fmla="*/ 0 w 561506"/>
                  <a:gd name="connsiteY56" fmla="*/ 4787372 h 5880798"/>
                  <a:gd name="connsiteX57" fmla="*/ 29585 w 561506"/>
                  <a:gd name="connsiteY57" fmla="*/ 4787372 h 5880798"/>
                  <a:gd name="connsiteX58" fmla="*/ 29585 w 561506"/>
                  <a:gd name="connsiteY58" fmla="*/ 4816958 h 5880798"/>
                  <a:gd name="connsiteX59" fmla="*/ 0 w 561506"/>
                  <a:gd name="connsiteY59" fmla="*/ 4816958 h 5880798"/>
                  <a:gd name="connsiteX60" fmla="*/ 531921 w 561506"/>
                  <a:gd name="connsiteY60" fmla="*/ 4521412 h 5880798"/>
                  <a:gd name="connsiteX61" fmla="*/ 561506 w 561506"/>
                  <a:gd name="connsiteY61" fmla="*/ 4521412 h 5880798"/>
                  <a:gd name="connsiteX62" fmla="*/ 561506 w 561506"/>
                  <a:gd name="connsiteY62" fmla="*/ 4550997 h 5880798"/>
                  <a:gd name="connsiteX63" fmla="*/ 531921 w 561506"/>
                  <a:gd name="connsiteY63" fmla="*/ 4550997 h 5880798"/>
                  <a:gd name="connsiteX64" fmla="*/ 265961 w 561506"/>
                  <a:gd name="connsiteY64" fmla="*/ 4521412 h 5880798"/>
                  <a:gd name="connsiteX65" fmla="*/ 295547 w 561506"/>
                  <a:gd name="connsiteY65" fmla="*/ 4521412 h 5880798"/>
                  <a:gd name="connsiteX66" fmla="*/ 295547 w 561506"/>
                  <a:gd name="connsiteY66" fmla="*/ 4550997 h 5880798"/>
                  <a:gd name="connsiteX67" fmla="*/ 265961 w 561506"/>
                  <a:gd name="connsiteY67" fmla="*/ 4550997 h 5880798"/>
                  <a:gd name="connsiteX68" fmla="*/ 0 w 561506"/>
                  <a:gd name="connsiteY68" fmla="*/ 4521412 h 5880798"/>
                  <a:gd name="connsiteX69" fmla="*/ 29585 w 561506"/>
                  <a:gd name="connsiteY69" fmla="*/ 4521412 h 5880798"/>
                  <a:gd name="connsiteX70" fmla="*/ 29585 w 561506"/>
                  <a:gd name="connsiteY70" fmla="*/ 4550997 h 5880798"/>
                  <a:gd name="connsiteX71" fmla="*/ 0 w 561506"/>
                  <a:gd name="connsiteY71" fmla="*/ 4550997 h 5880798"/>
                  <a:gd name="connsiteX72" fmla="*/ 531921 w 561506"/>
                  <a:gd name="connsiteY72" fmla="*/ 4255451 h 5880798"/>
                  <a:gd name="connsiteX73" fmla="*/ 561506 w 561506"/>
                  <a:gd name="connsiteY73" fmla="*/ 4255451 h 5880798"/>
                  <a:gd name="connsiteX74" fmla="*/ 561506 w 561506"/>
                  <a:gd name="connsiteY74" fmla="*/ 4285036 h 5880798"/>
                  <a:gd name="connsiteX75" fmla="*/ 531921 w 561506"/>
                  <a:gd name="connsiteY75" fmla="*/ 4285036 h 5880798"/>
                  <a:gd name="connsiteX76" fmla="*/ 265961 w 561506"/>
                  <a:gd name="connsiteY76" fmla="*/ 4255451 h 5880798"/>
                  <a:gd name="connsiteX77" fmla="*/ 295547 w 561506"/>
                  <a:gd name="connsiteY77" fmla="*/ 4255451 h 5880798"/>
                  <a:gd name="connsiteX78" fmla="*/ 295547 w 561506"/>
                  <a:gd name="connsiteY78" fmla="*/ 4285036 h 5880798"/>
                  <a:gd name="connsiteX79" fmla="*/ 265961 w 561506"/>
                  <a:gd name="connsiteY79" fmla="*/ 4285036 h 5880798"/>
                  <a:gd name="connsiteX80" fmla="*/ 0 w 561506"/>
                  <a:gd name="connsiteY80" fmla="*/ 4255451 h 5880798"/>
                  <a:gd name="connsiteX81" fmla="*/ 29585 w 561506"/>
                  <a:gd name="connsiteY81" fmla="*/ 4255451 h 5880798"/>
                  <a:gd name="connsiteX82" fmla="*/ 29585 w 561506"/>
                  <a:gd name="connsiteY82" fmla="*/ 4285036 h 5880798"/>
                  <a:gd name="connsiteX83" fmla="*/ 0 w 561506"/>
                  <a:gd name="connsiteY83" fmla="*/ 4285036 h 5880798"/>
                  <a:gd name="connsiteX84" fmla="*/ 531921 w 561506"/>
                  <a:gd name="connsiteY84" fmla="*/ 3989491 h 5880798"/>
                  <a:gd name="connsiteX85" fmla="*/ 561506 w 561506"/>
                  <a:gd name="connsiteY85" fmla="*/ 3989491 h 5880798"/>
                  <a:gd name="connsiteX86" fmla="*/ 561506 w 561506"/>
                  <a:gd name="connsiteY86" fmla="*/ 4019077 h 5880798"/>
                  <a:gd name="connsiteX87" fmla="*/ 531921 w 561506"/>
                  <a:gd name="connsiteY87" fmla="*/ 4019077 h 5880798"/>
                  <a:gd name="connsiteX88" fmla="*/ 265961 w 561506"/>
                  <a:gd name="connsiteY88" fmla="*/ 3989491 h 5880798"/>
                  <a:gd name="connsiteX89" fmla="*/ 295547 w 561506"/>
                  <a:gd name="connsiteY89" fmla="*/ 3989491 h 5880798"/>
                  <a:gd name="connsiteX90" fmla="*/ 295547 w 561506"/>
                  <a:gd name="connsiteY90" fmla="*/ 4019077 h 5880798"/>
                  <a:gd name="connsiteX91" fmla="*/ 265961 w 561506"/>
                  <a:gd name="connsiteY91" fmla="*/ 4019077 h 5880798"/>
                  <a:gd name="connsiteX92" fmla="*/ 0 w 561506"/>
                  <a:gd name="connsiteY92" fmla="*/ 3989491 h 5880798"/>
                  <a:gd name="connsiteX93" fmla="*/ 29585 w 561506"/>
                  <a:gd name="connsiteY93" fmla="*/ 3989491 h 5880798"/>
                  <a:gd name="connsiteX94" fmla="*/ 29585 w 561506"/>
                  <a:gd name="connsiteY94" fmla="*/ 4019077 h 5880798"/>
                  <a:gd name="connsiteX95" fmla="*/ 0 w 561506"/>
                  <a:gd name="connsiteY95" fmla="*/ 4019077 h 5880798"/>
                  <a:gd name="connsiteX96" fmla="*/ 531921 w 561506"/>
                  <a:gd name="connsiteY96" fmla="*/ 3723530 h 5880798"/>
                  <a:gd name="connsiteX97" fmla="*/ 561506 w 561506"/>
                  <a:gd name="connsiteY97" fmla="*/ 3723530 h 5880798"/>
                  <a:gd name="connsiteX98" fmla="*/ 561506 w 561506"/>
                  <a:gd name="connsiteY98" fmla="*/ 3753115 h 5880798"/>
                  <a:gd name="connsiteX99" fmla="*/ 531921 w 561506"/>
                  <a:gd name="connsiteY99" fmla="*/ 3753115 h 5880798"/>
                  <a:gd name="connsiteX100" fmla="*/ 265961 w 561506"/>
                  <a:gd name="connsiteY100" fmla="*/ 3723530 h 5880798"/>
                  <a:gd name="connsiteX101" fmla="*/ 295547 w 561506"/>
                  <a:gd name="connsiteY101" fmla="*/ 3723530 h 5880798"/>
                  <a:gd name="connsiteX102" fmla="*/ 295547 w 561506"/>
                  <a:gd name="connsiteY102" fmla="*/ 3753115 h 5880798"/>
                  <a:gd name="connsiteX103" fmla="*/ 265961 w 561506"/>
                  <a:gd name="connsiteY103" fmla="*/ 3753115 h 5880798"/>
                  <a:gd name="connsiteX104" fmla="*/ 0 w 561506"/>
                  <a:gd name="connsiteY104" fmla="*/ 3723530 h 5880798"/>
                  <a:gd name="connsiteX105" fmla="*/ 29585 w 561506"/>
                  <a:gd name="connsiteY105" fmla="*/ 3723530 h 5880798"/>
                  <a:gd name="connsiteX106" fmla="*/ 29585 w 561506"/>
                  <a:gd name="connsiteY106" fmla="*/ 3753115 h 5880798"/>
                  <a:gd name="connsiteX107" fmla="*/ 0 w 561506"/>
                  <a:gd name="connsiteY107" fmla="*/ 3753115 h 5880798"/>
                  <a:gd name="connsiteX108" fmla="*/ 531921 w 561506"/>
                  <a:gd name="connsiteY108" fmla="*/ 3457570 h 5880798"/>
                  <a:gd name="connsiteX109" fmla="*/ 561506 w 561506"/>
                  <a:gd name="connsiteY109" fmla="*/ 3457570 h 5880798"/>
                  <a:gd name="connsiteX110" fmla="*/ 561506 w 561506"/>
                  <a:gd name="connsiteY110" fmla="*/ 3487156 h 5880798"/>
                  <a:gd name="connsiteX111" fmla="*/ 531921 w 561506"/>
                  <a:gd name="connsiteY111" fmla="*/ 3487156 h 5880798"/>
                  <a:gd name="connsiteX112" fmla="*/ 265961 w 561506"/>
                  <a:gd name="connsiteY112" fmla="*/ 3457570 h 5880798"/>
                  <a:gd name="connsiteX113" fmla="*/ 295547 w 561506"/>
                  <a:gd name="connsiteY113" fmla="*/ 3457570 h 5880798"/>
                  <a:gd name="connsiteX114" fmla="*/ 295547 w 561506"/>
                  <a:gd name="connsiteY114" fmla="*/ 3487156 h 5880798"/>
                  <a:gd name="connsiteX115" fmla="*/ 265961 w 561506"/>
                  <a:gd name="connsiteY115" fmla="*/ 3487156 h 5880798"/>
                  <a:gd name="connsiteX116" fmla="*/ 0 w 561506"/>
                  <a:gd name="connsiteY116" fmla="*/ 3457570 h 5880798"/>
                  <a:gd name="connsiteX117" fmla="*/ 29585 w 561506"/>
                  <a:gd name="connsiteY117" fmla="*/ 3457570 h 5880798"/>
                  <a:gd name="connsiteX118" fmla="*/ 29585 w 561506"/>
                  <a:gd name="connsiteY118" fmla="*/ 3487156 h 5880798"/>
                  <a:gd name="connsiteX119" fmla="*/ 0 w 561506"/>
                  <a:gd name="connsiteY119" fmla="*/ 3487156 h 5880798"/>
                  <a:gd name="connsiteX120" fmla="*/ 531921 w 561506"/>
                  <a:gd name="connsiteY120" fmla="*/ 3191618 h 5880798"/>
                  <a:gd name="connsiteX121" fmla="*/ 561506 w 561506"/>
                  <a:gd name="connsiteY121" fmla="*/ 3191618 h 5880798"/>
                  <a:gd name="connsiteX122" fmla="*/ 561506 w 561506"/>
                  <a:gd name="connsiteY122" fmla="*/ 3221195 h 5880798"/>
                  <a:gd name="connsiteX123" fmla="*/ 531921 w 561506"/>
                  <a:gd name="connsiteY123" fmla="*/ 3221195 h 5880798"/>
                  <a:gd name="connsiteX124" fmla="*/ 265961 w 561506"/>
                  <a:gd name="connsiteY124" fmla="*/ 3191618 h 5880798"/>
                  <a:gd name="connsiteX125" fmla="*/ 295547 w 561506"/>
                  <a:gd name="connsiteY125" fmla="*/ 3191618 h 5880798"/>
                  <a:gd name="connsiteX126" fmla="*/ 295547 w 561506"/>
                  <a:gd name="connsiteY126" fmla="*/ 3221195 h 5880798"/>
                  <a:gd name="connsiteX127" fmla="*/ 265961 w 561506"/>
                  <a:gd name="connsiteY127" fmla="*/ 3221195 h 5880798"/>
                  <a:gd name="connsiteX128" fmla="*/ 0 w 561506"/>
                  <a:gd name="connsiteY128" fmla="*/ 3191617 h 5880798"/>
                  <a:gd name="connsiteX129" fmla="*/ 29585 w 561506"/>
                  <a:gd name="connsiteY129" fmla="*/ 3191617 h 5880798"/>
                  <a:gd name="connsiteX130" fmla="*/ 29585 w 561506"/>
                  <a:gd name="connsiteY130" fmla="*/ 3221195 h 5880798"/>
                  <a:gd name="connsiteX131" fmla="*/ 0 w 561506"/>
                  <a:gd name="connsiteY131" fmla="*/ 3221195 h 5880798"/>
                  <a:gd name="connsiteX132" fmla="*/ 531921 w 561506"/>
                  <a:gd name="connsiteY132" fmla="*/ 2925660 h 5880798"/>
                  <a:gd name="connsiteX133" fmla="*/ 561506 w 561506"/>
                  <a:gd name="connsiteY133" fmla="*/ 2925660 h 5880798"/>
                  <a:gd name="connsiteX134" fmla="*/ 561506 w 561506"/>
                  <a:gd name="connsiteY134" fmla="*/ 2955246 h 5880798"/>
                  <a:gd name="connsiteX135" fmla="*/ 531921 w 561506"/>
                  <a:gd name="connsiteY135" fmla="*/ 2955246 h 5880798"/>
                  <a:gd name="connsiteX136" fmla="*/ 265961 w 561506"/>
                  <a:gd name="connsiteY136" fmla="*/ 2925659 h 5880798"/>
                  <a:gd name="connsiteX137" fmla="*/ 295547 w 561506"/>
                  <a:gd name="connsiteY137" fmla="*/ 2925659 h 5880798"/>
                  <a:gd name="connsiteX138" fmla="*/ 295547 w 561506"/>
                  <a:gd name="connsiteY138" fmla="*/ 2955245 h 5880798"/>
                  <a:gd name="connsiteX139" fmla="*/ 265961 w 561506"/>
                  <a:gd name="connsiteY139" fmla="*/ 2955245 h 5880798"/>
                  <a:gd name="connsiteX140" fmla="*/ 0 w 561506"/>
                  <a:gd name="connsiteY140" fmla="*/ 2925658 h 5880798"/>
                  <a:gd name="connsiteX141" fmla="*/ 29585 w 561506"/>
                  <a:gd name="connsiteY141" fmla="*/ 2925658 h 5880798"/>
                  <a:gd name="connsiteX142" fmla="*/ 29585 w 561506"/>
                  <a:gd name="connsiteY142" fmla="*/ 2955244 h 5880798"/>
                  <a:gd name="connsiteX143" fmla="*/ 0 w 561506"/>
                  <a:gd name="connsiteY143" fmla="*/ 2955244 h 5880798"/>
                  <a:gd name="connsiteX144" fmla="*/ 531921 w 561506"/>
                  <a:gd name="connsiteY144" fmla="*/ 2659620 h 5880798"/>
                  <a:gd name="connsiteX145" fmla="*/ 561506 w 561506"/>
                  <a:gd name="connsiteY145" fmla="*/ 2659620 h 5880798"/>
                  <a:gd name="connsiteX146" fmla="*/ 561506 w 561506"/>
                  <a:gd name="connsiteY146" fmla="*/ 2689204 h 5880798"/>
                  <a:gd name="connsiteX147" fmla="*/ 531921 w 561506"/>
                  <a:gd name="connsiteY147" fmla="*/ 2689204 h 5880798"/>
                  <a:gd name="connsiteX148" fmla="*/ 265961 w 561506"/>
                  <a:gd name="connsiteY148" fmla="*/ 2659616 h 5880798"/>
                  <a:gd name="connsiteX149" fmla="*/ 295547 w 561506"/>
                  <a:gd name="connsiteY149" fmla="*/ 2659616 h 5880798"/>
                  <a:gd name="connsiteX150" fmla="*/ 295547 w 561506"/>
                  <a:gd name="connsiteY150" fmla="*/ 2689201 h 5880798"/>
                  <a:gd name="connsiteX151" fmla="*/ 265961 w 561506"/>
                  <a:gd name="connsiteY151" fmla="*/ 2689201 h 5880798"/>
                  <a:gd name="connsiteX152" fmla="*/ 0 w 561506"/>
                  <a:gd name="connsiteY152" fmla="*/ 2659613 h 5880798"/>
                  <a:gd name="connsiteX153" fmla="*/ 29585 w 561506"/>
                  <a:gd name="connsiteY153" fmla="*/ 2659613 h 5880798"/>
                  <a:gd name="connsiteX154" fmla="*/ 29585 w 561506"/>
                  <a:gd name="connsiteY154" fmla="*/ 2689198 h 5880798"/>
                  <a:gd name="connsiteX155" fmla="*/ 0 w 561506"/>
                  <a:gd name="connsiteY155" fmla="*/ 2689198 h 5880798"/>
                  <a:gd name="connsiteX156" fmla="*/ 531921 w 561506"/>
                  <a:gd name="connsiteY156" fmla="*/ 2393661 h 5880798"/>
                  <a:gd name="connsiteX157" fmla="*/ 561506 w 561506"/>
                  <a:gd name="connsiteY157" fmla="*/ 2393661 h 5880798"/>
                  <a:gd name="connsiteX158" fmla="*/ 561506 w 561506"/>
                  <a:gd name="connsiteY158" fmla="*/ 2423260 h 5880798"/>
                  <a:gd name="connsiteX159" fmla="*/ 531921 w 561506"/>
                  <a:gd name="connsiteY159" fmla="*/ 2423260 h 5880798"/>
                  <a:gd name="connsiteX160" fmla="*/ 265961 w 561506"/>
                  <a:gd name="connsiteY160" fmla="*/ 2393658 h 5880798"/>
                  <a:gd name="connsiteX161" fmla="*/ 295547 w 561506"/>
                  <a:gd name="connsiteY161" fmla="*/ 2393658 h 5880798"/>
                  <a:gd name="connsiteX162" fmla="*/ 295547 w 561506"/>
                  <a:gd name="connsiteY162" fmla="*/ 2423257 h 5880798"/>
                  <a:gd name="connsiteX163" fmla="*/ 265961 w 561506"/>
                  <a:gd name="connsiteY163" fmla="*/ 2423257 h 5880798"/>
                  <a:gd name="connsiteX164" fmla="*/ 0 w 561506"/>
                  <a:gd name="connsiteY164" fmla="*/ 2393655 h 5880798"/>
                  <a:gd name="connsiteX165" fmla="*/ 29585 w 561506"/>
                  <a:gd name="connsiteY165" fmla="*/ 2393655 h 5880798"/>
                  <a:gd name="connsiteX166" fmla="*/ 29585 w 561506"/>
                  <a:gd name="connsiteY166" fmla="*/ 2423251 h 5880798"/>
                  <a:gd name="connsiteX167" fmla="*/ 0 w 561506"/>
                  <a:gd name="connsiteY167" fmla="*/ 2423251 h 5880798"/>
                  <a:gd name="connsiteX168" fmla="*/ 531921 w 561506"/>
                  <a:gd name="connsiteY168" fmla="*/ 2127694 h 5880798"/>
                  <a:gd name="connsiteX169" fmla="*/ 561506 w 561506"/>
                  <a:gd name="connsiteY169" fmla="*/ 2127694 h 5880798"/>
                  <a:gd name="connsiteX170" fmla="*/ 561506 w 561506"/>
                  <a:gd name="connsiteY170" fmla="*/ 2157283 h 5880798"/>
                  <a:gd name="connsiteX171" fmla="*/ 531921 w 561506"/>
                  <a:gd name="connsiteY171" fmla="*/ 2157283 h 5880798"/>
                  <a:gd name="connsiteX172" fmla="*/ 265961 w 561506"/>
                  <a:gd name="connsiteY172" fmla="*/ 2127693 h 5880798"/>
                  <a:gd name="connsiteX173" fmla="*/ 295547 w 561506"/>
                  <a:gd name="connsiteY173" fmla="*/ 2127693 h 5880798"/>
                  <a:gd name="connsiteX174" fmla="*/ 295547 w 561506"/>
                  <a:gd name="connsiteY174" fmla="*/ 2157282 h 5880798"/>
                  <a:gd name="connsiteX175" fmla="*/ 265961 w 561506"/>
                  <a:gd name="connsiteY175" fmla="*/ 2157282 h 5880798"/>
                  <a:gd name="connsiteX176" fmla="*/ 0 w 561506"/>
                  <a:gd name="connsiteY176" fmla="*/ 2127689 h 5880798"/>
                  <a:gd name="connsiteX177" fmla="*/ 29585 w 561506"/>
                  <a:gd name="connsiteY177" fmla="*/ 2127689 h 5880798"/>
                  <a:gd name="connsiteX178" fmla="*/ 29585 w 561506"/>
                  <a:gd name="connsiteY178" fmla="*/ 2157278 h 5880798"/>
                  <a:gd name="connsiteX179" fmla="*/ 0 w 561506"/>
                  <a:gd name="connsiteY179" fmla="*/ 2157278 h 5880798"/>
                  <a:gd name="connsiteX180" fmla="*/ 531921 w 561506"/>
                  <a:gd name="connsiteY180" fmla="*/ 1861731 h 5880798"/>
                  <a:gd name="connsiteX181" fmla="*/ 561506 w 561506"/>
                  <a:gd name="connsiteY181" fmla="*/ 1861731 h 5880798"/>
                  <a:gd name="connsiteX182" fmla="*/ 561506 w 561506"/>
                  <a:gd name="connsiteY182" fmla="*/ 1891308 h 5880798"/>
                  <a:gd name="connsiteX183" fmla="*/ 531921 w 561506"/>
                  <a:gd name="connsiteY183" fmla="*/ 1891308 h 5880798"/>
                  <a:gd name="connsiteX184" fmla="*/ 265961 w 561506"/>
                  <a:gd name="connsiteY184" fmla="*/ 1861728 h 5880798"/>
                  <a:gd name="connsiteX185" fmla="*/ 295547 w 561506"/>
                  <a:gd name="connsiteY185" fmla="*/ 1861728 h 5880798"/>
                  <a:gd name="connsiteX186" fmla="*/ 295547 w 561506"/>
                  <a:gd name="connsiteY186" fmla="*/ 1891306 h 5880798"/>
                  <a:gd name="connsiteX187" fmla="*/ 265961 w 561506"/>
                  <a:gd name="connsiteY187" fmla="*/ 1891306 h 5880798"/>
                  <a:gd name="connsiteX188" fmla="*/ 0 w 561506"/>
                  <a:gd name="connsiteY188" fmla="*/ 1861726 h 5880798"/>
                  <a:gd name="connsiteX189" fmla="*/ 29585 w 561506"/>
                  <a:gd name="connsiteY189" fmla="*/ 1861726 h 5880798"/>
                  <a:gd name="connsiteX190" fmla="*/ 29585 w 561506"/>
                  <a:gd name="connsiteY190" fmla="*/ 1891304 h 5880798"/>
                  <a:gd name="connsiteX191" fmla="*/ 0 w 561506"/>
                  <a:gd name="connsiteY191" fmla="*/ 1891304 h 5880798"/>
                  <a:gd name="connsiteX192" fmla="*/ 531921 w 561506"/>
                  <a:gd name="connsiteY192" fmla="*/ 1595769 h 5880798"/>
                  <a:gd name="connsiteX193" fmla="*/ 561506 w 561506"/>
                  <a:gd name="connsiteY193" fmla="*/ 1595769 h 5880798"/>
                  <a:gd name="connsiteX194" fmla="*/ 561506 w 561506"/>
                  <a:gd name="connsiteY194" fmla="*/ 1625355 h 5880798"/>
                  <a:gd name="connsiteX195" fmla="*/ 531921 w 561506"/>
                  <a:gd name="connsiteY195" fmla="*/ 1625355 h 5880798"/>
                  <a:gd name="connsiteX196" fmla="*/ 265961 w 561506"/>
                  <a:gd name="connsiteY196" fmla="*/ 1595766 h 5880798"/>
                  <a:gd name="connsiteX197" fmla="*/ 295547 w 561506"/>
                  <a:gd name="connsiteY197" fmla="*/ 1595766 h 5880798"/>
                  <a:gd name="connsiteX198" fmla="*/ 295547 w 561506"/>
                  <a:gd name="connsiteY198" fmla="*/ 1625352 h 5880798"/>
                  <a:gd name="connsiteX199" fmla="*/ 265961 w 561506"/>
                  <a:gd name="connsiteY199" fmla="*/ 1625352 h 5880798"/>
                  <a:gd name="connsiteX200" fmla="*/ 0 w 561506"/>
                  <a:gd name="connsiteY200" fmla="*/ 1595764 h 5880798"/>
                  <a:gd name="connsiteX201" fmla="*/ 29585 w 561506"/>
                  <a:gd name="connsiteY201" fmla="*/ 1595764 h 5880798"/>
                  <a:gd name="connsiteX202" fmla="*/ 29585 w 561506"/>
                  <a:gd name="connsiteY202" fmla="*/ 1625350 h 5880798"/>
                  <a:gd name="connsiteX203" fmla="*/ 0 w 561506"/>
                  <a:gd name="connsiteY203" fmla="*/ 1625350 h 5880798"/>
                  <a:gd name="connsiteX204" fmla="*/ 531921 w 561506"/>
                  <a:gd name="connsiteY204" fmla="*/ 1329811 h 5880798"/>
                  <a:gd name="connsiteX205" fmla="*/ 561506 w 561506"/>
                  <a:gd name="connsiteY205" fmla="*/ 1329811 h 5880798"/>
                  <a:gd name="connsiteX206" fmla="*/ 561506 w 561506"/>
                  <a:gd name="connsiteY206" fmla="*/ 1359396 h 5880798"/>
                  <a:gd name="connsiteX207" fmla="*/ 531921 w 561506"/>
                  <a:gd name="connsiteY207" fmla="*/ 1359396 h 5880798"/>
                  <a:gd name="connsiteX208" fmla="*/ 265961 w 561506"/>
                  <a:gd name="connsiteY208" fmla="*/ 1329809 h 5880798"/>
                  <a:gd name="connsiteX209" fmla="*/ 295547 w 561506"/>
                  <a:gd name="connsiteY209" fmla="*/ 1329809 h 5880798"/>
                  <a:gd name="connsiteX210" fmla="*/ 295547 w 561506"/>
                  <a:gd name="connsiteY210" fmla="*/ 1359393 h 5880798"/>
                  <a:gd name="connsiteX211" fmla="*/ 265961 w 561506"/>
                  <a:gd name="connsiteY211" fmla="*/ 1359393 h 5880798"/>
                  <a:gd name="connsiteX212" fmla="*/ 0 w 561506"/>
                  <a:gd name="connsiteY212" fmla="*/ 1329806 h 5880798"/>
                  <a:gd name="connsiteX213" fmla="*/ 29585 w 561506"/>
                  <a:gd name="connsiteY213" fmla="*/ 1329806 h 5880798"/>
                  <a:gd name="connsiteX214" fmla="*/ 29585 w 561506"/>
                  <a:gd name="connsiteY214" fmla="*/ 1359391 h 5880798"/>
                  <a:gd name="connsiteX215" fmla="*/ 0 w 561506"/>
                  <a:gd name="connsiteY215" fmla="*/ 1359391 h 5880798"/>
                  <a:gd name="connsiteX216" fmla="*/ 531921 w 561506"/>
                  <a:gd name="connsiteY216" fmla="*/ 1063855 h 5880798"/>
                  <a:gd name="connsiteX217" fmla="*/ 561506 w 561506"/>
                  <a:gd name="connsiteY217" fmla="*/ 1063855 h 5880798"/>
                  <a:gd name="connsiteX218" fmla="*/ 561506 w 561506"/>
                  <a:gd name="connsiteY218" fmla="*/ 1093441 h 5880798"/>
                  <a:gd name="connsiteX219" fmla="*/ 531921 w 561506"/>
                  <a:gd name="connsiteY219" fmla="*/ 1093441 h 5880798"/>
                  <a:gd name="connsiteX220" fmla="*/ 265961 w 561506"/>
                  <a:gd name="connsiteY220" fmla="*/ 1063852 h 5880798"/>
                  <a:gd name="connsiteX221" fmla="*/ 295547 w 561506"/>
                  <a:gd name="connsiteY221" fmla="*/ 1063852 h 5880798"/>
                  <a:gd name="connsiteX222" fmla="*/ 295547 w 561506"/>
                  <a:gd name="connsiteY222" fmla="*/ 1093438 h 5880798"/>
                  <a:gd name="connsiteX223" fmla="*/ 265961 w 561506"/>
                  <a:gd name="connsiteY223" fmla="*/ 1093438 h 5880798"/>
                  <a:gd name="connsiteX224" fmla="*/ 0 w 561506"/>
                  <a:gd name="connsiteY224" fmla="*/ 1063849 h 5880798"/>
                  <a:gd name="connsiteX225" fmla="*/ 29585 w 561506"/>
                  <a:gd name="connsiteY225" fmla="*/ 1063849 h 5880798"/>
                  <a:gd name="connsiteX226" fmla="*/ 29585 w 561506"/>
                  <a:gd name="connsiteY226" fmla="*/ 1093435 h 5880798"/>
                  <a:gd name="connsiteX227" fmla="*/ 0 w 561506"/>
                  <a:gd name="connsiteY227" fmla="*/ 1093435 h 5880798"/>
                  <a:gd name="connsiteX228" fmla="*/ 531921 w 561506"/>
                  <a:gd name="connsiteY228" fmla="*/ 797884 h 5880798"/>
                  <a:gd name="connsiteX229" fmla="*/ 561506 w 561506"/>
                  <a:gd name="connsiteY229" fmla="*/ 797884 h 5880798"/>
                  <a:gd name="connsiteX230" fmla="*/ 561506 w 561506"/>
                  <a:gd name="connsiteY230" fmla="*/ 827470 h 5880798"/>
                  <a:gd name="connsiteX231" fmla="*/ 531921 w 561506"/>
                  <a:gd name="connsiteY231" fmla="*/ 827470 h 5880798"/>
                  <a:gd name="connsiteX232" fmla="*/ 265961 w 561506"/>
                  <a:gd name="connsiteY232" fmla="*/ 797882 h 5880798"/>
                  <a:gd name="connsiteX233" fmla="*/ 295547 w 561506"/>
                  <a:gd name="connsiteY233" fmla="*/ 797882 h 5880798"/>
                  <a:gd name="connsiteX234" fmla="*/ 295547 w 561506"/>
                  <a:gd name="connsiteY234" fmla="*/ 827468 h 5880798"/>
                  <a:gd name="connsiteX235" fmla="*/ 265961 w 561506"/>
                  <a:gd name="connsiteY235" fmla="*/ 827468 h 5880798"/>
                  <a:gd name="connsiteX236" fmla="*/ 0 w 561506"/>
                  <a:gd name="connsiteY236" fmla="*/ 797879 h 5880798"/>
                  <a:gd name="connsiteX237" fmla="*/ 29585 w 561506"/>
                  <a:gd name="connsiteY237" fmla="*/ 797879 h 5880798"/>
                  <a:gd name="connsiteX238" fmla="*/ 29585 w 561506"/>
                  <a:gd name="connsiteY238" fmla="*/ 827465 h 5880798"/>
                  <a:gd name="connsiteX239" fmla="*/ 0 w 561506"/>
                  <a:gd name="connsiteY239" fmla="*/ 827465 h 5880798"/>
                  <a:gd name="connsiteX240" fmla="*/ 531921 w 561506"/>
                  <a:gd name="connsiteY240" fmla="*/ 531924 h 5880798"/>
                  <a:gd name="connsiteX241" fmla="*/ 561506 w 561506"/>
                  <a:gd name="connsiteY241" fmla="*/ 531924 h 5880798"/>
                  <a:gd name="connsiteX242" fmla="*/ 561506 w 561506"/>
                  <a:gd name="connsiteY242" fmla="*/ 561509 h 5880798"/>
                  <a:gd name="connsiteX243" fmla="*/ 531921 w 561506"/>
                  <a:gd name="connsiteY243" fmla="*/ 561509 h 5880798"/>
                  <a:gd name="connsiteX244" fmla="*/ 265961 w 561506"/>
                  <a:gd name="connsiteY244" fmla="*/ 531922 h 5880798"/>
                  <a:gd name="connsiteX245" fmla="*/ 295547 w 561506"/>
                  <a:gd name="connsiteY245" fmla="*/ 531922 h 5880798"/>
                  <a:gd name="connsiteX246" fmla="*/ 295547 w 561506"/>
                  <a:gd name="connsiteY246" fmla="*/ 561507 h 5880798"/>
                  <a:gd name="connsiteX247" fmla="*/ 265961 w 561506"/>
                  <a:gd name="connsiteY247" fmla="*/ 561507 h 5880798"/>
                  <a:gd name="connsiteX248" fmla="*/ 0 w 561506"/>
                  <a:gd name="connsiteY248" fmla="*/ 531920 h 5880798"/>
                  <a:gd name="connsiteX249" fmla="*/ 29585 w 561506"/>
                  <a:gd name="connsiteY249" fmla="*/ 531920 h 5880798"/>
                  <a:gd name="connsiteX250" fmla="*/ 29585 w 561506"/>
                  <a:gd name="connsiteY250" fmla="*/ 561505 h 5880798"/>
                  <a:gd name="connsiteX251" fmla="*/ 0 w 561506"/>
                  <a:gd name="connsiteY251" fmla="*/ 561505 h 5880798"/>
                  <a:gd name="connsiteX252" fmla="*/ 531921 w 561506"/>
                  <a:gd name="connsiteY252" fmla="*/ 265964 h 5880798"/>
                  <a:gd name="connsiteX253" fmla="*/ 561506 w 561506"/>
                  <a:gd name="connsiteY253" fmla="*/ 265964 h 5880798"/>
                  <a:gd name="connsiteX254" fmla="*/ 561506 w 561506"/>
                  <a:gd name="connsiteY254" fmla="*/ 295550 h 5880798"/>
                  <a:gd name="connsiteX255" fmla="*/ 531921 w 561506"/>
                  <a:gd name="connsiteY255" fmla="*/ 295550 h 5880798"/>
                  <a:gd name="connsiteX256" fmla="*/ 265961 w 561506"/>
                  <a:gd name="connsiteY256" fmla="*/ 265962 h 5880798"/>
                  <a:gd name="connsiteX257" fmla="*/ 295547 w 561506"/>
                  <a:gd name="connsiteY257" fmla="*/ 265962 h 5880798"/>
                  <a:gd name="connsiteX258" fmla="*/ 295547 w 561506"/>
                  <a:gd name="connsiteY258" fmla="*/ 295548 h 5880798"/>
                  <a:gd name="connsiteX259" fmla="*/ 265961 w 561506"/>
                  <a:gd name="connsiteY259" fmla="*/ 295548 h 5880798"/>
                  <a:gd name="connsiteX260" fmla="*/ 0 w 561506"/>
                  <a:gd name="connsiteY260" fmla="*/ 265960 h 5880798"/>
                  <a:gd name="connsiteX261" fmla="*/ 29585 w 561506"/>
                  <a:gd name="connsiteY261" fmla="*/ 265960 h 5880798"/>
                  <a:gd name="connsiteX262" fmla="*/ 29585 w 561506"/>
                  <a:gd name="connsiteY262" fmla="*/ 295546 h 5880798"/>
                  <a:gd name="connsiteX263" fmla="*/ 0 w 561506"/>
                  <a:gd name="connsiteY263" fmla="*/ 295546 h 5880798"/>
                  <a:gd name="connsiteX264" fmla="*/ 531921 w 561506"/>
                  <a:gd name="connsiteY264" fmla="*/ 5 h 5880798"/>
                  <a:gd name="connsiteX265" fmla="*/ 561506 w 561506"/>
                  <a:gd name="connsiteY265" fmla="*/ 5 h 5880798"/>
                  <a:gd name="connsiteX266" fmla="*/ 561506 w 561506"/>
                  <a:gd name="connsiteY266" fmla="*/ 29591 h 5880798"/>
                  <a:gd name="connsiteX267" fmla="*/ 531921 w 561506"/>
                  <a:gd name="connsiteY267" fmla="*/ 29591 h 5880798"/>
                  <a:gd name="connsiteX268" fmla="*/ 265961 w 561506"/>
                  <a:gd name="connsiteY268" fmla="*/ 3 h 5880798"/>
                  <a:gd name="connsiteX269" fmla="*/ 295547 w 561506"/>
                  <a:gd name="connsiteY269" fmla="*/ 3 h 5880798"/>
                  <a:gd name="connsiteX270" fmla="*/ 295547 w 561506"/>
                  <a:gd name="connsiteY270" fmla="*/ 29589 h 5880798"/>
                  <a:gd name="connsiteX271" fmla="*/ 265961 w 561506"/>
                  <a:gd name="connsiteY271" fmla="*/ 29589 h 5880798"/>
                  <a:gd name="connsiteX272" fmla="*/ 0 w 561506"/>
                  <a:gd name="connsiteY272" fmla="*/ 0 h 5880798"/>
                  <a:gd name="connsiteX273" fmla="*/ 29585 w 561506"/>
                  <a:gd name="connsiteY273" fmla="*/ 0 h 5880798"/>
                  <a:gd name="connsiteX274" fmla="*/ 29585 w 561506"/>
                  <a:gd name="connsiteY274" fmla="*/ 29586 h 5880798"/>
                  <a:gd name="connsiteX275" fmla="*/ 0 w 561506"/>
                  <a:gd name="connsiteY275" fmla="*/ 29586 h 58807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</a:cxnLst>
                <a:rect l="l" t="t" r="r" b="b"/>
                <a:pathLst>
                  <a:path w="561506" h="5880798">
                    <a:moveTo>
                      <a:pt x="531921" y="5851213"/>
                    </a:moveTo>
                    <a:lnTo>
                      <a:pt x="561506" y="5851213"/>
                    </a:lnTo>
                    <a:lnTo>
                      <a:pt x="561506" y="5880798"/>
                    </a:lnTo>
                    <a:lnTo>
                      <a:pt x="531921" y="5880798"/>
                    </a:lnTo>
                    <a:close/>
                    <a:moveTo>
                      <a:pt x="265961" y="5851213"/>
                    </a:moveTo>
                    <a:lnTo>
                      <a:pt x="295547" y="5851213"/>
                    </a:lnTo>
                    <a:lnTo>
                      <a:pt x="295547" y="5880798"/>
                    </a:lnTo>
                    <a:lnTo>
                      <a:pt x="265961" y="5880798"/>
                    </a:lnTo>
                    <a:close/>
                    <a:moveTo>
                      <a:pt x="0" y="5851213"/>
                    </a:moveTo>
                    <a:lnTo>
                      <a:pt x="29585" y="5851213"/>
                    </a:lnTo>
                    <a:lnTo>
                      <a:pt x="29585" y="5880798"/>
                    </a:lnTo>
                    <a:lnTo>
                      <a:pt x="0" y="5880798"/>
                    </a:lnTo>
                    <a:close/>
                    <a:moveTo>
                      <a:pt x="531921" y="5585253"/>
                    </a:moveTo>
                    <a:lnTo>
                      <a:pt x="561506" y="5585253"/>
                    </a:lnTo>
                    <a:lnTo>
                      <a:pt x="561506" y="5614838"/>
                    </a:lnTo>
                    <a:lnTo>
                      <a:pt x="531921" y="5614838"/>
                    </a:lnTo>
                    <a:close/>
                    <a:moveTo>
                      <a:pt x="265961" y="5585253"/>
                    </a:moveTo>
                    <a:lnTo>
                      <a:pt x="295547" y="5585253"/>
                    </a:lnTo>
                    <a:lnTo>
                      <a:pt x="295547" y="5614838"/>
                    </a:lnTo>
                    <a:lnTo>
                      <a:pt x="265961" y="5614838"/>
                    </a:lnTo>
                    <a:close/>
                    <a:moveTo>
                      <a:pt x="0" y="5585253"/>
                    </a:moveTo>
                    <a:lnTo>
                      <a:pt x="29585" y="5585253"/>
                    </a:lnTo>
                    <a:lnTo>
                      <a:pt x="29585" y="5614838"/>
                    </a:lnTo>
                    <a:lnTo>
                      <a:pt x="0" y="5614838"/>
                    </a:lnTo>
                    <a:close/>
                    <a:moveTo>
                      <a:pt x="531921" y="5319293"/>
                    </a:moveTo>
                    <a:lnTo>
                      <a:pt x="561506" y="5319293"/>
                    </a:lnTo>
                    <a:lnTo>
                      <a:pt x="561506" y="5348879"/>
                    </a:lnTo>
                    <a:lnTo>
                      <a:pt x="531921" y="5348879"/>
                    </a:lnTo>
                    <a:close/>
                    <a:moveTo>
                      <a:pt x="265961" y="5319293"/>
                    </a:moveTo>
                    <a:lnTo>
                      <a:pt x="295547" y="5319293"/>
                    </a:lnTo>
                    <a:lnTo>
                      <a:pt x="295547" y="5348879"/>
                    </a:lnTo>
                    <a:lnTo>
                      <a:pt x="265961" y="5348879"/>
                    </a:lnTo>
                    <a:close/>
                    <a:moveTo>
                      <a:pt x="0" y="5319293"/>
                    </a:moveTo>
                    <a:lnTo>
                      <a:pt x="29585" y="5319293"/>
                    </a:lnTo>
                    <a:lnTo>
                      <a:pt x="29585" y="5348879"/>
                    </a:lnTo>
                    <a:lnTo>
                      <a:pt x="0" y="5348879"/>
                    </a:lnTo>
                    <a:close/>
                    <a:moveTo>
                      <a:pt x="531921" y="5053332"/>
                    </a:moveTo>
                    <a:lnTo>
                      <a:pt x="561506" y="5053332"/>
                    </a:lnTo>
                    <a:lnTo>
                      <a:pt x="561506" y="5082917"/>
                    </a:lnTo>
                    <a:lnTo>
                      <a:pt x="531921" y="5082917"/>
                    </a:lnTo>
                    <a:close/>
                    <a:moveTo>
                      <a:pt x="265961" y="5053332"/>
                    </a:moveTo>
                    <a:lnTo>
                      <a:pt x="295547" y="5053332"/>
                    </a:lnTo>
                    <a:lnTo>
                      <a:pt x="295547" y="5082917"/>
                    </a:lnTo>
                    <a:lnTo>
                      <a:pt x="265961" y="5082917"/>
                    </a:lnTo>
                    <a:close/>
                    <a:moveTo>
                      <a:pt x="0" y="5053332"/>
                    </a:moveTo>
                    <a:lnTo>
                      <a:pt x="29585" y="5053332"/>
                    </a:lnTo>
                    <a:lnTo>
                      <a:pt x="29585" y="5082917"/>
                    </a:lnTo>
                    <a:lnTo>
                      <a:pt x="0" y="5082917"/>
                    </a:lnTo>
                    <a:close/>
                    <a:moveTo>
                      <a:pt x="531921" y="4787372"/>
                    </a:moveTo>
                    <a:lnTo>
                      <a:pt x="561506" y="4787372"/>
                    </a:lnTo>
                    <a:lnTo>
                      <a:pt x="561506" y="4816958"/>
                    </a:lnTo>
                    <a:lnTo>
                      <a:pt x="531921" y="4816958"/>
                    </a:lnTo>
                    <a:close/>
                    <a:moveTo>
                      <a:pt x="265961" y="4787372"/>
                    </a:moveTo>
                    <a:lnTo>
                      <a:pt x="295547" y="4787372"/>
                    </a:lnTo>
                    <a:lnTo>
                      <a:pt x="295547" y="4816958"/>
                    </a:lnTo>
                    <a:lnTo>
                      <a:pt x="265961" y="4816958"/>
                    </a:lnTo>
                    <a:close/>
                    <a:moveTo>
                      <a:pt x="0" y="4787372"/>
                    </a:moveTo>
                    <a:lnTo>
                      <a:pt x="29585" y="4787372"/>
                    </a:lnTo>
                    <a:lnTo>
                      <a:pt x="29585" y="4816958"/>
                    </a:lnTo>
                    <a:lnTo>
                      <a:pt x="0" y="4816958"/>
                    </a:lnTo>
                    <a:close/>
                    <a:moveTo>
                      <a:pt x="531921" y="4521412"/>
                    </a:moveTo>
                    <a:lnTo>
                      <a:pt x="561506" y="4521412"/>
                    </a:lnTo>
                    <a:lnTo>
                      <a:pt x="561506" y="4550997"/>
                    </a:lnTo>
                    <a:lnTo>
                      <a:pt x="531921" y="4550997"/>
                    </a:lnTo>
                    <a:close/>
                    <a:moveTo>
                      <a:pt x="265961" y="4521412"/>
                    </a:moveTo>
                    <a:lnTo>
                      <a:pt x="295547" y="4521412"/>
                    </a:lnTo>
                    <a:lnTo>
                      <a:pt x="295547" y="4550997"/>
                    </a:lnTo>
                    <a:lnTo>
                      <a:pt x="265961" y="4550997"/>
                    </a:lnTo>
                    <a:close/>
                    <a:moveTo>
                      <a:pt x="0" y="4521412"/>
                    </a:moveTo>
                    <a:lnTo>
                      <a:pt x="29585" y="4521412"/>
                    </a:lnTo>
                    <a:lnTo>
                      <a:pt x="29585" y="4550997"/>
                    </a:lnTo>
                    <a:lnTo>
                      <a:pt x="0" y="4550997"/>
                    </a:lnTo>
                    <a:close/>
                    <a:moveTo>
                      <a:pt x="531921" y="4255451"/>
                    </a:moveTo>
                    <a:lnTo>
                      <a:pt x="561506" y="4255451"/>
                    </a:lnTo>
                    <a:lnTo>
                      <a:pt x="561506" y="4285036"/>
                    </a:lnTo>
                    <a:lnTo>
                      <a:pt x="531921" y="4285036"/>
                    </a:lnTo>
                    <a:close/>
                    <a:moveTo>
                      <a:pt x="265961" y="4255451"/>
                    </a:moveTo>
                    <a:lnTo>
                      <a:pt x="295547" y="4255451"/>
                    </a:lnTo>
                    <a:lnTo>
                      <a:pt x="295547" y="4285036"/>
                    </a:lnTo>
                    <a:lnTo>
                      <a:pt x="265961" y="4285036"/>
                    </a:lnTo>
                    <a:close/>
                    <a:moveTo>
                      <a:pt x="0" y="4255451"/>
                    </a:moveTo>
                    <a:lnTo>
                      <a:pt x="29585" y="4255451"/>
                    </a:lnTo>
                    <a:lnTo>
                      <a:pt x="29585" y="4285036"/>
                    </a:lnTo>
                    <a:lnTo>
                      <a:pt x="0" y="4285036"/>
                    </a:lnTo>
                    <a:close/>
                    <a:moveTo>
                      <a:pt x="531921" y="3989491"/>
                    </a:moveTo>
                    <a:lnTo>
                      <a:pt x="561506" y="3989491"/>
                    </a:lnTo>
                    <a:lnTo>
                      <a:pt x="561506" y="4019077"/>
                    </a:lnTo>
                    <a:lnTo>
                      <a:pt x="531921" y="4019077"/>
                    </a:lnTo>
                    <a:close/>
                    <a:moveTo>
                      <a:pt x="265961" y="3989491"/>
                    </a:moveTo>
                    <a:lnTo>
                      <a:pt x="295547" y="3989491"/>
                    </a:lnTo>
                    <a:lnTo>
                      <a:pt x="295547" y="4019077"/>
                    </a:lnTo>
                    <a:lnTo>
                      <a:pt x="265961" y="4019077"/>
                    </a:lnTo>
                    <a:close/>
                    <a:moveTo>
                      <a:pt x="0" y="3989491"/>
                    </a:moveTo>
                    <a:lnTo>
                      <a:pt x="29585" y="3989491"/>
                    </a:lnTo>
                    <a:lnTo>
                      <a:pt x="29585" y="4019077"/>
                    </a:lnTo>
                    <a:lnTo>
                      <a:pt x="0" y="4019077"/>
                    </a:lnTo>
                    <a:close/>
                    <a:moveTo>
                      <a:pt x="531921" y="3723530"/>
                    </a:moveTo>
                    <a:lnTo>
                      <a:pt x="561506" y="3723530"/>
                    </a:lnTo>
                    <a:lnTo>
                      <a:pt x="561506" y="3753115"/>
                    </a:lnTo>
                    <a:lnTo>
                      <a:pt x="531921" y="3753115"/>
                    </a:lnTo>
                    <a:close/>
                    <a:moveTo>
                      <a:pt x="265961" y="3723530"/>
                    </a:moveTo>
                    <a:lnTo>
                      <a:pt x="295547" y="3723530"/>
                    </a:lnTo>
                    <a:lnTo>
                      <a:pt x="295547" y="3753115"/>
                    </a:lnTo>
                    <a:lnTo>
                      <a:pt x="265961" y="3753115"/>
                    </a:lnTo>
                    <a:close/>
                    <a:moveTo>
                      <a:pt x="0" y="3723530"/>
                    </a:moveTo>
                    <a:lnTo>
                      <a:pt x="29585" y="3723530"/>
                    </a:lnTo>
                    <a:lnTo>
                      <a:pt x="29585" y="3753115"/>
                    </a:lnTo>
                    <a:lnTo>
                      <a:pt x="0" y="3753115"/>
                    </a:lnTo>
                    <a:close/>
                    <a:moveTo>
                      <a:pt x="531921" y="3457570"/>
                    </a:moveTo>
                    <a:lnTo>
                      <a:pt x="561506" y="3457570"/>
                    </a:lnTo>
                    <a:lnTo>
                      <a:pt x="561506" y="3487156"/>
                    </a:lnTo>
                    <a:lnTo>
                      <a:pt x="531921" y="3487156"/>
                    </a:lnTo>
                    <a:close/>
                    <a:moveTo>
                      <a:pt x="265961" y="3457570"/>
                    </a:moveTo>
                    <a:lnTo>
                      <a:pt x="295547" y="3457570"/>
                    </a:lnTo>
                    <a:lnTo>
                      <a:pt x="295547" y="3487156"/>
                    </a:lnTo>
                    <a:lnTo>
                      <a:pt x="265961" y="3487156"/>
                    </a:lnTo>
                    <a:close/>
                    <a:moveTo>
                      <a:pt x="0" y="3457570"/>
                    </a:moveTo>
                    <a:lnTo>
                      <a:pt x="29585" y="3457570"/>
                    </a:lnTo>
                    <a:lnTo>
                      <a:pt x="29585" y="3487156"/>
                    </a:lnTo>
                    <a:lnTo>
                      <a:pt x="0" y="3487156"/>
                    </a:lnTo>
                    <a:close/>
                    <a:moveTo>
                      <a:pt x="531921" y="3191618"/>
                    </a:moveTo>
                    <a:lnTo>
                      <a:pt x="561506" y="3191618"/>
                    </a:lnTo>
                    <a:lnTo>
                      <a:pt x="561506" y="3221195"/>
                    </a:lnTo>
                    <a:lnTo>
                      <a:pt x="531921" y="3221195"/>
                    </a:lnTo>
                    <a:close/>
                    <a:moveTo>
                      <a:pt x="265961" y="3191618"/>
                    </a:moveTo>
                    <a:lnTo>
                      <a:pt x="295547" y="3191618"/>
                    </a:lnTo>
                    <a:lnTo>
                      <a:pt x="295547" y="3221195"/>
                    </a:lnTo>
                    <a:lnTo>
                      <a:pt x="265961" y="3221195"/>
                    </a:lnTo>
                    <a:close/>
                    <a:moveTo>
                      <a:pt x="0" y="3191617"/>
                    </a:moveTo>
                    <a:lnTo>
                      <a:pt x="29585" y="3191617"/>
                    </a:lnTo>
                    <a:lnTo>
                      <a:pt x="29585" y="3221195"/>
                    </a:lnTo>
                    <a:lnTo>
                      <a:pt x="0" y="3221195"/>
                    </a:lnTo>
                    <a:close/>
                    <a:moveTo>
                      <a:pt x="531921" y="2925660"/>
                    </a:moveTo>
                    <a:lnTo>
                      <a:pt x="561506" y="2925660"/>
                    </a:lnTo>
                    <a:lnTo>
                      <a:pt x="561506" y="2955246"/>
                    </a:lnTo>
                    <a:lnTo>
                      <a:pt x="531921" y="2955246"/>
                    </a:lnTo>
                    <a:close/>
                    <a:moveTo>
                      <a:pt x="265961" y="2925659"/>
                    </a:moveTo>
                    <a:lnTo>
                      <a:pt x="295547" y="2925659"/>
                    </a:lnTo>
                    <a:lnTo>
                      <a:pt x="295547" y="2955245"/>
                    </a:lnTo>
                    <a:lnTo>
                      <a:pt x="265961" y="2955245"/>
                    </a:lnTo>
                    <a:close/>
                    <a:moveTo>
                      <a:pt x="0" y="2925658"/>
                    </a:moveTo>
                    <a:lnTo>
                      <a:pt x="29585" y="2925658"/>
                    </a:lnTo>
                    <a:lnTo>
                      <a:pt x="29585" y="2955244"/>
                    </a:lnTo>
                    <a:lnTo>
                      <a:pt x="0" y="2955244"/>
                    </a:lnTo>
                    <a:close/>
                    <a:moveTo>
                      <a:pt x="531921" y="2659620"/>
                    </a:moveTo>
                    <a:lnTo>
                      <a:pt x="561506" y="2659620"/>
                    </a:lnTo>
                    <a:lnTo>
                      <a:pt x="561506" y="2689204"/>
                    </a:lnTo>
                    <a:lnTo>
                      <a:pt x="531921" y="2689204"/>
                    </a:lnTo>
                    <a:close/>
                    <a:moveTo>
                      <a:pt x="265961" y="2659616"/>
                    </a:moveTo>
                    <a:lnTo>
                      <a:pt x="295547" y="2659616"/>
                    </a:lnTo>
                    <a:lnTo>
                      <a:pt x="295547" y="2689201"/>
                    </a:lnTo>
                    <a:lnTo>
                      <a:pt x="265961" y="2689201"/>
                    </a:lnTo>
                    <a:close/>
                    <a:moveTo>
                      <a:pt x="0" y="2659613"/>
                    </a:moveTo>
                    <a:lnTo>
                      <a:pt x="29585" y="2659613"/>
                    </a:lnTo>
                    <a:lnTo>
                      <a:pt x="29585" y="2689198"/>
                    </a:lnTo>
                    <a:lnTo>
                      <a:pt x="0" y="2689198"/>
                    </a:lnTo>
                    <a:close/>
                    <a:moveTo>
                      <a:pt x="531921" y="2393661"/>
                    </a:moveTo>
                    <a:lnTo>
                      <a:pt x="561506" y="2393661"/>
                    </a:lnTo>
                    <a:lnTo>
                      <a:pt x="561506" y="2423260"/>
                    </a:lnTo>
                    <a:lnTo>
                      <a:pt x="531921" y="2423260"/>
                    </a:lnTo>
                    <a:close/>
                    <a:moveTo>
                      <a:pt x="265961" y="2393658"/>
                    </a:moveTo>
                    <a:lnTo>
                      <a:pt x="295547" y="2393658"/>
                    </a:lnTo>
                    <a:lnTo>
                      <a:pt x="295547" y="2423257"/>
                    </a:lnTo>
                    <a:lnTo>
                      <a:pt x="265961" y="2423257"/>
                    </a:lnTo>
                    <a:close/>
                    <a:moveTo>
                      <a:pt x="0" y="2393655"/>
                    </a:moveTo>
                    <a:lnTo>
                      <a:pt x="29585" y="2393655"/>
                    </a:lnTo>
                    <a:lnTo>
                      <a:pt x="29585" y="2423251"/>
                    </a:lnTo>
                    <a:lnTo>
                      <a:pt x="0" y="2423251"/>
                    </a:lnTo>
                    <a:close/>
                    <a:moveTo>
                      <a:pt x="531921" y="2127694"/>
                    </a:moveTo>
                    <a:lnTo>
                      <a:pt x="561506" y="2127694"/>
                    </a:lnTo>
                    <a:lnTo>
                      <a:pt x="561506" y="2157283"/>
                    </a:lnTo>
                    <a:lnTo>
                      <a:pt x="531921" y="2157283"/>
                    </a:lnTo>
                    <a:close/>
                    <a:moveTo>
                      <a:pt x="265961" y="2127693"/>
                    </a:moveTo>
                    <a:lnTo>
                      <a:pt x="295547" y="2127693"/>
                    </a:lnTo>
                    <a:lnTo>
                      <a:pt x="295547" y="2157282"/>
                    </a:lnTo>
                    <a:lnTo>
                      <a:pt x="265961" y="2157282"/>
                    </a:lnTo>
                    <a:close/>
                    <a:moveTo>
                      <a:pt x="0" y="2127689"/>
                    </a:moveTo>
                    <a:lnTo>
                      <a:pt x="29585" y="2127689"/>
                    </a:lnTo>
                    <a:lnTo>
                      <a:pt x="29585" y="2157278"/>
                    </a:lnTo>
                    <a:lnTo>
                      <a:pt x="0" y="2157278"/>
                    </a:lnTo>
                    <a:close/>
                    <a:moveTo>
                      <a:pt x="531921" y="1861731"/>
                    </a:moveTo>
                    <a:lnTo>
                      <a:pt x="561506" y="1861731"/>
                    </a:lnTo>
                    <a:lnTo>
                      <a:pt x="561506" y="1891308"/>
                    </a:lnTo>
                    <a:lnTo>
                      <a:pt x="531921" y="1891308"/>
                    </a:lnTo>
                    <a:close/>
                    <a:moveTo>
                      <a:pt x="265961" y="1861728"/>
                    </a:moveTo>
                    <a:lnTo>
                      <a:pt x="295547" y="1861728"/>
                    </a:lnTo>
                    <a:lnTo>
                      <a:pt x="295547" y="1891306"/>
                    </a:lnTo>
                    <a:lnTo>
                      <a:pt x="265961" y="1891306"/>
                    </a:lnTo>
                    <a:close/>
                    <a:moveTo>
                      <a:pt x="0" y="1861726"/>
                    </a:moveTo>
                    <a:lnTo>
                      <a:pt x="29585" y="1861726"/>
                    </a:lnTo>
                    <a:lnTo>
                      <a:pt x="29585" y="1891304"/>
                    </a:lnTo>
                    <a:lnTo>
                      <a:pt x="0" y="1891304"/>
                    </a:lnTo>
                    <a:close/>
                    <a:moveTo>
                      <a:pt x="531921" y="1595769"/>
                    </a:moveTo>
                    <a:lnTo>
                      <a:pt x="561506" y="1595769"/>
                    </a:lnTo>
                    <a:lnTo>
                      <a:pt x="561506" y="1625355"/>
                    </a:lnTo>
                    <a:lnTo>
                      <a:pt x="531921" y="1625355"/>
                    </a:lnTo>
                    <a:close/>
                    <a:moveTo>
                      <a:pt x="265961" y="1595766"/>
                    </a:moveTo>
                    <a:lnTo>
                      <a:pt x="295547" y="1595766"/>
                    </a:lnTo>
                    <a:lnTo>
                      <a:pt x="295547" y="1625352"/>
                    </a:lnTo>
                    <a:lnTo>
                      <a:pt x="265961" y="1625352"/>
                    </a:lnTo>
                    <a:close/>
                    <a:moveTo>
                      <a:pt x="0" y="1595764"/>
                    </a:moveTo>
                    <a:lnTo>
                      <a:pt x="29585" y="1595764"/>
                    </a:lnTo>
                    <a:lnTo>
                      <a:pt x="29585" y="1625350"/>
                    </a:lnTo>
                    <a:lnTo>
                      <a:pt x="0" y="1625350"/>
                    </a:lnTo>
                    <a:close/>
                    <a:moveTo>
                      <a:pt x="531921" y="1329811"/>
                    </a:moveTo>
                    <a:lnTo>
                      <a:pt x="561506" y="1329811"/>
                    </a:lnTo>
                    <a:lnTo>
                      <a:pt x="561506" y="1359396"/>
                    </a:lnTo>
                    <a:lnTo>
                      <a:pt x="531921" y="1359396"/>
                    </a:lnTo>
                    <a:close/>
                    <a:moveTo>
                      <a:pt x="265961" y="1329809"/>
                    </a:moveTo>
                    <a:lnTo>
                      <a:pt x="295547" y="1329809"/>
                    </a:lnTo>
                    <a:lnTo>
                      <a:pt x="295547" y="1359393"/>
                    </a:lnTo>
                    <a:lnTo>
                      <a:pt x="265961" y="1359393"/>
                    </a:lnTo>
                    <a:close/>
                    <a:moveTo>
                      <a:pt x="0" y="1329806"/>
                    </a:moveTo>
                    <a:lnTo>
                      <a:pt x="29585" y="1329806"/>
                    </a:lnTo>
                    <a:lnTo>
                      <a:pt x="29585" y="1359391"/>
                    </a:lnTo>
                    <a:lnTo>
                      <a:pt x="0" y="1359391"/>
                    </a:lnTo>
                    <a:close/>
                    <a:moveTo>
                      <a:pt x="531921" y="1063855"/>
                    </a:moveTo>
                    <a:lnTo>
                      <a:pt x="561506" y="1063855"/>
                    </a:lnTo>
                    <a:lnTo>
                      <a:pt x="561506" y="1093441"/>
                    </a:lnTo>
                    <a:lnTo>
                      <a:pt x="531921" y="1093441"/>
                    </a:lnTo>
                    <a:close/>
                    <a:moveTo>
                      <a:pt x="265961" y="1063852"/>
                    </a:moveTo>
                    <a:lnTo>
                      <a:pt x="295547" y="1063852"/>
                    </a:lnTo>
                    <a:lnTo>
                      <a:pt x="295547" y="1093438"/>
                    </a:lnTo>
                    <a:lnTo>
                      <a:pt x="265961" y="1093438"/>
                    </a:lnTo>
                    <a:close/>
                    <a:moveTo>
                      <a:pt x="0" y="1063849"/>
                    </a:moveTo>
                    <a:lnTo>
                      <a:pt x="29585" y="1063849"/>
                    </a:lnTo>
                    <a:lnTo>
                      <a:pt x="29585" y="1093435"/>
                    </a:lnTo>
                    <a:lnTo>
                      <a:pt x="0" y="1093435"/>
                    </a:lnTo>
                    <a:close/>
                    <a:moveTo>
                      <a:pt x="531921" y="797884"/>
                    </a:moveTo>
                    <a:lnTo>
                      <a:pt x="561506" y="797884"/>
                    </a:lnTo>
                    <a:lnTo>
                      <a:pt x="561506" y="827470"/>
                    </a:lnTo>
                    <a:lnTo>
                      <a:pt x="531921" y="827470"/>
                    </a:lnTo>
                    <a:close/>
                    <a:moveTo>
                      <a:pt x="265961" y="797882"/>
                    </a:moveTo>
                    <a:lnTo>
                      <a:pt x="295547" y="797882"/>
                    </a:lnTo>
                    <a:lnTo>
                      <a:pt x="295547" y="827468"/>
                    </a:lnTo>
                    <a:lnTo>
                      <a:pt x="265961" y="827468"/>
                    </a:lnTo>
                    <a:close/>
                    <a:moveTo>
                      <a:pt x="0" y="797879"/>
                    </a:moveTo>
                    <a:lnTo>
                      <a:pt x="29585" y="797879"/>
                    </a:lnTo>
                    <a:lnTo>
                      <a:pt x="29585" y="827465"/>
                    </a:lnTo>
                    <a:lnTo>
                      <a:pt x="0" y="827465"/>
                    </a:lnTo>
                    <a:close/>
                    <a:moveTo>
                      <a:pt x="531921" y="531924"/>
                    </a:moveTo>
                    <a:lnTo>
                      <a:pt x="561506" y="531924"/>
                    </a:lnTo>
                    <a:lnTo>
                      <a:pt x="561506" y="561509"/>
                    </a:lnTo>
                    <a:lnTo>
                      <a:pt x="531921" y="561509"/>
                    </a:lnTo>
                    <a:close/>
                    <a:moveTo>
                      <a:pt x="265961" y="531922"/>
                    </a:moveTo>
                    <a:lnTo>
                      <a:pt x="295547" y="531922"/>
                    </a:lnTo>
                    <a:lnTo>
                      <a:pt x="295547" y="561507"/>
                    </a:lnTo>
                    <a:lnTo>
                      <a:pt x="265961" y="561507"/>
                    </a:lnTo>
                    <a:close/>
                    <a:moveTo>
                      <a:pt x="0" y="531920"/>
                    </a:moveTo>
                    <a:lnTo>
                      <a:pt x="29585" y="531920"/>
                    </a:lnTo>
                    <a:lnTo>
                      <a:pt x="29585" y="561505"/>
                    </a:lnTo>
                    <a:lnTo>
                      <a:pt x="0" y="561505"/>
                    </a:lnTo>
                    <a:close/>
                    <a:moveTo>
                      <a:pt x="531921" y="265964"/>
                    </a:moveTo>
                    <a:lnTo>
                      <a:pt x="561506" y="265964"/>
                    </a:lnTo>
                    <a:lnTo>
                      <a:pt x="561506" y="295550"/>
                    </a:lnTo>
                    <a:lnTo>
                      <a:pt x="531921" y="295550"/>
                    </a:lnTo>
                    <a:close/>
                    <a:moveTo>
                      <a:pt x="265961" y="265962"/>
                    </a:moveTo>
                    <a:lnTo>
                      <a:pt x="295547" y="265962"/>
                    </a:lnTo>
                    <a:lnTo>
                      <a:pt x="295547" y="295548"/>
                    </a:lnTo>
                    <a:lnTo>
                      <a:pt x="265961" y="295548"/>
                    </a:lnTo>
                    <a:close/>
                    <a:moveTo>
                      <a:pt x="0" y="265960"/>
                    </a:moveTo>
                    <a:lnTo>
                      <a:pt x="29585" y="265960"/>
                    </a:lnTo>
                    <a:lnTo>
                      <a:pt x="29585" y="295546"/>
                    </a:lnTo>
                    <a:lnTo>
                      <a:pt x="0" y="295546"/>
                    </a:lnTo>
                    <a:close/>
                    <a:moveTo>
                      <a:pt x="531921" y="5"/>
                    </a:moveTo>
                    <a:lnTo>
                      <a:pt x="561506" y="5"/>
                    </a:lnTo>
                    <a:lnTo>
                      <a:pt x="561506" y="29591"/>
                    </a:lnTo>
                    <a:lnTo>
                      <a:pt x="531921" y="29591"/>
                    </a:lnTo>
                    <a:close/>
                    <a:moveTo>
                      <a:pt x="265961" y="3"/>
                    </a:moveTo>
                    <a:lnTo>
                      <a:pt x="295547" y="3"/>
                    </a:lnTo>
                    <a:lnTo>
                      <a:pt x="295547" y="29589"/>
                    </a:lnTo>
                    <a:lnTo>
                      <a:pt x="265961" y="29589"/>
                    </a:lnTo>
                    <a:close/>
                    <a:moveTo>
                      <a:pt x="0" y="0"/>
                    </a:moveTo>
                    <a:lnTo>
                      <a:pt x="29585" y="0"/>
                    </a:lnTo>
                    <a:lnTo>
                      <a:pt x="29585" y="29586"/>
                    </a:lnTo>
                    <a:lnTo>
                      <a:pt x="0" y="29586"/>
                    </a:lnTo>
                    <a:close/>
                  </a:path>
                </a:pathLst>
              </a:custGeom>
              <a:solidFill>
                <a:schemeClr val="tx2">
                  <a:alpha val="20000"/>
                </a:schemeClr>
              </a:solidFill>
              <a:ln w="10294" cap="flat">
                <a:noFill/>
                <a:prstDash val="solid"/>
                <a:miter/>
              </a:ln>
            </p:spPr>
            <p:txBody>
              <a:bodyPr wrap="square" rtlCol="0" anchor="ctr">
                <a:noAutofit/>
              </a:bodyPr>
              <a:lstStyle/>
              <a:p>
                <a:endParaRPr lang="en-US"/>
              </a:p>
            </p:txBody>
          </p:sp>
        </p:grp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E617A4DF-071D-428E-8CFC-46648A6F0207}"/>
                </a:ext>
              </a:extLst>
            </p:cNvPr>
            <p:cNvSpPr/>
            <p:nvPr userDrawn="1"/>
          </p:nvSpPr>
          <p:spPr>
            <a:xfrm>
              <a:off x="11620604" y="258374"/>
              <a:ext cx="318688" cy="6341252"/>
            </a:xfrm>
            <a:custGeom>
              <a:avLst/>
              <a:gdLst>
                <a:gd name="connsiteX0" fmla="*/ 286785 w 318688"/>
                <a:gd name="connsiteY0" fmla="*/ 6309351 h 6341252"/>
                <a:gd name="connsiteX1" fmla="*/ 318688 w 318688"/>
                <a:gd name="connsiteY1" fmla="*/ 6309351 h 6341252"/>
                <a:gd name="connsiteX2" fmla="*/ 318688 w 318688"/>
                <a:gd name="connsiteY2" fmla="*/ 6341252 h 6341252"/>
                <a:gd name="connsiteX3" fmla="*/ 286785 w 318688"/>
                <a:gd name="connsiteY3" fmla="*/ 6341252 h 6341252"/>
                <a:gd name="connsiteX4" fmla="*/ 0 w 318688"/>
                <a:gd name="connsiteY4" fmla="*/ 6309351 h 6341252"/>
                <a:gd name="connsiteX5" fmla="*/ 31901 w 318688"/>
                <a:gd name="connsiteY5" fmla="*/ 6309351 h 6341252"/>
                <a:gd name="connsiteX6" fmla="*/ 31901 w 318688"/>
                <a:gd name="connsiteY6" fmla="*/ 6341252 h 6341252"/>
                <a:gd name="connsiteX7" fmla="*/ 0 w 318688"/>
                <a:gd name="connsiteY7" fmla="*/ 6341252 h 6341252"/>
                <a:gd name="connsiteX8" fmla="*/ 286785 w 318688"/>
                <a:gd name="connsiteY8" fmla="*/ 6022567 h 6341252"/>
                <a:gd name="connsiteX9" fmla="*/ 318688 w 318688"/>
                <a:gd name="connsiteY9" fmla="*/ 6022567 h 6341252"/>
                <a:gd name="connsiteX10" fmla="*/ 318688 w 318688"/>
                <a:gd name="connsiteY10" fmla="*/ 6054468 h 6341252"/>
                <a:gd name="connsiteX11" fmla="*/ 286785 w 318688"/>
                <a:gd name="connsiteY11" fmla="*/ 6054468 h 6341252"/>
                <a:gd name="connsiteX12" fmla="*/ 0 w 318688"/>
                <a:gd name="connsiteY12" fmla="*/ 6022567 h 6341252"/>
                <a:gd name="connsiteX13" fmla="*/ 31901 w 318688"/>
                <a:gd name="connsiteY13" fmla="*/ 6022567 h 6341252"/>
                <a:gd name="connsiteX14" fmla="*/ 31901 w 318688"/>
                <a:gd name="connsiteY14" fmla="*/ 6054468 h 6341252"/>
                <a:gd name="connsiteX15" fmla="*/ 0 w 318688"/>
                <a:gd name="connsiteY15" fmla="*/ 6054468 h 6341252"/>
                <a:gd name="connsiteX16" fmla="*/ 286785 w 318688"/>
                <a:gd name="connsiteY16" fmla="*/ 5735783 h 6341252"/>
                <a:gd name="connsiteX17" fmla="*/ 318688 w 318688"/>
                <a:gd name="connsiteY17" fmla="*/ 5735783 h 6341252"/>
                <a:gd name="connsiteX18" fmla="*/ 318688 w 318688"/>
                <a:gd name="connsiteY18" fmla="*/ 5767685 h 6341252"/>
                <a:gd name="connsiteX19" fmla="*/ 286785 w 318688"/>
                <a:gd name="connsiteY19" fmla="*/ 5767685 h 6341252"/>
                <a:gd name="connsiteX20" fmla="*/ 0 w 318688"/>
                <a:gd name="connsiteY20" fmla="*/ 5735783 h 6341252"/>
                <a:gd name="connsiteX21" fmla="*/ 31901 w 318688"/>
                <a:gd name="connsiteY21" fmla="*/ 5735783 h 6341252"/>
                <a:gd name="connsiteX22" fmla="*/ 31901 w 318688"/>
                <a:gd name="connsiteY22" fmla="*/ 5767685 h 6341252"/>
                <a:gd name="connsiteX23" fmla="*/ 0 w 318688"/>
                <a:gd name="connsiteY23" fmla="*/ 5767685 h 6341252"/>
                <a:gd name="connsiteX24" fmla="*/ 286785 w 318688"/>
                <a:gd name="connsiteY24" fmla="*/ 5448997 h 6341252"/>
                <a:gd name="connsiteX25" fmla="*/ 318688 w 318688"/>
                <a:gd name="connsiteY25" fmla="*/ 5448997 h 6341252"/>
                <a:gd name="connsiteX26" fmla="*/ 318688 w 318688"/>
                <a:gd name="connsiteY26" fmla="*/ 5480899 h 6341252"/>
                <a:gd name="connsiteX27" fmla="*/ 286785 w 318688"/>
                <a:gd name="connsiteY27" fmla="*/ 5480899 h 6341252"/>
                <a:gd name="connsiteX28" fmla="*/ 0 w 318688"/>
                <a:gd name="connsiteY28" fmla="*/ 5448997 h 6341252"/>
                <a:gd name="connsiteX29" fmla="*/ 31901 w 318688"/>
                <a:gd name="connsiteY29" fmla="*/ 5448997 h 6341252"/>
                <a:gd name="connsiteX30" fmla="*/ 31901 w 318688"/>
                <a:gd name="connsiteY30" fmla="*/ 5480899 h 6341252"/>
                <a:gd name="connsiteX31" fmla="*/ 0 w 318688"/>
                <a:gd name="connsiteY31" fmla="*/ 5480899 h 6341252"/>
                <a:gd name="connsiteX32" fmla="*/ 286785 w 318688"/>
                <a:gd name="connsiteY32" fmla="*/ 5162213 h 6341252"/>
                <a:gd name="connsiteX33" fmla="*/ 318688 w 318688"/>
                <a:gd name="connsiteY33" fmla="*/ 5162213 h 6341252"/>
                <a:gd name="connsiteX34" fmla="*/ 318688 w 318688"/>
                <a:gd name="connsiteY34" fmla="*/ 5194116 h 6341252"/>
                <a:gd name="connsiteX35" fmla="*/ 286785 w 318688"/>
                <a:gd name="connsiteY35" fmla="*/ 5194116 h 6341252"/>
                <a:gd name="connsiteX36" fmla="*/ 0 w 318688"/>
                <a:gd name="connsiteY36" fmla="*/ 5162213 h 6341252"/>
                <a:gd name="connsiteX37" fmla="*/ 31901 w 318688"/>
                <a:gd name="connsiteY37" fmla="*/ 5162213 h 6341252"/>
                <a:gd name="connsiteX38" fmla="*/ 31901 w 318688"/>
                <a:gd name="connsiteY38" fmla="*/ 5194116 h 6341252"/>
                <a:gd name="connsiteX39" fmla="*/ 0 w 318688"/>
                <a:gd name="connsiteY39" fmla="*/ 5194116 h 6341252"/>
                <a:gd name="connsiteX40" fmla="*/ 286785 w 318688"/>
                <a:gd name="connsiteY40" fmla="*/ 4875429 h 6341252"/>
                <a:gd name="connsiteX41" fmla="*/ 318688 w 318688"/>
                <a:gd name="connsiteY41" fmla="*/ 4875429 h 6341252"/>
                <a:gd name="connsiteX42" fmla="*/ 318688 w 318688"/>
                <a:gd name="connsiteY42" fmla="*/ 4907331 h 6341252"/>
                <a:gd name="connsiteX43" fmla="*/ 286785 w 318688"/>
                <a:gd name="connsiteY43" fmla="*/ 4907331 h 6341252"/>
                <a:gd name="connsiteX44" fmla="*/ 0 w 318688"/>
                <a:gd name="connsiteY44" fmla="*/ 4875429 h 6341252"/>
                <a:gd name="connsiteX45" fmla="*/ 31901 w 318688"/>
                <a:gd name="connsiteY45" fmla="*/ 4875429 h 6341252"/>
                <a:gd name="connsiteX46" fmla="*/ 31901 w 318688"/>
                <a:gd name="connsiteY46" fmla="*/ 4907331 h 6341252"/>
                <a:gd name="connsiteX47" fmla="*/ 0 w 318688"/>
                <a:gd name="connsiteY47" fmla="*/ 4907331 h 6341252"/>
                <a:gd name="connsiteX48" fmla="*/ 286785 w 318688"/>
                <a:gd name="connsiteY48" fmla="*/ 4588644 h 6341252"/>
                <a:gd name="connsiteX49" fmla="*/ 318688 w 318688"/>
                <a:gd name="connsiteY49" fmla="*/ 4588644 h 6341252"/>
                <a:gd name="connsiteX50" fmla="*/ 318688 w 318688"/>
                <a:gd name="connsiteY50" fmla="*/ 4620545 h 6341252"/>
                <a:gd name="connsiteX51" fmla="*/ 286785 w 318688"/>
                <a:gd name="connsiteY51" fmla="*/ 4620545 h 6341252"/>
                <a:gd name="connsiteX52" fmla="*/ 0 w 318688"/>
                <a:gd name="connsiteY52" fmla="*/ 4588644 h 6341252"/>
                <a:gd name="connsiteX53" fmla="*/ 31901 w 318688"/>
                <a:gd name="connsiteY53" fmla="*/ 4588644 h 6341252"/>
                <a:gd name="connsiteX54" fmla="*/ 31901 w 318688"/>
                <a:gd name="connsiteY54" fmla="*/ 4620545 h 6341252"/>
                <a:gd name="connsiteX55" fmla="*/ 0 w 318688"/>
                <a:gd name="connsiteY55" fmla="*/ 4620545 h 6341252"/>
                <a:gd name="connsiteX56" fmla="*/ 286785 w 318688"/>
                <a:gd name="connsiteY56" fmla="*/ 4301860 h 6341252"/>
                <a:gd name="connsiteX57" fmla="*/ 318688 w 318688"/>
                <a:gd name="connsiteY57" fmla="*/ 4301860 h 6341252"/>
                <a:gd name="connsiteX58" fmla="*/ 318688 w 318688"/>
                <a:gd name="connsiteY58" fmla="*/ 4333762 h 6341252"/>
                <a:gd name="connsiteX59" fmla="*/ 286785 w 318688"/>
                <a:gd name="connsiteY59" fmla="*/ 4333762 h 6341252"/>
                <a:gd name="connsiteX60" fmla="*/ 0 w 318688"/>
                <a:gd name="connsiteY60" fmla="*/ 4301860 h 6341252"/>
                <a:gd name="connsiteX61" fmla="*/ 31901 w 318688"/>
                <a:gd name="connsiteY61" fmla="*/ 4301860 h 6341252"/>
                <a:gd name="connsiteX62" fmla="*/ 31901 w 318688"/>
                <a:gd name="connsiteY62" fmla="*/ 4333762 h 6341252"/>
                <a:gd name="connsiteX63" fmla="*/ 0 w 318688"/>
                <a:gd name="connsiteY63" fmla="*/ 4333762 h 6341252"/>
                <a:gd name="connsiteX64" fmla="*/ 286785 w 318688"/>
                <a:gd name="connsiteY64" fmla="*/ 4015075 h 6341252"/>
                <a:gd name="connsiteX65" fmla="*/ 318688 w 318688"/>
                <a:gd name="connsiteY65" fmla="*/ 4015075 h 6341252"/>
                <a:gd name="connsiteX66" fmla="*/ 318688 w 318688"/>
                <a:gd name="connsiteY66" fmla="*/ 4046976 h 6341252"/>
                <a:gd name="connsiteX67" fmla="*/ 286785 w 318688"/>
                <a:gd name="connsiteY67" fmla="*/ 4046976 h 6341252"/>
                <a:gd name="connsiteX68" fmla="*/ 0 w 318688"/>
                <a:gd name="connsiteY68" fmla="*/ 4015075 h 6341252"/>
                <a:gd name="connsiteX69" fmla="*/ 31901 w 318688"/>
                <a:gd name="connsiteY69" fmla="*/ 4015075 h 6341252"/>
                <a:gd name="connsiteX70" fmla="*/ 31901 w 318688"/>
                <a:gd name="connsiteY70" fmla="*/ 4046976 h 6341252"/>
                <a:gd name="connsiteX71" fmla="*/ 0 w 318688"/>
                <a:gd name="connsiteY71" fmla="*/ 4046976 h 6341252"/>
                <a:gd name="connsiteX72" fmla="*/ 286785 w 318688"/>
                <a:gd name="connsiteY72" fmla="*/ 3728291 h 6341252"/>
                <a:gd name="connsiteX73" fmla="*/ 318688 w 318688"/>
                <a:gd name="connsiteY73" fmla="*/ 3728291 h 6341252"/>
                <a:gd name="connsiteX74" fmla="*/ 318688 w 318688"/>
                <a:gd name="connsiteY74" fmla="*/ 3760193 h 6341252"/>
                <a:gd name="connsiteX75" fmla="*/ 286785 w 318688"/>
                <a:gd name="connsiteY75" fmla="*/ 3760193 h 6341252"/>
                <a:gd name="connsiteX76" fmla="*/ 0 w 318688"/>
                <a:gd name="connsiteY76" fmla="*/ 3728291 h 6341252"/>
                <a:gd name="connsiteX77" fmla="*/ 31901 w 318688"/>
                <a:gd name="connsiteY77" fmla="*/ 3728291 h 6341252"/>
                <a:gd name="connsiteX78" fmla="*/ 31901 w 318688"/>
                <a:gd name="connsiteY78" fmla="*/ 3760193 h 6341252"/>
                <a:gd name="connsiteX79" fmla="*/ 0 w 318688"/>
                <a:gd name="connsiteY79" fmla="*/ 3760193 h 6341252"/>
                <a:gd name="connsiteX80" fmla="*/ 286785 w 318688"/>
                <a:gd name="connsiteY80" fmla="*/ 3441515 h 6341252"/>
                <a:gd name="connsiteX81" fmla="*/ 318688 w 318688"/>
                <a:gd name="connsiteY81" fmla="*/ 3441515 h 6341252"/>
                <a:gd name="connsiteX82" fmla="*/ 318688 w 318688"/>
                <a:gd name="connsiteY82" fmla="*/ 3473408 h 6341252"/>
                <a:gd name="connsiteX83" fmla="*/ 286785 w 318688"/>
                <a:gd name="connsiteY83" fmla="*/ 3473408 h 6341252"/>
                <a:gd name="connsiteX84" fmla="*/ 0 w 318688"/>
                <a:gd name="connsiteY84" fmla="*/ 3441514 h 6341252"/>
                <a:gd name="connsiteX85" fmla="*/ 31901 w 318688"/>
                <a:gd name="connsiteY85" fmla="*/ 3441514 h 6341252"/>
                <a:gd name="connsiteX86" fmla="*/ 31901 w 318688"/>
                <a:gd name="connsiteY86" fmla="*/ 3473408 h 6341252"/>
                <a:gd name="connsiteX87" fmla="*/ 0 w 318688"/>
                <a:gd name="connsiteY87" fmla="*/ 3473408 h 6341252"/>
                <a:gd name="connsiteX88" fmla="*/ 286785 w 318688"/>
                <a:gd name="connsiteY88" fmla="*/ 3154732 h 6341252"/>
                <a:gd name="connsiteX89" fmla="*/ 318688 w 318688"/>
                <a:gd name="connsiteY89" fmla="*/ 3154732 h 6341252"/>
                <a:gd name="connsiteX90" fmla="*/ 318688 w 318688"/>
                <a:gd name="connsiteY90" fmla="*/ 3186635 h 6341252"/>
                <a:gd name="connsiteX91" fmla="*/ 286785 w 318688"/>
                <a:gd name="connsiteY91" fmla="*/ 3186635 h 6341252"/>
                <a:gd name="connsiteX92" fmla="*/ 0 w 318688"/>
                <a:gd name="connsiteY92" fmla="*/ 3154731 h 6341252"/>
                <a:gd name="connsiteX93" fmla="*/ 31901 w 318688"/>
                <a:gd name="connsiteY93" fmla="*/ 3154731 h 6341252"/>
                <a:gd name="connsiteX94" fmla="*/ 31901 w 318688"/>
                <a:gd name="connsiteY94" fmla="*/ 3186634 h 6341252"/>
                <a:gd name="connsiteX95" fmla="*/ 0 w 318688"/>
                <a:gd name="connsiteY95" fmla="*/ 3186634 h 6341252"/>
                <a:gd name="connsiteX96" fmla="*/ 286785 w 318688"/>
                <a:gd name="connsiteY96" fmla="*/ 2867859 h 6341252"/>
                <a:gd name="connsiteX97" fmla="*/ 318688 w 318688"/>
                <a:gd name="connsiteY97" fmla="*/ 2867859 h 6341252"/>
                <a:gd name="connsiteX98" fmla="*/ 318688 w 318688"/>
                <a:gd name="connsiteY98" fmla="*/ 2899760 h 6341252"/>
                <a:gd name="connsiteX99" fmla="*/ 286785 w 318688"/>
                <a:gd name="connsiteY99" fmla="*/ 2899760 h 6341252"/>
                <a:gd name="connsiteX100" fmla="*/ 0 w 318688"/>
                <a:gd name="connsiteY100" fmla="*/ 2867855 h 6341252"/>
                <a:gd name="connsiteX101" fmla="*/ 31901 w 318688"/>
                <a:gd name="connsiteY101" fmla="*/ 2867855 h 6341252"/>
                <a:gd name="connsiteX102" fmla="*/ 31901 w 318688"/>
                <a:gd name="connsiteY102" fmla="*/ 2899757 h 6341252"/>
                <a:gd name="connsiteX103" fmla="*/ 0 w 318688"/>
                <a:gd name="connsiteY103" fmla="*/ 2899757 h 6341252"/>
                <a:gd name="connsiteX104" fmla="*/ 286785 w 318688"/>
                <a:gd name="connsiteY104" fmla="*/ 2581076 h 6341252"/>
                <a:gd name="connsiteX105" fmla="*/ 318688 w 318688"/>
                <a:gd name="connsiteY105" fmla="*/ 2581076 h 6341252"/>
                <a:gd name="connsiteX106" fmla="*/ 318688 w 318688"/>
                <a:gd name="connsiteY106" fmla="*/ 2612993 h 6341252"/>
                <a:gd name="connsiteX107" fmla="*/ 286785 w 318688"/>
                <a:gd name="connsiteY107" fmla="*/ 2612993 h 6341252"/>
                <a:gd name="connsiteX108" fmla="*/ 0 w 318688"/>
                <a:gd name="connsiteY108" fmla="*/ 2581073 h 6341252"/>
                <a:gd name="connsiteX109" fmla="*/ 31901 w 318688"/>
                <a:gd name="connsiteY109" fmla="*/ 2581073 h 6341252"/>
                <a:gd name="connsiteX110" fmla="*/ 31901 w 318688"/>
                <a:gd name="connsiteY110" fmla="*/ 2612987 h 6341252"/>
                <a:gd name="connsiteX111" fmla="*/ 0 w 318688"/>
                <a:gd name="connsiteY111" fmla="*/ 2612987 h 6341252"/>
                <a:gd name="connsiteX112" fmla="*/ 286785 w 318688"/>
                <a:gd name="connsiteY112" fmla="*/ 2294287 h 6341252"/>
                <a:gd name="connsiteX113" fmla="*/ 318688 w 318688"/>
                <a:gd name="connsiteY113" fmla="*/ 2294287 h 6341252"/>
                <a:gd name="connsiteX114" fmla="*/ 318688 w 318688"/>
                <a:gd name="connsiteY114" fmla="*/ 2326193 h 6341252"/>
                <a:gd name="connsiteX115" fmla="*/ 286785 w 318688"/>
                <a:gd name="connsiteY115" fmla="*/ 2326193 h 6341252"/>
                <a:gd name="connsiteX116" fmla="*/ 0 w 318688"/>
                <a:gd name="connsiteY116" fmla="*/ 2294283 h 6341252"/>
                <a:gd name="connsiteX117" fmla="*/ 31901 w 318688"/>
                <a:gd name="connsiteY117" fmla="*/ 2294283 h 6341252"/>
                <a:gd name="connsiteX118" fmla="*/ 31901 w 318688"/>
                <a:gd name="connsiteY118" fmla="*/ 2326188 h 6341252"/>
                <a:gd name="connsiteX119" fmla="*/ 0 w 318688"/>
                <a:gd name="connsiteY119" fmla="*/ 2326188 h 6341252"/>
                <a:gd name="connsiteX120" fmla="*/ 286785 w 318688"/>
                <a:gd name="connsiteY120" fmla="*/ 2007498 h 6341252"/>
                <a:gd name="connsiteX121" fmla="*/ 318688 w 318688"/>
                <a:gd name="connsiteY121" fmla="*/ 2007498 h 6341252"/>
                <a:gd name="connsiteX122" fmla="*/ 318688 w 318688"/>
                <a:gd name="connsiteY122" fmla="*/ 2039391 h 6341252"/>
                <a:gd name="connsiteX123" fmla="*/ 286785 w 318688"/>
                <a:gd name="connsiteY123" fmla="*/ 2039391 h 6341252"/>
                <a:gd name="connsiteX124" fmla="*/ 0 w 318688"/>
                <a:gd name="connsiteY124" fmla="*/ 2007496 h 6341252"/>
                <a:gd name="connsiteX125" fmla="*/ 31901 w 318688"/>
                <a:gd name="connsiteY125" fmla="*/ 2007496 h 6341252"/>
                <a:gd name="connsiteX126" fmla="*/ 31901 w 318688"/>
                <a:gd name="connsiteY126" fmla="*/ 2039389 h 6341252"/>
                <a:gd name="connsiteX127" fmla="*/ 0 w 318688"/>
                <a:gd name="connsiteY127" fmla="*/ 2039389 h 6341252"/>
                <a:gd name="connsiteX128" fmla="*/ 286785 w 318688"/>
                <a:gd name="connsiteY128" fmla="*/ 1720711 h 6341252"/>
                <a:gd name="connsiteX129" fmla="*/ 318688 w 318688"/>
                <a:gd name="connsiteY129" fmla="*/ 1720711 h 6341252"/>
                <a:gd name="connsiteX130" fmla="*/ 318688 w 318688"/>
                <a:gd name="connsiteY130" fmla="*/ 1752614 h 6341252"/>
                <a:gd name="connsiteX131" fmla="*/ 286785 w 318688"/>
                <a:gd name="connsiteY131" fmla="*/ 1752614 h 6341252"/>
                <a:gd name="connsiteX132" fmla="*/ 0 w 318688"/>
                <a:gd name="connsiteY132" fmla="*/ 1720709 h 6341252"/>
                <a:gd name="connsiteX133" fmla="*/ 31901 w 318688"/>
                <a:gd name="connsiteY133" fmla="*/ 1720709 h 6341252"/>
                <a:gd name="connsiteX134" fmla="*/ 31901 w 318688"/>
                <a:gd name="connsiteY134" fmla="*/ 1752612 h 6341252"/>
                <a:gd name="connsiteX135" fmla="*/ 0 w 318688"/>
                <a:gd name="connsiteY135" fmla="*/ 1752612 h 6341252"/>
                <a:gd name="connsiteX136" fmla="*/ 286785 w 318688"/>
                <a:gd name="connsiteY136" fmla="*/ 1433930 h 6341252"/>
                <a:gd name="connsiteX137" fmla="*/ 318688 w 318688"/>
                <a:gd name="connsiteY137" fmla="*/ 1433930 h 6341252"/>
                <a:gd name="connsiteX138" fmla="*/ 318688 w 318688"/>
                <a:gd name="connsiteY138" fmla="*/ 1465831 h 6341252"/>
                <a:gd name="connsiteX139" fmla="*/ 286785 w 318688"/>
                <a:gd name="connsiteY139" fmla="*/ 1465831 h 6341252"/>
                <a:gd name="connsiteX140" fmla="*/ 0 w 318688"/>
                <a:gd name="connsiteY140" fmla="*/ 1433927 h 6341252"/>
                <a:gd name="connsiteX141" fmla="*/ 31901 w 318688"/>
                <a:gd name="connsiteY141" fmla="*/ 1433927 h 6341252"/>
                <a:gd name="connsiteX142" fmla="*/ 31901 w 318688"/>
                <a:gd name="connsiteY142" fmla="*/ 1465828 h 6341252"/>
                <a:gd name="connsiteX143" fmla="*/ 0 w 318688"/>
                <a:gd name="connsiteY143" fmla="*/ 1465828 h 6341252"/>
                <a:gd name="connsiteX144" fmla="*/ 286785 w 318688"/>
                <a:gd name="connsiteY144" fmla="*/ 1147150 h 6341252"/>
                <a:gd name="connsiteX145" fmla="*/ 318688 w 318688"/>
                <a:gd name="connsiteY145" fmla="*/ 1147150 h 6341252"/>
                <a:gd name="connsiteX146" fmla="*/ 318688 w 318688"/>
                <a:gd name="connsiteY146" fmla="*/ 1179052 h 6341252"/>
                <a:gd name="connsiteX147" fmla="*/ 286785 w 318688"/>
                <a:gd name="connsiteY147" fmla="*/ 1179052 h 6341252"/>
                <a:gd name="connsiteX148" fmla="*/ 0 w 318688"/>
                <a:gd name="connsiteY148" fmla="*/ 1147146 h 6341252"/>
                <a:gd name="connsiteX149" fmla="*/ 31901 w 318688"/>
                <a:gd name="connsiteY149" fmla="*/ 1147146 h 6341252"/>
                <a:gd name="connsiteX150" fmla="*/ 31901 w 318688"/>
                <a:gd name="connsiteY150" fmla="*/ 1179049 h 6341252"/>
                <a:gd name="connsiteX151" fmla="*/ 0 w 318688"/>
                <a:gd name="connsiteY151" fmla="*/ 1179049 h 6341252"/>
                <a:gd name="connsiteX152" fmla="*/ 286785 w 318688"/>
                <a:gd name="connsiteY152" fmla="*/ 860355 h 6341252"/>
                <a:gd name="connsiteX153" fmla="*/ 318688 w 318688"/>
                <a:gd name="connsiteY153" fmla="*/ 860355 h 6341252"/>
                <a:gd name="connsiteX154" fmla="*/ 318688 w 318688"/>
                <a:gd name="connsiteY154" fmla="*/ 892257 h 6341252"/>
                <a:gd name="connsiteX155" fmla="*/ 286785 w 318688"/>
                <a:gd name="connsiteY155" fmla="*/ 892257 h 6341252"/>
                <a:gd name="connsiteX156" fmla="*/ 0 w 318688"/>
                <a:gd name="connsiteY156" fmla="*/ 860351 h 6341252"/>
                <a:gd name="connsiteX157" fmla="*/ 31901 w 318688"/>
                <a:gd name="connsiteY157" fmla="*/ 860351 h 6341252"/>
                <a:gd name="connsiteX158" fmla="*/ 31901 w 318688"/>
                <a:gd name="connsiteY158" fmla="*/ 892254 h 6341252"/>
                <a:gd name="connsiteX159" fmla="*/ 0 w 318688"/>
                <a:gd name="connsiteY159" fmla="*/ 892254 h 6341252"/>
                <a:gd name="connsiteX160" fmla="*/ 286785 w 318688"/>
                <a:gd name="connsiteY160" fmla="*/ 573571 h 6341252"/>
                <a:gd name="connsiteX161" fmla="*/ 318688 w 318688"/>
                <a:gd name="connsiteY161" fmla="*/ 573571 h 6341252"/>
                <a:gd name="connsiteX162" fmla="*/ 318688 w 318688"/>
                <a:gd name="connsiteY162" fmla="*/ 605472 h 6341252"/>
                <a:gd name="connsiteX163" fmla="*/ 286785 w 318688"/>
                <a:gd name="connsiteY163" fmla="*/ 605472 h 6341252"/>
                <a:gd name="connsiteX164" fmla="*/ 0 w 318688"/>
                <a:gd name="connsiteY164" fmla="*/ 573568 h 6341252"/>
                <a:gd name="connsiteX165" fmla="*/ 31901 w 318688"/>
                <a:gd name="connsiteY165" fmla="*/ 573568 h 6341252"/>
                <a:gd name="connsiteX166" fmla="*/ 31901 w 318688"/>
                <a:gd name="connsiteY166" fmla="*/ 605470 h 6341252"/>
                <a:gd name="connsiteX167" fmla="*/ 0 w 318688"/>
                <a:gd name="connsiteY167" fmla="*/ 605470 h 6341252"/>
                <a:gd name="connsiteX168" fmla="*/ 286785 w 318688"/>
                <a:gd name="connsiteY168" fmla="*/ 286786 h 6341252"/>
                <a:gd name="connsiteX169" fmla="*/ 318688 w 318688"/>
                <a:gd name="connsiteY169" fmla="*/ 286786 h 6341252"/>
                <a:gd name="connsiteX170" fmla="*/ 318688 w 318688"/>
                <a:gd name="connsiteY170" fmla="*/ 318689 h 6341252"/>
                <a:gd name="connsiteX171" fmla="*/ 286785 w 318688"/>
                <a:gd name="connsiteY171" fmla="*/ 318689 h 6341252"/>
                <a:gd name="connsiteX172" fmla="*/ 0 w 318688"/>
                <a:gd name="connsiteY172" fmla="*/ 286784 h 6341252"/>
                <a:gd name="connsiteX173" fmla="*/ 31901 w 318688"/>
                <a:gd name="connsiteY173" fmla="*/ 286784 h 6341252"/>
                <a:gd name="connsiteX174" fmla="*/ 31901 w 318688"/>
                <a:gd name="connsiteY174" fmla="*/ 318687 h 6341252"/>
                <a:gd name="connsiteX175" fmla="*/ 0 w 318688"/>
                <a:gd name="connsiteY175" fmla="*/ 318687 h 6341252"/>
                <a:gd name="connsiteX176" fmla="*/ 286785 w 318688"/>
                <a:gd name="connsiteY176" fmla="*/ 3 h 6341252"/>
                <a:gd name="connsiteX177" fmla="*/ 318688 w 318688"/>
                <a:gd name="connsiteY177" fmla="*/ 3 h 6341252"/>
                <a:gd name="connsiteX178" fmla="*/ 318688 w 318688"/>
                <a:gd name="connsiteY178" fmla="*/ 31906 h 6341252"/>
                <a:gd name="connsiteX179" fmla="*/ 286785 w 318688"/>
                <a:gd name="connsiteY179" fmla="*/ 31906 h 6341252"/>
                <a:gd name="connsiteX180" fmla="*/ 0 w 318688"/>
                <a:gd name="connsiteY180" fmla="*/ 0 h 6341252"/>
                <a:gd name="connsiteX181" fmla="*/ 31901 w 318688"/>
                <a:gd name="connsiteY181" fmla="*/ 0 h 6341252"/>
                <a:gd name="connsiteX182" fmla="*/ 31901 w 318688"/>
                <a:gd name="connsiteY182" fmla="*/ 31903 h 6341252"/>
                <a:gd name="connsiteX183" fmla="*/ 0 w 318688"/>
                <a:gd name="connsiteY183" fmla="*/ 31903 h 6341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318688" h="6341252">
                  <a:moveTo>
                    <a:pt x="286785" y="6309351"/>
                  </a:moveTo>
                  <a:lnTo>
                    <a:pt x="318688" y="6309351"/>
                  </a:lnTo>
                  <a:lnTo>
                    <a:pt x="318688" y="6341252"/>
                  </a:lnTo>
                  <a:lnTo>
                    <a:pt x="286785" y="6341252"/>
                  </a:lnTo>
                  <a:close/>
                  <a:moveTo>
                    <a:pt x="0" y="6309351"/>
                  </a:moveTo>
                  <a:lnTo>
                    <a:pt x="31901" y="6309351"/>
                  </a:lnTo>
                  <a:lnTo>
                    <a:pt x="31901" y="6341252"/>
                  </a:lnTo>
                  <a:lnTo>
                    <a:pt x="0" y="6341252"/>
                  </a:lnTo>
                  <a:close/>
                  <a:moveTo>
                    <a:pt x="286785" y="6022567"/>
                  </a:moveTo>
                  <a:lnTo>
                    <a:pt x="318688" y="6022567"/>
                  </a:lnTo>
                  <a:lnTo>
                    <a:pt x="318688" y="6054468"/>
                  </a:lnTo>
                  <a:lnTo>
                    <a:pt x="286785" y="6054468"/>
                  </a:lnTo>
                  <a:close/>
                  <a:moveTo>
                    <a:pt x="0" y="6022567"/>
                  </a:moveTo>
                  <a:lnTo>
                    <a:pt x="31901" y="6022567"/>
                  </a:lnTo>
                  <a:lnTo>
                    <a:pt x="31901" y="6054468"/>
                  </a:lnTo>
                  <a:lnTo>
                    <a:pt x="0" y="6054468"/>
                  </a:lnTo>
                  <a:close/>
                  <a:moveTo>
                    <a:pt x="286785" y="5735783"/>
                  </a:moveTo>
                  <a:lnTo>
                    <a:pt x="318688" y="5735783"/>
                  </a:lnTo>
                  <a:lnTo>
                    <a:pt x="318688" y="5767685"/>
                  </a:lnTo>
                  <a:lnTo>
                    <a:pt x="286785" y="5767685"/>
                  </a:lnTo>
                  <a:close/>
                  <a:moveTo>
                    <a:pt x="0" y="5735783"/>
                  </a:moveTo>
                  <a:lnTo>
                    <a:pt x="31901" y="5735783"/>
                  </a:lnTo>
                  <a:lnTo>
                    <a:pt x="31901" y="5767685"/>
                  </a:lnTo>
                  <a:lnTo>
                    <a:pt x="0" y="5767685"/>
                  </a:lnTo>
                  <a:close/>
                  <a:moveTo>
                    <a:pt x="286785" y="5448997"/>
                  </a:moveTo>
                  <a:lnTo>
                    <a:pt x="318688" y="5448997"/>
                  </a:lnTo>
                  <a:lnTo>
                    <a:pt x="318688" y="5480899"/>
                  </a:lnTo>
                  <a:lnTo>
                    <a:pt x="286785" y="5480899"/>
                  </a:lnTo>
                  <a:close/>
                  <a:moveTo>
                    <a:pt x="0" y="5448997"/>
                  </a:moveTo>
                  <a:lnTo>
                    <a:pt x="31901" y="5448997"/>
                  </a:lnTo>
                  <a:lnTo>
                    <a:pt x="31901" y="5480899"/>
                  </a:lnTo>
                  <a:lnTo>
                    <a:pt x="0" y="5480899"/>
                  </a:lnTo>
                  <a:close/>
                  <a:moveTo>
                    <a:pt x="286785" y="5162213"/>
                  </a:moveTo>
                  <a:lnTo>
                    <a:pt x="318688" y="5162213"/>
                  </a:lnTo>
                  <a:lnTo>
                    <a:pt x="318688" y="5194116"/>
                  </a:lnTo>
                  <a:lnTo>
                    <a:pt x="286785" y="5194116"/>
                  </a:lnTo>
                  <a:close/>
                  <a:moveTo>
                    <a:pt x="0" y="5162213"/>
                  </a:moveTo>
                  <a:lnTo>
                    <a:pt x="31901" y="5162213"/>
                  </a:lnTo>
                  <a:lnTo>
                    <a:pt x="31901" y="5194116"/>
                  </a:lnTo>
                  <a:lnTo>
                    <a:pt x="0" y="5194116"/>
                  </a:lnTo>
                  <a:close/>
                  <a:moveTo>
                    <a:pt x="286785" y="4875429"/>
                  </a:moveTo>
                  <a:lnTo>
                    <a:pt x="318688" y="4875429"/>
                  </a:lnTo>
                  <a:lnTo>
                    <a:pt x="318688" y="4907331"/>
                  </a:lnTo>
                  <a:lnTo>
                    <a:pt x="286785" y="4907331"/>
                  </a:lnTo>
                  <a:close/>
                  <a:moveTo>
                    <a:pt x="0" y="4875429"/>
                  </a:moveTo>
                  <a:lnTo>
                    <a:pt x="31901" y="4875429"/>
                  </a:lnTo>
                  <a:lnTo>
                    <a:pt x="31901" y="4907331"/>
                  </a:lnTo>
                  <a:lnTo>
                    <a:pt x="0" y="4907331"/>
                  </a:lnTo>
                  <a:close/>
                  <a:moveTo>
                    <a:pt x="286785" y="4588644"/>
                  </a:moveTo>
                  <a:lnTo>
                    <a:pt x="318688" y="4588644"/>
                  </a:lnTo>
                  <a:lnTo>
                    <a:pt x="318688" y="4620545"/>
                  </a:lnTo>
                  <a:lnTo>
                    <a:pt x="286785" y="4620545"/>
                  </a:lnTo>
                  <a:close/>
                  <a:moveTo>
                    <a:pt x="0" y="4588644"/>
                  </a:moveTo>
                  <a:lnTo>
                    <a:pt x="31901" y="4588644"/>
                  </a:lnTo>
                  <a:lnTo>
                    <a:pt x="31901" y="4620545"/>
                  </a:lnTo>
                  <a:lnTo>
                    <a:pt x="0" y="4620545"/>
                  </a:lnTo>
                  <a:close/>
                  <a:moveTo>
                    <a:pt x="286785" y="4301860"/>
                  </a:moveTo>
                  <a:lnTo>
                    <a:pt x="318688" y="4301860"/>
                  </a:lnTo>
                  <a:lnTo>
                    <a:pt x="318688" y="4333762"/>
                  </a:lnTo>
                  <a:lnTo>
                    <a:pt x="286785" y="4333762"/>
                  </a:lnTo>
                  <a:close/>
                  <a:moveTo>
                    <a:pt x="0" y="4301860"/>
                  </a:moveTo>
                  <a:lnTo>
                    <a:pt x="31901" y="4301860"/>
                  </a:lnTo>
                  <a:lnTo>
                    <a:pt x="31901" y="4333762"/>
                  </a:lnTo>
                  <a:lnTo>
                    <a:pt x="0" y="4333762"/>
                  </a:lnTo>
                  <a:close/>
                  <a:moveTo>
                    <a:pt x="286785" y="4015075"/>
                  </a:moveTo>
                  <a:lnTo>
                    <a:pt x="318688" y="4015075"/>
                  </a:lnTo>
                  <a:lnTo>
                    <a:pt x="318688" y="4046976"/>
                  </a:lnTo>
                  <a:lnTo>
                    <a:pt x="286785" y="4046976"/>
                  </a:lnTo>
                  <a:close/>
                  <a:moveTo>
                    <a:pt x="0" y="4015075"/>
                  </a:moveTo>
                  <a:lnTo>
                    <a:pt x="31901" y="4015075"/>
                  </a:lnTo>
                  <a:lnTo>
                    <a:pt x="31901" y="4046976"/>
                  </a:lnTo>
                  <a:lnTo>
                    <a:pt x="0" y="4046976"/>
                  </a:lnTo>
                  <a:close/>
                  <a:moveTo>
                    <a:pt x="286785" y="3728291"/>
                  </a:moveTo>
                  <a:lnTo>
                    <a:pt x="318688" y="3728291"/>
                  </a:lnTo>
                  <a:lnTo>
                    <a:pt x="318688" y="3760193"/>
                  </a:lnTo>
                  <a:lnTo>
                    <a:pt x="286785" y="3760193"/>
                  </a:lnTo>
                  <a:close/>
                  <a:moveTo>
                    <a:pt x="0" y="3728291"/>
                  </a:moveTo>
                  <a:lnTo>
                    <a:pt x="31901" y="3728291"/>
                  </a:lnTo>
                  <a:lnTo>
                    <a:pt x="31901" y="3760193"/>
                  </a:lnTo>
                  <a:lnTo>
                    <a:pt x="0" y="3760193"/>
                  </a:lnTo>
                  <a:close/>
                  <a:moveTo>
                    <a:pt x="286785" y="3441515"/>
                  </a:moveTo>
                  <a:lnTo>
                    <a:pt x="318688" y="3441515"/>
                  </a:lnTo>
                  <a:lnTo>
                    <a:pt x="318688" y="3473408"/>
                  </a:lnTo>
                  <a:lnTo>
                    <a:pt x="286785" y="3473408"/>
                  </a:lnTo>
                  <a:close/>
                  <a:moveTo>
                    <a:pt x="0" y="3441514"/>
                  </a:moveTo>
                  <a:lnTo>
                    <a:pt x="31901" y="3441514"/>
                  </a:lnTo>
                  <a:lnTo>
                    <a:pt x="31901" y="3473408"/>
                  </a:lnTo>
                  <a:lnTo>
                    <a:pt x="0" y="3473408"/>
                  </a:lnTo>
                  <a:close/>
                  <a:moveTo>
                    <a:pt x="286785" y="3154732"/>
                  </a:moveTo>
                  <a:lnTo>
                    <a:pt x="318688" y="3154732"/>
                  </a:lnTo>
                  <a:lnTo>
                    <a:pt x="318688" y="3186635"/>
                  </a:lnTo>
                  <a:lnTo>
                    <a:pt x="286785" y="3186635"/>
                  </a:lnTo>
                  <a:close/>
                  <a:moveTo>
                    <a:pt x="0" y="3154731"/>
                  </a:moveTo>
                  <a:lnTo>
                    <a:pt x="31901" y="3154731"/>
                  </a:lnTo>
                  <a:lnTo>
                    <a:pt x="31901" y="3186634"/>
                  </a:lnTo>
                  <a:lnTo>
                    <a:pt x="0" y="3186634"/>
                  </a:lnTo>
                  <a:close/>
                  <a:moveTo>
                    <a:pt x="286785" y="2867859"/>
                  </a:moveTo>
                  <a:lnTo>
                    <a:pt x="318688" y="2867859"/>
                  </a:lnTo>
                  <a:lnTo>
                    <a:pt x="318688" y="2899760"/>
                  </a:lnTo>
                  <a:lnTo>
                    <a:pt x="286785" y="2899760"/>
                  </a:lnTo>
                  <a:close/>
                  <a:moveTo>
                    <a:pt x="0" y="2867855"/>
                  </a:moveTo>
                  <a:lnTo>
                    <a:pt x="31901" y="2867855"/>
                  </a:lnTo>
                  <a:lnTo>
                    <a:pt x="31901" y="2899757"/>
                  </a:lnTo>
                  <a:lnTo>
                    <a:pt x="0" y="2899757"/>
                  </a:lnTo>
                  <a:close/>
                  <a:moveTo>
                    <a:pt x="286785" y="2581076"/>
                  </a:moveTo>
                  <a:lnTo>
                    <a:pt x="318688" y="2581076"/>
                  </a:lnTo>
                  <a:lnTo>
                    <a:pt x="318688" y="2612993"/>
                  </a:lnTo>
                  <a:lnTo>
                    <a:pt x="286785" y="2612993"/>
                  </a:lnTo>
                  <a:close/>
                  <a:moveTo>
                    <a:pt x="0" y="2581073"/>
                  </a:moveTo>
                  <a:lnTo>
                    <a:pt x="31901" y="2581073"/>
                  </a:lnTo>
                  <a:lnTo>
                    <a:pt x="31901" y="2612987"/>
                  </a:lnTo>
                  <a:lnTo>
                    <a:pt x="0" y="2612987"/>
                  </a:lnTo>
                  <a:close/>
                  <a:moveTo>
                    <a:pt x="286785" y="2294287"/>
                  </a:moveTo>
                  <a:lnTo>
                    <a:pt x="318688" y="2294287"/>
                  </a:lnTo>
                  <a:lnTo>
                    <a:pt x="318688" y="2326193"/>
                  </a:lnTo>
                  <a:lnTo>
                    <a:pt x="286785" y="2326193"/>
                  </a:lnTo>
                  <a:close/>
                  <a:moveTo>
                    <a:pt x="0" y="2294283"/>
                  </a:moveTo>
                  <a:lnTo>
                    <a:pt x="31901" y="2294283"/>
                  </a:lnTo>
                  <a:lnTo>
                    <a:pt x="31901" y="2326188"/>
                  </a:lnTo>
                  <a:lnTo>
                    <a:pt x="0" y="2326188"/>
                  </a:lnTo>
                  <a:close/>
                  <a:moveTo>
                    <a:pt x="286785" y="2007498"/>
                  </a:moveTo>
                  <a:lnTo>
                    <a:pt x="318688" y="2007498"/>
                  </a:lnTo>
                  <a:lnTo>
                    <a:pt x="318688" y="2039391"/>
                  </a:lnTo>
                  <a:lnTo>
                    <a:pt x="286785" y="2039391"/>
                  </a:lnTo>
                  <a:close/>
                  <a:moveTo>
                    <a:pt x="0" y="2007496"/>
                  </a:moveTo>
                  <a:lnTo>
                    <a:pt x="31901" y="2007496"/>
                  </a:lnTo>
                  <a:lnTo>
                    <a:pt x="31901" y="2039389"/>
                  </a:lnTo>
                  <a:lnTo>
                    <a:pt x="0" y="2039389"/>
                  </a:lnTo>
                  <a:close/>
                  <a:moveTo>
                    <a:pt x="286785" y="1720711"/>
                  </a:moveTo>
                  <a:lnTo>
                    <a:pt x="318688" y="1720711"/>
                  </a:lnTo>
                  <a:lnTo>
                    <a:pt x="318688" y="1752614"/>
                  </a:lnTo>
                  <a:lnTo>
                    <a:pt x="286785" y="1752614"/>
                  </a:lnTo>
                  <a:close/>
                  <a:moveTo>
                    <a:pt x="0" y="1720709"/>
                  </a:moveTo>
                  <a:lnTo>
                    <a:pt x="31901" y="1720709"/>
                  </a:lnTo>
                  <a:lnTo>
                    <a:pt x="31901" y="1752612"/>
                  </a:lnTo>
                  <a:lnTo>
                    <a:pt x="0" y="1752612"/>
                  </a:lnTo>
                  <a:close/>
                  <a:moveTo>
                    <a:pt x="286785" y="1433930"/>
                  </a:moveTo>
                  <a:lnTo>
                    <a:pt x="318688" y="1433930"/>
                  </a:lnTo>
                  <a:lnTo>
                    <a:pt x="318688" y="1465831"/>
                  </a:lnTo>
                  <a:lnTo>
                    <a:pt x="286785" y="1465831"/>
                  </a:lnTo>
                  <a:close/>
                  <a:moveTo>
                    <a:pt x="0" y="1433927"/>
                  </a:moveTo>
                  <a:lnTo>
                    <a:pt x="31901" y="1433927"/>
                  </a:lnTo>
                  <a:lnTo>
                    <a:pt x="31901" y="1465828"/>
                  </a:lnTo>
                  <a:lnTo>
                    <a:pt x="0" y="1465828"/>
                  </a:lnTo>
                  <a:close/>
                  <a:moveTo>
                    <a:pt x="286785" y="1147150"/>
                  </a:moveTo>
                  <a:lnTo>
                    <a:pt x="318688" y="1147150"/>
                  </a:lnTo>
                  <a:lnTo>
                    <a:pt x="318688" y="1179052"/>
                  </a:lnTo>
                  <a:lnTo>
                    <a:pt x="286785" y="1179052"/>
                  </a:lnTo>
                  <a:close/>
                  <a:moveTo>
                    <a:pt x="0" y="1147146"/>
                  </a:moveTo>
                  <a:lnTo>
                    <a:pt x="31901" y="1147146"/>
                  </a:lnTo>
                  <a:lnTo>
                    <a:pt x="31901" y="1179049"/>
                  </a:lnTo>
                  <a:lnTo>
                    <a:pt x="0" y="1179049"/>
                  </a:lnTo>
                  <a:close/>
                  <a:moveTo>
                    <a:pt x="286785" y="860355"/>
                  </a:moveTo>
                  <a:lnTo>
                    <a:pt x="318688" y="860355"/>
                  </a:lnTo>
                  <a:lnTo>
                    <a:pt x="318688" y="892257"/>
                  </a:lnTo>
                  <a:lnTo>
                    <a:pt x="286785" y="892257"/>
                  </a:lnTo>
                  <a:close/>
                  <a:moveTo>
                    <a:pt x="0" y="860351"/>
                  </a:moveTo>
                  <a:lnTo>
                    <a:pt x="31901" y="860351"/>
                  </a:lnTo>
                  <a:lnTo>
                    <a:pt x="31901" y="892254"/>
                  </a:lnTo>
                  <a:lnTo>
                    <a:pt x="0" y="892254"/>
                  </a:lnTo>
                  <a:close/>
                  <a:moveTo>
                    <a:pt x="286785" y="573571"/>
                  </a:moveTo>
                  <a:lnTo>
                    <a:pt x="318688" y="573571"/>
                  </a:lnTo>
                  <a:lnTo>
                    <a:pt x="318688" y="605472"/>
                  </a:lnTo>
                  <a:lnTo>
                    <a:pt x="286785" y="605472"/>
                  </a:lnTo>
                  <a:close/>
                  <a:moveTo>
                    <a:pt x="0" y="573568"/>
                  </a:moveTo>
                  <a:lnTo>
                    <a:pt x="31901" y="573568"/>
                  </a:lnTo>
                  <a:lnTo>
                    <a:pt x="31901" y="605470"/>
                  </a:lnTo>
                  <a:lnTo>
                    <a:pt x="0" y="605470"/>
                  </a:lnTo>
                  <a:close/>
                  <a:moveTo>
                    <a:pt x="286785" y="286786"/>
                  </a:moveTo>
                  <a:lnTo>
                    <a:pt x="318688" y="286786"/>
                  </a:lnTo>
                  <a:lnTo>
                    <a:pt x="318688" y="318689"/>
                  </a:lnTo>
                  <a:lnTo>
                    <a:pt x="286785" y="318689"/>
                  </a:lnTo>
                  <a:close/>
                  <a:moveTo>
                    <a:pt x="0" y="286784"/>
                  </a:moveTo>
                  <a:lnTo>
                    <a:pt x="31901" y="286784"/>
                  </a:lnTo>
                  <a:lnTo>
                    <a:pt x="31901" y="318687"/>
                  </a:lnTo>
                  <a:lnTo>
                    <a:pt x="0" y="318687"/>
                  </a:lnTo>
                  <a:close/>
                  <a:moveTo>
                    <a:pt x="286785" y="3"/>
                  </a:moveTo>
                  <a:lnTo>
                    <a:pt x="318688" y="3"/>
                  </a:lnTo>
                  <a:lnTo>
                    <a:pt x="318688" y="31906"/>
                  </a:lnTo>
                  <a:lnTo>
                    <a:pt x="286785" y="31906"/>
                  </a:lnTo>
                  <a:close/>
                  <a:moveTo>
                    <a:pt x="0" y="0"/>
                  </a:moveTo>
                  <a:lnTo>
                    <a:pt x="31901" y="0"/>
                  </a:lnTo>
                  <a:lnTo>
                    <a:pt x="31901" y="31903"/>
                  </a:lnTo>
                  <a:lnTo>
                    <a:pt x="0" y="31903"/>
                  </a:ln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 w="10294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01610C87-FCDE-46C3-9E2E-739916D61405}"/>
                </a:ext>
              </a:extLst>
            </p:cNvPr>
            <p:cNvSpPr/>
            <p:nvPr userDrawn="1"/>
          </p:nvSpPr>
          <p:spPr>
            <a:xfrm>
              <a:off x="9346573" y="258374"/>
              <a:ext cx="318688" cy="6341252"/>
            </a:xfrm>
            <a:custGeom>
              <a:avLst/>
              <a:gdLst>
                <a:gd name="connsiteX0" fmla="*/ 286785 w 318688"/>
                <a:gd name="connsiteY0" fmla="*/ 6309351 h 6341252"/>
                <a:gd name="connsiteX1" fmla="*/ 318688 w 318688"/>
                <a:gd name="connsiteY1" fmla="*/ 6309351 h 6341252"/>
                <a:gd name="connsiteX2" fmla="*/ 318688 w 318688"/>
                <a:gd name="connsiteY2" fmla="*/ 6341252 h 6341252"/>
                <a:gd name="connsiteX3" fmla="*/ 286785 w 318688"/>
                <a:gd name="connsiteY3" fmla="*/ 6341252 h 6341252"/>
                <a:gd name="connsiteX4" fmla="*/ 0 w 318688"/>
                <a:gd name="connsiteY4" fmla="*/ 6309351 h 6341252"/>
                <a:gd name="connsiteX5" fmla="*/ 31901 w 318688"/>
                <a:gd name="connsiteY5" fmla="*/ 6309351 h 6341252"/>
                <a:gd name="connsiteX6" fmla="*/ 31901 w 318688"/>
                <a:gd name="connsiteY6" fmla="*/ 6341252 h 6341252"/>
                <a:gd name="connsiteX7" fmla="*/ 0 w 318688"/>
                <a:gd name="connsiteY7" fmla="*/ 6341252 h 6341252"/>
                <a:gd name="connsiteX8" fmla="*/ 286785 w 318688"/>
                <a:gd name="connsiteY8" fmla="*/ 6022567 h 6341252"/>
                <a:gd name="connsiteX9" fmla="*/ 318688 w 318688"/>
                <a:gd name="connsiteY9" fmla="*/ 6022567 h 6341252"/>
                <a:gd name="connsiteX10" fmla="*/ 318688 w 318688"/>
                <a:gd name="connsiteY10" fmla="*/ 6054468 h 6341252"/>
                <a:gd name="connsiteX11" fmla="*/ 286785 w 318688"/>
                <a:gd name="connsiteY11" fmla="*/ 6054468 h 6341252"/>
                <a:gd name="connsiteX12" fmla="*/ 0 w 318688"/>
                <a:gd name="connsiteY12" fmla="*/ 6022567 h 6341252"/>
                <a:gd name="connsiteX13" fmla="*/ 31901 w 318688"/>
                <a:gd name="connsiteY13" fmla="*/ 6022567 h 6341252"/>
                <a:gd name="connsiteX14" fmla="*/ 31901 w 318688"/>
                <a:gd name="connsiteY14" fmla="*/ 6054468 h 6341252"/>
                <a:gd name="connsiteX15" fmla="*/ 0 w 318688"/>
                <a:gd name="connsiteY15" fmla="*/ 6054468 h 6341252"/>
                <a:gd name="connsiteX16" fmla="*/ 286785 w 318688"/>
                <a:gd name="connsiteY16" fmla="*/ 5735783 h 6341252"/>
                <a:gd name="connsiteX17" fmla="*/ 318688 w 318688"/>
                <a:gd name="connsiteY17" fmla="*/ 5735783 h 6341252"/>
                <a:gd name="connsiteX18" fmla="*/ 318688 w 318688"/>
                <a:gd name="connsiteY18" fmla="*/ 5767685 h 6341252"/>
                <a:gd name="connsiteX19" fmla="*/ 286785 w 318688"/>
                <a:gd name="connsiteY19" fmla="*/ 5767685 h 6341252"/>
                <a:gd name="connsiteX20" fmla="*/ 0 w 318688"/>
                <a:gd name="connsiteY20" fmla="*/ 5735783 h 6341252"/>
                <a:gd name="connsiteX21" fmla="*/ 31901 w 318688"/>
                <a:gd name="connsiteY21" fmla="*/ 5735783 h 6341252"/>
                <a:gd name="connsiteX22" fmla="*/ 31901 w 318688"/>
                <a:gd name="connsiteY22" fmla="*/ 5767685 h 6341252"/>
                <a:gd name="connsiteX23" fmla="*/ 0 w 318688"/>
                <a:gd name="connsiteY23" fmla="*/ 5767685 h 6341252"/>
                <a:gd name="connsiteX24" fmla="*/ 286785 w 318688"/>
                <a:gd name="connsiteY24" fmla="*/ 5448997 h 6341252"/>
                <a:gd name="connsiteX25" fmla="*/ 318688 w 318688"/>
                <a:gd name="connsiteY25" fmla="*/ 5448997 h 6341252"/>
                <a:gd name="connsiteX26" fmla="*/ 318688 w 318688"/>
                <a:gd name="connsiteY26" fmla="*/ 5480899 h 6341252"/>
                <a:gd name="connsiteX27" fmla="*/ 286785 w 318688"/>
                <a:gd name="connsiteY27" fmla="*/ 5480899 h 6341252"/>
                <a:gd name="connsiteX28" fmla="*/ 0 w 318688"/>
                <a:gd name="connsiteY28" fmla="*/ 5448997 h 6341252"/>
                <a:gd name="connsiteX29" fmla="*/ 31901 w 318688"/>
                <a:gd name="connsiteY29" fmla="*/ 5448997 h 6341252"/>
                <a:gd name="connsiteX30" fmla="*/ 31901 w 318688"/>
                <a:gd name="connsiteY30" fmla="*/ 5480899 h 6341252"/>
                <a:gd name="connsiteX31" fmla="*/ 0 w 318688"/>
                <a:gd name="connsiteY31" fmla="*/ 5480899 h 6341252"/>
                <a:gd name="connsiteX32" fmla="*/ 286785 w 318688"/>
                <a:gd name="connsiteY32" fmla="*/ 5162213 h 6341252"/>
                <a:gd name="connsiteX33" fmla="*/ 318688 w 318688"/>
                <a:gd name="connsiteY33" fmla="*/ 5162213 h 6341252"/>
                <a:gd name="connsiteX34" fmla="*/ 318688 w 318688"/>
                <a:gd name="connsiteY34" fmla="*/ 5194116 h 6341252"/>
                <a:gd name="connsiteX35" fmla="*/ 286785 w 318688"/>
                <a:gd name="connsiteY35" fmla="*/ 5194116 h 6341252"/>
                <a:gd name="connsiteX36" fmla="*/ 0 w 318688"/>
                <a:gd name="connsiteY36" fmla="*/ 5162213 h 6341252"/>
                <a:gd name="connsiteX37" fmla="*/ 31901 w 318688"/>
                <a:gd name="connsiteY37" fmla="*/ 5162213 h 6341252"/>
                <a:gd name="connsiteX38" fmla="*/ 31901 w 318688"/>
                <a:gd name="connsiteY38" fmla="*/ 5194116 h 6341252"/>
                <a:gd name="connsiteX39" fmla="*/ 0 w 318688"/>
                <a:gd name="connsiteY39" fmla="*/ 5194116 h 6341252"/>
                <a:gd name="connsiteX40" fmla="*/ 286785 w 318688"/>
                <a:gd name="connsiteY40" fmla="*/ 4875429 h 6341252"/>
                <a:gd name="connsiteX41" fmla="*/ 318688 w 318688"/>
                <a:gd name="connsiteY41" fmla="*/ 4875429 h 6341252"/>
                <a:gd name="connsiteX42" fmla="*/ 318688 w 318688"/>
                <a:gd name="connsiteY42" fmla="*/ 4907331 h 6341252"/>
                <a:gd name="connsiteX43" fmla="*/ 286785 w 318688"/>
                <a:gd name="connsiteY43" fmla="*/ 4907331 h 6341252"/>
                <a:gd name="connsiteX44" fmla="*/ 0 w 318688"/>
                <a:gd name="connsiteY44" fmla="*/ 4875429 h 6341252"/>
                <a:gd name="connsiteX45" fmla="*/ 31901 w 318688"/>
                <a:gd name="connsiteY45" fmla="*/ 4875429 h 6341252"/>
                <a:gd name="connsiteX46" fmla="*/ 31901 w 318688"/>
                <a:gd name="connsiteY46" fmla="*/ 4907331 h 6341252"/>
                <a:gd name="connsiteX47" fmla="*/ 0 w 318688"/>
                <a:gd name="connsiteY47" fmla="*/ 4907331 h 6341252"/>
                <a:gd name="connsiteX48" fmla="*/ 286785 w 318688"/>
                <a:gd name="connsiteY48" fmla="*/ 4588644 h 6341252"/>
                <a:gd name="connsiteX49" fmla="*/ 318688 w 318688"/>
                <a:gd name="connsiteY49" fmla="*/ 4588644 h 6341252"/>
                <a:gd name="connsiteX50" fmla="*/ 318688 w 318688"/>
                <a:gd name="connsiteY50" fmla="*/ 4620545 h 6341252"/>
                <a:gd name="connsiteX51" fmla="*/ 286785 w 318688"/>
                <a:gd name="connsiteY51" fmla="*/ 4620545 h 6341252"/>
                <a:gd name="connsiteX52" fmla="*/ 0 w 318688"/>
                <a:gd name="connsiteY52" fmla="*/ 4588644 h 6341252"/>
                <a:gd name="connsiteX53" fmla="*/ 31901 w 318688"/>
                <a:gd name="connsiteY53" fmla="*/ 4588644 h 6341252"/>
                <a:gd name="connsiteX54" fmla="*/ 31901 w 318688"/>
                <a:gd name="connsiteY54" fmla="*/ 4620545 h 6341252"/>
                <a:gd name="connsiteX55" fmla="*/ 0 w 318688"/>
                <a:gd name="connsiteY55" fmla="*/ 4620545 h 6341252"/>
                <a:gd name="connsiteX56" fmla="*/ 286785 w 318688"/>
                <a:gd name="connsiteY56" fmla="*/ 4301860 h 6341252"/>
                <a:gd name="connsiteX57" fmla="*/ 318688 w 318688"/>
                <a:gd name="connsiteY57" fmla="*/ 4301860 h 6341252"/>
                <a:gd name="connsiteX58" fmla="*/ 318688 w 318688"/>
                <a:gd name="connsiteY58" fmla="*/ 4333762 h 6341252"/>
                <a:gd name="connsiteX59" fmla="*/ 286785 w 318688"/>
                <a:gd name="connsiteY59" fmla="*/ 4333762 h 6341252"/>
                <a:gd name="connsiteX60" fmla="*/ 0 w 318688"/>
                <a:gd name="connsiteY60" fmla="*/ 4301860 h 6341252"/>
                <a:gd name="connsiteX61" fmla="*/ 31901 w 318688"/>
                <a:gd name="connsiteY61" fmla="*/ 4301860 h 6341252"/>
                <a:gd name="connsiteX62" fmla="*/ 31901 w 318688"/>
                <a:gd name="connsiteY62" fmla="*/ 4333762 h 6341252"/>
                <a:gd name="connsiteX63" fmla="*/ 0 w 318688"/>
                <a:gd name="connsiteY63" fmla="*/ 4333762 h 6341252"/>
                <a:gd name="connsiteX64" fmla="*/ 286785 w 318688"/>
                <a:gd name="connsiteY64" fmla="*/ 4015075 h 6341252"/>
                <a:gd name="connsiteX65" fmla="*/ 318688 w 318688"/>
                <a:gd name="connsiteY65" fmla="*/ 4015075 h 6341252"/>
                <a:gd name="connsiteX66" fmla="*/ 318688 w 318688"/>
                <a:gd name="connsiteY66" fmla="*/ 4046976 h 6341252"/>
                <a:gd name="connsiteX67" fmla="*/ 286785 w 318688"/>
                <a:gd name="connsiteY67" fmla="*/ 4046976 h 6341252"/>
                <a:gd name="connsiteX68" fmla="*/ 0 w 318688"/>
                <a:gd name="connsiteY68" fmla="*/ 4015075 h 6341252"/>
                <a:gd name="connsiteX69" fmla="*/ 31901 w 318688"/>
                <a:gd name="connsiteY69" fmla="*/ 4015075 h 6341252"/>
                <a:gd name="connsiteX70" fmla="*/ 31901 w 318688"/>
                <a:gd name="connsiteY70" fmla="*/ 4046976 h 6341252"/>
                <a:gd name="connsiteX71" fmla="*/ 0 w 318688"/>
                <a:gd name="connsiteY71" fmla="*/ 4046976 h 6341252"/>
                <a:gd name="connsiteX72" fmla="*/ 286785 w 318688"/>
                <a:gd name="connsiteY72" fmla="*/ 3728291 h 6341252"/>
                <a:gd name="connsiteX73" fmla="*/ 318688 w 318688"/>
                <a:gd name="connsiteY73" fmla="*/ 3728291 h 6341252"/>
                <a:gd name="connsiteX74" fmla="*/ 318688 w 318688"/>
                <a:gd name="connsiteY74" fmla="*/ 3760193 h 6341252"/>
                <a:gd name="connsiteX75" fmla="*/ 286785 w 318688"/>
                <a:gd name="connsiteY75" fmla="*/ 3760193 h 6341252"/>
                <a:gd name="connsiteX76" fmla="*/ 0 w 318688"/>
                <a:gd name="connsiteY76" fmla="*/ 3728291 h 6341252"/>
                <a:gd name="connsiteX77" fmla="*/ 31901 w 318688"/>
                <a:gd name="connsiteY77" fmla="*/ 3728291 h 6341252"/>
                <a:gd name="connsiteX78" fmla="*/ 31901 w 318688"/>
                <a:gd name="connsiteY78" fmla="*/ 3760193 h 6341252"/>
                <a:gd name="connsiteX79" fmla="*/ 0 w 318688"/>
                <a:gd name="connsiteY79" fmla="*/ 3760193 h 6341252"/>
                <a:gd name="connsiteX80" fmla="*/ 286785 w 318688"/>
                <a:gd name="connsiteY80" fmla="*/ 3441515 h 6341252"/>
                <a:gd name="connsiteX81" fmla="*/ 318688 w 318688"/>
                <a:gd name="connsiteY81" fmla="*/ 3441515 h 6341252"/>
                <a:gd name="connsiteX82" fmla="*/ 318688 w 318688"/>
                <a:gd name="connsiteY82" fmla="*/ 3473408 h 6341252"/>
                <a:gd name="connsiteX83" fmla="*/ 286785 w 318688"/>
                <a:gd name="connsiteY83" fmla="*/ 3473408 h 6341252"/>
                <a:gd name="connsiteX84" fmla="*/ 0 w 318688"/>
                <a:gd name="connsiteY84" fmla="*/ 3441514 h 6341252"/>
                <a:gd name="connsiteX85" fmla="*/ 31901 w 318688"/>
                <a:gd name="connsiteY85" fmla="*/ 3441514 h 6341252"/>
                <a:gd name="connsiteX86" fmla="*/ 31901 w 318688"/>
                <a:gd name="connsiteY86" fmla="*/ 3473408 h 6341252"/>
                <a:gd name="connsiteX87" fmla="*/ 0 w 318688"/>
                <a:gd name="connsiteY87" fmla="*/ 3473408 h 6341252"/>
                <a:gd name="connsiteX88" fmla="*/ 286785 w 318688"/>
                <a:gd name="connsiteY88" fmla="*/ 3154732 h 6341252"/>
                <a:gd name="connsiteX89" fmla="*/ 318688 w 318688"/>
                <a:gd name="connsiteY89" fmla="*/ 3154732 h 6341252"/>
                <a:gd name="connsiteX90" fmla="*/ 318688 w 318688"/>
                <a:gd name="connsiteY90" fmla="*/ 3186635 h 6341252"/>
                <a:gd name="connsiteX91" fmla="*/ 286785 w 318688"/>
                <a:gd name="connsiteY91" fmla="*/ 3186635 h 6341252"/>
                <a:gd name="connsiteX92" fmla="*/ 0 w 318688"/>
                <a:gd name="connsiteY92" fmla="*/ 3154731 h 6341252"/>
                <a:gd name="connsiteX93" fmla="*/ 31901 w 318688"/>
                <a:gd name="connsiteY93" fmla="*/ 3154731 h 6341252"/>
                <a:gd name="connsiteX94" fmla="*/ 31901 w 318688"/>
                <a:gd name="connsiteY94" fmla="*/ 3186634 h 6341252"/>
                <a:gd name="connsiteX95" fmla="*/ 0 w 318688"/>
                <a:gd name="connsiteY95" fmla="*/ 3186634 h 6341252"/>
                <a:gd name="connsiteX96" fmla="*/ 286785 w 318688"/>
                <a:gd name="connsiteY96" fmla="*/ 2867859 h 6341252"/>
                <a:gd name="connsiteX97" fmla="*/ 318688 w 318688"/>
                <a:gd name="connsiteY97" fmla="*/ 2867859 h 6341252"/>
                <a:gd name="connsiteX98" fmla="*/ 318688 w 318688"/>
                <a:gd name="connsiteY98" fmla="*/ 2899760 h 6341252"/>
                <a:gd name="connsiteX99" fmla="*/ 286785 w 318688"/>
                <a:gd name="connsiteY99" fmla="*/ 2899760 h 6341252"/>
                <a:gd name="connsiteX100" fmla="*/ 0 w 318688"/>
                <a:gd name="connsiteY100" fmla="*/ 2867855 h 6341252"/>
                <a:gd name="connsiteX101" fmla="*/ 31901 w 318688"/>
                <a:gd name="connsiteY101" fmla="*/ 2867855 h 6341252"/>
                <a:gd name="connsiteX102" fmla="*/ 31901 w 318688"/>
                <a:gd name="connsiteY102" fmla="*/ 2899757 h 6341252"/>
                <a:gd name="connsiteX103" fmla="*/ 0 w 318688"/>
                <a:gd name="connsiteY103" fmla="*/ 2899757 h 6341252"/>
                <a:gd name="connsiteX104" fmla="*/ 286785 w 318688"/>
                <a:gd name="connsiteY104" fmla="*/ 2581076 h 6341252"/>
                <a:gd name="connsiteX105" fmla="*/ 318688 w 318688"/>
                <a:gd name="connsiteY105" fmla="*/ 2581076 h 6341252"/>
                <a:gd name="connsiteX106" fmla="*/ 318688 w 318688"/>
                <a:gd name="connsiteY106" fmla="*/ 2612993 h 6341252"/>
                <a:gd name="connsiteX107" fmla="*/ 286785 w 318688"/>
                <a:gd name="connsiteY107" fmla="*/ 2612993 h 6341252"/>
                <a:gd name="connsiteX108" fmla="*/ 0 w 318688"/>
                <a:gd name="connsiteY108" fmla="*/ 2581073 h 6341252"/>
                <a:gd name="connsiteX109" fmla="*/ 31901 w 318688"/>
                <a:gd name="connsiteY109" fmla="*/ 2581073 h 6341252"/>
                <a:gd name="connsiteX110" fmla="*/ 31901 w 318688"/>
                <a:gd name="connsiteY110" fmla="*/ 2612987 h 6341252"/>
                <a:gd name="connsiteX111" fmla="*/ 0 w 318688"/>
                <a:gd name="connsiteY111" fmla="*/ 2612987 h 6341252"/>
                <a:gd name="connsiteX112" fmla="*/ 286785 w 318688"/>
                <a:gd name="connsiteY112" fmla="*/ 2294287 h 6341252"/>
                <a:gd name="connsiteX113" fmla="*/ 318688 w 318688"/>
                <a:gd name="connsiteY113" fmla="*/ 2294287 h 6341252"/>
                <a:gd name="connsiteX114" fmla="*/ 318688 w 318688"/>
                <a:gd name="connsiteY114" fmla="*/ 2326193 h 6341252"/>
                <a:gd name="connsiteX115" fmla="*/ 286785 w 318688"/>
                <a:gd name="connsiteY115" fmla="*/ 2326193 h 6341252"/>
                <a:gd name="connsiteX116" fmla="*/ 0 w 318688"/>
                <a:gd name="connsiteY116" fmla="*/ 2294283 h 6341252"/>
                <a:gd name="connsiteX117" fmla="*/ 31901 w 318688"/>
                <a:gd name="connsiteY117" fmla="*/ 2294283 h 6341252"/>
                <a:gd name="connsiteX118" fmla="*/ 31901 w 318688"/>
                <a:gd name="connsiteY118" fmla="*/ 2326188 h 6341252"/>
                <a:gd name="connsiteX119" fmla="*/ 0 w 318688"/>
                <a:gd name="connsiteY119" fmla="*/ 2326188 h 6341252"/>
                <a:gd name="connsiteX120" fmla="*/ 286785 w 318688"/>
                <a:gd name="connsiteY120" fmla="*/ 2007498 h 6341252"/>
                <a:gd name="connsiteX121" fmla="*/ 318688 w 318688"/>
                <a:gd name="connsiteY121" fmla="*/ 2007498 h 6341252"/>
                <a:gd name="connsiteX122" fmla="*/ 318688 w 318688"/>
                <a:gd name="connsiteY122" fmla="*/ 2039391 h 6341252"/>
                <a:gd name="connsiteX123" fmla="*/ 286785 w 318688"/>
                <a:gd name="connsiteY123" fmla="*/ 2039391 h 6341252"/>
                <a:gd name="connsiteX124" fmla="*/ 0 w 318688"/>
                <a:gd name="connsiteY124" fmla="*/ 2007496 h 6341252"/>
                <a:gd name="connsiteX125" fmla="*/ 31901 w 318688"/>
                <a:gd name="connsiteY125" fmla="*/ 2007496 h 6341252"/>
                <a:gd name="connsiteX126" fmla="*/ 31901 w 318688"/>
                <a:gd name="connsiteY126" fmla="*/ 2039389 h 6341252"/>
                <a:gd name="connsiteX127" fmla="*/ 0 w 318688"/>
                <a:gd name="connsiteY127" fmla="*/ 2039389 h 6341252"/>
                <a:gd name="connsiteX128" fmla="*/ 286785 w 318688"/>
                <a:gd name="connsiteY128" fmla="*/ 1720711 h 6341252"/>
                <a:gd name="connsiteX129" fmla="*/ 318688 w 318688"/>
                <a:gd name="connsiteY129" fmla="*/ 1720711 h 6341252"/>
                <a:gd name="connsiteX130" fmla="*/ 318688 w 318688"/>
                <a:gd name="connsiteY130" fmla="*/ 1752614 h 6341252"/>
                <a:gd name="connsiteX131" fmla="*/ 286785 w 318688"/>
                <a:gd name="connsiteY131" fmla="*/ 1752614 h 6341252"/>
                <a:gd name="connsiteX132" fmla="*/ 0 w 318688"/>
                <a:gd name="connsiteY132" fmla="*/ 1720709 h 6341252"/>
                <a:gd name="connsiteX133" fmla="*/ 31901 w 318688"/>
                <a:gd name="connsiteY133" fmla="*/ 1720709 h 6341252"/>
                <a:gd name="connsiteX134" fmla="*/ 31901 w 318688"/>
                <a:gd name="connsiteY134" fmla="*/ 1752612 h 6341252"/>
                <a:gd name="connsiteX135" fmla="*/ 0 w 318688"/>
                <a:gd name="connsiteY135" fmla="*/ 1752612 h 6341252"/>
                <a:gd name="connsiteX136" fmla="*/ 286785 w 318688"/>
                <a:gd name="connsiteY136" fmla="*/ 1433930 h 6341252"/>
                <a:gd name="connsiteX137" fmla="*/ 318688 w 318688"/>
                <a:gd name="connsiteY137" fmla="*/ 1433930 h 6341252"/>
                <a:gd name="connsiteX138" fmla="*/ 318688 w 318688"/>
                <a:gd name="connsiteY138" fmla="*/ 1465831 h 6341252"/>
                <a:gd name="connsiteX139" fmla="*/ 286785 w 318688"/>
                <a:gd name="connsiteY139" fmla="*/ 1465831 h 6341252"/>
                <a:gd name="connsiteX140" fmla="*/ 0 w 318688"/>
                <a:gd name="connsiteY140" fmla="*/ 1433927 h 6341252"/>
                <a:gd name="connsiteX141" fmla="*/ 31901 w 318688"/>
                <a:gd name="connsiteY141" fmla="*/ 1433927 h 6341252"/>
                <a:gd name="connsiteX142" fmla="*/ 31901 w 318688"/>
                <a:gd name="connsiteY142" fmla="*/ 1465828 h 6341252"/>
                <a:gd name="connsiteX143" fmla="*/ 0 w 318688"/>
                <a:gd name="connsiteY143" fmla="*/ 1465828 h 6341252"/>
                <a:gd name="connsiteX144" fmla="*/ 286785 w 318688"/>
                <a:gd name="connsiteY144" fmla="*/ 1147150 h 6341252"/>
                <a:gd name="connsiteX145" fmla="*/ 318688 w 318688"/>
                <a:gd name="connsiteY145" fmla="*/ 1147150 h 6341252"/>
                <a:gd name="connsiteX146" fmla="*/ 318688 w 318688"/>
                <a:gd name="connsiteY146" fmla="*/ 1179052 h 6341252"/>
                <a:gd name="connsiteX147" fmla="*/ 286785 w 318688"/>
                <a:gd name="connsiteY147" fmla="*/ 1179052 h 6341252"/>
                <a:gd name="connsiteX148" fmla="*/ 0 w 318688"/>
                <a:gd name="connsiteY148" fmla="*/ 1147146 h 6341252"/>
                <a:gd name="connsiteX149" fmla="*/ 31901 w 318688"/>
                <a:gd name="connsiteY149" fmla="*/ 1147146 h 6341252"/>
                <a:gd name="connsiteX150" fmla="*/ 31901 w 318688"/>
                <a:gd name="connsiteY150" fmla="*/ 1179049 h 6341252"/>
                <a:gd name="connsiteX151" fmla="*/ 0 w 318688"/>
                <a:gd name="connsiteY151" fmla="*/ 1179049 h 6341252"/>
                <a:gd name="connsiteX152" fmla="*/ 286785 w 318688"/>
                <a:gd name="connsiteY152" fmla="*/ 860355 h 6341252"/>
                <a:gd name="connsiteX153" fmla="*/ 318688 w 318688"/>
                <a:gd name="connsiteY153" fmla="*/ 860355 h 6341252"/>
                <a:gd name="connsiteX154" fmla="*/ 318688 w 318688"/>
                <a:gd name="connsiteY154" fmla="*/ 892257 h 6341252"/>
                <a:gd name="connsiteX155" fmla="*/ 286785 w 318688"/>
                <a:gd name="connsiteY155" fmla="*/ 892257 h 6341252"/>
                <a:gd name="connsiteX156" fmla="*/ 0 w 318688"/>
                <a:gd name="connsiteY156" fmla="*/ 860351 h 6341252"/>
                <a:gd name="connsiteX157" fmla="*/ 31901 w 318688"/>
                <a:gd name="connsiteY157" fmla="*/ 860351 h 6341252"/>
                <a:gd name="connsiteX158" fmla="*/ 31901 w 318688"/>
                <a:gd name="connsiteY158" fmla="*/ 892254 h 6341252"/>
                <a:gd name="connsiteX159" fmla="*/ 0 w 318688"/>
                <a:gd name="connsiteY159" fmla="*/ 892254 h 6341252"/>
                <a:gd name="connsiteX160" fmla="*/ 286785 w 318688"/>
                <a:gd name="connsiteY160" fmla="*/ 573571 h 6341252"/>
                <a:gd name="connsiteX161" fmla="*/ 318688 w 318688"/>
                <a:gd name="connsiteY161" fmla="*/ 573571 h 6341252"/>
                <a:gd name="connsiteX162" fmla="*/ 318688 w 318688"/>
                <a:gd name="connsiteY162" fmla="*/ 605472 h 6341252"/>
                <a:gd name="connsiteX163" fmla="*/ 286785 w 318688"/>
                <a:gd name="connsiteY163" fmla="*/ 605472 h 6341252"/>
                <a:gd name="connsiteX164" fmla="*/ 0 w 318688"/>
                <a:gd name="connsiteY164" fmla="*/ 573568 h 6341252"/>
                <a:gd name="connsiteX165" fmla="*/ 31901 w 318688"/>
                <a:gd name="connsiteY165" fmla="*/ 573568 h 6341252"/>
                <a:gd name="connsiteX166" fmla="*/ 31901 w 318688"/>
                <a:gd name="connsiteY166" fmla="*/ 605470 h 6341252"/>
                <a:gd name="connsiteX167" fmla="*/ 0 w 318688"/>
                <a:gd name="connsiteY167" fmla="*/ 605470 h 6341252"/>
                <a:gd name="connsiteX168" fmla="*/ 286785 w 318688"/>
                <a:gd name="connsiteY168" fmla="*/ 286786 h 6341252"/>
                <a:gd name="connsiteX169" fmla="*/ 318688 w 318688"/>
                <a:gd name="connsiteY169" fmla="*/ 286786 h 6341252"/>
                <a:gd name="connsiteX170" fmla="*/ 318688 w 318688"/>
                <a:gd name="connsiteY170" fmla="*/ 318689 h 6341252"/>
                <a:gd name="connsiteX171" fmla="*/ 286785 w 318688"/>
                <a:gd name="connsiteY171" fmla="*/ 318689 h 6341252"/>
                <a:gd name="connsiteX172" fmla="*/ 0 w 318688"/>
                <a:gd name="connsiteY172" fmla="*/ 286784 h 6341252"/>
                <a:gd name="connsiteX173" fmla="*/ 31901 w 318688"/>
                <a:gd name="connsiteY173" fmla="*/ 286784 h 6341252"/>
                <a:gd name="connsiteX174" fmla="*/ 31901 w 318688"/>
                <a:gd name="connsiteY174" fmla="*/ 318687 h 6341252"/>
                <a:gd name="connsiteX175" fmla="*/ 0 w 318688"/>
                <a:gd name="connsiteY175" fmla="*/ 318687 h 6341252"/>
                <a:gd name="connsiteX176" fmla="*/ 286785 w 318688"/>
                <a:gd name="connsiteY176" fmla="*/ 3 h 6341252"/>
                <a:gd name="connsiteX177" fmla="*/ 318688 w 318688"/>
                <a:gd name="connsiteY177" fmla="*/ 3 h 6341252"/>
                <a:gd name="connsiteX178" fmla="*/ 318688 w 318688"/>
                <a:gd name="connsiteY178" fmla="*/ 31906 h 6341252"/>
                <a:gd name="connsiteX179" fmla="*/ 286785 w 318688"/>
                <a:gd name="connsiteY179" fmla="*/ 31906 h 6341252"/>
                <a:gd name="connsiteX180" fmla="*/ 0 w 318688"/>
                <a:gd name="connsiteY180" fmla="*/ 0 h 6341252"/>
                <a:gd name="connsiteX181" fmla="*/ 31901 w 318688"/>
                <a:gd name="connsiteY181" fmla="*/ 0 h 6341252"/>
                <a:gd name="connsiteX182" fmla="*/ 31901 w 318688"/>
                <a:gd name="connsiteY182" fmla="*/ 31903 h 6341252"/>
                <a:gd name="connsiteX183" fmla="*/ 0 w 318688"/>
                <a:gd name="connsiteY183" fmla="*/ 31903 h 6341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318688" h="6341252">
                  <a:moveTo>
                    <a:pt x="286785" y="6309351"/>
                  </a:moveTo>
                  <a:lnTo>
                    <a:pt x="318688" y="6309351"/>
                  </a:lnTo>
                  <a:lnTo>
                    <a:pt x="318688" y="6341252"/>
                  </a:lnTo>
                  <a:lnTo>
                    <a:pt x="286785" y="6341252"/>
                  </a:lnTo>
                  <a:close/>
                  <a:moveTo>
                    <a:pt x="0" y="6309351"/>
                  </a:moveTo>
                  <a:lnTo>
                    <a:pt x="31901" y="6309351"/>
                  </a:lnTo>
                  <a:lnTo>
                    <a:pt x="31901" y="6341252"/>
                  </a:lnTo>
                  <a:lnTo>
                    <a:pt x="0" y="6341252"/>
                  </a:lnTo>
                  <a:close/>
                  <a:moveTo>
                    <a:pt x="286785" y="6022567"/>
                  </a:moveTo>
                  <a:lnTo>
                    <a:pt x="318688" y="6022567"/>
                  </a:lnTo>
                  <a:lnTo>
                    <a:pt x="318688" y="6054468"/>
                  </a:lnTo>
                  <a:lnTo>
                    <a:pt x="286785" y="6054468"/>
                  </a:lnTo>
                  <a:close/>
                  <a:moveTo>
                    <a:pt x="0" y="6022567"/>
                  </a:moveTo>
                  <a:lnTo>
                    <a:pt x="31901" y="6022567"/>
                  </a:lnTo>
                  <a:lnTo>
                    <a:pt x="31901" y="6054468"/>
                  </a:lnTo>
                  <a:lnTo>
                    <a:pt x="0" y="6054468"/>
                  </a:lnTo>
                  <a:close/>
                  <a:moveTo>
                    <a:pt x="286785" y="5735783"/>
                  </a:moveTo>
                  <a:lnTo>
                    <a:pt x="318688" y="5735783"/>
                  </a:lnTo>
                  <a:lnTo>
                    <a:pt x="318688" y="5767685"/>
                  </a:lnTo>
                  <a:lnTo>
                    <a:pt x="286785" y="5767685"/>
                  </a:lnTo>
                  <a:close/>
                  <a:moveTo>
                    <a:pt x="0" y="5735783"/>
                  </a:moveTo>
                  <a:lnTo>
                    <a:pt x="31901" y="5735783"/>
                  </a:lnTo>
                  <a:lnTo>
                    <a:pt x="31901" y="5767685"/>
                  </a:lnTo>
                  <a:lnTo>
                    <a:pt x="0" y="5767685"/>
                  </a:lnTo>
                  <a:close/>
                  <a:moveTo>
                    <a:pt x="286785" y="5448997"/>
                  </a:moveTo>
                  <a:lnTo>
                    <a:pt x="318688" y="5448997"/>
                  </a:lnTo>
                  <a:lnTo>
                    <a:pt x="318688" y="5480899"/>
                  </a:lnTo>
                  <a:lnTo>
                    <a:pt x="286785" y="5480899"/>
                  </a:lnTo>
                  <a:close/>
                  <a:moveTo>
                    <a:pt x="0" y="5448997"/>
                  </a:moveTo>
                  <a:lnTo>
                    <a:pt x="31901" y="5448997"/>
                  </a:lnTo>
                  <a:lnTo>
                    <a:pt x="31901" y="5480899"/>
                  </a:lnTo>
                  <a:lnTo>
                    <a:pt x="0" y="5480899"/>
                  </a:lnTo>
                  <a:close/>
                  <a:moveTo>
                    <a:pt x="286785" y="5162213"/>
                  </a:moveTo>
                  <a:lnTo>
                    <a:pt x="318688" y="5162213"/>
                  </a:lnTo>
                  <a:lnTo>
                    <a:pt x="318688" y="5194116"/>
                  </a:lnTo>
                  <a:lnTo>
                    <a:pt x="286785" y="5194116"/>
                  </a:lnTo>
                  <a:close/>
                  <a:moveTo>
                    <a:pt x="0" y="5162213"/>
                  </a:moveTo>
                  <a:lnTo>
                    <a:pt x="31901" y="5162213"/>
                  </a:lnTo>
                  <a:lnTo>
                    <a:pt x="31901" y="5194116"/>
                  </a:lnTo>
                  <a:lnTo>
                    <a:pt x="0" y="5194116"/>
                  </a:lnTo>
                  <a:close/>
                  <a:moveTo>
                    <a:pt x="286785" y="4875429"/>
                  </a:moveTo>
                  <a:lnTo>
                    <a:pt x="318688" y="4875429"/>
                  </a:lnTo>
                  <a:lnTo>
                    <a:pt x="318688" y="4907331"/>
                  </a:lnTo>
                  <a:lnTo>
                    <a:pt x="286785" y="4907331"/>
                  </a:lnTo>
                  <a:close/>
                  <a:moveTo>
                    <a:pt x="0" y="4875429"/>
                  </a:moveTo>
                  <a:lnTo>
                    <a:pt x="31901" y="4875429"/>
                  </a:lnTo>
                  <a:lnTo>
                    <a:pt x="31901" y="4907331"/>
                  </a:lnTo>
                  <a:lnTo>
                    <a:pt x="0" y="4907331"/>
                  </a:lnTo>
                  <a:close/>
                  <a:moveTo>
                    <a:pt x="286785" y="4588644"/>
                  </a:moveTo>
                  <a:lnTo>
                    <a:pt x="318688" y="4588644"/>
                  </a:lnTo>
                  <a:lnTo>
                    <a:pt x="318688" y="4620545"/>
                  </a:lnTo>
                  <a:lnTo>
                    <a:pt x="286785" y="4620545"/>
                  </a:lnTo>
                  <a:close/>
                  <a:moveTo>
                    <a:pt x="0" y="4588644"/>
                  </a:moveTo>
                  <a:lnTo>
                    <a:pt x="31901" y="4588644"/>
                  </a:lnTo>
                  <a:lnTo>
                    <a:pt x="31901" y="4620545"/>
                  </a:lnTo>
                  <a:lnTo>
                    <a:pt x="0" y="4620545"/>
                  </a:lnTo>
                  <a:close/>
                  <a:moveTo>
                    <a:pt x="286785" y="4301860"/>
                  </a:moveTo>
                  <a:lnTo>
                    <a:pt x="318688" y="4301860"/>
                  </a:lnTo>
                  <a:lnTo>
                    <a:pt x="318688" y="4333762"/>
                  </a:lnTo>
                  <a:lnTo>
                    <a:pt x="286785" y="4333762"/>
                  </a:lnTo>
                  <a:close/>
                  <a:moveTo>
                    <a:pt x="0" y="4301860"/>
                  </a:moveTo>
                  <a:lnTo>
                    <a:pt x="31901" y="4301860"/>
                  </a:lnTo>
                  <a:lnTo>
                    <a:pt x="31901" y="4333762"/>
                  </a:lnTo>
                  <a:lnTo>
                    <a:pt x="0" y="4333762"/>
                  </a:lnTo>
                  <a:close/>
                  <a:moveTo>
                    <a:pt x="286785" y="4015075"/>
                  </a:moveTo>
                  <a:lnTo>
                    <a:pt x="318688" y="4015075"/>
                  </a:lnTo>
                  <a:lnTo>
                    <a:pt x="318688" y="4046976"/>
                  </a:lnTo>
                  <a:lnTo>
                    <a:pt x="286785" y="4046976"/>
                  </a:lnTo>
                  <a:close/>
                  <a:moveTo>
                    <a:pt x="0" y="4015075"/>
                  </a:moveTo>
                  <a:lnTo>
                    <a:pt x="31901" y="4015075"/>
                  </a:lnTo>
                  <a:lnTo>
                    <a:pt x="31901" y="4046976"/>
                  </a:lnTo>
                  <a:lnTo>
                    <a:pt x="0" y="4046976"/>
                  </a:lnTo>
                  <a:close/>
                  <a:moveTo>
                    <a:pt x="286785" y="3728291"/>
                  </a:moveTo>
                  <a:lnTo>
                    <a:pt x="318688" y="3728291"/>
                  </a:lnTo>
                  <a:lnTo>
                    <a:pt x="318688" y="3760193"/>
                  </a:lnTo>
                  <a:lnTo>
                    <a:pt x="286785" y="3760193"/>
                  </a:lnTo>
                  <a:close/>
                  <a:moveTo>
                    <a:pt x="0" y="3728291"/>
                  </a:moveTo>
                  <a:lnTo>
                    <a:pt x="31901" y="3728291"/>
                  </a:lnTo>
                  <a:lnTo>
                    <a:pt x="31901" y="3760193"/>
                  </a:lnTo>
                  <a:lnTo>
                    <a:pt x="0" y="3760193"/>
                  </a:lnTo>
                  <a:close/>
                  <a:moveTo>
                    <a:pt x="286785" y="3441515"/>
                  </a:moveTo>
                  <a:lnTo>
                    <a:pt x="318688" y="3441515"/>
                  </a:lnTo>
                  <a:lnTo>
                    <a:pt x="318688" y="3473408"/>
                  </a:lnTo>
                  <a:lnTo>
                    <a:pt x="286785" y="3473408"/>
                  </a:lnTo>
                  <a:close/>
                  <a:moveTo>
                    <a:pt x="0" y="3441514"/>
                  </a:moveTo>
                  <a:lnTo>
                    <a:pt x="31901" y="3441514"/>
                  </a:lnTo>
                  <a:lnTo>
                    <a:pt x="31901" y="3473408"/>
                  </a:lnTo>
                  <a:lnTo>
                    <a:pt x="0" y="3473408"/>
                  </a:lnTo>
                  <a:close/>
                  <a:moveTo>
                    <a:pt x="286785" y="3154732"/>
                  </a:moveTo>
                  <a:lnTo>
                    <a:pt x="318688" y="3154732"/>
                  </a:lnTo>
                  <a:lnTo>
                    <a:pt x="318688" y="3186635"/>
                  </a:lnTo>
                  <a:lnTo>
                    <a:pt x="286785" y="3186635"/>
                  </a:lnTo>
                  <a:close/>
                  <a:moveTo>
                    <a:pt x="0" y="3154731"/>
                  </a:moveTo>
                  <a:lnTo>
                    <a:pt x="31901" y="3154731"/>
                  </a:lnTo>
                  <a:lnTo>
                    <a:pt x="31901" y="3186634"/>
                  </a:lnTo>
                  <a:lnTo>
                    <a:pt x="0" y="3186634"/>
                  </a:lnTo>
                  <a:close/>
                  <a:moveTo>
                    <a:pt x="286785" y="2867859"/>
                  </a:moveTo>
                  <a:lnTo>
                    <a:pt x="318688" y="2867859"/>
                  </a:lnTo>
                  <a:lnTo>
                    <a:pt x="318688" y="2899760"/>
                  </a:lnTo>
                  <a:lnTo>
                    <a:pt x="286785" y="2899760"/>
                  </a:lnTo>
                  <a:close/>
                  <a:moveTo>
                    <a:pt x="0" y="2867855"/>
                  </a:moveTo>
                  <a:lnTo>
                    <a:pt x="31901" y="2867855"/>
                  </a:lnTo>
                  <a:lnTo>
                    <a:pt x="31901" y="2899757"/>
                  </a:lnTo>
                  <a:lnTo>
                    <a:pt x="0" y="2899757"/>
                  </a:lnTo>
                  <a:close/>
                  <a:moveTo>
                    <a:pt x="286785" y="2581076"/>
                  </a:moveTo>
                  <a:lnTo>
                    <a:pt x="318688" y="2581076"/>
                  </a:lnTo>
                  <a:lnTo>
                    <a:pt x="318688" y="2612993"/>
                  </a:lnTo>
                  <a:lnTo>
                    <a:pt x="286785" y="2612993"/>
                  </a:lnTo>
                  <a:close/>
                  <a:moveTo>
                    <a:pt x="0" y="2581073"/>
                  </a:moveTo>
                  <a:lnTo>
                    <a:pt x="31901" y="2581073"/>
                  </a:lnTo>
                  <a:lnTo>
                    <a:pt x="31901" y="2612987"/>
                  </a:lnTo>
                  <a:lnTo>
                    <a:pt x="0" y="2612987"/>
                  </a:lnTo>
                  <a:close/>
                  <a:moveTo>
                    <a:pt x="286785" y="2294287"/>
                  </a:moveTo>
                  <a:lnTo>
                    <a:pt x="318688" y="2294287"/>
                  </a:lnTo>
                  <a:lnTo>
                    <a:pt x="318688" y="2326193"/>
                  </a:lnTo>
                  <a:lnTo>
                    <a:pt x="286785" y="2326193"/>
                  </a:lnTo>
                  <a:close/>
                  <a:moveTo>
                    <a:pt x="0" y="2294283"/>
                  </a:moveTo>
                  <a:lnTo>
                    <a:pt x="31901" y="2294283"/>
                  </a:lnTo>
                  <a:lnTo>
                    <a:pt x="31901" y="2326188"/>
                  </a:lnTo>
                  <a:lnTo>
                    <a:pt x="0" y="2326188"/>
                  </a:lnTo>
                  <a:close/>
                  <a:moveTo>
                    <a:pt x="286785" y="2007498"/>
                  </a:moveTo>
                  <a:lnTo>
                    <a:pt x="318688" y="2007498"/>
                  </a:lnTo>
                  <a:lnTo>
                    <a:pt x="318688" y="2039391"/>
                  </a:lnTo>
                  <a:lnTo>
                    <a:pt x="286785" y="2039391"/>
                  </a:lnTo>
                  <a:close/>
                  <a:moveTo>
                    <a:pt x="0" y="2007496"/>
                  </a:moveTo>
                  <a:lnTo>
                    <a:pt x="31901" y="2007496"/>
                  </a:lnTo>
                  <a:lnTo>
                    <a:pt x="31901" y="2039389"/>
                  </a:lnTo>
                  <a:lnTo>
                    <a:pt x="0" y="2039389"/>
                  </a:lnTo>
                  <a:close/>
                  <a:moveTo>
                    <a:pt x="286785" y="1720711"/>
                  </a:moveTo>
                  <a:lnTo>
                    <a:pt x="318688" y="1720711"/>
                  </a:lnTo>
                  <a:lnTo>
                    <a:pt x="318688" y="1752614"/>
                  </a:lnTo>
                  <a:lnTo>
                    <a:pt x="286785" y="1752614"/>
                  </a:lnTo>
                  <a:close/>
                  <a:moveTo>
                    <a:pt x="0" y="1720709"/>
                  </a:moveTo>
                  <a:lnTo>
                    <a:pt x="31901" y="1720709"/>
                  </a:lnTo>
                  <a:lnTo>
                    <a:pt x="31901" y="1752612"/>
                  </a:lnTo>
                  <a:lnTo>
                    <a:pt x="0" y="1752612"/>
                  </a:lnTo>
                  <a:close/>
                  <a:moveTo>
                    <a:pt x="286785" y="1433930"/>
                  </a:moveTo>
                  <a:lnTo>
                    <a:pt x="318688" y="1433930"/>
                  </a:lnTo>
                  <a:lnTo>
                    <a:pt x="318688" y="1465831"/>
                  </a:lnTo>
                  <a:lnTo>
                    <a:pt x="286785" y="1465831"/>
                  </a:lnTo>
                  <a:close/>
                  <a:moveTo>
                    <a:pt x="0" y="1433927"/>
                  </a:moveTo>
                  <a:lnTo>
                    <a:pt x="31901" y="1433927"/>
                  </a:lnTo>
                  <a:lnTo>
                    <a:pt x="31901" y="1465828"/>
                  </a:lnTo>
                  <a:lnTo>
                    <a:pt x="0" y="1465828"/>
                  </a:lnTo>
                  <a:close/>
                  <a:moveTo>
                    <a:pt x="286785" y="1147150"/>
                  </a:moveTo>
                  <a:lnTo>
                    <a:pt x="318688" y="1147150"/>
                  </a:lnTo>
                  <a:lnTo>
                    <a:pt x="318688" y="1179052"/>
                  </a:lnTo>
                  <a:lnTo>
                    <a:pt x="286785" y="1179052"/>
                  </a:lnTo>
                  <a:close/>
                  <a:moveTo>
                    <a:pt x="0" y="1147146"/>
                  </a:moveTo>
                  <a:lnTo>
                    <a:pt x="31901" y="1147146"/>
                  </a:lnTo>
                  <a:lnTo>
                    <a:pt x="31901" y="1179049"/>
                  </a:lnTo>
                  <a:lnTo>
                    <a:pt x="0" y="1179049"/>
                  </a:lnTo>
                  <a:close/>
                  <a:moveTo>
                    <a:pt x="286785" y="860355"/>
                  </a:moveTo>
                  <a:lnTo>
                    <a:pt x="318688" y="860355"/>
                  </a:lnTo>
                  <a:lnTo>
                    <a:pt x="318688" y="892257"/>
                  </a:lnTo>
                  <a:lnTo>
                    <a:pt x="286785" y="892257"/>
                  </a:lnTo>
                  <a:close/>
                  <a:moveTo>
                    <a:pt x="0" y="860351"/>
                  </a:moveTo>
                  <a:lnTo>
                    <a:pt x="31901" y="860351"/>
                  </a:lnTo>
                  <a:lnTo>
                    <a:pt x="31901" y="892254"/>
                  </a:lnTo>
                  <a:lnTo>
                    <a:pt x="0" y="892254"/>
                  </a:lnTo>
                  <a:close/>
                  <a:moveTo>
                    <a:pt x="286785" y="573571"/>
                  </a:moveTo>
                  <a:lnTo>
                    <a:pt x="318688" y="573571"/>
                  </a:lnTo>
                  <a:lnTo>
                    <a:pt x="318688" y="605472"/>
                  </a:lnTo>
                  <a:lnTo>
                    <a:pt x="286785" y="605472"/>
                  </a:lnTo>
                  <a:close/>
                  <a:moveTo>
                    <a:pt x="0" y="573568"/>
                  </a:moveTo>
                  <a:lnTo>
                    <a:pt x="31901" y="573568"/>
                  </a:lnTo>
                  <a:lnTo>
                    <a:pt x="31901" y="605470"/>
                  </a:lnTo>
                  <a:lnTo>
                    <a:pt x="0" y="605470"/>
                  </a:lnTo>
                  <a:close/>
                  <a:moveTo>
                    <a:pt x="286785" y="286786"/>
                  </a:moveTo>
                  <a:lnTo>
                    <a:pt x="318688" y="286786"/>
                  </a:lnTo>
                  <a:lnTo>
                    <a:pt x="318688" y="318689"/>
                  </a:lnTo>
                  <a:lnTo>
                    <a:pt x="286785" y="318689"/>
                  </a:lnTo>
                  <a:close/>
                  <a:moveTo>
                    <a:pt x="0" y="286784"/>
                  </a:moveTo>
                  <a:lnTo>
                    <a:pt x="31901" y="286784"/>
                  </a:lnTo>
                  <a:lnTo>
                    <a:pt x="31901" y="318687"/>
                  </a:lnTo>
                  <a:lnTo>
                    <a:pt x="0" y="318687"/>
                  </a:lnTo>
                  <a:close/>
                  <a:moveTo>
                    <a:pt x="286785" y="3"/>
                  </a:moveTo>
                  <a:lnTo>
                    <a:pt x="318688" y="3"/>
                  </a:lnTo>
                  <a:lnTo>
                    <a:pt x="318688" y="31906"/>
                  </a:lnTo>
                  <a:lnTo>
                    <a:pt x="286785" y="31906"/>
                  </a:lnTo>
                  <a:close/>
                  <a:moveTo>
                    <a:pt x="0" y="0"/>
                  </a:moveTo>
                  <a:lnTo>
                    <a:pt x="31901" y="0"/>
                  </a:lnTo>
                  <a:lnTo>
                    <a:pt x="31901" y="31903"/>
                  </a:lnTo>
                  <a:lnTo>
                    <a:pt x="0" y="31903"/>
                  </a:ln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 w="10294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</p:grpSp>
      <p:pic>
        <p:nvPicPr>
          <p:cNvPr id="43" name="Picture 42">
            <a:extLst>
              <a:ext uri="{FF2B5EF4-FFF2-40B4-BE49-F238E27FC236}">
                <a16:creationId xmlns:a16="http://schemas.microsoft.com/office/drawing/2014/main" id="{F9271E5E-DB33-4CAF-8A70-DD6F64B8766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31878" y="6081015"/>
            <a:ext cx="2444830" cy="560909"/>
          </a:xfrm>
          <a:prstGeom prst="rect">
            <a:avLst/>
          </a:prstGeom>
        </p:spPr>
      </p:pic>
      <p:sp>
        <p:nvSpPr>
          <p:cNvPr id="9" name="Subtitle 2">
            <a:extLst>
              <a:ext uri="{FF2B5EF4-FFF2-40B4-BE49-F238E27FC236}">
                <a16:creationId xmlns:a16="http://schemas.microsoft.com/office/drawing/2014/main" id="{1D10F107-20C2-48E3-8C9A-AB0E6DD442F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2971" y="3759200"/>
            <a:ext cx="7648381" cy="1510886"/>
          </a:xfrm>
        </p:spPr>
        <p:txBody>
          <a:bodyPr lIns="0" tIns="0" rIns="0" bIns="0" anchor="t" anchorCtr="0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6000" b="1" i="0" spc="-100">
                <a:solidFill>
                  <a:schemeClr val="accent1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subtitle sty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63DA92BA-61CE-4443-9F3F-21C22E266D3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6020" y="3078730"/>
            <a:ext cx="7648381" cy="510040"/>
          </a:xfrm>
        </p:spPr>
        <p:txBody>
          <a:bodyPr anchor="ctr" anchorCtr="0"/>
          <a:lstStyle>
            <a:lvl1pPr>
              <a:defRPr sz="6000" b="1" spc="-100" baseline="0"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Insert Section #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A33EBDBD-EE0D-4A4D-9B38-7F857B2C1E6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2971" y="880649"/>
            <a:ext cx="7657943" cy="2027651"/>
          </a:xfr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100000"/>
              </a:lnSpc>
              <a:defRPr sz="6000" b="1" i="0" spc="-100">
                <a:solidFill>
                  <a:schemeClr val="tx2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19" name="Text Placeholder 83">
            <a:extLst>
              <a:ext uri="{FF2B5EF4-FFF2-40B4-BE49-F238E27FC236}">
                <a16:creationId xmlns:a16="http://schemas.microsoft.com/office/drawing/2014/main" id="{65E572D2-FB5D-4AE4-ADCA-539A3B5D2872}"/>
              </a:ext>
            </a:extLst>
          </p:cNvPr>
          <p:cNvSpPr txBox="1">
            <a:spLocks/>
          </p:cNvSpPr>
          <p:nvPr userDrawn="1"/>
        </p:nvSpPr>
        <p:spPr>
          <a:xfrm rot="16200000" flipV="1">
            <a:off x="10498451" y="1143711"/>
            <a:ext cx="2253832" cy="1126916"/>
          </a:xfrm>
          <a:custGeom>
            <a:avLst/>
            <a:gdLst>
              <a:gd name="connsiteX0" fmla="*/ 0 w 2125980"/>
              <a:gd name="connsiteY0" fmla="*/ 0 h 1062991"/>
              <a:gd name="connsiteX1" fmla="*/ 530729 w 2125980"/>
              <a:gd name="connsiteY1" fmla="*/ 0 h 1062991"/>
              <a:gd name="connsiteX2" fmla="*/ 1062990 w 2125980"/>
              <a:gd name="connsiteY2" fmla="*/ 532261 h 1062991"/>
              <a:gd name="connsiteX3" fmla="*/ 1595250 w 2125980"/>
              <a:gd name="connsiteY3" fmla="*/ 0 h 1062991"/>
              <a:gd name="connsiteX4" fmla="*/ 2125980 w 2125980"/>
              <a:gd name="connsiteY4" fmla="*/ 0 h 1062991"/>
              <a:gd name="connsiteX5" fmla="*/ 1062990 w 2125980"/>
              <a:gd name="connsiteY5" fmla="*/ 1062991 h 1062991"/>
              <a:gd name="connsiteX6" fmla="*/ 0 w 2125980"/>
              <a:gd name="connsiteY6" fmla="*/ 0 h 10629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125980" h="1062991">
                <a:moveTo>
                  <a:pt x="0" y="0"/>
                </a:moveTo>
                <a:lnTo>
                  <a:pt x="530729" y="0"/>
                </a:lnTo>
                <a:cubicBezTo>
                  <a:pt x="530729" y="293959"/>
                  <a:pt x="769031" y="532261"/>
                  <a:pt x="1062990" y="532261"/>
                </a:cubicBezTo>
                <a:cubicBezTo>
                  <a:pt x="1356949" y="532261"/>
                  <a:pt x="1595250" y="293959"/>
                  <a:pt x="1595250" y="0"/>
                </a:cubicBezTo>
                <a:lnTo>
                  <a:pt x="2125980" y="0"/>
                </a:lnTo>
                <a:cubicBezTo>
                  <a:pt x="2125980" y="587074"/>
                  <a:pt x="1650063" y="1062991"/>
                  <a:pt x="1062990" y="1062991"/>
                </a:cubicBezTo>
                <a:cubicBezTo>
                  <a:pt x="475916" y="1062991"/>
                  <a:pt x="0" y="587074"/>
                  <a:pt x="0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20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20" name="Freeform: Shape 83">
            <a:extLst>
              <a:ext uri="{FF2B5EF4-FFF2-40B4-BE49-F238E27FC236}">
                <a16:creationId xmlns:a16="http://schemas.microsoft.com/office/drawing/2014/main" id="{F05596E1-7FE6-4BB0-BB11-FC47E5FF65BF}"/>
              </a:ext>
            </a:extLst>
          </p:cNvPr>
          <p:cNvSpPr txBox="1">
            <a:spLocks/>
          </p:cNvSpPr>
          <p:nvPr userDrawn="1"/>
        </p:nvSpPr>
        <p:spPr>
          <a:xfrm rot="16200000">
            <a:off x="9922682" y="3143726"/>
            <a:ext cx="574904" cy="1715833"/>
          </a:xfrm>
          <a:custGeom>
            <a:avLst/>
            <a:gdLst>
              <a:gd name="connsiteX0" fmla="*/ 0 w 530877"/>
              <a:gd name="connsiteY0" fmla="*/ 0 h 1012276"/>
              <a:gd name="connsiteX1" fmla="*/ 530877 w 530877"/>
              <a:gd name="connsiteY1" fmla="*/ 0 h 1012276"/>
              <a:gd name="connsiteX2" fmla="*/ 530877 w 530877"/>
              <a:gd name="connsiteY2" fmla="*/ 1012276 h 1012276"/>
              <a:gd name="connsiteX3" fmla="*/ 0 w 530877"/>
              <a:gd name="connsiteY3" fmla="*/ 1012276 h 10122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0877" h="1012276">
                <a:moveTo>
                  <a:pt x="0" y="0"/>
                </a:moveTo>
                <a:lnTo>
                  <a:pt x="530877" y="0"/>
                </a:lnTo>
                <a:lnTo>
                  <a:pt x="530877" y="1012276"/>
                </a:lnTo>
                <a:lnTo>
                  <a:pt x="0" y="1012276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20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21" name="Text Placeholder 49">
            <a:extLst>
              <a:ext uri="{FF2B5EF4-FFF2-40B4-BE49-F238E27FC236}">
                <a16:creationId xmlns:a16="http://schemas.microsoft.com/office/drawing/2014/main" id="{A0F317CE-035E-44FD-A5F6-9E40D83A2190}"/>
              </a:ext>
            </a:extLst>
          </p:cNvPr>
          <p:cNvSpPr txBox="1">
            <a:spLocks/>
          </p:cNvSpPr>
          <p:nvPr userDrawn="1"/>
        </p:nvSpPr>
        <p:spPr>
          <a:xfrm>
            <a:off x="9935038" y="2296382"/>
            <a:ext cx="546640" cy="546635"/>
          </a:xfrm>
          <a:custGeom>
            <a:avLst/>
            <a:gdLst>
              <a:gd name="connsiteX0" fmla="*/ 265718 w 531436"/>
              <a:gd name="connsiteY0" fmla="*/ 0 h 531432"/>
              <a:gd name="connsiteX1" fmla="*/ 531436 w 531436"/>
              <a:gd name="connsiteY1" fmla="*/ 265716 h 531432"/>
              <a:gd name="connsiteX2" fmla="*/ 265718 w 531436"/>
              <a:gd name="connsiteY2" fmla="*/ 531432 h 531432"/>
              <a:gd name="connsiteX3" fmla="*/ 0 w 531436"/>
              <a:gd name="connsiteY3" fmla="*/ 265716 h 531432"/>
              <a:gd name="connsiteX4" fmla="*/ 265718 w 531436"/>
              <a:gd name="connsiteY4" fmla="*/ 0 h 531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1436" h="531432">
                <a:moveTo>
                  <a:pt x="265718" y="0"/>
                </a:moveTo>
                <a:cubicBezTo>
                  <a:pt x="412470" y="0"/>
                  <a:pt x="531436" y="118965"/>
                  <a:pt x="531436" y="265716"/>
                </a:cubicBezTo>
                <a:cubicBezTo>
                  <a:pt x="531436" y="412467"/>
                  <a:pt x="412470" y="531432"/>
                  <a:pt x="265718" y="531432"/>
                </a:cubicBezTo>
                <a:cubicBezTo>
                  <a:pt x="118966" y="531432"/>
                  <a:pt x="0" y="412467"/>
                  <a:pt x="0" y="265716"/>
                </a:cubicBezTo>
                <a:cubicBezTo>
                  <a:pt x="0" y="118965"/>
                  <a:pt x="118966" y="0"/>
                  <a:pt x="265718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20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22" name="Text Placeholder 49">
            <a:extLst>
              <a:ext uri="{FF2B5EF4-FFF2-40B4-BE49-F238E27FC236}">
                <a16:creationId xmlns:a16="http://schemas.microsoft.com/office/drawing/2014/main" id="{C876EBD3-018B-46D6-8C3B-B7B3FA122BE1}"/>
              </a:ext>
            </a:extLst>
          </p:cNvPr>
          <p:cNvSpPr txBox="1">
            <a:spLocks/>
          </p:cNvSpPr>
          <p:nvPr userDrawn="1"/>
        </p:nvSpPr>
        <p:spPr>
          <a:xfrm>
            <a:off x="10878327" y="5270086"/>
            <a:ext cx="546640" cy="546635"/>
          </a:xfrm>
          <a:custGeom>
            <a:avLst/>
            <a:gdLst>
              <a:gd name="connsiteX0" fmla="*/ 265718 w 531436"/>
              <a:gd name="connsiteY0" fmla="*/ 0 h 531432"/>
              <a:gd name="connsiteX1" fmla="*/ 531436 w 531436"/>
              <a:gd name="connsiteY1" fmla="*/ 265716 h 531432"/>
              <a:gd name="connsiteX2" fmla="*/ 265718 w 531436"/>
              <a:gd name="connsiteY2" fmla="*/ 531432 h 531432"/>
              <a:gd name="connsiteX3" fmla="*/ 0 w 531436"/>
              <a:gd name="connsiteY3" fmla="*/ 265716 h 531432"/>
              <a:gd name="connsiteX4" fmla="*/ 265718 w 531436"/>
              <a:gd name="connsiteY4" fmla="*/ 0 h 531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1436" h="531432">
                <a:moveTo>
                  <a:pt x="265718" y="0"/>
                </a:moveTo>
                <a:cubicBezTo>
                  <a:pt x="412470" y="0"/>
                  <a:pt x="531436" y="118965"/>
                  <a:pt x="531436" y="265716"/>
                </a:cubicBezTo>
                <a:cubicBezTo>
                  <a:pt x="531436" y="412467"/>
                  <a:pt x="412470" y="531432"/>
                  <a:pt x="265718" y="531432"/>
                </a:cubicBezTo>
                <a:cubicBezTo>
                  <a:pt x="118966" y="531432"/>
                  <a:pt x="0" y="412467"/>
                  <a:pt x="0" y="265716"/>
                </a:cubicBezTo>
                <a:cubicBezTo>
                  <a:pt x="0" y="118965"/>
                  <a:pt x="118966" y="0"/>
                  <a:pt x="265718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20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29" name="Freeform: Shape 83">
            <a:extLst>
              <a:ext uri="{FF2B5EF4-FFF2-40B4-BE49-F238E27FC236}">
                <a16:creationId xmlns:a16="http://schemas.microsoft.com/office/drawing/2014/main" id="{746EFE52-6B31-424B-954D-38ECEE5E8891}"/>
              </a:ext>
            </a:extLst>
          </p:cNvPr>
          <p:cNvSpPr txBox="1">
            <a:spLocks/>
          </p:cNvSpPr>
          <p:nvPr userDrawn="1"/>
        </p:nvSpPr>
        <p:spPr>
          <a:xfrm>
            <a:off x="10198402" y="0"/>
            <a:ext cx="574904" cy="851154"/>
          </a:xfrm>
          <a:custGeom>
            <a:avLst/>
            <a:gdLst>
              <a:gd name="connsiteX0" fmla="*/ 0 w 530877"/>
              <a:gd name="connsiteY0" fmla="*/ 0 h 1012276"/>
              <a:gd name="connsiteX1" fmla="*/ 530877 w 530877"/>
              <a:gd name="connsiteY1" fmla="*/ 0 h 1012276"/>
              <a:gd name="connsiteX2" fmla="*/ 530877 w 530877"/>
              <a:gd name="connsiteY2" fmla="*/ 1012276 h 1012276"/>
              <a:gd name="connsiteX3" fmla="*/ 0 w 530877"/>
              <a:gd name="connsiteY3" fmla="*/ 1012276 h 10122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0877" h="1012276">
                <a:moveTo>
                  <a:pt x="0" y="0"/>
                </a:moveTo>
                <a:lnTo>
                  <a:pt x="530877" y="0"/>
                </a:lnTo>
                <a:lnTo>
                  <a:pt x="530877" y="1012276"/>
                </a:lnTo>
                <a:lnTo>
                  <a:pt x="0" y="1012276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20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06130633-8398-4340-A091-16D418D4BA0E}"/>
              </a:ext>
            </a:extLst>
          </p:cNvPr>
          <p:cNvSpPr txBox="1">
            <a:spLocks/>
          </p:cNvSpPr>
          <p:nvPr userDrawn="1"/>
        </p:nvSpPr>
        <p:spPr>
          <a:xfrm rot="2700000" flipH="1" flipV="1">
            <a:off x="9044758" y="5894614"/>
            <a:ext cx="1592914" cy="795094"/>
          </a:xfrm>
          <a:custGeom>
            <a:avLst/>
            <a:gdLst>
              <a:gd name="connsiteX0" fmla="*/ 6166943 w 6166943"/>
              <a:gd name="connsiteY0" fmla="*/ 1970146 h 3078196"/>
              <a:gd name="connsiteX1" fmla="*/ 4655668 w 6166943"/>
              <a:gd name="connsiteY1" fmla="*/ 458871 h 3078196"/>
              <a:gd name="connsiteX2" fmla="*/ 4492661 w 6166943"/>
              <a:gd name="connsiteY2" fmla="*/ 580765 h 3078196"/>
              <a:gd name="connsiteX3" fmla="*/ 3297075 w 6166943"/>
              <a:gd name="connsiteY3" fmla="*/ 945968 h 3078196"/>
              <a:gd name="connsiteX4" fmla="*/ 1523897 w 6166943"/>
              <a:gd name="connsiteY4" fmla="*/ 3175 h 3078196"/>
              <a:gd name="connsiteX5" fmla="*/ 1521968 w 6166943"/>
              <a:gd name="connsiteY5" fmla="*/ 0 h 3078196"/>
              <a:gd name="connsiteX6" fmla="*/ 0 w 6166943"/>
              <a:gd name="connsiteY6" fmla="*/ 1521969 h 3078196"/>
              <a:gd name="connsiteX7" fmla="*/ 1668 w 6166943"/>
              <a:gd name="connsiteY7" fmla="*/ 1524092 h 3078196"/>
              <a:gd name="connsiteX8" fmla="*/ 3297075 w 6166943"/>
              <a:gd name="connsiteY8" fmla="*/ 3078196 h 3078196"/>
              <a:gd name="connsiteX9" fmla="*/ 6013576 w 6166943"/>
              <a:gd name="connsiteY9" fmla="*/ 2102997 h 30781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166943" h="3078196">
                <a:moveTo>
                  <a:pt x="6166943" y="1970146"/>
                </a:moveTo>
                <a:lnTo>
                  <a:pt x="4655668" y="458871"/>
                </a:lnTo>
                <a:lnTo>
                  <a:pt x="4492661" y="580765"/>
                </a:lnTo>
                <a:cubicBezTo>
                  <a:pt x="4151374" y="811334"/>
                  <a:pt x="3739947" y="945968"/>
                  <a:pt x="3297075" y="945968"/>
                </a:cubicBezTo>
                <a:cubicBezTo>
                  <a:pt x="2558955" y="945968"/>
                  <a:pt x="1908180" y="571989"/>
                  <a:pt x="1523897" y="3175"/>
                </a:cubicBezTo>
                <a:lnTo>
                  <a:pt x="1521968" y="0"/>
                </a:lnTo>
                <a:lnTo>
                  <a:pt x="0" y="1521969"/>
                </a:lnTo>
                <a:lnTo>
                  <a:pt x="1668" y="1524092"/>
                </a:lnTo>
                <a:cubicBezTo>
                  <a:pt x="784959" y="2473222"/>
                  <a:pt x="1970367" y="3078196"/>
                  <a:pt x="3297075" y="3078196"/>
                </a:cubicBezTo>
                <a:cubicBezTo>
                  <a:pt x="4328957" y="3078196"/>
                  <a:pt x="5275363" y="2712224"/>
                  <a:pt x="6013576" y="2102997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20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6034795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Title – Grid Ligh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" name="Picture 42">
            <a:extLst>
              <a:ext uri="{FF2B5EF4-FFF2-40B4-BE49-F238E27FC236}">
                <a16:creationId xmlns:a16="http://schemas.microsoft.com/office/drawing/2014/main" id="{F9271E5E-DB33-4CAF-8A70-DD6F64B8766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431878" y="6081015"/>
            <a:ext cx="2444830" cy="560909"/>
          </a:xfrm>
          <a:prstGeom prst="rect">
            <a:avLst/>
          </a:prstGeom>
        </p:spPr>
      </p:pic>
      <p:sp>
        <p:nvSpPr>
          <p:cNvPr id="9" name="Subtitle 2">
            <a:extLst>
              <a:ext uri="{FF2B5EF4-FFF2-40B4-BE49-F238E27FC236}">
                <a16:creationId xmlns:a16="http://schemas.microsoft.com/office/drawing/2014/main" id="{1D10F107-20C2-48E3-8C9A-AB0E6DD442F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2971" y="3759200"/>
            <a:ext cx="7648381" cy="1510886"/>
          </a:xfrm>
        </p:spPr>
        <p:txBody>
          <a:bodyPr lIns="0" tIns="0" rIns="0" bIns="0" anchor="t" anchorCtr="0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6000" b="1" i="0" spc="-10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subtitle sty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63DA92BA-61CE-4443-9F3F-21C22E266D3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6020" y="3078730"/>
            <a:ext cx="7648381" cy="510040"/>
          </a:xfrm>
        </p:spPr>
        <p:txBody>
          <a:bodyPr anchor="ctr" anchorCtr="0"/>
          <a:lstStyle>
            <a:lvl1pPr>
              <a:defRPr sz="6000" b="1" spc="-100" baseline="0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Insert Section #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A33EBDBD-EE0D-4A4D-9B38-7F857B2C1E6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2971" y="880649"/>
            <a:ext cx="7657943" cy="2027651"/>
          </a:xfr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100000"/>
              </a:lnSpc>
              <a:defRPr sz="6000" b="1" i="0" spc="-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13C630F6-5777-4826-A8BA-A5E5F67ED8DE}"/>
              </a:ext>
            </a:extLst>
          </p:cNvPr>
          <p:cNvGrpSpPr/>
          <p:nvPr userDrawn="1"/>
        </p:nvGrpSpPr>
        <p:grpSpPr>
          <a:xfrm>
            <a:off x="9346573" y="258374"/>
            <a:ext cx="2592719" cy="6341252"/>
            <a:chOff x="9346573" y="258374"/>
            <a:chExt cx="2592719" cy="6341252"/>
          </a:xfrm>
          <a:solidFill>
            <a:schemeClr val="accent1">
              <a:lumMod val="75000"/>
            </a:schemeClr>
          </a:solidFill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6D23DED4-46CF-4034-A62B-714FB0F82593}"/>
                </a:ext>
              </a:extLst>
            </p:cNvPr>
            <p:cNvGrpSpPr/>
            <p:nvPr userDrawn="1"/>
          </p:nvGrpSpPr>
          <p:grpSpPr>
            <a:xfrm>
              <a:off x="9906425" y="258374"/>
              <a:ext cx="1451546" cy="6341252"/>
              <a:chOff x="10020609" y="242905"/>
              <a:chExt cx="1346145" cy="5880798"/>
            </a:xfrm>
            <a:grpFill/>
          </p:grpSpPr>
          <p:sp>
            <p:nvSpPr>
              <p:cNvPr id="18" name="Freeform: Shape 17">
                <a:extLst>
                  <a:ext uri="{FF2B5EF4-FFF2-40B4-BE49-F238E27FC236}">
                    <a16:creationId xmlns:a16="http://schemas.microsoft.com/office/drawing/2014/main" id="{102FE358-5F18-4618-841E-AC396B767858}"/>
                  </a:ext>
                </a:extLst>
              </p:cNvPr>
              <p:cNvSpPr/>
              <p:nvPr userDrawn="1"/>
            </p:nvSpPr>
            <p:spPr>
              <a:xfrm>
                <a:off x="10020609" y="242905"/>
                <a:ext cx="561506" cy="5880798"/>
              </a:xfrm>
              <a:custGeom>
                <a:avLst/>
                <a:gdLst>
                  <a:gd name="connsiteX0" fmla="*/ 531921 w 561506"/>
                  <a:gd name="connsiteY0" fmla="*/ 5851213 h 5880798"/>
                  <a:gd name="connsiteX1" fmla="*/ 561506 w 561506"/>
                  <a:gd name="connsiteY1" fmla="*/ 5851213 h 5880798"/>
                  <a:gd name="connsiteX2" fmla="*/ 561506 w 561506"/>
                  <a:gd name="connsiteY2" fmla="*/ 5880798 h 5880798"/>
                  <a:gd name="connsiteX3" fmla="*/ 531921 w 561506"/>
                  <a:gd name="connsiteY3" fmla="*/ 5880798 h 5880798"/>
                  <a:gd name="connsiteX4" fmla="*/ 265961 w 561506"/>
                  <a:gd name="connsiteY4" fmla="*/ 5851213 h 5880798"/>
                  <a:gd name="connsiteX5" fmla="*/ 295547 w 561506"/>
                  <a:gd name="connsiteY5" fmla="*/ 5851213 h 5880798"/>
                  <a:gd name="connsiteX6" fmla="*/ 295547 w 561506"/>
                  <a:gd name="connsiteY6" fmla="*/ 5880798 h 5880798"/>
                  <a:gd name="connsiteX7" fmla="*/ 265961 w 561506"/>
                  <a:gd name="connsiteY7" fmla="*/ 5880798 h 5880798"/>
                  <a:gd name="connsiteX8" fmla="*/ 0 w 561506"/>
                  <a:gd name="connsiteY8" fmla="*/ 5851213 h 5880798"/>
                  <a:gd name="connsiteX9" fmla="*/ 29585 w 561506"/>
                  <a:gd name="connsiteY9" fmla="*/ 5851213 h 5880798"/>
                  <a:gd name="connsiteX10" fmla="*/ 29585 w 561506"/>
                  <a:gd name="connsiteY10" fmla="*/ 5880798 h 5880798"/>
                  <a:gd name="connsiteX11" fmla="*/ 0 w 561506"/>
                  <a:gd name="connsiteY11" fmla="*/ 5880798 h 5880798"/>
                  <a:gd name="connsiteX12" fmla="*/ 531921 w 561506"/>
                  <a:gd name="connsiteY12" fmla="*/ 5585253 h 5880798"/>
                  <a:gd name="connsiteX13" fmla="*/ 561506 w 561506"/>
                  <a:gd name="connsiteY13" fmla="*/ 5585253 h 5880798"/>
                  <a:gd name="connsiteX14" fmla="*/ 561506 w 561506"/>
                  <a:gd name="connsiteY14" fmla="*/ 5614838 h 5880798"/>
                  <a:gd name="connsiteX15" fmla="*/ 531921 w 561506"/>
                  <a:gd name="connsiteY15" fmla="*/ 5614838 h 5880798"/>
                  <a:gd name="connsiteX16" fmla="*/ 265961 w 561506"/>
                  <a:gd name="connsiteY16" fmla="*/ 5585253 h 5880798"/>
                  <a:gd name="connsiteX17" fmla="*/ 295547 w 561506"/>
                  <a:gd name="connsiteY17" fmla="*/ 5585253 h 5880798"/>
                  <a:gd name="connsiteX18" fmla="*/ 295547 w 561506"/>
                  <a:gd name="connsiteY18" fmla="*/ 5614838 h 5880798"/>
                  <a:gd name="connsiteX19" fmla="*/ 265961 w 561506"/>
                  <a:gd name="connsiteY19" fmla="*/ 5614838 h 5880798"/>
                  <a:gd name="connsiteX20" fmla="*/ 0 w 561506"/>
                  <a:gd name="connsiteY20" fmla="*/ 5585253 h 5880798"/>
                  <a:gd name="connsiteX21" fmla="*/ 29585 w 561506"/>
                  <a:gd name="connsiteY21" fmla="*/ 5585253 h 5880798"/>
                  <a:gd name="connsiteX22" fmla="*/ 29585 w 561506"/>
                  <a:gd name="connsiteY22" fmla="*/ 5614838 h 5880798"/>
                  <a:gd name="connsiteX23" fmla="*/ 0 w 561506"/>
                  <a:gd name="connsiteY23" fmla="*/ 5614838 h 5880798"/>
                  <a:gd name="connsiteX24" fmla="*/ 531921 w 561506"/>
                  <a:gd name="connsiteY24" fmla="*/ 5319293 h 5880798"/>
                  <a:gd name="connsiteX25" fmla="*/ 561506 w 561506"/>
                  <a:gd name="connsiteY25" fmla="*/ 5319293 h 5880798"/>
                  <a:gd name="connsiteX26" fmla="*/ 561506 w 561506"/>
                  <a:gd name="connsiteY26" fmla="*/ 5348879 h 5880798"/>
                  <a:gd name="connsiteX27" fmla="*/ 531921 w 561506"/>
                  <a:gd name="connsiteY27" fmla="*/ 5348879 h 5880798"/>
                  <a:gd name="connsiteX28" fmla="*/ 265961 w 561506"/>
                  <a:gd name="connsiteY28" fmla="*/ 5319293 h 5880798"/>
                  <a:gd name="connsiteX29" fmla="*/ 295547 w 561506"/>
                  <a:gd name="connsiteY29" fmla="*/ 5319293 h 5880798"/>
                  <a:gd name="connsiteX30" fmla="*/ 295547 w 561506"/>
                  <a:gd name="connsiteY30" fmla="*/ 5348879 h 5880798"/>
                  <a:gd name="connsiteX31" fmla="*/ 265961 w 561506"/>
                  <a:gd name="connsiteY31" fmla="*/ 5348879 h 5880798"/>
                  <a:gd name="connsiteX32" fmla="*/ 0 w 561506"/>
                  <a:gd name="connsiteY32" fmla="*/ 5319293 h 5880798"/>
                  <a:gd name="connsiteX33" fmla="*/ 29585 w 561506"/>
                  <a:gd name="connsiteY33" fmla="*/ 5319293 h 5880798"/>
                  <a:gd name="connsiteX34" fmla="*/ 29585 w 561506"/>
                  <a:gd name="connsiteY34" fmla="*/ 5348879 h 5880798"/>
                  <a:gd name="connsiteX35" fmla="*/ 0 w 561506"/>
                  <a:gd name="connsiteY35" fmla="*/ 5348879 h 5880798"/>
                  <a:gd name="connsiteX36" fmla="*/ 531921 w 561506"/>
                  <a:gd name="connsiteY36" fmla="*/ 5053332 h 5880798"/>
                  <a:gd name="connsiteX37" fmla="*/ 561506 w 561506"/>
                  <a:gd name="connsiteY37" fmla="*/ 5053332 h 5880798"/>
                  <a:gd name="connsiteX38" fmla="*/ 561506 w 561506"/>
                  <a:gd name="connsiteY38" fmla="*/ 5082917 h 5880798"/>
                  <a:gd name="connsiteX39" fmla="*/ 531921 w 561506"/>
                  <a:gd name="connsiteY39" fmla="*/ 5082917 h 5880798"/>
                  <a:gd name="connsiteX40" fmla="*/ 265961 w 561506"/>
                  <a:gd name="connsiteY40" fmla="*/ 5053332 h 5880798"/>
                  <a:gd name="connsiteX41" fmla="*/ 295547 w 561506"/>
                  <a:gd name="connsiteY41" fmla="*/ 5053332 h 5880798"/>
                  <a:gd name="connsiteX42" fmla="*/ 295547 w 561506"/>
                  <a:gd name="connsiteY42" fmla="*/ 5082917 h 5880798"/>
                  <a:gd name="connsiteX43" fmla="*/ 265961 w 561506"/>
                  <a:gd name="connsiteY43" fmla="*/ 5082917 h 5880798"/>
                  <a:gd name="connsiteX44" fmla="*/ 0 w 561506"/>
                  <a:gd name="connsiteY44" fmla="*/ 5053332 h 5880798"/>
                  <a:gd name="connsiteX45" fmla="*/ 29585 w 561506"/>
                  <a:gd name="connsiteY45" fmla="*/ 5053332 h 5880798"/>
                  <a:gd name="connsiteX46" fmla="*/ 29585 w 561506"/>
                  <a:gd name="connsiteY46" fmla="*/ 5082917 h 5880798"/>
                  <a:gd name="connsiteX47" fmla="*/ 0 w 561506"/>
                  <a:gd name="connsiteY47" fmla="*/ 5082917 h 5880798"/>
                  <a:gd name="connsiteX48" fmla="*/ 531921 w 561506"/>
                  <a:gd name="connsiteY48" fmla="*/ 4787372 h 5880798"/>
                  <a:gd name="connsiteX49" fmla="*/ 561506 w 561506"/>
                  <a:gd name="connsiteY49" fmla="*/ 4787372 h 5880798"/>
                  <a:gd name="connsiteX50" fmla="*/ 561506 w 561506"/>
                  <a:gd name="connsiteY50" fmla="*/ 4816958 h 5880798"/>
                  <a:gd name="connsiteX51" fmla="*/ 531921 w 561506"/>
                  <a:gd name="connsiteY51" fmla="*/ 4816958 h 5880798"/>
                  <a:gd name="connsiteX52" fmla="*/ 265961 w 561506"/>
                  <a:gd name="connsiteY52" fmla="*/ 4787372 h 5880798"/>
                  <a:gd name="connsiteX53" fmla="*/ 295547 w 561506"/>
                  <a:gd name="connsiteY53" fmla="*/ 4787372 h 5880798"/>
                  <a:gd name="connsiteX54" fmla="*/ 295547 w 561506"/>
                  <a:gd name="connsiteY54" fmla="*/ 4816958 h 5880798"/>
                  <a:gd name="connsiteX55" fmla="*/ 265961 w 561506"/>
                  <a:gd name="connsiteY55" fmla="*/ 4816958 h 5880798"/>
                  <a:gd name="connsiteX56" fmla="*/ 0 w 561506"/>
                  <a:gd name="connsiteY56" fmla="*/ 4787372 h 5880798"/>
                  <a:gd name="connsiteX57" fmla="*/ 29585 w 561506"/>
                  <a:gd name="connsiteY57" fmla="*/ 4787372 h 5880798"/>
                  <a:gd name="connsiteX58" fmla="*/ 29585 w 561506"/>
                  <a:gd name="connsiteY58" fmla="*/ 4816958 h 5880798"/>
                  <a:gd name="connsiteX59" fmla="*/ 0 w 561506"/>
                  <a:gd name="connsiteY59" fmla="*/ 4816958 h 5880798"/>
                  <a:gd name="connsiteX60" fmla="*/ 531921 w 561506"/>
                  <a:gd name="connsiteY60" fmla="*/ 4521412 h 5880798"/>
                  <a:gd name="connsiteX61" fmla="*/ 561506 w 561506"/>
                  <a:gd name="connsiteY61" fmla="*/ 4521412 h 5880798"/>
                  <a:gd name="connsiteX62" fmla="*/ 561506 w 561506"/>
                  <a:gd name="connsiteY62" fmla="*/ 4550997 h 5880798"/>
                  <a:gd name="connsiteX63" fmla="*/ 531921 w 561506"/>
                  <a:gd name="connsiteY63" fmla="*/ 4550997 h 5880798"/>
                  <a:gd name="connsiteX64" fmla="*/ 265961 w 561506"/>
                  <a:gd name="connsiteY64" fmla="*/ 4521412 h 5880798"/>
                  <a:gd name="connsiteX65" fmla="*/ 295547 w 561506"/>
                  <a:gd name="connsiteY65" fmla="*/ 4521412 h 5880798"/>
                  <a:gd name="connsiteX66" fmla="*/ 295547 w 561506"/>
                  <a:gd name="connsiteY66" fmla="*/ 4550997 h 5880798"/>
                  <a:gd name="connsiteX67" fmla="*/ 265961 w 561506"/>
                  <a:gd name="connsiteY67" fmla="*/ 4550997 h 5880798"/>
                  <a:gd name="connsiteX68" fmla="*/ 0 w 561506"/>
                  <a:gd name="connsiteY68" fmla="*/ 4521412 h 5880798"/>
                  <a:gd name="connsiteX69" fmla="*/ 29585 w 561506"/>
                  <a:gd name="connsiteY69" fmla="*/ 4521412 h 5880798"/>
                  <a:gd name="connsiteX70" fmla="*/ 29585 w 561506"/>
                  <a:gd name="connsiteY70" fmla="*/ 4550997 h 5880798"/>
                  <a:gd name="connsiteX71" fmla="*/ 0 w 561506"/>
                  <a:gd name="connsiteY71" fmla="*/ 4550997 h 5880798"/>
                  <a:gd name="connsiteX72" fmla="*/ 531921 w 561506"/>
                  <a:gd name="connsiteY72" fmla="*/ 4255451 h 5880798"/>
                  <a:gd name="connsiteX73" fmla="*/ 561506 w 561506"/>
                  <a:gd name="connsiteY73" fmla="*/ 4255451 h 5880798"/>
                  <a:gd name="connsiteX74" fmla="*/ 561506 w 561506"/>
                  <a:gd name="connsiteY74" fmla="*/ 4285036 h 5880798"/>
                  <a:gd name="connsiteX75" fmla="*/ 531921 w 561506"/>
                  <a:gd name="connsiteY75" fmla="*/ 4285036 h 5880798"/>
                  <a:gd name="connsiteX76" fmla="*/ 265961 w 561506"/>
                  <a:gd name="connsiteY76" fmla="*/ 4255451 h 5880798"/>
                  <a:gd name="connsiteX77" fmla="*/ 295547 w 561506"/>
                  <a:gd name="connsiteY77" fmla="*/ 4255451 h 5880798"/>
                  <a:gd name="connsiteX78" fmla="*/ 295547 w 561506"/>
                  <a:gd name="connsiteY78" fmla="*/ 4285036 h 5880798"/>
                  <a:gd name="connsiteX79" fmla="*/ 265961 w 561506"/>
                  <a:gd name="connsiteY79" fmla="*/ 4285036 h 5880798"/>
                  <a:gd name="connsiteX80" fmla="*/ 0 w 561506"/>
                  <a:gd name="connsiteY80" fmla="*/ 4255451 h 5880798"/>
                  <a:gd name="connsiteX81" fmla="*/ 29585 w 561506"/>
                  <a:gd name="connsiteY81" fmla="*/ 4255451 h 5880798"/>
                  <a:gd name="connsiteX82" fmla="*/ 29585 w 561506"/>
                  <a:gd name="connsiteY82" fmla="*/ 4285036 h 5880798"/>
                  <a:gd name="connsiteX83" fmla="*/ 0 w 561506"/>
                  <a:gd name="connsiteY83" fmla="*/ 4285036 h 5880798"/>
                  <a:gd name="connsiteX84" fmla="*/ 531921 w 561506"/>
                  <a:gd name="connsiteY84" fmla="*/ 3989491 h 5880798"/>
                  <a:gd name="connsiteX85" fmla="*/ 561506 w 561506"/>
                  <a:gd name="connsiteY85" fmla="*/ 3989491 h 5880798"/>
                  <a:gd name="connsiteX86" fmla="*/ 561506 w 561506"/>
                  <a:gd name="connsiteY86" fmla="*/ 4019077 h 5880798"/>
                  <a:gd name="connsiteX87" fmla="*/ 531921 w 561506"/>
                  <a:gd name="connsiteY87" fmla="*/ 4019077 h 5880798"/>
                  <a:gd name="connsiteX88" fmla="*/ 265961 w 561506"/>
                  <a:gd name="connsiteY88" fmla="*/ 3989491 h 5880798"/>
                  <a:gd name="connsiteX89" fmla="*/ 295547 w 561506"/>
                  <a:gd name="connsiteY89" fmla="*/ 3989491 h 5880798"/>
                  <a:gd name="connsiteX90" fmla="*/ 295547 w 561506"/>
                  <a:gd name="connsiteY90" fmla="*/ 4019077 h 5880798"/>
                  <a:gd name="connsiteX91" fmla="*/ 265961 w 561506"/>
                  <a:gd name="connsiteY91" fmla="*/ 4019077 h 5880798"/>
                  <a:gd name="connsiteX92" fmla="*/ 0 w 561506"/>
                  <a:gd name="connsiteY92" fmla="*/ 3989491 h 5880798"/>
                  <a:gd name="connsiteX93" fmla="*/ 29585 w 561506"/>
                  <a:gd name="connsiteY93" fmla="*/ 3989491 h 5880798"/>
                  <a:gd name="connsiteX94" fmla="*/ 29585 w 561506"/>
                  <a:gd name="connsiteY94" fmla="*/ 4019077 h 5880798"/>
                  <a:gd name="connsiteX95" fmla="*/ 0 w 561506"/>
                  <a:gd name="connsiteY95" fmla="*/ 4019077 h 5880798"/>
                  <a:gd name="connsiteX96" fmla="*/ 531921 w 561506"/>
                  <a:gd name="connsiteY96" fmla="*/ 3723530 h 5880798"/>
                  <a:gd name="connsiteX97" fmla="*/ 561506 w 561506"/>
                  <a:gd name="connsiteY97" fmla="*/ 3723530 h 5880798"/>
                  <a:gd name="connsiteX98" fmla="*/ 561506 w 561506"/>
                  <a:gd name="connsiteY98" fmla="*/ 3753115 h 5880798"/>
                  <a:gd name="connsiteX99" fmla="*/ 531921 w 561506"/>
                  <a:gd name="connsiteY99" fmla="*/ 3753115 h 5880798"/>
                  <a:gd name="connsiteX100" fmla="*/ 265961 w 561506"/>
                  <a:gd name="connsiteY100" fmla="*/ 3723530 h 5880798"/>
                  <a:gd name="connsiteX101" fmla="*/ 295547 w 561506"/>
                  <a:gd name="connsiteY101" fmla="*/ 3723530 h 5880798"/>
                  <a:gd name="connsiteX102" fmla="*/ 295547 w 561506"/>
                  <a:gd name="connsiteY102" fmla="*/ 3753115 h 5880798"/>
                  <a:gd name="connsiteX103" fmla="*/ 265961 w 561506"/>
                  <a:gd name="connsiteY103" fmla="*/ 3753115 h 5880798"/>
                  <a:gd name="connsiteX104" fmla="*/ 0 w 561506"/>
                  <a:gd name="connsiteY104" fmla="*/ 3723530 h 5880798"/>
                  <a:gd name="connsiteX105" fmla="*/ 29585 w 561506"/>
                  <a:gd name="connsiteY105" fmla="*/ 3723530 h 5880798"/>
                  <a:gd name="connsiteX106" fmla="*/ 29585 w 561506"/>
                  <a:gd name="connsiteY106" fmla="*/ 3753115 h 5880798"/>
                  <a:gd name="connsiteX107" fmla="*/ 0 w 561506"/>
                  <a:gd name="connsiteY107" fmla="*/ 3753115 h 5880798"/>
                  <a:gd name="connsiteX108" fmla="*/ 531921 w 561506"/>
                  <a:gd name="connsiteY108" fmla="*/ 3457570 h 5880798"/>
                  <a:gd name="connsiteX109" fmla="*/ 561506 w 561506"/>
                  <a:gd name="connsiteY109" fmla="*/ 3457570 h 5880798"/>
                  <a:gd name="connsiteX110" fmla="*/ 561506 w 561506"/>
                  <a:gd name="connsiteY110" fmla="*/ 3487156 h 5880798"/>
                  <a:gd name="connsiteX111" fmla="*/ 531921 w 561506"/>
                  <a:gd name="connsiteY111" fmla="*/ 3487156 h 5880798"/>
                  <a:gd name="connsiteX112" fmla="*/ 265961 w 561506"/>
                  <a:gd name="connsiteY112" fmla="*/ 3457570 h 5880798"/>
                  <a:gd name="connsiteX113" fmla="*/ 295547 w 561506"/>
                  <a:gd name="connsiteY113" fmla="*/ 3457570 h 5880798"/>
                  <a:gd name="connsiteX114" fmla="*/ 295547 w 561506"/>
                  <a:gd name="connsiteY114" fmla="*/ 3487156 h 5880798"/>
                  <a:gd name="connsiteX115" fmla="*/ 265961 w 561506"/>
                  <a:gd name="connsiteY115" fmla="*/ 3487156 h 5880798"/>
                  <a:gd name="connsiteX116" fmla="*/ 0 w 561506"/>
                  <a:gd name="connsiteY116" fmla="*/ 3457570 h 5880798"/>
                  <a:gd name="connsiteX117" fmla="*/ 29585 w 561506"/>
                  <a:gd name="connsiteY117" fmla="*/ 3457570 h 5880798"/>
                  <a:gd name="connsiteX118" fmla="*/ 29585 w 561506"/>
                  <a:gd name="connsiteY118" fmla="*/ 3487156 h 5880798"/>
                  <a:gd name="connsiteX119" fmla="*/ 0 w 561506"/>
                  <a:gd name="connsiteY119" fmla="*/ 3487156 h 5880798"/>
                  <a:gd name="connsiteX120" fmla="*/ 531921 w 561506"/>
                  <a:gd name="connsiteY120" fmla="*/ 3191618 h 5880798"/>
                  <a:gd name="connsiteX121" fmla="*/ 561506 w 561506"/>
                  <a:gd name="connsiteY121" fmla="*/ 3191618 h 5880798"/>
                  <a:gd name="connsiteX122" fmla="*/ 561506 w 561506"/>
                  <a:gd name="connsiteY122" fmla="*/ 3221195 h 5880798"/>
                  <a:gd name="connsiteX123" fmla="*/ 531921 w 561506"/>
                  <a:gd name="connsiteY123" fmla="*/ 3221195 h 5880798"/>
                  <a:gd name="connsiteX124" fmla="*/ 265961 w 561506"/>
                  <a:gd name="connsiteY124" fmla="*/ 3191618 h 5880798"/>
                  <a:gd name="connsiteX125" fmla="*/ 295547 w 561506"/>
                  <a:gd name="connsiteY125" fmla="*/ 3191618 h 5880798"/>
                  <a:gd name="connsiteX126" fmla="*/ 295547 w 561506"/>
                  <a:gd name="connsiteY126" fmla="*/ 3221195 h 5880798"/>
                  <a:gd name="connsiteX127" fmla="*/ 265961 w 561506"/>
                  <a:gd name="connsiteY127" fmla="*/ 3221195 h 5880798"/>
                  <a:gd name="connsiteX128" fmla="*/ 0 w 561506"/>
                  <a:gd name="connsiteY128" fmla="*/ 3191617 h 5880798"/>
                  <a:gd name="connsiteX129" fmla="*/ 29585 w 561506"/>
                  <a:gd name="connsiteY129" fmla="*/ 3191617 h 5880798"/>
                  <a:gd name="connsiteX130" fmla="*/ 29585 w 561506"/>
                  <a:gd name="connsiteY130" fmla="*/ 3221195 h 5880798"/>
                  <a:gd name="connsiteX131" fmla="*/ 0 w 561506"/>
                  <a:gd name="connsiteY131" fmla="*/ 3221195 h 5880798"/>
                  <a:gd name="connsiteX132" fmla="*/ 531921 w 561506"/>
                  <a:gd name="connsiteY132" fmla="*/ 2925660 h 5880798"/>
                  <a:gd name="connsiteX133" fmla="*/ 561506 w 561506"/>
                  <a:gd name="connsiteY133" fmla="*/ 2925660 h 5880798"/>
                  <a:gd name="connsiteX134" fmla="*/ 561506 w 561506"/>
                  <a:gd name="connsiteY134" fmla="*/ 2955246 h 5880798"/>
                  <a:gd name="connsiteX135" fmla="*/ 531921 w 561506"/>
                  <a:gd name="connsiteY135" fmla="*/ 2955246 h 5880798"/>
                  <a:gd name="connsiteX136" fmla="*/ 265961 w 561506"/>
                  <a:gd name="connsiteY136" fmla="*/ 2925659 h 5880798"/>
                  <a:gd name="connsiteX137" fmla="*/ 295547 w 561506"/>
                  <a:gd name="connsiteY137" fmla="*/ 2925659 h 5880798"/>
                  <a:gd name="connsiteX138" fmla="*/ 295547 w 561506"/>
                  <a:gd name="connsiteY138" fmla="*/ 2955245 h 5880798"/>
                  <a:gd name="connsiteX139" fmla="*/ 265961 w 561506"/>
                  <a:gd name="connsiteY139" fmla="*/ 2955245 h 5880798"/>
                  <a:gd name="connsiteX140" fmla="*/ 0 w 561506"/>
                  <a:gd name="connsiteY140" fmla="*/ 2925658 h 5880798"/>
                  <a:gd name="connsiteX141" fmla="*/ 29585 w 561506"/>
                  <a:gd name="connsiteY141" fmla="*/ 2925658 h 5880798"/>
                  <a:gd name="connsiteX142" fmla="*/ 29585 w 561506"/>
                  <a:gd name="connsiteY142" fmla="*/ 2955244 h 5880798"/>
                  <a:gd name="connsiteX143" fmla="*/ 0 w 561506"/>
                  <a:gd name="connsiteY143" fmla="*/ 2955244 h 5880798"/>
                  <a:gd name="connsiteX144" fmla="*/ 531921 w 561506"/>
                  <a:gd name="connsiteY144" fmla="*/ 2659620 h 5880798"/>
                  <a:gd name="connsiteX145" fmla="*/ 561506 w 561506"/>
                  <a:gd name="connsiteY145" fmla="*/ 2659620 h 5880798"/>
                  <a:gd name="connsiteX146" fmla="*/ 561506 w 561506"/>
                  <a:gd name="connsiteY146" fmla="*/ 2689204 h 5880798"/>
                  <a:gd name="connsiteX147" fmla="*/ 531921 w 561506"/>
                  <a:gd name="connsiteY147" fmla="*/ 2689204 h 5880798"/>
                  <a:gd name="connsiteX148" fmla="*/ 265961 w 561506"/>
                  <a:gd name="connsiteY148" fmla="*/ 2659616 h 5880798"/>
                  <a:gd name="connsiteX149" fmla="*/ 295547 w 561506"/>
                  <a:gd name="connsiteY149" fmla="*/ 2659616 h 5880798"/>
                  <a:gd name="connsiteX150" fmla="*/ 295547 w 561506"/>
                  <a:gd name="connsiteY150" fmla="*/ 2689201 h 5880798"/>
                  <a:gd name="connsiteX151" fmla="*/ 265961 w 561506"/>
                  <a:gd name="connsiteY151" fmla="*/ 2689201 h 5880798"/>
                  <a:gd name="connsiteX152" fmla="*/ 0 w 561506"/>
                  <a:gd name="connsiteY152" fmla="*/ 2659613 h 5880798"/>
                  <a:gd name="connsiteX153" fmla="*/ 29585 w 561506"/>
                  <a:gd name="connsiteY153" fmla="*/ 2659613 h 5880798"/>
                  <a:gd name="connsiteX154" fmla="*/ 29585 w 561506"/>
                  <a:gd name="connsiteY154" fmla="*/ 2689198 h 5880798"/>
                  <a:gd name="connsiteX155" fmla="*/ 0 w 561506"/>
                  <a:gd name="connsiteY155" fmla="*/ 2689198 h 5880798"/>
                  <a:gd name="connsiteX156" fmla="*/ 531921 w 561506"/>
                  <a:gd name="connsiteY156" fmla="*/ 2393661 h 5880798"/>
                  <a:gd name="connsiteX157" fmla="*/ 561506 w 561506"/>
                  <a:gd name="connsiteY157" fmla="*/ 2393661 h 5880798"/>
                  <a:gd name="connsiteX158" fmla="*/ 561506 w 561506"/>
                  <a:gd name="connsiteY158" fmla="*/ 2423260 h 5880798"/>
                  <a:gd name="connsiteX159" fmla="*/ 531921 w 561506"/>
                  <a:gd name="connsiteY159" fmla="*/ 2423260 h 5880798"/>
                  <a:gd name="connsiteX160" fmla="*/ 265961 w 561506"/>
                  <a:gd name="connsiteY160" fmla="*/ 2393658 h 5880798"/>
                  <a:gd name="connsiteX161" fmla="*/ 295547 w 561506"/>
                  <a:gd name="connsiteY161" fmla="*/ 2393658 h 5880798"/>
                  <a:gd name="connsiteX162" fmla="*/ 295547 w 561506"/>
                  <a:gd name="connsiteY162" fmla="*/ 2423257 h 5880798"/>
                  <a:gd name="connsiteX163" fmla="*/ 265961 w 561506"/>
                  <a:gd name="connsiteY163" fmla="*/ 2423257 h 5880798"/>
                  <a:gd name="connsiteX164" fmla="*/ 0 w 561506"/>
                  <a:gd name="connsiteY164" fmla="*/ 2393655 h 5880798"/>
                  <a:gd name="connsiteX165" fmla="*/ 29585 w 561506"/>
                  <a:gd name="connsiteY165" fmla="*/ 2393655 h 5880798"/>
                  <a:gd name="connsiteX166" fmla="*/ 29585 w 561506"/>
                  <a:gd name="connsiteY166" fmla="*/ 2423251 h 5880798"/>
                  <a:gd name="connsiteX167" fmla="*/ 0 w 561506"/>
                  <a:gd name="connsiteY167" fmla="*/ 2423251 h 5880798"/>
                  <a:gd name="connsiteX168" fmla="*/ 531921 w 561506"/>
                  <a:gd name="connsiteY168" fmla="*/ 2127694 h 5880798"/>
                  <a:gd name="connsiteX169" fmla="*/ 561506 w 561506"/>
                  <a:gd name="connsiteY169" fmla="*/ 2127694 h 5880798"/>
                  <a:gd name="connsiteX170" fmla="*/ 561506 w 561506"/>
                  <a:gd name="connsiteY170" fmla="*/ 2157283 h 5880798"/>
                  <a:gd name="connsiteX171" fmla="*/ 531921 w 561506"/>
                  <a:gd name="connsiteY171" fmla="*/ 2157283 h 5880798"/>
                  <a:gd name="connsiteX172" fmla="*/ 265961 w 561506"/>
                  <a:gd name="connsiteY172" fmla="*/ 2127693 h 5880798"/>
                  <a:gd name="connsiteX173" fmla="*/ 295547 w 561506"/>
                  <a:gd name="connsiteY173" fmla="*/ 2127693 h 5880798"/>
                  <a:gd name="connsiteX174" fmla="*/ 295547 w 561506"/>
                  <a:gd name="connsiteY174" fmla="*/ 2157282 h 5880798"/>
                  <a:gd name="connsiteX175" fmla="*/ 265961 w 561506"/>
                  <a:gd name="connsiteY175" fmla="*/ 2157282 h 5880798"/>
                  <a:gd name="connsiteX176" fmla="*/ 0 w 561506"/>
                  <a:gd name="connsiteY176" fmla="*/ 2127689 h 5880798"/>
                  <a:gd name="connsiteX177" fmla="*/ 29585 w 561506"/>
                  <a:gd name="connsiteY177" fmla="*/ 2127689 h 5880798"/>
                  <a:gd name="connsiteX178" fmla="*/ 29585 w 561506"/>
                  <a:gd name="connsiteY178" fmla="*/ 2157278 h 5880798"/>
                  <a:gd name="connsiteX179" fmla="*/ 0 w 561506"/>
                  <a:gd name="connsiteY179" fmla="*/ 2157278 h 5880798"/>
                  <a:gd name="connsiteX180" fmla="*/ 531921 w 561506"/>
                  <a:gd name="connsiteY180" fmla="*/ 1861731 h 5880798"/>
                  <a:gd name="connsiteX181" fmla="*/ 561506 w 561506"/>
                  <a:gd name="connsiteY181" fmla="*/ 1861731 h 5880798"/>
                  <a:gd name="connsiteX182" fmla="*/ 561506 w 561506"/>
                  <a:gd name="connsiteY182" fmla="*/ 1891308 h 5880798"/>
                  <a:gd name="connsiteX183" fmla="*/ 531921 w 561506"/>
                  <a:gd name="connsiteY183" fmla="*/ 1891308 h 5880798"/>
                  <a:gd name="connsiteX184" fmla="*/ 265961 w 561506"/>
                  <a:gd name="connsiteY184" fmla="*/ 1861728 h 5880798"/>
                  <a:gd name="connsiteX185" fmla="*/ 295547 w 561506"/>
                  <a:gd name="connsiteY185" fmla="*/ 1861728 h 5880798"/>
                  <a:gd name="connsiteX186" fmla="*/ 295547 w 561506"/>
                  <a:gd name="connsiteY186" fmla="*/ 1891306 h 5880798"/>
                  <a:gd name="connsiteX187" fmla="*/ 265961 w 561506"/>
                  <a:gd name="connsiteY187" fmla="*/ 1891306 h 5880798"/>
                  <a:gd name="connsiteX188" fmla="*/ 0 w 561506"/>
                  <a:gd name="connsiteY188" fmla="*/ 1861726 h 5880798"/>
                  <a:gd name="connsiteX189" fmla="*/ 29585 w 561506"/>
                  <a:gd name="connsiteY189" fmla="*/ 1861726 h 5880798"/>
                  <a:gd name="connsiteX190" fmla="*/ 29585 w 561506"/>
                  <a:gd name="connsiteY190" fmla="*/ 1891304 h 5880798"/>
                  <a:gd name="connsiteX191" fmla="*/ 0 w 561506"/>
                  <a:gd name="connsiteY191" fmla="*/ 1891304 h 5880798"/>
                  <a:gd name="connsiteX192" fmla="*/ 531921 w 561506"/>
                  <a:gd name="connsiteY192" fmla="*/ 1595769 h 5880798"/>
                  <a:gd name="connsiteX193" fmla="*/ 561506 w 561506"/>
                  <a:gd name="connsiteY193" fmla="*/ 1595769 h 5880798"/>
                  <a:gd name="connsiteX194" fmla="*/ 561506 w 561506"/>
                  <a:gd name="connsiteY194" fmla="*/ 1625355 h 5880798"/>
                  <a:gd name="connsiteX195" fmla="*/ 531921 w 561506"/>
                  <a:gd name="connsiteY195" fmla="*/ 1625355 h 5880798"/>
                  <a:gd name="connsiteX196" fmla="*/ 265961 w 561506"/>
                  <a:gd name="connsiteY196" fmla="*/ 1595766 h 5880798"/>
                  <a:gd name="connsiteX197" fmla="*/ 295547 w 561506"/>
                  <a:gd name="connsiteY197" fmla="*/ 1595766 h 5880798"/>
                  <a:gd name="connsiteX198" fmla="*/ 295547 w 561506"/>
                  <a:gd name="connsiteY198" fmla="*/ 1625352 h 5880798"/>
                  <a:gd name="connsiteX199" fmla="*/ 265961 w 561506"/>
                  <a:gd name="connsiteY199" fmla="*/ 1625352 h 5880798"/>
                  <a:gd name="connsiteX200" fmla="*/ 0 w 561506"/>
                  <a:gd name="connsiteY200" fmla="*/ 1595764 h 5880798"/>
                  <a:gd name="connsiteX201" fmla="*/ 29585 w 561506"/>
                  <a:gd name="connsiteY201" fmla="*/ 1595764 h 5880798"/>
                  <a:gd name="connsiteX202" fmla="*/ 29585 w 561506"/>
                  <a:gd name="connsiteY202" fmla="*/ 1625350 h 5880798"/>
                  <a:gd name="connsiteX203" fmla="*/ 0 w 561506"/>
                  <a:gd name="connsiteY203" fmla="*/ 1625350 h 5880798"/>
                  <a:gd name="connsiteX204" fmla="*/ 531921 w 561506"/>
                  <a:gd name="connsiteY204" fmla="*/ 1329811 h 5880798"/>
                  <a:gd name="connsiteX205" fmla="*/ 561506 w 561506"/>
                  <a:gd name="connsiteY205" fmla="*/ 1329811 h 5880798"/>
                  <a:gd name="connsiteX206" fmla="*/ 561506 w 561506"/>
                  <a:gd name="connsiteY206" fmla="*/ 1359396 h 5880798"/>
                  <a:gd name="connsiteX207" fmla="*/ 531921 w 561506"/>
                  <a:gd name="connsiteY207" fmla="*/ 1359396 h 5880798"/>
                  <a:gd name="connsiteX208" fmla="*/ 265961 w 561506"/>
                  <a:gd name="connsiteY208" fmla="*/ 1329809 h 5880798"/>
                  <a:gd name="connsiteX209" fmla="*/ 295547 w 561506"/>
                  <a:gd name="connsiteY209" fmla="*/ 1329809 h 5880798"/>
                  <a:gd name="connsiteX210" fmla="*/ 295547 w 561506"/>
                  <a:gd name="connsiteY210" fmla="*/ 1359393 h 5880798"/>
                  <a:gd name="connsiteX211" fmla="*/ 265961 w 561506"/>
                  <a:gd name="connsiteY211" fmla="*/ 1359393 h 5880798"/>
                  <a:gd name="connsiteX212" fmla="*/ 0 w 561506"/>
                  <a:gd name="connsiteY212" fmla="*/ 1329806 h 5880798"/>
                  <a:gd name="connsiteX213" fmla="*/ 29585 w 561506"/>
                  <a:gd name="connsiteY213" fmla="*/ 1329806 h 5880798"/>
                  <a:gd name="connsiteX214" fmla="*/ 29585 w 561506"/>
                  <a:gd name="connsiteY214" fmla="*/ 1359391 h 5880798"/>
                  <a:gd name="connsiteX215" fmla="*/ 0 w 561506"/>
                  <a:gd name="connsiteY215" fmla="*/ 1359391 h 5880798"/>
                  <a:gd name="connsiteX216" fmla="*/ 531921 w 561506"/>
                  <a:gd name="connsiteY216" fmla="*/ 1063855 h 5880798"/>
                  <a:gd name="connsiteX217" fmla="*/ 561506 w 561506"/>
                  <a:gd name="connsiteY217" fmla="*/ 1063855 h 5880798"/>
                  <a:gd name="connsiteX218" fmla="*/ 561506 w 561506"/>
                  <a:gd name="connsiteY218" fmla="*/ 1093441 h 5880798"/>
                  <a:gd name="connsiteX219" fmla="*/ 531921 w 561506"/>
                  <a:gd name="connsiteY219" fmla="*/ 1093441 h 5880798"/>
                  <a:gd name="connsiteX220" fmla="*/ 265961 w 561506"/>
                  <a:gd name="connsiteY220" fmla="*/ 1063852 h 5880798"/>
                  <a:gd name="connsiteX221" fmla="*/ 295547 w 561506"/>
                  <a:gd name="connsiteY221" fmla="*/ 1063852 h 5880798"/>
                  <a:gd name="connsiteX222" fmla="*/ 295547 w 561506"/>
                  <a:gd name="connsiteY222" fmla="*/ 1093438 h 5880798"/>
                  <a:gd name="connsiteX223" fmla="*/ 265961 w 561506"/>
                  <a:gd name="connsiteY223" fmla="*/ 1093438 h 5880798"/>
                  <a:gd name="connsiteX224" fmla="*/ 0 w 561506"/>
                  <a:gd name="connsiteY224" fmla="*/ 1063849 h 5880798"/>
                  <a:gd name="connsiteX225" fmla="*/ 29585 w 561506"/>
                  <a:gd name="connsiteY225" fmla="*/ 1063849 h 5880798"/>
                  <a:gd name="connsiteX226" fmla="*/ 29585 w 561506"/>
                  <a:gd name="connsiteY226" fmla="*/ 1093435 h 5880798"/>
                  <a:gd name="connsiteX227" fmla="*/ 0 w 561506"/>
                  <a:gd name="connsiteY227" fmla="*/ 1093435 h 5880798"/>
                  <a:gd name="connsiteX228" fmla="*/ 531921 w 561506"/>
                  <a:gd name="connsiteY228" fmla="*/ 797884 h 5880798"/>
                  <a:gd name="connsiteX229" fmla="*/ 561506 w 561506"/>
                  <a:gd name="connsiteY229" fmla="*/ 797884 h 5880798"/>
                  <a:gd name="connsiteX230" fmla="*/ 561506 w 561506"/>
                  <a:gd name="connsiteY230" fmla="*/ 827470 h 5880798"/>
                  <a:gd name="connsiteX231" fmla="*/ 531921 w 561506"/>
                  <a:gd name="connsiteY231" fmla="*/ 827470 h 5880798"/>
                  <a:gd name="connsiteX232" fmla="*/ 265961 w 561506"/>
                  <a:gd name="connsiteY232" fmla="*/ 797882 h 5880798"/>
                  <a:gd name="connsiteX233" fmla="*/ 295547 w 561506"/>
                  <a:gd name="connsiteY233" fmla="*/ 797882 h 5880798"/>
                  <a:gd name="connsiteX234" fmla="*/ 295547 w 561506"/>
                  <a:gd name="connsiteY234" fmla="*/ 827468 h 5880798"/>
                  <a:gd name="connsiteX235" fmla="*/ 265961 w 561506"/>
                  <a:gd name="connsiteY235" fmla="*/ 827468 h 5880798"/>
                  <a:gd name="connsiteX236" fmla="*/ 0 w 561506"/>
                  <a:gd name="connsiteY236" fmla="*/ 797879 h 5880798"/>
                  <a:gd name="connsiteX237" fmla="*/ 29585 w 561506"/>
                  <a:gd name="connsiteY237" fmla="*/ 797879 h 5880798"/>
                  <a:gd name="connsiteX238" fmla="*/ 29585 w 561506"/>
                  <a:gd name="connsiteY238" fmla="*/ 827465 h 5880798"/>
                  <a:gd name="connsiteX239" fmla="*/ 0 w 561506"/>
                  <a:gd name="connsiteY239" fmla="*/ 827465 h 5880798"/>
                  <a:gd name="connsiteX240" fmla="*/ 531921 w 561506"/>
                  <a:gd name="connsiteY240" fmla="*/ 531924 h 5880798"/>
                  <a:gd name="connsiteX241" fmla="*/ 561506 w 561506"/>
                  <a:gd name="connsiteY241" fmla="*/ 531924 h 5880798"/>
                  <a:gd name="connsiteX242" fmla="*/ 561506 w 561506"/>
                  <a:gd name="connsiteY242" fmla="*/ 561509 h 5880798"/>
                  <a:gd name="connsiteX243" fmla="*/ 531921 w 561506"/>
                  <a:gd name="connsiteY243" fmla="*/ 561509 h 5880798"/>
                  <a:gd name="connsiteX244" fmla="*/ 265961 w 561506"/>
                  <a:gd name="connsiteY244" fmla="*/ 531922 h 5880798"/>
                  <a:gd name="connsiteX245" fmla="*/ 295547 w 561506"/>
                  <a:gd name="connsiteY245" fmla="*/ 531922 h 5880798"/>
                  <a:gd name="connsiteX246" fmla="*/ 295547 w 561506"/>
                  <a:gd name="connsiteY246" fmla="*/ 561507 h 5880798"/>
                  <a:gd name="connsiteX247" fmla="*/ 265961 w 561506"/>
                  <a:gd name="connsiteY247" fmla="*/ 561507 h 5880798"/>
                  <a:gd name="connsiteX248" fmla="*/ 0 w 561506"/>
                  <a:gd name="connsiteY248" fmla="*/ 531920 h 5880798"/>
                  <a:gd name="connsiteX249" fmla="*/ 29585 w 561506"/>
                  <a:gd name="connsiteY249" fmla="*/ 531920 h 5880798"/>
                  <a:gd name="connsiteX250" fmla="*/ 29585 w 561506"/>
                  <a:gd name="connsiteY250" fmla="*/ 561505 h 5880798"/>
                  <a:gd name="connsiteX251" fmla="*/ 0 w 561506"/>
                  <a:gd name="connsiteY251" fmla="*/ 561505 h 5880798"/>
                  <a:gd name="connsiteX252" fmla="*/ 531921 w 561506"/>
                  <a:gd name="connsiteY252" fmla="*/ 265964 h 5880798"/>
                  <a:gd name="connsiteX253" fmla="*/ 561506 w 561506"/>
                  <a:gd name="connsiteY253" fmla="*/ 265964 h 5880798"/>
                  <a:gd name="connsiteX254" fmla="*/ 561506 w 561506"/>
                  <a:gd name="connsiteY254" fmla="*/ 295550 h 5880798"/>
                  <a:gd name="connsiteX255" fmla="*/ 531921 w 561506"/>
                  <a:gd name="connsiteY255" fmla="*/ 295550 h 5880798"/>
                  <a:gd name="connsiteX256" fmla="*/ 265961 w 561506"/>
                  <a:gd name="connsiteY256" fmla="*/ 265962 h 5880798"/>
                  <a:gd name="connsiteX257" fmla="*/ 295547 w 561506"/>
                  <a:gd name="connsiteY257" fmla="*/ 265962 h 5880798"/>
                  <a:gd name="connsiteX258" fmla="*/ 295547 w 561506"/>
                  <a:gd name="connsiteY258" fmla="*/ 295548 h 5880798"/>
                  <a:gd name="connsiteX259" fmla="*/ 265961 w 561506"/>
                  <a:gd name="connsiteY259" fmla="*/ 295548 h 5880798"/>
                  <a:gd name="connsiteX260" fmla="*/ 0 w 561506"/>
                  <a:gd name="connsiteY260" fmla="*/ 265960 h 5880798"/>
                  <a:gd name="connsiteX261" fmla="*/ 29585 w 561506"/>
                  <a:gd name="connsiteY261" fmla="*/ 265960 h 5880798"/>
                  <a:gd name="connsiteX262" fmla="*/ 29585 w 561506"/>
                  <a:gd name="connsiteY262" fmla="*/ 295546 h 5880798"/>
                  <a:gd name="connsiteX263" fmla="*/ 0 w 561506"/>
                  <a:gd name="connsiteY263" fmla="*/ 295546 h 5880798"/>
                  <a:gd name="connsiteX264" fmla="*/ 531921 w 561506"/>
                  <a:gd name="connsiteY264" fmla="*/ 5 h 5880798"/>
                  <a:gd name="connsiteX265" fmla="*/ 561506 w 561506"/>
                  <a:gd name="connsiteY265" fmla="*/ 5 h 5880798"/>
                  <a:gd name="connsiteX266" fmla="*/ 561506 w 561506"/>
                  <a:gd name="connsiteY266" fmla="*/ 29591 h 5880798"/>
                  <a:gd name="connsiteX267" fmla="*/ 531921 w 561506"/>
                  <a:gd name="connsiteY267" fmla="*/ 29591 h 5880798"/>
                  <a:gd name="connsiteX268" fmla="*/ 265961 w 561506"/>
                  <a:gd name="connsiteY268" fmla="*/ 3 h 5880798"/>
                  <a:gd name="connsiteX269" fmla="*/ 295547 w 561506"/>
                  <a:gd name="connsiteY269" fmla="*/ 3 h 5880798"/>
                  <a:gd name="connsiteX270" fmla="*/ 295547 w 561506"/>
                  <a:gd name="connsiteY270" fmla="*/ 29589 h 5880798"/>
                  <a:gd name="connsiteX271" fmla="*/ 265961 w 561506"/>
                  <a:gd name="connsiteY271" fmla="*/ 29589 h 5880798"/>
                  <a:gd name="connsiteX272" fmla="*/ 0 w 561506"/>
                  <a:gd name="connsiteY272" fmla="*/ 0 h 5880798"/>
                  <a:gd name="connsiteX273" fmla="*/ 29585 w 561506"/>
                  <a:gd name="connsiteY273" fmla="*/ 0 h 5880798"/>
                  <a:gd name="connsiteX274" fmla="*/ 29585 w 561506"/>
                  <a:gd name="connsiteY274" fmla="*/ 29586 h 5880798"/>
                  <a:gd name="connsiteX275" fmla="*/ 0 w 561506"/>
                  <a:gd name="connsiteY275" fmla="*/ 29586 h 58807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</a:cxnLst>
                <a:rect l="l" t="t" r="r" b="b"/>
                <a:pathLst>
                  <a:path w="561506" h="5880798">
                    <a:moveTo>
                      <a:pt x="531921" y="5851213"/>
                    </a:moveTo>
                    <a:lnTo>
                      <a:pt x="561506" y="5851213"/>
                    </a:lnTo>
                    <a:lnTo>
                      <a:pt x="561506" y="5880798"/>
                    </a:lnTo>
                    <a:lnTo>
                      <a:pt x="531921" y="5880798"/>
                    </a:lnTo>
                    <a:close/>
                    <a:moveTo>
                      <a:pt x="265961" y="5851213"/>
                    </a:moveTo>
                    <a:lnTo>
                      <a:pt x="295547" y="5851213"/>
                    </a:lnTo>
                    <a:lnTo>
                      <a:pt x="295547" y="5880798"/>
                    </a:lnTo>
                    <a:lnTo>
                      <a:pt x="265961" y="5880798"/>
                    </a:lnTo>
                    <a:close/>
                    <a:moveTo>
                      <a:pt x="0" y="5851213"/>
                    </a:moveTo>
                    <a:lnTo>
                      <a:pt x="29585" y="5851213"/>
                    </a:lnTo>
                    <a:lnTo>
                      <a:pt x="29585" y="5880798"/>
                    </a:lnTo>
                    <a:lnTo>
                      <a:pt x="0" y="5880798"/>
                    </a:lnTo>
                    <a:close/>
                    <a:moveTo>
                      <a:pt x="531921" y="5585253"/>
                    </a:moveTo>
                    <a:lnTo>
                      <a:pt x="561506" y="5585253"/>
                    </a:lnTo>
                    <a:lnTo>
                      <a:pt x="561506" y="5614838"/>
                    </a:lnTo>
                    <a:lnTo>
                      <a:pt x="531921" y="5614838"/>
                    </a:lnTo>
                    <a:close/>
                    <a:moveTo>
                      <a:pt x="265961" y="5585253"/>
                    </a:moveTo>
                    <a:lnTo>
                      <a:pt x="295547" y="5585253"/>
                    </a:lnTo>
                    <a:lnTo>
                      <a:pt x="295547" y="5614838"/>
                    </a:lnTo>
                    <a:lnTo>
                      <a:pt x="265961" y="5614838"/>
                    </a:lnTo>
                    <a:close/>
                    <a:moveTo>
                      <a:pt x="0" y="5585253"/>
                    </a:moveTo>
                    <a:lnTo>
                      <a:pt x="29585" y="5585253"/>
                    </a:lnTo>
                    <a:lnTo>
                      <a:pt x="29585" y="5614838"/>
                    </a:lnTo>
                    <a:lnTo>
                      <a:pt x="0" y="5614838"/>
                    </a:lnTo>
                    <a:close/>
                    <a:moveTo>
                      <a:pt x="531921" y="5319293"/>
                    </a:moveTo>
                    <a:lnTo>
                      <a:pt x="561506" y="5319293"/>
                    </a:lnTo>
                    <a:lnTo>
                      <a:pt x="561506" y="5348879"/>
                    </a:lnTo>
                    <a:lnTo>
                      <a:pt x="531921" y="5348879"/>
                    </a:lnTo>
                    <a:close/>
                    <a:moveTo>
                      <a:pt x="265961" y="5319293"/>
                    </a:moveTo>
                    <a:lnTo>
                      <a:pt x="295547" y="5319293"/>
                    </a:lnTo>
                    <a:lnTo>
                      <a:pt x="295547" y="5348879"/>
                    </a:lnTo>
                    <a:lnTo>
                      <a:pt x="265961" y="5348879"/>
                    </a:lnTo>
                    <a:close/>
                    <a:moveTo>
                      <a:pt x="0" y="5319293"/>
                    </a:moveTo>
                    <a:lnTo>
                      <a:pt x="29585" y="5319293"/>
                    </a:lnTo>
                    <a:lnTo>
                      <a:pt x="29585" y="5348879"/>
                    </a:lnTo>
                    <a:lnTo>
                      <a:pt x="0" y="5348879"/>
                    </a:lnTo>
                    <a:close/>
                    <a:moveTo>
                      <a:pt x="531921" y="5053332"/>
                    </a:moveTo>
                    <a:lnTo>
                      <a:pt x="561506" y="5053332"/>
                    </a:lnTo>
                    <a:lnTo>
                      <a:pt x="561506" y="5082917"/>
                    </a:lnTo>
                    <a:lnTo>
                      <a:pt x="531921" y="5082917"/>
                    </a:lnTo>
                    <a:close/>
                    <a:moveTo>
                      <a:pt x="265961" y="5053332"/>
                    </a:moveTo>
                    <a:lnTo>
                      <a:pt x="295547" y="5053332"/>
                    </a:lnTo>
                    <a:lnTo>
                      <a:pt x="295547" y="5082917"/>
                    </a:lnTo>
                    <a:lnTo>
                      <a:pt x="265961" y="5082917"/>
                    </a:lnTo>
                    <a:close/>
                    <a:moveTo>
                      <a:pt x="0" y="5053332"/>
                    </a:moveTo>
                    <a:lnTo>
                      <a:pt x="29585" y="5053332"/>
                    </a:lnTo>
                    <a:lnTo>
                      <a:pt x="29585" y="5082917"/>
                    </a:lnTo>
                    <a:lnTo>
                      <a:pt x="0" y="5082917"/>
                    </a:lnTo>
                    <a:close/>
                    <a:moveTo>
                      <a:pt x="531921" y="4787372"/>
                    </a:moveTo>
                    <a:lnTo>
                      <a:pt x="561506" y="4787372"/>
                    </a:lnTo>
                    <a:lnTo>
                      <a:pt x="561506" y="4816958"/>
                    </a:lnTo>
                    <a:lnTo>
                      <a:pt x="531921" y="4816958"/>
                    </a:lnTo>
                    <a:close/>
                    <a:moveTo>
                      <a:pt x="265961" y="4787372"/>
                    </a:moveTo>
                    <a:lnTo>
                      <a:pt x="295547" y="4787372"/>
                    </a:lnTo>
                    <a:lnTo>
                      <a:pt x="295547" y="4816958"/>
                    </a:lnTo>
                    <a:lnTo>
                      <a:pt x="265961" y="4816958"/>
                    </a:lnTo>
                    <a:close/>
                    <a:moveTo>
                      <a:pt x="0" y="4787372"/>
                    </a:moveTo>
                    <a:lnTo>
                      <a:pt x="29585" y="4787372"/>
                    </a:lnTo>
                    <a:lnTo>
                      <a:pt x="29585" y="4816958"/>
                    </a:lnTo>
                    <a:lnTo>
                      <a:pt x="0" y="4816958"/>
                    </a:lnTo>
                    <a:close/>
                    <a:moveTo>
                      <a:pt x="531921" y="4521412"/>
                    </a:moveTo>
                    <a:lnTo>
                      <a:pt x="561506" y="4521412"/>
                    </a:lnTo>
                    <a:lnTo>
                      <a:pt x="561506" y="4550997"/>
                    </a:lnTo>
                    <a:lnTo>
                      <a:pt x="531921" y="4550997"/>
                    </a:lnTo>
                    <a:close/>
                    <a:moveTo>
                      <a:pt x="265961" y="4521412"/>
                    </a:moveTo>
                    <a:lnTo>
                      <a:pt x="295547" y="4521412"/>
                    </a:lnTo>
                    <a:lnTo>
                      <a:pt x="295547" y="4550997"/>
                    </a:lnTo>
                    <a:lnTo>
                      <a:pt x="265961" y="4550997"/>
                    </a:lnTo>
                    <a:close/>
                    <a:moveTo>
                      <a:pt x="0" y="4521412"/>
                    </a:moveTo>
                    <a:lnTo>
                      <a:pt x="29585" y="4521412"/>
                    </a:lnTo>
                    <a:lnTo>
                      <a:pt x="29585" y="4550997"/>
                    </a:lnTo>
                    <a:lnTo>
                      <a:pt x="0" y="4550997"/>
                    </a:lnTo>
                    <a:close/>
                    <a:moveTo>
                      <a:pt x="531921" y="4255451"/>
                    </a:moveTo>
                    <a:lnTo>
                      <a:pt x="561506" y="4255451"/>
                    </a:lnTo>
                    <a:lnTo>
                      <a:pt x="561506" y="4285036"/>
                    </a:lnTo>
                    <a:lnTo>
                      <a:pt x="531921" y="4285036"/>
                    </a:lnTo>
                    <a:close/>
                    <a:moveTo>
                      <a:pt x="265961" y="4255451"/>
                    </a:moveTo>
                    <a:lnTo>
                      <a:pt x="295547" y="4255451"/>
                    </a:lnTo>
                    <a:lnTo>
                      <a:pt x="295547" y="4285036"/>
                    </a:lnTo>
                    <a:lnTo>
                      <a:pt x="265961" y="4285036"/>
                    </a:lnTo>
                    <a:close/>
                    <a:moveTo>
                      <a:pt x="0" y="4255451"/>
                    </a:moveTo>
                    <a:lnTo>
                      <a:pt x="29585" y="4255451"/>
                    </a:lnTo>
                    <a:lnTo>
                      <a:pt x="29585" y="4285036"/>
                    </a:lnTo>
                    <a:lnTo>
                      <a:pt x="0" y="4285036"/>
                    </a:lnTo>
                    <a:close/>
                    <a:moveTo>
                      <a:pt x="531921" y="3989491"/>
                    </a:moveTo>
                    <a:lnTo>
                      <a:pt x="561506" y="3989491"/>
                    </a:lnTo>
                    <a:lnTo>
                      <a:pt x="561506" y="4019077"/>
                    </a:lnTo>
                    <a:lnTo>
                      <a:pt x="531921" y="4019077"/>
                    </a:lnTo>
                    <a:close/>
                    <a:moveTo>
                      <a:pt x="265961" y="3989491"/>
                    </a:moveTo>
                    <a:lnTo>
                      <a:pt x="295547" y="3989491"/>
                    </a:lnTo>
                    <a:lnTo>
                      <a:pt x="295547" y="4019077"/>
                    </a:lnTo>
                    <a:lnTo>
                      <a:pt x="265961" y="4019077"/>
                    </a:lnTo>
                    <a:close/>
                    <a:moveTo>
                      <a:pt x="0" y="3989491"/>
                    </a:moveTo>
                    <a:lnTo>
                      <a:pt x="29585" y="3989491"/>
                    </a:lnTo>
                    <a:lnTo>
                      <a:pt x="29585" y="4019077"/>
                    </a:lnTo>
                    <a:lnTo>
                      <a:pt x="0" y="4019077"/>
                    </a:lnTo>
                    <a:close/>
                    <a:moveTo>
                      <a:pt x="531921" y="3723530"/>
                    </a:moveTo>
                    <a:lnTo>
                      <a:pt x="561506" y="3723530"/>
                    </a:lnTo>
                    <a:lnTo>
                      <a:pt x="561506" y="3753115"/>
                    </a:lnTo>
                    <a:lnTo>
                      <a:pt x="531921" y="3753115"/>
                    </a:lnTo>
                    <a:close/>
                    <a:moveTo>
                      <a:pt x="265961" y="3723530"/>
                    </a:moveTo>
                    <a:lnTo>
                      <a:pt x="295547" y="3723530"/>
                    </a:lnTo>
                    <a:lnTo>
                      <a:pt x="295547" y="3753115"/>
                    </a:lnTo>
                    <a:lnTo>
                      <a:pt x="265961" y="3753115"/>
                    </a:lnTo>
                    <a:close/>
                    <a:moveTo>
                      <a:pt x="0" y="3723530"/>
                    </a:moveTo>
                    <a:lnTo>
                      <a:pt x="29585" y="3723530"/>
                    </a:lnTo>
                    <a:lnTo>
                      <a:pt x="29585" y="3753115"/>
                    </a:lnTo>
                    <a:lnTo>
                      <a:pt x="0" y="3753115"/>
                    </a:lnTo>
                    <a:close/>
                    <a:moveTo>
                      <a:pt x="531921" y="3457570"/>
                    </a:moveTo>
                    <a:lnTo>
                      <a:pt x="561506" y="3457570"/>
                    </a:lnTo>
                    <a:lnTo>
                      <a:pt x="561506" y="3487156"/>
                    </a:lnTo>
                    <a:lnTo>
                      <a:pt x="531921" y="3487156"/>
                    </a:lnTo>
                    <a:close/>
                    <a:moveTo>
                      <a:pt x="265961" y="3457570"/>
                    </a:moveTo>
                    <a:lnTo>
                      <a:pt x="295547" y="3457570"/>
                    </a:lnTo>
                    <a:lnTo>
                      <a:pt x="295547" y="3487156"/>
                    </a:lnTo>
                    <a:lnTo>
                      <a:pt x="265961" y="3487156"/>
                    </a:lnTo>
                    <a:close/>
                    <a:moveTo>
                      <a:pt x="0" y="3457570"/>
                    </a:moveTo>
                    <a:lnTo>
                      <a:pt x="29585" y="3457570"/>
                    </a:lnTo>
                    <a:lnTo>
                      <a:pt x="29585" y="3487156"/>
                    </a:lnTo>
                    <a:lnTo>
                      <a:pt x="0" y="3487156"/>
                    </a:lnTo>
                    <a:close/>
                    <a:moveTo>
                      <a:pt x="531921" y="3191618"/>
                    </a:moveTo>
                    <a:lnTo>
                      <a:pt x="561506" y="3191618"/>
                    </a:lnTo>
                    <a:lnTo>
                      <a:pt x="561506" y="3221195"/>
                    </a:lnTo>
                    <a:lnTo>
                      <a:pt x="531921" y="3221195"/>
                    </a:lnTo>
                    <a:close/>
                    <a:moveTo>
                      <a:pt x="265961" y="3191618"/>
                    </a:moveTo>
                    <a:lnTo>
                      <a:pt x="295547" y="3191618"/>
                    </a:lnTo>
                    <a:lnTo>
                      <a:pt x="295547" y="3221195"/>
                    </a:lnTo>
                    <a:lnTo>
                      <a:pt x="265961" y="3221195"/>
                    </a:lnTo>
                    <a:close/>
                    <a:moveTo>
                      <a:pt x="0" y="3191617"/>
                    </a:moveTo>
                    <a:lnTo>
                      <a:pt x="29585" y="3191617"/>
                    </a:lnTo>
                    <a:lnTo>
                      <a:pt x="29585" y="3221195"/>
                    </a:lnTo>
                    <a:lnTo>
                      <a:pt x="0" y="3221195"/>
                    </a:lnTo>
                    <a:close/>
                    <a:moveTo>
                      <a:pt x="531921" y="2925660"/>
                    </a:moveTo>
                    <a:lnTo>
                      <a:pt x="561506" y="2925660"/>
                    </a:lnTo>
                    <a:lnTo>
                      <a:pt x="561506" y="2955246"/>
                    </a:lnTo>
                    <a:lnTo>
                      <a:pt x="531921" y="2955246"/>
                    </a:lnTo>
                    <a:close/>
                    <a:moveTo>
                      <a:pt x="265961" y="2925659"/>
                    </a:moveTo>
                    <a:lnTo>
                      <a:pt x="295547" y="2925659"/>
                    </a:lnTo>
                    <a:lnTo>
                      <a:pt x="295547" y="2955245"/>
                    </a:lnTo>
                    <a:lnTo>
                      <a:pt x="265961" y="2955245"/>
                    </a:lnTo>
                    <a:close/>
                    <a:moveTo>
                      <a:pt x="0" y="2925658"/>
                    </a:moveTo>
                    <a:lnTo>
                      <a:pt x="29585" y="2925658"/>
                    </a:lnTo>
                    <a:lnTo>
                      <a:pt x="29585" y="2955244"/>
                    </a:lnTo>
                    <a:lnTo>
                      <a:pt x="0" y="2955244"/>
                    </a:lnTo>
                    <a:close/>
                    <a:moveTo>
                      <a:pt x="531921" y="2659620"/>
                    </a:moveTo>
                    <a:lnTo>
                      <a:pt x="561506" y="2659620"/>
                    </a:lnTo>
                    <a:lnTo>
                      <a:pt x="561506" y="2689204"/>
                    </a:lnTo>
                    <a:lnTo>
                      <a:pt x="531921" y="2689204"/>
                    </a:lnTo>
                    <a:close/>
                    <a:moveTo>
                      <a:pt x="265961" y="2659616"/>
                    </a:moveTo>
                    <a:lnTo>
                      <a:pt x="295547" y="2659616"/>
                    </a:lnTo>
                    <a:lnTo>
                      <a:pt x="295547" y="2689201"/>
                    </a:lnTo>
                    <a:lnTo>
                      <a:pt x="265961" y="2689201"/>
                    </a:lnTo>
                    <a:close/>
                    <a:moveTo>
                      <a:pt x="0" y="2659613"/>
                    </a:moveTo>
                    <a:lnTo>
                      <a:pt x="29585" y="2659613"/>
                    </a:lnTo>
                    <a:lnTo>
                      <a:pt x="29585" y="2689198"/>
                    </a:lnTo>
                    <a:lnTo>
                      <a:pt x="0" y="2689198"/>
                    </a:lnTo>
                    <a:close/>
                    <a:moveTo>
                      <a:pt x="531921" y="2393661"/>
                    </a:moveTo>
                    <a:lnTo>
                      <a:pt x="561506" y="2393661"/>
                    </a:lnTo>
                    <a:lnTo>
                      <a:pt x="561506" y="2423260"/>
                    </a:lnTo>
                    <a:lnTo>
                      <a:pt x="531921" y="2423260"/>
                    </a:lnTo>
                    <a:close/>
                    <a:moveTo>
                      <a:pt x="265961" y="2393658"/>
                    </a:moveTo>
                    <a:lnTo>
                      <a:pt x="295547" y="2393658"/>
                    </a:lnTo>
                    <a:lnTo>
                      <a:pt x="295547" y="2423257"/>
                    </a:lnTo>
                    <a:lnTo>
                      <a:pt x="265961" y="2423257"/>
                    </a:lnTo>
                    <a:close/>
                    <a:moveTo>
                      <a:pt x="0" y="2393655"/>
                    </a:moveTo>
                    <a:lnTo>
                      <a:pt x="29585" y="2393655"/>
                    </a:lnTo>
                    <a:lnTo>
                      <a:pt x="29585" y="2423251"/>
                    </a:lnTo>
                    <a:lnTo>
                      <a:pt x="0" y="2423251"/>
                    </a:lnTo>
                    <a:close/>
                    <a:moveTo>
                      <a:pt x="531921" y="2127694"/>
                    </a:moveTo>
                    <a:lnTo>
                      <a:pt x="561506" y="2127694"/>
                    </a:lnTo>
                    <a:lnTo>
                      <a:pt x="561506" y="2157283"/>
                    </a:lnTo>
                    <a:lnTo>
                      <a:pt x="531921" y="2157283"/>
                    </a:lnTo>
                    <a:close/>
                    <a:moveTo>
                      <a:pt x="265961" y="2127693"/>
                    </a:moveTo>
                    <a:lnTo>
                      <a:pt x="295547" y="2127693"/>
                    </a:lnTo>
                    <a:lnTo>
                      <a:pt x="295547" y="2157282"/>
                    </a:lnTo>
                    <a:lnTo>
                      <a:pt x="265961" y="2157282"/>
                    </a:lnTo>
                    <a:close/>
                    <a:moveTo>
                      <a:pt x="0" y="2127689"/>
                    </a:moveTo>
                    <a:lnTo>
                      <a:pt x="29585" y="2127689"/>
                    </a:lnTo>
                    <a:lnTo>
                      <a:pt x="29585" y="2157278"/>
                    </a:lnTo>
                    <a:lnTo>
                      <a:pt x="0" y="2157278"/>
                    </a:lnTo>
                    <a:close/>
                    <a:moveTo>
                      <a:pt x="531921" y="1861731"/>
                    </a:moveTo>
                    <a:lnTo>
                      <a:pt x="561506" y="1861731"/>
                    </a:lnTo>
                    <a:lnTo>
                      <a:pt x="561506" y="1891308"/>
                    </a:lnTo>
                    <a:lnTo>
                      <a:pt x="531921" y="1891308"/>
                    </a:lnTo>
                    <a:close/>
                    <a:moveTo>
                      <a:pt x="265961" y="1861728"/>
                    </a:moveTo>
                    <a:lnTo>
                      <a:pt x="295547" y="1861728"/>
                    </a:lnTo>
                    <a:lnTo>
                      <a:pt x="295547" y="1891306"/>
                    </a:lnTo>
                    <a:lnTo>
                      <a:pt x="265961" y="1891306"/>
                    </a:lnTo>
                    <a:close/>
                    <a:moveTo>
                      <a:pt x="0" y="1861726"/>
                    </a:moveTo>
                    <a:lnTo>
                      <a:pt x="29585" y="1861726"/>
                    </a:lnTo>
                    <a:lnTo>
                      <a:pt x="29585" y="1891304"/>
                    </a:lnTo>
                    <a:lnTo>
                      <a:pt x="0" y="1891304"/>
                    </a:lnTo>
                    <a:close/>
                    <a:moveTo>
                      <a:pt x="531921" y="1595769"/>
                    </a:moveTo>
                    <a:lnTo>
                      <a:pt x="561506" y="1595769"/>
                    </a:lnTo>
                    <a:lnTo>
                      <a:pt x="561506" y="1625355"/>
                    </a:lnTo>
                    <a:lnTo>
                      <a:pt x="531921" y="1625355"/>
                    </a:lnTo>
                    <a:close/>
                    <a:moveTo>
                      <a:pt x="265961" y="1595766"/>
                    </a:moveTo>
                    <a:lnTo>
                      <a:pt x="295547" y="1595766"/>
                    </a:lnTo>
                    <a:lnTo>
                      <a:pt x="295547" y="1625352"/>
                    </a:lnTo>
                    <a:lnTo>
                      <a:pt x="265961" y="1625352"/>
                    </a:lnTo>
                    <a:close/>
                    <a:moveTo>
                      <a:pt x="0" y="1595764"/>
                    </a:moveTo>
                    <a:lnTo>
                      <a:pt x="29585" y="1595764"/>
                    </a:lnTo>
                    <a:lnTo>
                      <a:pt x="29585" y="1625350"/>
                    </a:lnTo>
                    <a:lnTo>
                      <a:pt x="0" y="1625350"/>
                    </a:lnTo>
                    <a:close/>
                    <a:moveTo>
                      <a:pt x="531921" y="1329811"/>
                    </a:moveTo>
                    <a:lnTo>
                      <a:pt x="561506" y="1329811"/>
                    </a:lnTo>
                    <a:lnTo>
                      <a:pt x="561506" y="1359396"/>
                    </a:lnTo>
                    <a:lnTo>
                      <a:pt x="531921" y="1359396"/>
                    </a:lnTo>
                    <a:close/>
                    <a:moveTo>
                      <a:pt x="265961" y="1329809"/>
                    </a:moveTo>
                    <a:lnTo>
                      <a:pt x="295547" y="1329809"/>
                    </a:lnTo>
                    <a:lnTo>
                      <a:pt x="295547" y="1359393"/>
                    </a:lnTo>
                    <a:lnTo>
                      <a:pt x="265961" y="1359393"/>
                    </a:lnTo>
                    <a:close/>
                    <a:moveTo>
                      <a:pt x="0" y="1329806"/>
                    </a:moveTo>
                    <a:lnTo>
                      <a:pt x="29585" y="1329806"/>
                    </a:lnTo>
                    <a:lnTo>
                      <a:pt x="29585" y="1359391"/>
                    </a:lnTo>
                    <a:lnTo>
                      <a:pt x="0" y="1359391"/>
                    </a:lnTo>
                    <a:close/>
                    <a:moveTo>
                      <a:pt x="531921" y="1063855"/>
                    </a:moveTo>
                    <a:lnTo>
                      <a:pt x="561506" y="1063855"/>
                    </a:lnTo>
                    <a:lnTo>
                      <a:pt x="561506" y="1093441"/>
                    </a:lnTo>
                    <a:lnTo>
                      <a:pt x="531921" y="1093441"/>
                    </a:lnTo>
                    <a:close/>
                    <a:moveTo>
                      <a:pt x="265961" y="1063852"/>
                    </a:moveTo>
                    <a:lnTo>
                      <a:pt x="295547" y="1063852"/>
                    </a:lnTo>
                    <a:lnTo>
                      <a:pt x="295547" y="1093438"/>
                    </a:lnTo>
                    <a:lnTo>
                      <a:pt x="265961" y="1093438"/>
                    </a:lnTo>
                    <a:close/>
                    <a:moveTo>
                      <a:pt x="0" y="1063849"/>
                    </a:moveTo>
                    <a:lnTo>
                      <a:pt x="29585" y="1063849"/>
                    </a:lnTo>
                    <a:lnTo>
                      <a:pt x="29585" y="1093435"/>
                    </a:lnTo>
                    <a:lnTo>
                      <a:pt x="0" y="1093435"/>
                    </a:lnTo>
                    <a:close/>
                    <a:moveTo>
                      <a:pt x="531921" y="797884"/>
                    </a:moveTo>
                    <a:lnTo>
                      <a:pt x="561506" y="797884"/>
                    </a:lnTo>
                    <a:lnTo>
                      <a:pt x="561506" y="827470"/>
                    </a:lnTo>
                    <a:lnTo>
                      <a:pt x="531921" y="827470"/>
                    </a:lnTo>
                    <a:close/>
                    <a:moveTo>
                      <a:pt x="265961" y="797882"/>
                    </a:moveTo>
                    <a:lnTo>
                      <a:pt x="295547" y="797882"/>
                    </a:lnTo>
                    <a:lnTo>
                      <a:pt x="295547" y="827468"/>
                    </a:lnTo>
                    <a:lnTo>
                      <a:pt x="265961" y="827468"/>
                    </a:lnTo>
                    <a:close/>
                    <a:moveTo>
                      <a:pt x="0" y="797879"/>
                    </a:moveTo>
                    <a:lnTo>
                      <a:pt x="29585" y="797879"/>
                    </a:lnTo>
                    <a:lnTo>
                      <a:pt x="29585" y="827465"/>
                    </a:lnTo>
                    <a:lnTo>
                      <a:pt x="0" y="827465"/>
                    </a:lnTo>
                    <a:close/>
                    <a:moveTo>
                      <a:pt x="531921" y="531924"/>
                    </a:moveTo>
                    <a:lnTo>
                      <a:pt x="561506" y="531924"/>
                    </a:lnTo>
                    <a:lnTo>
                      <a:pt x="561506" y="561509"/>
                    </a:lnTo>
                    <a:lnTo>
                      <a:pt x="531921" y="561509"/>
                    </a:lnTo>
                    <a:close/>
                    <a:moveTo>
                      <a:pt x="265961" y="531922"/>
                    </a:moveTo>
                    <a:lnTo>
                      <a:pt x="295547" y="531922"/>
                    </a:lnTo>
                    <a:lnTo>
                      <a:pt x="295547" y="561507"/>
                    </a:lnTo>
                    <a:lnTo>
                      <a:pt x="265961" y="561507"/>
                    </a:lnTo>
                    <a:close/>
                    <a:moveTo>
                      <a:pt x="0" y="531920"/>
                    </a:moveTo>
                    <a:lnTo>
                      <a:pt x="29585" y="531920"/>
                    </a:lnTo>
                    <a:lnTo>
                      <a:pt x="29585" y="561505"/>
                    </a:lnTo>
                    <a:lnTo>
                      <a:pt x="0" y="561505"/>
                    </a:lnTo>
                    <a:close/>
                    <a:moveTo>
                      <a:pt x="531921" y="265964"/>
                    </a:moveTo>
                    <a:lnTo>
                      <a:pt x="561506" y="265964"/>
                    </a:lnTo>
                    <a:lnTo>
                      <a:pt x="561506" y="295550"/>
                    </a:lnTo>
                    <a:lnTo>
                      <a:pt x="531921" y="295550"/>
                    </a:lnTo>
                    <a:close/>
                    <a:moveTo>
                      <a:pt x="265961" y="265962"/>
                    </a:moveTo>
                    <a:lnTo>
                      <a:pt x="295547" y="265962"/>
                    </a:lnTo>
                    <a:lnTo>
                      <a:pt x="295547" y="295548"/>
                    </a:lnTo>
                    <a:lnTo>
                      <a:pt x="265961" y="295548"/>
                    </a:lnTo>
                    <a:close/>
                    <a:moveTo>
                      <a:pt x="0" y="265960"/>
                    </a:moveTo>
                    <a:lnTo>
                      <a:pt x="29585" y="265960"/>
                    </a:lnTo>
                    <a:lnTo>
                      <a:pt x="29585" y="295546"/>
                    </a:lnTo>
                    <a:lnTo>
                      <a:pt x="0" y="295546"/>
                    </a:lnTo>
                    <a:close/>
                    <a:moveTo>
                      <a:pt x="531921" y="5"/>
                    </a:moveTo>
                    <a:lnTo>
                      <a:pt x="561506" y="5"/>
                    </a:lnTo>
                    <a:lnTo>
                      <a:pt x="561506" y="29591"/>
                    </a:lnTo>
                    <a:lnTo>
                      <a:pt x="531921" y="29591"/>
                    </a:lnTo>
                    <a:close/>
                    <a:moveTo>
                      <a:pt x="265961" y="3"/>
                    </a:moveTo>
                    <a:lnTo>
                      <a:pt x="295547" y="3"/>
                    </a:lnTo>
                    <a:lnTo>
                      <a:pt x="295547" y="29589"/>
                    </a:lnTo>
                    <a:lnTo>
                      <a:pt x="265961" y="29589"/>
                    </a:lnTo>
                    <a:close/>
                    <a:moveTo>
                      <a:pt x="0" y="0"/>
                    </a:moveTo>
                    <a:lnTo>
                      <a:pt x="29585" y="0"/>
                    </a:lnTo>
                    <a:lnTo>
                      <a:pt x="29585" y="29586"/>
                    </a:lnTo>
                    <a:lnTo>
                      <a:pt x="0" y="29586"/>
                    </a:lnTo>
                    <a:close/>
                  </a:path>
                </a:pathLst>
              </a:custGeom>
              <a:grpFill/>
              <a:ln w="10294" cap="flat">
                <a:noFill/>
                <a:prstDash val="solid"/>
                <a:miter/>
              </a:ln>
            </p:spPr>
            <p:txBody>
              <a:bodyPr wrap="square" rtlCol="0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933AAC8F-088F-4C17-BF99-81037FD20C59}"/>
                  </a:ext>
                </a:extLst>
              </p:cNvPr>
              <p:cNvSpPr/>
              <p:nvPr userDrawn="1"/>
            </p:nvSpPr>
            <p:spPr>
              <a:xfrm>
                <a:off x="10805248" y="242905"/>
                <a:ext cx="561506" cy="5880798"/>
              </a:xfrm>
              <a:custGeom>
                <a:avLst/>
                <a:gdLst>
                  <a:gd name="connsiteX0" fmla="*/ 531921 w 561506"/>
                  <a:gd name="connsiteY0" fmla="*/ 5851213 h 5880798"/>
                  <a:gd name="connsiteX1" fmla="*/ 561506 w 561506"/>
                  <a:gd name="connsiteY1" fmla="*/ 5851213 h 5880798"/>
                  <a:gd name="connsiteX2" fmla="*/ 561506 w 561506"/>
                  <a:gd name="connsiteY2" fmla="*/ 5880798 h 5880798"/>
                  <a:gd name="connsiteX3" fmla="*/ 531921 w 561506"/>
                  <a:gd name="connsiteY3" fmla="*/ 5880798 h 5880798"/>
                  <a:gd name="connsiteX4" fmla="*/ 265961 w 561506"/>
                  <a:gd name="connsiteY4" fmla="*/ 5851213 h 5880798"/>
                  <a:gd name="connsiteX5" fmla="*/ 295547 w 561506"/>
                  <a:gd name="connsiteY5" fmla="*/ 5851213 h 5880798"/>
                  <a:gd name="connsiteX6" fmla="*/ 295547 w 561506"/>
                  <a:gd name="connsiteY6" fmla="*/ 5880798 h 5880798"/>
                  <a:gd name="connsiteX7" fmla="*/ 265961 w 561506"/>
                  <a:gd name="connsiteY7" fmla="*/ 5880798 h 5880798"/>
                  <a:gd name="connsiteX8" fmla="*/ 0 w 561506"/>
                  <a:gd name="connsiteY8" fmla="*/ 5851213 h 5880798"/>
                  <a:gd name="connsiteX9" fmla="*/ 29585 w 561506"/>
                  <a:gd name="connsiteY9" fmla="*/ 5851213 h 5880798"/>
                  <a:gd name="connsiteX10" fmla="*/ 29585 w 561506"/>
                  <a:gd name="connsiteY10" fmla="*/ 5880798 h 5880798"/>
                  <a:gd name="connsiteX11" fmla="*/ 0 w 561506"/>
                  <a:gd name="connsiteY11" fmla="*/ 5880798 h 5880798"/>
                  <a:gd name="connsiteX12" fmla="*/ 531921 w 561506"/>
                  <a:gd name="connsiteY12" fmla="*/ 5585253 h 5880798"/>
                  <a:gd name="connsiteX13" fmla="*/ 561506 w 561506"/>
                  <a:gd name="connsiteY13" fmla="*/ 5585253 h 5880798"/>
                  <a:gd name="connsiteX14" fmla="*/ 561506 w 561506"/>
                  <a:gd name="connsiteY14" fmla="*/ 5614838 h 5880798"/>
                  <a:gd name="connsiteX15" fmla="*/ 531921 w 561506"/>
                  <a:gd name="connsiteY15" fmla="*/ 5614838 h 5880798"/>
                  <a:gd name="connsiteX16" fmla="*/ 265961 w 561506"/>
                  <a:gd name="connsiteY16" fmla="*/ 5585253 h 5880798"/>
                  <a:gd name="connsiteX17" fmla="*/ 295547 w 561506"/>
                  <a:gd name="connsiteY17" fmla="*/ 5585253 h 5880798"/>
                  <a:gd name="connsiteX18" fmla="*/ 295547 w 561506"/>
                  <a:gd name="connsiteY18" fmla="*/ 5614838 h 5880798"/>
                  <a:gd name="connsiteX19" fmla="*/ 265961 w 561506"/>
                  <a:gd name="connsiteY19" fmla="*/ 5614838 h 5880798"/>
                  <a:gd name="connsiteX20" fmla="*/ 0 w 561506"/>
                  <a:gd name="connsiteY20" fmla="*/ 5585253 h 5880798"/>
                  <a:gd name="connsiteX21" fmla="*/ 29585 w 561506"/>
                  <a:gd name="connsiteY21" fmla="*/ 5585253 h 5880798"/>
                  <a:gd name="connsiteX22" fmla="*/ 29585 w 561506"/>
                  <a:gd name="connsiteY22" fmla="*/ 5614838 h 5880798"/>
                  <a:gd name="connsiteX23" fmla="*/ 0 w 561506"/>
                  <a:gd name="connsiteY23" fmla="*/ 5614838 h 5880798"/>
                  <a:gd name="connsiteX24" fmla="*/ 531921 w 561506"/>
                  <a:gd name="connsiteY24" fmla="*/ 5319293 h 5880798"/>
                  <a:gd name="connsiteX25" fmla="*/ 561506 w 561506"/>
                  <a:gd name="connsiteY25" fmla="*/ 5319293 h 5880798"/>
                  <a:gd name="connsiteX26" fmla="*/ 561506 w 561506"/>
                  <a:gd name="connsiteY26" fmla="*/ 5348879 h 5880798"/>
                  <a:gd name="connsiteX27" fmla="*/ 531921 w 561506"/>
                  <a:gd name="connsiteY27" fmla="*/ 5348879 h 5880798"/>
                  <a:gd name="connsiteX28" fmla="*/ 265961 w 561506"/>
                  <a:gd name="connsiteY28" fmla="*/ 5319293 h 5880798"/>
                  <a:gd name="connsiteX29" fmla="*/ 295547 w 561506"/>
                  <a:gd name="connsiteY29" fmla="*/ 5319293 h 5880798"/>
                  <a:gd name="connsiteX30" fmla="*/ 295547 w 561506"/>
                  <a:gd name="connsiteY30" fmla="*/ 5348879 h 5880798"/>
                  <a:gd name="connsiteX31" fmla="*/ 265961 w 561506"/>
                  <a:gd name="connsiteY31" fmla="*/ 5348879 h 5880798"/>
                  <a:gd name="connsiteX32" fmla="*/ 0 w 561506"/>
                  <a:gd name="connsiteY32" fmla="*/ 5319293 h 5880798"/>
                  <a:gd name="connsiteX33" fmla="*/ 29585 w 561506"/>
                  <a:gd name="connsiteY33" fmla="*/ 5319293 h 5880798"/>
                  <a:gd name="connsiteX34" fmla="*/ 29585 w 561506"/>
                  <a:gd name="connsiteY34" fmla="*/ 5348879 h 5880798"/>
                  <a:gd name="connsiteX35" fmla="*/ 0 w 561506"/>
                  <a:gd name="connsiteY35" fmla="*/ 5348879 h 5880798"/>
                  <a:gd name="connsiteX36" fmla="*/ 531921 w 561506"/>
                  <a:gd name="connsiteY36" fmla="*/ 5053332 h 5880798"/>
                  <a:gd name="connsiteX37" fmla="*/ 561506 w 561506"/>
                  <a:gd name="connsiteY37" fmla="*/ 5053332 h 5880798"/>
                  <a:gd name="connsiteX38" fmla="*/ 561506 w 561506"/>
                  <a:gd name="connsiteY38" fmla="*/ 5082917 h 5880798"/>
                  <a:gd name="connsiteX39" fmla="*/ 531921 w 561506"/>
                  <a:gd name="connsiteY39" fmla="*/ 5082917 h 5880798"/>
                  <a:gd name="connsiteX40" fmla="*/ 265961 w 561506"/>
                  <a:gd name="connsiteY40" fmla="*/ 5053332 h 5880798"/>
                  <a:gd name="connsiteX41" fmla="*/ 295547 w 561506"/>
                  <a:gd name="connsiteY41" fmla="*/ 5053332 h 5880798"/>
                  <a:gd name="connsiteX42" fmla="*/ 295547 w 561506"/>
                  <a:gd name="connsiteY42" fmla="*/ 5082917 h 5880798"/>
                  <a:gd name="connsiteX43" fmla="*/ 265961 w 561506"/>
                  <a:gd name="connsiteY43" fmla="*/ 5082917 h 5880798"/>
                  <a:gd name="connsiteX44" fmla="*/ 0 w 561506"/>
                  <a:gd name="connsiteY44" fmla="*/ 5053332 h 5880798"/>
                  <a:gd name="connsiteX45" fmla="*/ 29585 w 561506"/>
                  <a:gd name="connsiteY45" fmla="*/ 5053332 h 5880798"/>
                  <a:gd name="connsiteX46" fmla="*/ 29585 w 561506"/>
                  <a:gd name="connsiteY46" fmla="*/ 5082917 h 5880798"/>
                  <a:gd name="connsiteX47" fmla="*/ 0 w 561506"/>
                  <a:gd name="connsiteY47" fmla="*/ 5082917 h 5880798"/>
                  <a:gd name="connsiteX48" fmla="*/ 531921 w 561506"/>
                  <a:gd name="connsiteY48" fmla="*/ 4787372 h 5880798"/>
                  <a:gd name="connsiteX49" fmla="*/ 561506 w 561506"/>
                  <a:gd name="connsiteY49" fmla="*/ 4787372 h 5880798"/>
                  <a:gd name="connsiteX50" fmla="*/ 561506 w 561506"/>
                  <a:gd name="connsiteY50" fmla="*/ 4816958 h 5880798"/>
                  <a:gd name="connsiteX51" fmla="*/ 531921 w 561506"/>
                  <a:gd name="connsiteY51" fmla="*/ 4816958 h 5880798"/>
                  <a:gd name="connsiteX52" fmla="*/ 265961 w 561506"/>
                  <a:gd name="connsiteY52" fmla="*/ 4787372 h 5880798"/>
                  <a:gd name="connsiteX53" fmla="*/ 295547 w 561506"/>
                  <a:gd name="connsiteY53" fmla="*/ 4787372 h 5880798"/>
                  <a:gd name="connsiteX54" fmla="*/ 295547 w 561506"/>
                  <a:gd name="connsiteY54" fmla="*/ 4816958 h 5880798"/>
                  <a:gd name="connsiteX55" fmla="*/ 265961 w 561506"/>
                  <a:gd name="connsiteY55" fmla="*/ 4816958 h 5880798"/>
                  <a:gd name="connsiteX56" fmla="*/ 0 w 561506"/>
                  <a:gd name="connsiteY56" fmla="*/ 4787372 h 5880798"/>
                  <a:gd name="connsiteX57" fmla="*/ 29585 w 561506"/>
                  <a:gd name="connsiteY57" fmla="*/ 4787372 h 5880798"/>
                  <a:gd name="connsiteX58" fmla="*/ 29585 w 561506"/>
                  <a:gd name="connsiteY58" fmla="*/ 4816958 h 5880798"/>
                  <a:gd name="connsiteX59" fmla="*/ 0 w 561506"/>
                  <a:gd name="connsiteY59" fmla="*/ 4816958 h 5880798"/>
                  <a:gd name="connsiteX60" fmla="*/ 531921 w 561506"/>
                  <a:gd name="connsiteY60" fmla="*/ 4521412 h 5880798"/>
                  <a:gd name="connsiteX61" fmla="*/ 561506 w 561506"/>
                  <a:gd name="connsiteY61" fmla="*/ 4521412 h 5880798"/>
                  <a:gd name="connsiteX62" fmla="*/ 561506 w 561506"/>
                  <a:gd name="connsiteY62" fmla="*/ 4550997 h 5880798"/>
                  <a:gd name="connsiteX63" fmla="*/ 531921 w 561506"/>
                  <a:gd name="connsiteY63" fmla="*/ 4550997 h 5880798"/>
                  <a:gd name="connsiteX64" fmla="*/ 265961 w 561506"/>
                  <a:gd name="connsiteY64" fmla="*/ 4521412 h 5880798"/>
                  <a:gd name="connsiteX65" fmla="*/ 295547 w 561506"/>
                  <a:gd name="connsiteY65" fmla="*/ 4521412 h 5880798"/>
                  <a:gd name="connsiteX66" fmla="*/ 295547 w 561506"/>
                  <a:gd name="connsiteY66" fmla="*/ 4550997 h 5880798"/>
                  <a:gd name="connsiteX67" fmla="*/ 265961 w 561506"/>
                  <a:gd name="connsiteY67" fmla="*/ 4550997 h 5880798"/>
                  <a:gd name="connsiteX68" fmla="*/ 0 w 561506"/>
                  <a:gd name="connsiteY68" fmla="*/ 4521412 h 5880798"/>
                  <a:gd name="connsiteX69" fmla="*/ 29585 w 561506"/>
                  <a:gd name="connsiteY69" fmla="*/ 4521412 h 5880798"/>
                  <a:gd name="connsiteX70" fmla="*/ 29585 w 561506"/>
                  <a:gd name="connsiteY70" fmla="*/ 4550997 h 5880798"/>
                  <a:gd name="connsiteX71" fmla="*/ 0 w 561506"/>
                  <a:gd name="connsiteY71" fmla="*/ 4550997 h 5880798"/>
                  <a:gd name="connsiteX72" fmla="*/ 531921 w 561506"/>
                  <a:gd name="connsiteY72" fmla="*/ 4255451 h 5880798"/>
                  <a:gd name="connsiteX73" fmla="*/ 561506 w 561506"/>
                  <a:gd name="connsiteY73" fmla="*/ 4255451 h 5880798"/>
                  <a:gd name="connsiteX74" fmla="*/ 561506 w 561506"/>
                  <a:gd name="connsiteY74" fmla="*/ 4285036 h 5880798"/>
                  <a:gd name="connsiteX75" fmla="*/ 531921 w 561506"/>
                  <a:gd name="connsiteY75" fmla="*/ 4285036 h 5880798"/>
                  <a:gd name="connsiteX76" fmla="*/ 265961 w 561506"/>
                  <a:gd name="connsiteY76" fmla="*/ 4255451 h 5880798"/>
                  <a:gd name="connsiteX77" fmla="*/ 295547 w 561506"/>
                  <a:gd name="connsiteY77" fmla="*/ 4255451 h 5880798"/>
                  <a:gd name="connsiteX78" fmla="*/ 295547 w 561506"/>
                  <a:gd name="connsiteY78" fmla="*/ 4285036 h 5880798"/>
                  <a:gd name="connsiteX79" fmla="*/ 265961 w 561506"/>
                  <a:gd name="connsiteY79" fmla="*/ 4285036 h 5880798"/>
                  <a:gd name="connsiteX80" fmla="*/ 0 w 561506"/>
                  <a:gd name="connsiteY80" fmla="*/ 4255451 h 5880798"/>
                  <a:gd name="connsiteX81" fmla="*/ 29585 w 561506"/>
                  <a:gd name="connsiteY81" fmla="*/ 4255451 h 5880798"/>
                  <a:gd name="connsiteX82" fmla="*/ 29585 w 561506"/>
                  <a:gd name="connsiteY82" fmla="*/ 4285036 h 5880798"/>
                  <a:gd name="connsiteX83" fmla="*/ 0 w 561506"/>
                  <a:gd name="connsiteY83" fmla="*/ 4285036 h 5880798"/>
                  <a:gd name="connsiteX84" fmla="*/ 531921 w 561506"/>
                  <a:gd name="connsiteY84" fmla="*/ 3989491 h 5880798"/>
                  <a:gd name="connsiteX85" fmla="*/ 561506 w 561506"/>
                  <a:gd name="connsiteY85" fmla="*/ 3989491 h 5880798"/>
                  <a:gd name="connsiteX86" fmla="*/ 561506 w 561506"/>
                  <a:gd name="connsiteY86" fmla="*/ 4019077 h 5880798"/>
                  <a:gd name="connsiteX87" fmla="*/ 531921 w 561506"/>
                  <a:gd name="connsiteY87" fmla="*/ 4019077 h 5880798"/>
                  <a:gd name="connsiteX88" fmla="*/ 265961 w 561506"/>
                  <a:gd name="connsiteY88" fmla="*/ 3989491 h 5880798"/>
                  <a:gd name="connsiteX89" fmla="*/ 295547 w 561506"/>
                  <a:gd name="connsiteY89" fmla="*/ 3989491 h 5880798"/>
                  <a:gd name="connsiteX90" fmla="*/ 295547 w 561506"/>
                  <a:gd name="connsiteY90" fmla="*/ 4019077 h 5880798"/>
                  <a:gd name="connsiteX91" fmla="*/ 265961 w 561506"/>
                  <a:gd name="connsiteY91" fmla="*/ 4019077 h 5880798"/>
                  <a:gd name="connsiteX92" fmla="*/ 0 w 561506"/>
                  <a:gd name="connsiteY92" fmla="*/ 3989491 h 5880798"/>
                  <a:gd name="connsiteX93" fmla="*/ 29585 w 561506"/>
                  <a:gd name="connsiteY93" fmla="*/ 3989491 h 5880798"/>
                  <a:gd name="connsiteX94" fmla="*/ 29585 w 561506"/>
                  <a:gd name="connsiteY94" fmla="*/ 4019077 h 5880798"/>
                  <a:gd name="connsiteX95" fmla="*/ 0 w 561506"/>
                  <a:gd name="connsiteY95" fmla="*/ 4019077 h 5880798"/>
                  <a:gd name="connsiteX96" fmla="*/ 531921 w 561506"/>
                  <a:gd name="connsiteY96" fmla="*/ 3723530 h 5880798"/>
                  <a:gd name="connsiteX97" fmla="*/ 561506 w 561506"/>
                  <a:gd name="connsiteY97" fmla="*/ 3723530 h 5880798"/>
                  <a:gd name="connsiteX98" fmla="*/ 561506 w 561506"/>
                  <a:gd name="connsiteY98" fmla="*/ 3753115 h 5880798"/>
                  <a:gd name="connsiteX99" fmla="*/ 531921 w 561506"/>
                  <a:gd name="connsiteY99" fmla="*/ 3753115 h 5880798"/>
                  <a:gd name="connsiteX100" fmla="*/ 265961 w 561506"/>
                  <a:gd name="connsiteY100" fmla="*/ 3723530 h 5880798"/>
                  <a:gd name="connsiteX101" fmla="*/ 295547 w 561506"/>
                  <a:gd name="connsiteY101" fmla="*/ 3723530 h 5880798"/>
                  <a:gd name="connsiteX102" fmla="*/ 295547 w 561506"/>
                  <a:gd name="connsiteY102" fmla="*/ 3753115 h 5880798"/>
                  <a:gd name="connsiteX103" fmla="*/ 265961 w 561506"/>
                  <a:gd name="connsiteY103" fmla="*/ 3753115 h 5880798"/>
                  <a:gd name="connsiteX104" fmla="*/ 0 w 561506"/>
                  <a:gd name="connsiteY104" fmla="*/ 3723530 h 5880798"/>
                  <a:gd name="connsiteX105" fmla="*/ 29585 w 561506"/>
                  <a:gd name="connsiteY105" fmla="*/ 3723530 h 5880798"/>
                  <a:gd name="connsiteX106" fmla="*/ 29585 w 561506"/>
                  <a:gd name="connsiteY106" fmla="*/ 3753115 h 5880798"/>
                  <a:gd name="connsiteX107" fmla="*/ 0 w 561506"/>
                  <a:gd name="connsiteY107" fmla="*/ 3753115 h 5880798"/>
                  <a:gd name="connsiteX108" fmla="*/ 531921 w 561506"/>
                  <a:gd name="connsiteY108" fmla="*/ 3457570 h 5880798"/>
                  <a:gd name="connsiteX109" fmla="*/ 561506 w 561506"/>
                  <a:gd name="connsiteY109" fmla="*/ 3457570 h 5880798"/>
                  <a:gd name="connsiteX110" fmla="*/ 561506 w 561506"/>
                  <a:gd name="connsiteY110" fmla="*/ 3487156 h 5880798"/>
                  <a:gd name="connsiteX111" fmla="*/ 531921 w 561506"/>
                  <a:gd name="connsiteY111" fmla="*/ 3487156 h 5880798"/>
                  <a:gd name="connsiteX112" fmla="*/ 265961 w 561506"/>
                  <a:gd name="connsiteY112" fmla="*/ 3457570 h 5880798"/>
                  <a:gd name="connsiteX113" fmla="*/ 295547 w 561506"/>
                  <a:gd name="connsiteY113" fmla="*/ 3457570 h 5880798"/>
                  <a:gd name="connsiteX114" fmla="*/ 295547 w 561506"/>
                  <a:gd name="connsiteY114" fmla="*/ 3487156 h 5880798"/>
                  <a:gd name="connsiteX115" fmla="*/ 265961 w 561506"/>
                  <a:gd name="connsiteY115" fmla="*/ 3487156 h 5880798"/>
                  <a:gd name="connsiteX116" fmla="*/ 0 w 561506"/>
                  <a:gd name="connsiteY116" fmla="*/ 3457570 h 5880798"/>
                  <a:gd name="connsiteX117" fmla="*/ 29585 w 561506"/>
                  <a:gd name="connsiteY117" fmla="*/ 3457570 h 5880798"/>
                  <a:gd name="connsiteX118" fmla="*/ 29585 w 561506"/>
                  <a:gd name="connsiteY118" fmla="*/ 3487156 h 5880798"/>
                  <a:gd name="connsiteX119" fmla="*/ 0 w 561506"/>
                  <a:gd name="connsiteY119" fmla="*/ 3487156 h 5880798"/>
                  <a:gd name="connsiteX120" fmla="*/ 531921 w 561506"/>
                  <a:gd name="connsiteY120" fmla="*/ 3191618 h 5880798"/>
                  <a:gd name="connsiteX121" fmla="*/ 561506 w 561506"/>
                  <a:gd name="connsiteY121" fmla="*/ 3191618 h 5880798"/>
                  <a:gd name="connsiteX122" fmla="*/ 561506 w 561506"/>
                  <a:gd name="connsiteY122" fmla="*/ 3221195 h 5880798"/>
                  <a:gd name="connsiteX123" fmla="*/ 531921 w 561506"/>
                  <a:gd name="connsiteY123" fmla="*/ 3221195 h 5880798"/>
                  <a:gd name="connsiteX124" fmla="*/ 265961 w 561506"/>
                  <a:gd name="connsiteY124" fmla="*/ 3191618 h 5880798"/>
                  <a:gd name="connsiteX125" fmla="*/ 295547 w 561506"/>
                  <a:gd name="connsiteY125" fmla="*/ 3191618 h 5880798"/>
                  <a:gd name="connsiteX126" fmla="*/ 295547 w 561506"/>
                  <a:gd name="connsiteY126" fmla="*/ 3221195 h 5880798"/>
                  <a:gd name="connsiteX127" fmla="*/ 265961 w 561506"/>
                  <a:gd name="connsiteY127" fmla="*/ 3221195 h 5880798"/>
                  <a:gd name="connsiteX128" fmla="*/ 0 w 561506"/>
                  <a:gd name="connsiteY128" fmla="*/ 3191617 h 5880798"/>
                  <a:gd name="connsiteX129" fmla="*/ 29585 w 561506"/>
                  <a:gd name="connsiteY129" fmla="*/ 3191617 h 5880798"/>
                  <a:gd name="connsiteX130" fmla="*/ 29585 w 561506"/>
                  <a:gd name="connsiteY130" fmla="*/ 3221195 h 5880798"/>
                  <a:gd name="connsiteX131" fmla="*/ 0 w 561506"/>
                  <a:gd name="connsiteY131" fmla="*/ 3221195 h 5880798"/>
                  <a:gd name="connsiteX132" fmla="*/ 531921 w 561506"/>
                  <a:gd name="connsiteY132" fmla="*/ 2925660 h 5880798"/>
                  <a:gd name="connsiteX133" fmla="*/ 561506 w 561506"/>
                  <a:gd name="connsiteY133" fmla="*/ 2925660 h 5880798"/>
                  <a:gd name="connsiteX134" fmla="*/ 561506 w 561506"/>
                  <a:gd name="connsiteY134" fmla="*/ 2955246 h 5880798"/>
                  <a:gd name="connsiteX135" fmla="*/ 531921 w 561506"/>
                  <a:gd name="connsiteY135" fmla="*/ 2955246 h 5880798"/>
                  <a:gd name="connsiteX136" fmla="*/ 265961 w 561506"/>
                  <a:gd name="connsiteY136" fmla="*/ 2925659 h 5880798"/>
                  <a:gd name="connsiteX137" fmla="*/ 295547 w 561506"/>
                  <a:gd name="connsiteY137" fmla="*/ 2925659 h 5880798"/>
                  <a:gd name="connsiteX138" fmla="*/ 295547 w 561506"/>
                  <a:gd name="connsiteY138" fmla="*/ 2955245 h 5880798"/>
                  <a:gd name="connsiteX139" fmla="*/ 265961 w 561506"/>
                  <a:gd name="connsiteY139" fmla="*/ 2955245 h 5880798"/>
                  <a:gd name="connsiteX140" fmla="*/ 0 w 561506"/>
                  <a:gd name="connsiteY140" fmla="*/ 2925658 h 5880798"/>
                  <a:gd name="connsiteX141" fmla="*/ 29585 w 561506"/>
                  <a:gd name="connsiteY141" fmla="*/ 2925658 h 5880798"/>
                  <a:gd name="connsiteX142" fmla="*/ 29585 w 561506"/>
                  <a:gd name="connsiteY142" fmla="*/ 2955244 h 5880798"/>
                  <a:gd name="connsiteX143" fmla="*/ 0 w 561506"/>
                  <a:gd name="connsiteY143" fmla="*/ 2955244 h 5880798"/>
                  <a:gd name="connsiteX144" fmla="*/ 531921 w 561506"/>
                  <a:gd name="connsiteY144" fmla="*/ 2659620 h 5880798"/>
                  <a:gd name="connsiteX145" fmla="*/ 561506 w 561506"/>
                  <a:gd name="connsiteY145" fmla="*/ 2659620 h 5880798"/>
                  <a:gd name="connsiteX146" fmla="*/ 561506 w 561506"/>
                  <a:gd name="connsiteY146" fmla="*/ 2689204 h 5880798"/>
                  <a:gd name="connsiteX147" fmla="*/ 531921 w 561506"/>
                  <a:gd name="connsiteY147" fmla="*/ 2689204 h 5880798"/>
                  <a:gd name="connsiteX148" fmla="*/ 265961 w 561506"/>
                  <a:gd name="connsiteY148" fmla="*/ 2659616 h 5880798"/>
                  <a:gd name="connsiteX149" fmla="*/ 295547 w 561506"/>
                  <a:gd name="connsiteY149" fmla="*/ 2659616 h 5880798"/>
                  <a:gd name="connsiteX150" fmla="*/ 295547 w 561506"/>
                  <a:gd name="connsiteY150" fmla="*/ 2689201 h 5880798"/>
                  <a:gd name="connsiteX151" fmla="*/ 265961 w 561506"/>
                  <a:gd name="connsiteY151" fmla="*/ 2689201 h 5880798"/>
                  <a:gd name="connsiteX152" fmla="*/ 0 w 561506"/>
                  <a:gd name="connsiteY152" fmla="*/ 2659613 h 5880798"/>
                  <a:gd name="connsiteX153" fmla="*/ 29585 w 561506"/>
                  <a:gd name="connsiteY153" fmla="*/ 2659613 h 5880798"/>
                  <a:gd name="connsiteX154" fmla="*/ 29585 w 561506"/>
                  <a:gd name="connsiteY154" fmla="*/ 2689198 h 5880798"/>
                  <a:gd name="connsiteX155" fmla="*/ 0 w 561506"/>
                  <a:gd name="connsiteY155" fmla="*/ 2689198 h 5880798"/>
                  <a:gd name="connsiteX156" fmla="*/ 531921 w 561506"/>
                  <a:gd name="connsiteY156" fmla="*/ 2393661 h 5880798"/>
                  <a:gd name="connsiteX157" fmla="*/ 561506 w 561506"/>
                  <a:gd name="connsiteY157" fmla="*/ 2393661 h 5880798"/>
                  <a:gd name="connsiteX158" fmla="*/ 561506 w 561506"/>
                  <a:gd name="connsiteY158" fmla="*/ 2423260 h 5880798"/>
                  <a:gd name="connsiteX159" fmla="*/ 531921 w 561506"/>
                  <a:gd name="connsiteY159" fmla="*/ 2423260 h 5880798"/>
                  <a:gd name="connsiteX160" fmla="*/ 265961 w 561506"/>
                  <a:gd name="connsiteY160" fmla="*/ 2393658 h 5880798"/>
                  <a:gd name="connsiteX161" fmla="*/ 295547 w 561506"/>
                  <a:gd name="connsiteY161" fmla="*/ 2393658 h 5880798"/>
                  <a:gd name="connsiteX162" fmla="*/ 295547 w 561506"/>
                  <a:gd name="connsiteY162" fmla="*/ 2423257 h 5880798"/>
                  <a:gd name="connsiteX163" fmla="*/ 265961 w 561506"/>
                  <a:gd name="connsiteY163" fmla="*/ 2423257 h 5880798"/>
                  <a:gd name="connsiteX164" fmla="*/ 0 w 561506"/>
                  <a:gd name="connsiteY164" fmla="*/ 2393655 h 5880798"/>
                  <a:gd name="connsiteX165" fmla="*/ 29585 w 561506"/>
                  <a:gd name="connsiteY165" fmla="*/ 2393655 h 5880798"/>
                  <a:gd name="connsiteX166" fmla="*/ 29585 w 561506"/>
                  <a:gd name="connsiteY166" fmla="*/ 2423251 h 5880798"/>
                  <a:gd name="connsiteX167" fmla="*/ 0 w 561506"/>
                  <a:gd name="connsiteY167" fmla="*/ 2423251 h 5880798"/>
                  <a:gd name="connsiteX168" fmla="*/ 531921 w 561506"/>
                  <a:gd name="connsiteY168" fmla="*/ 2127694 h 5880798"/>
                  <a:gd name="connsiteX169" fmla="*/ 561506 w 561506"/>
                  <a:gd name="connsiteY169" fmla="*/ 2127694 h 5880798"/>
                  <a:gd name="connsiteX170" fmla="*/ 561506 w 561506"/>
                  <a:gd name="connsiteY170" fmla="*/ 2157283 h 5880798"/>
                  <a:gd name="connsiteX171" fmla="*/ 531921 w 561506"/>
                  <a:gd name="connsiteY171" fmla="*/ 2157283 h 5880798"/>
                  <a:gd name="connsiteX172" fmla="*/ 265961 w 561506"/>
                  <a:gd name="connsiteY172" fmla="*/ 2127693 h 5880798"/>
                  <a:gd name="connsiteX173" fmla="*/ 295547 w 561506"/>
                  <a:gd name="connsiteY173" fmla="*/ 2127693 h 5880798"/>
                  <a:gd name="connsiteX174" fmla="*/ 295547 w 561506"/>
                  <a:gd name="connsiteY174" fmla="*/ 2157282 h 5880798"/>
                  <a:gd name="connsiteX175" fmla="*/ 265961 w 561506"/>
                  <a:gd name="connsiteY175" fmla="*/ 2157282 h 5880798"/>
                  <a:gd name="connsiteX176" fmla="*/ 0 w 561506"/>
                  <a:gd name="connsiteY176" fmla="*/ 2127689 h 5880798"/>
                  <a:gd name="connsiteX177" fmla="*/ 29585 w 561506"/>
                  <a:gd name="connsiteY177" fmla="*/ 2127689 h 5880798"/>
                  <a:gd name="connsiteX178" fmla="*/ 29585 w 561506"/>
                  <a:gd name="connsiteY178" fmla="*/ 2157278 h 5880798"/>
                  <a:gd name="connsiteX179" fmla="*/ 0 w 561506"/>
                  <a:gd name="connsiteY179" fmla="*/ 2157278 h 5880798"/>
                  <a:gd name="connsiteX180" fmla="*/ 531921 w 561506"/>
                  <a:gd name="connsiteY180" fmla="*/ 1861731 h 5880798"/>
                  <a:gd name="connsiteX181" fmla="*/ 561506 w 561506"/>
                  <a:gd name="connsiteY181" fmla="*/ 1861731 h 5880798"/>
                  <a:gd name="connsiteX182" fmla="*/ 561506 w 561506"/>
                  <a:gd name="connsiteY182" fmla="*/ 1891308 h 5880798"/>
                  <a:gd name="connsiteX183" fmla="*/ 531921 w 561506"/>
                  <a:gd name="connsiteY183" fmla="*/ 1891308 h 5880798"/>
                  <a:gd name="connsiteX184" fmla="*/ 265961 w 561506"/>
                  <a:gd name="connsiteY184" fmla="*/ 1861728 h 5880798"/>
                  <a:gd name="connsiteX185" fmla="*/ 295547 w 561506"/>
                  <a:gd name="connsiteY185" fmla="*/ 1861728 h 5880798"/>
                  <a:gd name="connsiteX186" fmla="*/ 295547 w 561506"/>
                  <a:gd name="connsiteY186" fmla="*/ 1891306 h 5880798"/>
                  <a:gd name="connsiteX187" fmla="*/ 265961 w 561506"/>
                  <a:gd name="connsiteY187" fmla="*/ 1891306 h 5880798"/>
                  <a:gd name="connsiteX188" fmla="*/ 0 w 561506"/>
                  <a:gd name="connsiteY188" fmla="*/ 1861726 h 5880798"/>
                  <a:gd name="connsiteX189" fmla="*/ 29585 w 561506"/>
                  <a:gd name="connsiteY189" fmla="*/ 1861726 h 5880798"/>
                  <a:gd name="connsiteX190" fmla="*/ 29585 w 561506"/>
                  <a:gd name="connsiteY190" fmla="*/ 1891304 h 5880798"/>
                  <a:gd name="connsiteX191" fmla="*/ 0 w 561506"/>
                  <a:gd name="connsiteY191" fmla="*/ 1891304 h 5880798"/>
                  <a:gd name="connsiteX192" fmla="*/ 531921 w 561506"/>
                  <a:gd name="connsiteY192" fmla="*/ 1595769 h 5880798"/>
                  <a:gd name="connsiteX193" fmla="*/ 561506 w 561506"/>
                  <a:gd name="connsiteY193" fmla="*/ 1595769 h 5880798"/>
                  <a:gd name="connsiteX194" fmla="*/ 561506 w 561506"/>
                  <a:gd name="connsiteY194" fmla="*/ 1625355 h 5880798"/>
                  <a:gd name="connsiteX195" fmla="*/ 531921 w 561506"/>
                  <a:gd name="connsiteY195" fmla="*/ 1625355 h 5880798"/>
                  <a:gd name="connsiteX196" fmla="*/ 265961 w 561506"/>
                  <a:gd name="connsiteY196" fmla="*/ 1595766 h 5880798"/>
                  <a:gd name="connsiteX197" fmla="*/ 295547 w 561506"/>
                  <a:gd name="connsiteY197" fmla="*/ 1595766 h 5880798"/>
                  <a:gd name="connsiteX198" fmla="*/ 295547 w 561506"/>
                  <a:gd name="connsiteY198" fmla="*/ 1625352 h 5880798"/>
                  <a:gd name="connsiteX199" fmla="*/ 265961 w 561506"/>
                  <a:gd name="connsiteY199" fmla="*/ 1625352 h 5880798"/>
                  <a:gd name="connsiteX200" fmla="*/ 0 w 561506"/>
                  <a:gd name="connsiteY200" fmla="*/ 1595764 h 5880798"/>
                  <a:gd name="connsiteX201" fmla="*/ 29585 w 561506"/>
                  <a:gd name="connsiteY201" fmla="*/ 1595764 h 5880798"/>
                  <a:gd name="connsiteX202" fmla="*/ 29585 w 561506"/>
                  <a:gd name="connsiteY202" fmla="*/ 1625350 h 5880798"/>
                  <a:gd name="connsiteX203" fmla="*/ 0 w 561506"/>
                  <a:gd name="connsiteY203" fmla="*/ 1625350 h 5880798"/>
                  <a:gd name="connsiteX204" fmla="*/ 531921 w 561506"/>
                  <a:gd name="connsiteY204" fmla="*/ 1329811 h 5880798"/>
                  <a:gd name="connsiteX205" fmla="*/ 561506 w 561506"/>
                  <a:gd name="connsiteY205" fmla="*/ 1329811 h 5880798"/>
                  <a:gd name="connsiteX206" fmla="*/ 561506 w 561506"/>
                  <a:gd name="connsiteY206" fmla="*/ 1359396 h 5880798"/>
                  <a:gd name="connsiteX207" fmla="*/ 531921 w 561506"/>
                  <a:gd name="connsiteY207" fmla="*/ 1359396 h 5880798"/>
                  <a:gd name="connsiteX208" fmla="*/ 265961 w 561506"/>
                  <a:gd name="connsiteY208" fmla="*/ 1329809 h 5880798"/>
                  <a:gd name="connsiteX209" fmla="*/ 295547 w 561506"/>
                  <a:gd name="connsiteY209" fmla="*/ 1329809 h 5880798"/>
                  <a:gd name="connsiteX210" fmla="*/ 295547 w 561506"/>
                  <a:gd name="connsiteY210" fmla="*/ 1359393 h 5880798"/>
                  <a:gd name="connsiteX211" fmla="*/ 265961 w 561506"/>
                  <a:gd name="connsiteY211" fmla="*/ 1359393 h 5880798"/>
                  <a:gd name="connsiteX212" fmla="*/ 0 w 561506"/>
                  <a:gd name="connsiteY212" fmla="*/ 1329806 h 5880798"/>
                  <a:gd name="connsiteX213" fmla="*/ 29585 w 561506"/>
                  <a:gd name="connsiteY213" fmla="*/ 1329806 h 5880798"/>
                  <a:gd name="connsiteX214" fmla="*/ 29585 w 561506"/>
                  <a:gd name="connsiteY214" fmla="*/ 1359391 h 5880798"/>
                  <a:gd name="connsiteX215" fmla="*/ 0 w 561506"/>
                  <a:gd name="connsiteY215" fmla="*/ 1359391 h 5880798"/>
                  <a:gd name="connsiteX216" fmla="*/ 531921 w 561506"/>
                  <a:gd name="connsiteY216" fmla="*/ 1063855 h 5880798"/>
                  <a:gd name="connsiteX217" fmla="*/ 561506 w 561506"/>
                  <a:gd name="connsiteY217" fmla="*/ 1063855 h 5880798"/>
                  <a:gd name="connsiteX218" fmla="*/ 561506 w 561506"/>
                  <a:gd name="connsiteY218" fmla="*/ 1093441 h 5880798"/>
                  <a:gd name="connsiteX219" fmla="*/ 531921 w 561506"/>
                  <a:gd name="connsiteY219" fmla="*/ 1093441 h 5880798"/>
                  <a:gd name="connsiteX220" fmla="*/ 265961 w 561506"/>
                  <a:gd name="connsiteY220" fmla="*/ 1063852 h 5880798"/>
                  <a:gd name="connsiteX221" fmla="*/ 295547 w 561506"/>
                  <a:gd name="connsiteY221" fmla="*/ 1063852 h 5880798"/>
                  <a:gd name="connsiteX222" fmla="*/ 295547 w 561506"/>
                  <a:gd name="connsiteY222" fmla="*/ 1093438 h 5880798"/>
                  <a:gd name="connsiteX223" fmla="*/ 265961 w 561506"/>
                  <a:gd name="connsiteY223" fmla="*/ 1093438 h 5880798"/>
                  <a:gd name="connsiteX224" fmla="*/ 0 w 561506"/>
                  <a:gd name="connsiteY224" fmla="*/ 1063849 h 5880798"/>
                  <a:gd name="connsiteX225" fmla="*/ 29585 w 561506"/>
                  <a:gd name="connsiteY225" fmla="*/ 1063849 h 5880798"/>
                  <a:gd name="connsiteX226" fmla="*/ 29585 w 561506"/>
                  <a:gd name="connsiteY226" fmla="*/ 1093435 h 5880798"/>
                  <a:gd name="connsiteX227" fmla="*/ 0 w 561506"/>
                  <a:gd name="connsiteY227" fmla="*/ 1093435 h 5880798"/>
                  <a:gd name="connsiteX228" fmla="*/ 531921 w 561506"/>
                  <a:gd name="connsiteY228" fmla="*/ 797884 h 5880798"/>
                  <a:gd name="connsiteX229" fmla="*/ 561506 w 561506"/>
                  <a:gd name="connsiteY229" fmla="*/ 797884 h 5880798"/>
                  <a:gd name="connsiteX230" fmla="*/ 561506 w 561506"/>
                  <a:gd name="connsiteY230" fmla="*/ 827470 h 5880798"/>
                  <a:gd name="connsiteX231" fmla="*/ 531921 w 561506"/>
                  <a:gd name="connsiteY231" fmla="*/ 827470 h 5880798"/>
                  <a:gd name="connsiteX232" fmla="*/ 265961 w 561506"/>
                  <a:gd name="connsiteY232" fmla="*/ 797882 h 5880798"/>
                  <a:gd name="connsiteX233" fmla="*/ 295547 w 561506"/>
                  <a:gd name="connsiteY233" fmla="*/ 797882 h 5880798"/>
                  <a:gd name="connsiteX234" fmla="*/ 295547 w 561506"/>
                  <a:gd name="connsiteY234" fmla="*/ 827468 h 5880798"/>
                  <a:gd name="connsiteX235" fmla="*/ 265961 w 561506"/>
                  <a:gd name="connsiteY235" fmla="*/ 827468 h 5880798"/>
                  <a:gd name="connsiteX236" fmla="*/ 0 w 561506"/>
                  <a:gd name="connsiteY236" fmla="*/ 797879 h 5880798"/>
                  <a:gd name="connsiteX237" fmla="*/ 29585 w 561506"/>
                  <a:gd name="connsiteY237" fmla="*/ 797879 h 5880798"/>
                  <a:gd name="connsiteX238" fmla="*/ 29585 w 561506"/>
                  <a:gd name="connsiteY238" fmla="*/ 827465 h 5880798"/>
                  <a:gd name="connsiteX239" fmla="*/ 0 w 561506"/>
                  <a:gd name="connsiteY239" fmla="*/ 827465 h 5880798"/>
                  <a:gd name="connsiteX240" fmla="*/ 531921 w 561506"/>
                  <a:gd name="connsiteY240" fmla="*/ 531924 h 5880798"/>
                  <a:gd name="connsiteX241" fmla="*/ 561506 w 561506"/>
                  <a:gd name="connsiteY241" fmla="*/ 531924 h 5880798"/>
                  <a:gd name="connsiteX242" fmla="*/ 561506 w 561506"/>
                  <a:gd name="connsiteY242" fmla="*/ 561509 h 5880798"/>
                  <a:gd name="connsiteX243" fmla="*/ 531921 w 561506"/>
                  <a:gd name="connsiteY243" fmla="*/ 561509 h 5880798"/>
                  <a:gd name="connsiteX244" fmla="*/ 265961 w 561506"/>
                  <a:gd name="connsiteY244" fmla="*/ 531922 h 5880798"/>
                  <a:gd name="connsiteX245" fmla="*/ 295547 w 561506"/>
                  <a:gd name="connsiteY245" fmla="*/ 531922 h 5880798"/>
                  <a:gd name="connsiteX246" fmla="*/ 295547 w 561506"/>
                  <a:gd name="connsiteY246" fmla="*/ 561507 h 5880798"/>
                  <a:gd name="connsiteX247" fmla="*/ 265961 w 561506"/>
                  <a:gd name="connsiteY247" fmla="*/ 561507 h 5880798"/>
                  <a:gd name="connsiteX248" fmla="*/ 0 w 561506"/>
                  <a:gd name="connsiteY248" fmla="*/ 531920 h 5880798"/>
                  <a:gd name="connsiteX249" fmla="*/ 29585 w 561506"/>
                  <a:gd name="connsiteY249" fmla="*/ 531920 h 5880798"/>
                  <a:gd name="connsiteX250" fmla="*/ 29585 w 561506"/>
                  <a:gd name="connsiteY250" fmla="*/ 561505 h 5880798"/>
                  <a:gd name="connsiteX251" fmla="*/ 0 w 561506"/>
                  <a:gd name="connsiteY251" fmla="*/ 561505 h 5880798"/>
                  <a:gd name="connsiteX252" fmla="*/ 531921 w 561506"/>
                  <a:gd name="connsiteY252" fmla="*/ 265964 h 5880798"/>
                  <a:gd name="connsiteX253" fmla="*/ 561506 w 561506"/>
                  <a:gd name="connsiteY253" fmla="*/ 265964 h 5880798"/>
                  <a:gd name="connsiteX254" fmla="*/ 561506 w 561506"/>
                  <a:gd name="connsiteY254" fmla="*/ 295550 h 5880798"/>
                  <a:gd name="connsiteX255" fmla="*/ 531921 w 561506"/>
                  <a:gd name="connsiteY255" fmla="*/ 295550 h 5880798"/>
                  <a:gd name="connsiteX256" fmla="*/ 265961 w 561506"/>
                  <a:gd name="connsiteY256" fmla="*/ 265962 h 5880798"/>
                  <a:gd name="connsiteX257" fmla="*/ 295547 w 561506"/>
                  <a:gd name="connsiteY257" fmla="*/ 265962 h 5880798"/>
                  <a:gd name="connsiteX258" fmla="*/ 295547 w 561506"/>
                  <a:gd name="connsiteY258" fmla="*/ 295548 h 5880798"/>
                  <a:gd name="connsiteX259" fmla="*/ 265961 w 561506"/>
                  <a:gd name="connsiteY259" fmla="*/ 295548 h 5880798"/>
                  <a:gd name="connsiteX260" fmla="*/ 0 w 561506"/>
                  <a:gd name="connsiteY260" fmla="*/ 265960 h 5880798"/>
                  <a:gd name="connsiteX261" fmla="*/ 29585 w 561506"/>
                  <a:gd name="connsiteY261" fmla="*/ 265960 h 5880798"/>
                  <a:gd name="connsiteX262" fmla="*/ 29585 w 561506"/>
                  <a:gd name="connsiteY262" fmla="*/ 295546 h 5880798"/>
                  <a:gd name="connsiteX263" fmla="*/ 0 w 561506"/>
                  <a:gd name="connsiteY263" fmla="*/ 295546 h 5880798"/>
                  <a:gd name="connsiteX264" fmla="*/ 531921 w 561506"/>
                  <a:gd name="connsiteY264" fmla="*/ 5 h 5880798"/>
                  <a:gd name="connsiteX265" fmla="*/ 561506 w 561506"/>
                  <a:gd name="connsiteY265" fmla="*/ 5 h 5880798"/>
                  <a:gd name="connsiteX266" fmla="*/ 561506 w 561506"/>
                  <a:gd name="connsiteY266" fmla="*/ 29591 h 5880798"/>
                  <a:gd name="connsiteX267" fmla="*/ 531921 w 561506"/>
                  <a:gd name="connsiteY267" fmla="*/ 29591 h 5880798"/>
                  <a:gd name="connsiteX268" fmla="*/ 265961 w 561506"/>
                  <a:gd name="connsiteY268" fmla="*/ 3 h 5880798"/>
                  <a:gd name="connsiteX269" fmla="*/ 295547 w 561506"/>
                  <a:gd name="connsiteY269" fmla="*/ 3 h 5880798"/>
                  <a:gd name="connsiteX270" fmla="*/ 295547 w 561506"/>
                  <a:gd name="connsiteY270" fmla="*/ 29589 h 5880798"/>
                  <a:gd name="connsiteX271" fmla="*/ 265961 w 561506"/>
                  <a:gd name="connsiteY271" fmla="*/ 29589 h 5880798"/>
                  <a:gd name="connsiteX272" fmla="*/ 0 w 561506"/>
                  <a:gd name="connsiteY272" fmla="*/ 0 h 5880798"/>
                  <a:gd name="connsiteX273" fmla="*/ 29585 w 561506"/>
                  <a:gd name="connsiteY273" fmla="*/ 0 h 5880798"/>
                  <a:gd name="connsiteX274" fmla="*/ 29585 w 561506"/>
                  <a:gd name="connsiteY274" fmla="*/ 29586 h 5880798"/>
                  <a:gd name="connsiteX275" fmla="*/ 0 w 561506"/>
                  <a:gd name="connsiteY275" fmla="*/ 29586 h 58807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</a:cxnLst>
                <a:rect l="l" t="t" r="r" b="b"/>
                <a:pathLst>
                  <a:path w="561506" h="5880798">
                    <a:moveTo>
                      <a:pt x="531921" y="5851213"/>
                    </a:moveTo>
                    <a:lnTo>
                      <a:pt x="561506" y="5851213"/>
                    </a:lnTo>
                    <a:lnTo>
                      <a:pt x="561506" y="5880798"/>
                    </a:lnTo>
                    <a:lnTo>
                      <a:pt x="531921" y="5880798"/>
                    </a:lnTo>
                    <a:close/>
                    <a:moveTo>
                      <a:pt x="265961" y="5851213"/>
                    </a:moveTo>
                    <a:lnTo>
                      <a:pt x="295547" y="5851213"/>
                    </a:lnTo>
                    <a:lnTo>
                      <a:pt x="295547" y="5880798"/>
                    </a:lnTo>
                    <a:lnTo>
                      <a:pt x="265961" y="5880798"/>
                    </a:lnTo>
                    <a:close/>
                    <a:moveTo>
                      <a:pt x="0" y="5851213"/>
                    </a:moveTo>
                    <a:lnTo>
                      <a:pt x="29585" y="5851213"/>
                    </a:lnTo>
                    <a:lnTo>
                      <a:pt x="29585" y="5880798"/>
                    </a:lnTo>
                    <a:lnTo>
                      <a:pt x="0" y="5880798"/>
                    </a:lnTo>
                    <a:close/>
                    <a:moveTo>
                      <a:pt x="531921" y="5585253"/>
                    </a:moveTo>
                    <a:lnTo>
                      <a:pt x="561506" y="5585253"/>
                    </a:lnTo>
                    <a:lnTo>
                      <a:pt x="561506" y="5614838"/>
                    </a:lnTo>
                    <a:lnTo>
                      <a:pt x="531921" y="5614838"/>
                    </a:lnTo>
                    <a:close/>
                    <a:moveTo>
                      <a:pt x="265961" y="5585253"/>
                    </a:moveTo>
                    <a:lnTo>
                      <a:pt x="295547" y="5585253"/>
                    </a:lnTo>
                    <a:lnTo>
                      <a:pt x="295547" y="5614838"/>
                    </a:lnTo>
                    <a:lnTo>
                      <a:pt x="265961" y="5614838"/>
                    </a:lnTo>
                    <a:close/>
                    <a:moveTo>
                      <a:pt x="0" y="5585253"/>
                    </a:moveTo>
                    <a:lnTo>
                      <a:pt x="29585" y="5585253"/>
                    </a:lnTo>
                    <a:lnTo>
                      <a:pt x="29585" y="5614838"/>
                    </a:lnTo>
                    <a:lnTo>
                      <a:pt x="0" y="5614838"/>
                    </a:lnTo>
                    <a:close/>
                    <a:moveTo>
                      <a:pt x="531921" y="5319293"/>
                    </a:moveTo>
                    <a:lnTo>
                      <a:pt x="561506" y="5319293"/>
                    </a:lnTo>
                    <a:lnTo>
                      <a:pt x="561506" y="5348879"/>
                    </a:lnTo>
                    <a:lnTo>
                      <a:pt x="531921" y="5348879"/>
                    </a:lnTo>
                    <a:close/>
                    <a:moveTo>
                      <a:pt x="265961" y="5319293"/>
                    </a:moveTo>
                    <a:lnTo>
                      <a:pt x="295547" y="5319293"/>
                    </a:lnTo>
                    <a:lnTo>
                      <a:pt x="295547" y="5348879"/>
                    </a:lnTo>
                    <a:lnTo>
                      <a:pt x="265961" y="5348879"/>
                    </a:lnTo>
                    <a:close/>
                    <a:moveTo>
                      <a:pt x="0" y="5319293"/>
                    </a:moveTo>
                    <a:lnTo>
                      <a:pt x="29585" y="5319293"/>
                    </a:lnTo>
                    <a:lnTo>
                      <a:pt x="29585" y="5348879"/>
                    </a:lnTo>
                    <a:lnTo>
                      <a:pt x="0" y="5348879"/>
                    </a:lnTo>
                    <a:close/>
                    <a:moveTo>
                      <a:pt x="531921" y="5053332"/>
                    </a:moveTo>
                    <a:lnTo>
                      <a:pt x="561506" y="5053332"/>
                    </a:lnTo>
                    <a:lnTo>
                      <a:pt x="561506" y="5082917"/>
                    </a:lnTo>
                    <a:lnTo>
                      <a:pt x="531921" y="5082917"/>
                    </a:lnTo>
                    <a:close/>
                    <a:moveTo>
                      <a:pt x="265961" y="5053332"/>
                    </a:moveTo>
                    <a:lnTo>
                      <a:pt x="295547" y="5053332"/>
                    </a:lnTo>
                    <a:lnTo>
                      <a:pt x="295547" y="5082917"/>
                    </a:lnTo>
                    <a:lnTo>
                      <a:pt x="265961" y="5082917"/>
                    </a:lnTo>
                    <a:close/>
                    <a:moveTo>
                      <a:pt x="0" y="5053332"/>
                    </a:moveTo>
                    <a:lnTo>
                      <a:pt x="29585" y="5053332"/>
                    </a:lnTo>
                    <a:lnTo>
                      <a:pt x="29585" y="5082917"/>
                    </a:lnTo>
                    <a:lnTo>
                      <a:pt x="0" y="5082917"/>
                    </a:lnTo>
                    <a:close/>
                    <a:moveTo>
                      <a:pt x="531921" y="4787372"/>
                    </a:moveTo>
                    <a:lnTo>
                      <a:pt x="561506" y="4787372"/>
                    </a:lnTo>
                    <a:lnTo>
                      <a:pt x="561506" y="4816958"/>
                    </a:lnTo>
                    <a:lnTo>
                      <a:pt x="531921" y="4816958"/>
                    </a:lnTo>
                    <a:close/>
                    <a:moveTo>
                      <a:pt x="265961" y="4787372"/>
                    </a:moveTo>
                    <a:lnTo>
                      <a:pt x="295547" y="4787372"/>
                    </a:lnTo>
                    <a:lnTo>
                      <a:pt x="295547" y="4816958"/>
                    </a:lnTo>
                    <a:lnTo>
                      <a:pt x="265961" y="4816958"/>
                    </a:lnTo>
                    <a:close/>
                    <a:moveTo>
                      <a:pt x="0" y="4787372"/>
                    </a:moveTo>
                    <a:lnTo>
                      <a:pt x="29585" y="4787372"/>
                    </a:lnTo>
                    <a:lnTo>
                      <a:pt x="29585" y="4816958"/>
                    </a:lnTo>
                    <a:lnTo>
                      <a:pt x="0" y="4816958"/>
                    </a:lnTo>
                    <a:close/>
                    <a:moveTo>
                      <a:pt x="531921" y="4521412"/>
                    </a:moveTo>
                    <a:lnTo>
                      <a:pt x="561506" y="4521412"/>
                    </a:lnTo>
                    <a:lnTo>
                      <a:pt x="561506" y="4550997"/>
                    </a:lnTo>
                    <a:lnTo>
                      <a:pt x="531921" y="4550997"/>
                    </a:lnTo>
                    <a:close/>
                    <a:moveTo>
                      <a:pt x="265961" y="4521412"/>
                    </a:moveTo>
                    <a:lnTo>
                      <a:pt x="295547" y="4521412"/>
                    </a:lnTo>
                    <a:lnTo>
                      <a:pt x="295547" y="4550997"/>
                    </a:lnTo>
                    <a:lnTo>
                      <a:pt x="265961" y="4550997"/>
                    </a:lnTo>
                    <a:close/>
                    <a:moveTo>
                      <a:pt x="0" y="4521412"/>
                    </a:moveTo>
                    <a:lnTo>
                      <a:pt x="29585" y="4521412"/>
                    </a:lnTo>
                    <a:lnTo>
                      <a:pt x="29585" y="4550997"/>
                    </a:lnTo>
                    <a:lnTo>
                      <a:pt x="0" y="4550997"/>
                    </a:lnTo>
                    <a:close/>
                    <a:moveTo>
                      <a:pt x="531921" y="4255451"/>
                    </a:moveTo>
                    <a:lnTo>
                      <a:pt x="561506" y="4255451"/>
                    </a:lnTo>
                    <a:lnTo>
                      <a:pt x="561506" y="4285036"/>
                    </a:lnTo>
                    <a:lnTo>
                      <a:pt x="531921" y="4285036"/>
                    </a:lnTo>
                    <a:close/>
                    <a:moveTo>
                      <a:pt x="265961" y="4255451"/>
                    </a:moveTo>
                    <a:lnTo>
                      <a:pt x="295547" y="4255451"/>
                    </a:lnTo>
                    <a:lnTo>
                      <a:pt x="295547" y="4285036"/>
                    </a:lnTo>
                    <a:lnTo>
                      <a:pt x="265961" y="4285036"/>
                    </a:lnTo>
                    <a:close/>
                    <a:moveTo>
                      <a:pt x="0" y="4255451"/>
                    </a:moveTo>
                    <a:lnTo>
                      <a:pt x="29585" y="4255451"/>
                    </a:lnTo>
                    <a:lnTo>
                      <a:pt x="29585" y="4285036"/>
                    </a:lnTo>
                    <a:lnTo>
                      <a:pt x="0" y="4285036"/>
                    </a:lnTo>
                    <a:close/>
                    <a:moveTo>
                      <a:pt x="531921" y="3989491"/>
                    </a:moveTo>
                    <a:lnTo>
                      <a:pt x="561506" y="3989491"/>
                    </a:lnTo>
                    <a:lnTo>
                      <a:pt x="561506" y="4019077"/>
                    </a:lnTo>
                    <a:lnTo>
                      <a:pt x="531921" y="4019077"/>
                    </a:lnTo>
                    <a:close/>
                    <a:moveTo>
                      <a:pt x="265961" y="3989491"/>
                    </a:moveTo>
                    <a:lnTo>
                      <a:pt x="295547" y="3989491"/>
                    </a:lnTo>
                    <a:lnTo>
                      <a:pt x="295547" y="4019077"/>
                    </a:lnTo>
                    <a:lnTo>
                      <a:pt x="265961" y="4019077"/>
                    </a:lnTo>
                    <a:close/>
                    <a:moveTo>
                      <a:pt x="0" y="3989491"/>
                    </a:moveTo>
                    <a:lnTo>
                      <a:pt x="29585" y="3989491"/>
                    </a:lnTo>
                    <a:lnTo>
                      <a:pt x="29585" y="4019077"/>
                    </a:lnTo>
                    <a:lnTo>
                      <a:pt x="0" y="4019077"/>
                    </a:lnTo>
                    <a:close/>
                    <a:moveTo>
                      <a:pt x="531921" y="3723530"/>
                    </a:moveTo>
                    <a:lnTo>
                      <a:pt x="561506" y="3723530"/>
                    </a:lnTo>
                    <a:lnTo>
                      <a:pt x="561506" y="3753115"/>
                    </a:lnTo>
                    <a:lnTo>
                      <a:pt x="531921" y="3753115"/>
                    </a:lnTo>
                    <a:close/>
                    <a:moveTo>
                      <a:pt x="265961" y="3723530"/>
                    </a:moveTo>
                    <a:lnTo>
                      <a:pt x="295547" y="3723530"/>
                    </a:lnTo>
                    <a:lnTo>
                      <a:pt x="295547" y="3753115"/>
                    </a:lnTo>
                    <a:lnTo>
                      <a:pt x="265961" y="3753115"/>
                    </a:lnTo>
                    <a:close/>
                    <a:moveTo>
                      <a:pt x="0" y="3723530"/>
                    </a:moveTo>
                    <a:lnTo>
                      <a:pt x="29585" y="3723530"/>
                    </a:lnTo>
                    <a:lnTo>
                      <a:pt x="29585" y="3753115"/>
                    </a:lnTo>
                    <a:lnTo>
                      <a:pt x="0" y="3753115"/>
                    </a:lnTo>
                    <a:close/>
                    <a:moveTo>
                      <a:pt x="531921" y="3457570"/>
                    </a:moveTo>
                    <a:lnTo>
                      <a:pt x="561506" y="3457570"/>
                    </a:lnTo>
                    <a:lnTo>
                      <a:pt x="561506" y="3487156"/>
                    </a:lnTo>
                    <a:lnTo>
                      <a:pt x="531921" y="3487156"/>
                    </a:lnTo>
                    <a:close/>
                    <a:moveTo>
                      <a:pt x="265961" y="3457570"/>
                    </a:moveTo>
                    <a:lnTo>
                      <a:pt x="295547" y="3457570"/>
                    </a:lnTo>
                    <a:lnTo>
                      <a:pt x="295547" y="3487156"/>
                    </a:lnTo>
                    <a:lnTo>
                      <a:pt x="265961" y="3487156"/>
                    </a:lnTo>
                    <a:close/>
                    <a:moveTo>
                      <a:pt x="0" y="3457570"/>
                    </a:moveTo>
                    <a:lnTo>
                      <a:pt x="29585" y="3457570"/>
                    </a:lnTo>
                    <a:lnTo>
                      <a:pt x="29585" y="3487156"/>
                    </a:lnTo>
                    <a:lnTo>
                      <a:pt x="0" y="3487156"/>
                    </a:lnTo>
                    <a:close/>
                    <a:moveTo>
                      <a:pt x="531921" y="3191618"/>
                    </a:moveTo>
                    <a:lnTo>
                      <a:pt x="561506" y="3191618"/>
                    </a:lnTo>
                    <a:lnTo>
                      <a:pt x="561506" y="3221195"/>
                    </a:lnTo>
                    <a:lnTo>
                      <a:pt x="531921" y="3221195"/>
                    </a:lnTo>
                    <a:close/>
                    <a:moveTo>
                      <a:pt x="265961" y="3191618"/>
                    </a:moveTo>
                    <a:lnTo>
                      <a:pt x="295547" y="3191618"/>
                    </a:lnTo>
                    <a:lnTo>
                      <a:pt x="295547" y="3221195"/>
                    </a:lnTo>
                    <a:lnTo>
                      <a:pt x="265961" y="3221195"/>
                    </a:lnTo>
                    <a:close/>
                    <a:moveTo>
                      <a:pt x="0" y="3191617"/>
                    </a:moveTo>
                    <a:lnTo>
                      <a:pt x="29585" y="3191617"/>
                    </a:lnTo>
                    <a:lnTo>
                      <a:pt x="29585" y="3221195"/>
                    </a:lnTo>
                    <a:lnTo>
                      <a:pt x="0" y="3221195"/>
                    </a:lnTo>
                    <a:close/>
                    <a:moveTo>
                      <a:pt x="531921" y="2925660"/>
                    </a:moveTo>
                    <a:lnTo>
                      <a:pt x="561506" y="2925660"/>
                    </a:lnTo>
                    <a:lnTo>
                      <a:pt x="561506" y="2955246"/>
                    </a:lnTo>
                    <a:lnTo>
                      <a:pt x="531921" y="2955246"/>
                    </a:lnTo>
                    <a:close/>
                    <a:moveTo>
                      <a:pt x="265961" y="2925659"/>
                    </a:moveTo>
                    <a:lnTo>
                      <a:pt x="295547" y="2925659"/>
                    </a:lnTo>
                    <a:lnTo>
                      <a:pt x="295547" y="2955245"/>
                    </a:lnTo>
                    <a:lnTo>
                      <a:pt x="265961" y="2955245"/>
                    </a:lnTo>
                    <a:close/>
                    <a:moveTo>
                      <a:pt x="0" y="2925658"/>
                    </a:moveTo>
                    <a:lnTo>
                      <a:pt x="29585" y="2925658"/>
                    </a:lnTo>
                    <a:lnTo>
                      <a:pt x="29585" y="2955244"/>
                    </a:lnTo>
                    <a:lnTo>
                      <a:pt x="0" y="2955244"/>
                    </a:lnTo>
                    <a:close/>
                    <a:moveTo>
                      <a:pt x="531921" y="2659620"/>
                    </a:moveTo>
                    <a:lnTo>
                      <a:pt x="561506" y="2659620"/>
                    </a:lnTo>
                    <a:lnTo>
                      <a:pt x="561506" y="2689204"/>
                    </a:lnTo>
                    <a:lnTo>
                      <a:pt x="531921" y="2689204"/>
                    </a:lnTo>
                    <a:close/>
                    <a:moveTo>
                      <a:pt x="265961" y="2659616"/>
                    </a:moveTo>
                    <a:lnTo>
                      <a:pt x="295547" y="2659616"/>
                    </a:lnTo>
                    <a:lnTo>
                      <a:pt x="295547" y="2689201"/>
                    </a:lnTo>
                    <a:lnTo>
                      <a:pt x="265961" y="2689201"/>
                    </a:lnTo>
                    <a:close/>
                    <a:moveTo>
                      <a:pt x="0" y="2659613"/>
                    </a:moveTo>
                    <a:lnTo>
                      <a:pt x="29585" y="2659613"/>
                    </a:lnTo>
                    <a:lnTo>
                      <a:pt x="29585" y="2689198"/>
                    </a:lnTo>
                    <a:lnTo>
                      <a:pt x="0" y="2689198"/>
                    </a:lnTo>
                    <a:close/>
                    <a:moveTo>
                      <a:pt x="531921" y="2393661"/>
                    </a:moveTo>
                    <a:lnTo>
                      <a:pt x="561506" y="2393661"/>
                    </a:lnTo>
                    <a:lnTo>
                      <a:pt x="561506" y="2423260"/>
                    </a:lnTo>
                    <a:lnTo>
                      <a:pt x="531921" y="2423260"/>
                    </a:lnTo>
                    <a:close/>
                    <a:moveTo>
                      <a:pt x="265961" y="2393658"/>
                    </a:moveTo>
                    <a:lnTo>
                      <a:pt x="295547" y="2393658"/>
                    </a:lnTo>
                    <a:lnTo>
                      <a:pt x="295547" y="2423257"/>
                    </a:lnTo>
                    <a:lnTo>
                      <a:pt x="265961" y="2423257"/>
                    </a:lnTo>
                    <a:close/>
                    <a:moveTo>
                      <a:pt x="0" y="2393655"/>
                    </a:moveTo>
                    <a:lnTo>
                      <a:pt x="29585" y="2393655"/>
                    </a:lnTo>
                    <a:lnTo>
                      <a:pt x="29585" y="2423251"/>
                    </a:lnTo>
                    <a:lnTo>
                      <a:pt x="0" y="2423251"/>
                    </a:lnTo>
                    <a:close/>
                    <a:moveTo>
                      <a:pt x="531921" y="2127694"/>
                    </a:moveTo>
                    <a:lnTo>
                      <a:pt x="561506" y="2127694"/>
                    </a:lnTo>
                    <a:lnTo>
                      <a:pt x="561506" y="2157283"/>
                    </a:lnTo>
                    <a:lnTo>
                      <a:pt x="531921" y="2157283"/>
                    </a:lnTo>
                    <a:close/>
                    <a:moveTo>
                      <a:pt x="265961" y="2127693"/>
                    </a:moveTo>
                    <a:lnTo>
                      <a:pt x="295547" y="2127693"/>
                    </a:lnTo>
                    <a:lnTo>
                      <a:pt x="295547" y="2157282"/>
                    </a:lnTo>
                    <a:lnTo>
                      <a:pt x="265961" y="2157282"/>
                    </a:lnTo>
                    <a:close/>
                    <a:moveTo>
                      <a:pt x="0" y="2127689"/>
                    </a:moveTo>
                    <a:lnTo>
                      <a:pt x="29585" y="2127689"/>
                    </a:lnTo>
                    <a:lnTo>
                      <a:pt x="29585" y="2157278"/>
                    </a:lnTo>
                    <a:lnTo>
                      <a:pt x="0" y="2157278"/>
                    </a:lnTo>
                    <a:close/>
                    <a:moveTo>
                      <a:pt x="531921" y="1861731"/>
                    </a:moveTo>
                    <a:lnTo>
                      <a:pt x="561506" y="1861731"/>
                    </a:lnTo>
                    <a:lnTo>
                      <a:pt x="561506" y="1891308"/>
                    </a:lnTo>
                    <a:lnTo>
                      <a:pt x="531921" y="1891308"/>
                    </a:lnTo>
                    <a:close/>
                    <a:moveTo>
                      <a:pt x="265961" y="1861728"/>
                    </a:moveTo>
                    <a:lnTo>
                      <a:pt x="295547" y="1861728"/>
                    </a:lnTo>
                    <a:lnTo>
                      <a:pt x="295547" y="1891306"/>
                    </a:lnTo>
                    <a:lnTo>
                      <a:pt x="265961" y="1891306"/>
                    </a:lnTo>
                    <a:close/>
                    <a:moveTo>
                      <a:pt x="0" y="1861726"/>
                    </a:moveTo>
                    <a:lnTo>
                      <a:pt x="29585" y="1861726"/>
                    </a:lnTo>
                    <a:lnTo>
                      <a:pt x="29585" y="1891304"/>
                    </a:lnTo>
                    <a:lnTo>
                      <a:pt x="0" y="1891304"/>
                    </a:lnTo>
                    <a:close/>
                    <a:moveTo>
                      <a:pt x="531921" y="1595769"/>
                    </a:moveTo>
                    <a:lnTo>
                      <a:pt x="561506" y="1595769"/>
                    </a:lnTo>
                    <a:lnTo>
                      <a:pt x="561506" y="1625355"/>
                    </a:lnTo>
                    <a:lnTo>
                      <a:pt x="531921" y="1625355"/>
                    </a:lnTo>
                    <a:close/>
                    <a:moveTo>
                      <a:pt x="265961" y="1595766"/>
                    </a:moveTo>
                    <a:lnTo>
                      <a:pt x="295547" y="1595766"/>
                    </a:lnTo>
                    <a:lnTo>
                      <a:pt x="295547" y="1625352"/>
                    </a:lnTo>
                    <a:lnTo>
                      <a:pt x="265961" y="1625352"/>
                    </a:lnTo>
                    <a:close/>
                    <a:moveTo>
                      <a:pt x="0" y="1595764"/>
                    </a:moveTo>
                    <a:lnTo>
                      <a:pt x="29585" y="1595764"/>
                    </a:lnTo>
                    <a:lnTo>
                      <a:pt x="29585" y="1625350"/>
                    </a:lnTo>
                    <a:lnTo>
                      <a:pt x="0" y="1625350"/>
                    </a:lnTo>
                    <a:close/>
                    <a:moveTo>
                      <a:pt x="531921" y="1329811"/>
                    </a:moveTo>
                    <a:lnTo>
                      <a:pt x="561506" y="1329811"/>
                    </a:lnTo>
                    <a:lnTo>
                      <a:pt x="561506" y="1359396"/>
                    </a:lnTo>
                    <a:lnTo>
                      <a:pt x="531921" y="1359396"/>
                    </a:lnTo>
                    <a:close/>
                    <a:moveTo>
                      <a:pt x="265961" y="1329809"/>
                    </a:moveTo>
                    <a:lnTo>
                      <a:pt x="295547" y="1329809"/>
                    </a:lnTo>
                    <a:lnTo>
                      <a:pt x="295547" y="1359393"/>
                    </a:lnTo>
                    <a:lnTo>
                      <a:pt x="265961" y="1359393"/>
                    </a:lnTo>
                    <a:close/>
                    <a:moveTo>
                      <a:pt x="0" y="1329806"/>
                    </a:moveTo>
                    <a:lnTo>
                      <a:pt x="29585" y="1329806"/>
                    </a:lnTo>
                    <a:lnTo>
                      <a:pt x="29585" y="1359391"/>
                    </a:lnTo>
                    <a:lnTo>
                      <a:pt x="0" y="1359391"/>
                    </a:lnTo>
                    <a:close/>
                    <a:moveTo>
                      <a:pt x="531921" y="1063855"/>
                    </a:moveTo>
                    <a:lnTo>
                      <a:pt x="561506" y="1063855"/>
                    </a:lnTo>
                    <a:lnTo>
                      <a:pt x="561506" y="1093441"/>
                    </a:lnTo>
                    <a:lnTo>
                      <a:pt x="531921" y="1093441"/>
                    </a:lnTo>
                    <a:close/>
                    <a:moveTo>
                      <a:pt x="265961" y="1063852"/>
                    </a:moveTo>
                    <a:lnTo>
                      <a:pt x="295547" y="1063852"/>
                    </a:lnTo>
                    <a:lnTo>
                      <a:pt x="295547" y="1093438"/>
                    </a:lnTo>
                    <a:lnTo>
                      <a:pt x="265961" y="1093438"/>
                    </a:lnTo>
                    <a:close/>
                    <a:moveTo>
                      <a:pt x="0" y="1063849"/>
                    </a:moveTo>
                    <a:lnTo>
                      <a:pt x="29585" y="1063849"/>
                    </a:lnTo>
                    <a:lnTo>
                      <a:pt x="29585" y="1093435"/>
                    </a:lnTo>
                    <a:lnTo>
                      <a:pt x="0" y="1093435"/>
                    </a:lnTo>
                    <a:close/>
                    <a:moveTo>
                      <a:pt x="531921" y="797884"/>
                    </a:moveTo>
                    <a:lnTo>
                      <a:pt x="561506" y="797884"/>
                    </a:lnTo>
                    <a:lnTo>
                      <a:pt x="561506" y="827470"/>
                    </a:lnTo>
                    <a:lnTo>
                      <a:pt x="531921" y="827470"/>
                    </a:lnTo>
                    <a:close/>
                    <a:moveTo>
                      <a:pt x="265961" y="797882"/>
                    </a:moveTo>
                    <a:lnTo>
                      <a:pt x="295547" y="797882"/>
                    </a:lnTo>
                    <a:lnTo>
                      <a:pt x="295547" y="827468"/>
                    </a:lnTo>
                    <a:lnTo>
                      <a:pt x="265961" y="827468"/>
                    </a:lnTo>
                    <a:close/>
                    <a:moveTo>
                      <a:pt x="0" y="797879"/>
                    </a:moveTo>
                    <a:lnTo>
                      <a:pt x="29585" y="797879"/>
                    </a:lnTo>
                    <a:lnTo>
                      <a:pt x="29585" y="827465"/>
                    </a:lnTo>
                    <a:lnTo>
                      <a:pt x="0" y="827465"/>
                    </a:lnTo>
                    <a:close/>
                    <a:moveTo>
                      <a:pt x="531921" y="531924"/>
                    </a:moveTo>
                    <a:lnTo>
                      <a:pt x="561506" y="531924"/>
                    </a:lnTo>
                    <a:lnTo>
                      <a:pt x="561506" y="561509"/>
                    </a:lnTo>
                    <a:lnTo>
                      <a:pt x="531921" y="561509"/>
                    </a:lnTo>
                    <a:close/>
                    <a:moveTo>
                      <a:pt x="265961" y="531922"/>
                    </a:moveTo>
                    <a:lnTo>
                      <a:pt x="295547" y="531922"/>
                    </a:lnTo>
                    <a:lnTo>
                      <a:pt x="295547" y="561507"/>
                    </a:lnTo>
                    <a:lnTo>
                      <a:pt x="265961" y="561507"/>
                    </a:lnTo>
                    <a:close/>
                    <a:moveTo>
                      <a:pt x="0" y="531920"/>
                    </a:moveTo>
                    <a:lnTo>
                      <a:pt x="29585" y="531920"/>
                    </a:lnTo>
                    <a:lnTo>
                      <a:pt x="29585" y="561505"/>
                    </a:lnTo>
                    <a:lnTo>
                      <a:pt x="0" y="561505"/>
                    </a:lnTo>
                    <a:close/>
                    <a:moveTo>
                      <a:pt x="531921" y="265964"/>
                    </a:moveTo>
                    <a:lnTo>
                      <a:pt x="561506" y="265964"/>
                    </a:lnTo>
                    <a:lnTo>
                      <a:pt x="561506" y="295550"/>
                    </a:lnTo>
                    <a:lnTo>
                      <a:pt x="531921" y="295550"/>
                    </a:lnTo>
                    <a:close/>
                    <a:moveTo>
                      <a:pt x="265961" y="265962"/>
                    </a:moveTo>
                    <a:lnTo>
                      <a:pt x="295547" y="265962"/>
                    </a:lnTo>
                    <a:lnTo>
                      <a:pt x="295547" y="295548"/>
                    </a:lnTo>
                    <a:lnTo>
                      <a:pt x="265961" y="295548"/>
                    </a:lnTo>
                    <a:close/>
                    <a:moveTo>
                      <a:pt x="0" y="265960"/>
                    </a:moveTo>
                    <a:lnTo>
                      <a:pt x="29585" y="265960"/>
                    </a:lnTo>
                    <a:lnTo>
                      <a:pt x="29585" y="295546"/>
                    </a:lnTo>
                    <a:lnTo>
                      <a:pt x="0" y="295546"/>
                    </a:lnTo>
                    <a:close/>
                    <a:moveTo>
                      <a:pt x="531921" y="5"/>
                    </a:moveTo>
                    <a:lnTo>
                      <a:pt x="561506" y="5"/>
                    </a:lnTo>
                    <a:lnTo>
                      <a:pt x="561506" y="29591"/>
                    </a:lnTo>
                    <a:lnTo>
                      <a:pt x="531921" y="29591"/>
                    </a:lnTo>
                    <a:close/>
                    <a:moveTo>
                      <a:pt x="265961" y="3"/>
                    </a:moveTo>
                    <a:lnTo>
                      <a:pt x="295547" y="3"/>
                    </a:lnTo>
                    <a:lnTo>
                      <a:pt x="295547" y="29589"/>
                    </a:lnTo>
                    <a:lnTo>
                      <a:pt x="265961" y="29589"/>
                    </a:lnTo>
                    <a:close/>
                    <a:moveTo>
                      <a:pt x="0" y="0"/>
                    </a:moveTo>
                    <a:lnTo>
                      <a:pt x="29585" y="0"/>
                    </a:lnTo>
                    <a:lnTo>
                      <a:pt x="29585" y="29586"/>
                    </a:lnTo>
                    <a:lnTo>
                      <a:pt x="0" y="29586"/>
                    </a:lnTo>
                    <a:close/>
                  </a:path>
                </a:pathLst>
              </a:custGeom>
              <a:grpFill/>
              <a:ln w="10294" cap="flat">
                <a:noFill/>
                <a:prstDash val="solid"/>
                <a:miter/>
              </a:ln>
            </p:spPr>
            <p:txBody>
              <a:bodyPr wrap="square" rtlCol="0" anchor="ctr">
                <a:noAutofit/>
              </a:bodyPr>
              <a:lstStyle/>
              <a:p>
                <a:endParaRPr lang="en-US"/>
              </a:p>
            </p:txBody>
          </p:sp>
        </p:grp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E617A4DF-071D-428E-8CFC-46648A6F0207}"/>
                </a:ext>
              </a:extLst>
            </p:cNvPr>
            <p:cNvSpPr/>
            <p:nvPr userDrawn="1"/>
          </p:nvSpPr>
          <p:spPr>
            <a:xfrm>
              <a:off x="11620604" y="258374"/>
              <a:ext cx="318688" cy="6341252"/>
            </a:xfrm>
            <a:custGeom>
              <a:avLst/>
              <a:gdLst>
                <a:gd name="connsiteX0" fmla="*/ 286785 w 318688"/>
                <a:gd name="connsiteY0" fmla="*/ 6309351 h 6341252"/>
                <a:gd name="connsiteX1" fmla="*/ 318688 w 318688"/>
                <a:gd name="connsiteY1" fmla="*/ 6309351 h 6341252"/>
                <a:gd name="connsiteX2" fmla="*/ 318688 w 318688"/>
                <a:gd name="connsiteY2" fmla="*/ 6341252 h 6341252"/>
                <a:gd name="connsiteX3" fmla="*/ 286785 w 318688"/>
                <a:gd name="connsiteY3" fmla="*/ 6341252 h 6341252"/>
                <a:gd name="connsiteX4" fmla="*/ 0 w 318688"/>
                <a:gd name="connsiteY4" fmla="*/ 6309351 h 6341252"/>
                <a:gd name="connsiteX5" fmla="*/ 31901 w 318688"/>
                <a:gd name="connsiteY5" fmla="*/ 6309351 h 6341252"/>
                <a:gd name="connsiteX6" fmla="*/ 31901 w 318688"/>
                <a:gd name="connsiteY6" fmla="*/ 6341252 h 6341252"/>
                <a:gd name="connsiteX7" fmla="*/ 0 w 318688"/>
                <a:gd name="connsiteY7" fmla="*/ 6341252 h 6341252"/>
                <a:gd name="connsiteX8" fmla="*/ 286785 w 318688"/>
                <a:gd name="connsiteY8" fmla="*/ 6022567 h 6341252"/>
                <a:gd name="connsiteX9" fmla="*/ 318688 w 318688"/>
                <a:gd name="connsiteY9" fmla="*/ 6022567 h 6341252"/>
                <a:gd name="connsiteX10" fmla="*/ 318688 w 318688"/>
                <a:gd name="connsiteY10" fmla="*/ 6054468 h 6341252"/>
                <a:gd name="connsiteX11" fmla="*/ 286785 w 318688"/>
                <a:gd name="connsiteY11" fmla="*/ 6054468 h 6341252"/>
                <a:gd name="connsiteX12" fmla="*/ 0 w 318688"/>
                <a:gd name="connsiteY12" fmla="*/ 6022567 h 6341252"/>
                <a:gd name="connsiteX13" fmla="*/ 31901 w 318688"/>
                <a:gd name="connsiteY13" fmla="*/ 6022567 h 6341252"/>
                <a:gd name="connsiteX14" fmla="*/ 31901 w 318688"/>
                <a:gd name="connsiteY14" fmla="*/ 6054468 h 6341252"/>
                <a:gd name="connsiteX15" fmla="*/ 0 w 318688"/>
                <a:gd name="connsiteY15" fmla="*/ 6054468 h 6341252"/>
                <a:gd name="connsiteX16" fmla="*/ 286785 w 318688"/>
                <a:gd name="connsiteY16" fmla="*/ 5735783 h 6341252"/>
                <a:gd name="connsiteX17" fmla="*/ 318688 w 318688"/>
                <a:gd name="connsiteY17" fmla="*/ 5735783 h 6341252"/>
                <a:gd name="connsiteX18" fmla="*/ 318688 w 318688"/>
                <a:gd name="connsiteY18" fmla="*/ 5767685 h 6341252"/>
                <a:gd name="connsiteX19" fmla="*/ 286785 w 318688"/>
                <a:gd name="connsiteY19" fmla="*/ 5767685 h 6341252"/>
                <a:gd name="connsiteX20" fmla="*/ 0 w 318688"/>
                <a:gd name="connsiteY20" fmla="*/ 5735783 h 6341252"/>
                <a:gd name="connsiteX21" fmla="*/ 31901 w 318688"/>
                <a:gd name="connsiteY21" fmla="*/ 5735783 h 6341252"/>
                <a:gd name="connsiteX22" fmla="*/ 31901 w 318688"/>
                <a:gd name="connsiteY22" fmla="*/ 5767685 h 6341252"/>
                <a:gd name="connsiteX23" fmla="*/ 0 w 318688"/>
                <a:gd name="connsiteY23" fmla="*/ 5767685 h 6341252"/>
                <a:gd name="connsiteX24" fmla="*/ 286785 w 318688"/>
                <a:gd name="connsiteY24" fmla="*/ 5448997 h 6341252"/>
                <a:gd name="connsiteX25" fmla="*/ 318688 w 318688"/>
                <a:gd name="connsiteY25" fmla="*/ 5448997 h 6341252"/>
                <a:gd name="connsiteX26" fmla="*/ 318688 w 318688"/>
                <a:gd name="connsiteY26" fmla="*/ 5480899 h 6341252"/>
                <a:gd name="connsiteX27" fmla="*/ 286785 w 318688"/>
                <a:gd name="connsiteY27" fmla="*/ 5480899 h 6341252"/>
                <a:gd name="connsiteX28" fmla="*/ 0 w 318688"/>
                <a:gd name="connsiteY28" fmla="*/ 5448997 h 6341252"/>
                <a:gd name="connsiteX29" fmla="*/ 31901 w 318688"/>
                <a:gd name="connsiteY29" fmla="*/ 5448997 h 6341252"/>
                <a:gd name="connsiteX30" fmla="*/ 31901 w 318688"/>
                <a:gd name="connsiteY30" fmla="*/ 5480899 h 6341252"/>
                <a:gd name="connsiteX31" fmla="*/ 0 w 318688"/>
                <a:gd name="connsiteY31" fmla="*/ 5480899 h 6341252"/>
                <a:gd name="connsiteX32" fmla="*/ 286785 w 318688"/>
                <a:gd name="connsiteY32" fmla="*/ 5162213 h 6341252"/>
                <a:gd name="connsiteX33" fmla="*/ 318688 w 318688"/>
                <a:gd name="connsiteY33" fmla="*/ 5162213 h 6341252"/>
                <a:gd name="connsiteX34" fmla="*/ 318688 w 318688"/>
                <a:gd name="connsiteY34" fmla="*/ 5194116 h 6341252"/>
                <a:gd name="connsiteX35" fmla="*/ 286785 w 318688"/>
                <a:gd name="connsiteY35" fmla="*/ 5194116 h 6341252"/>
                <a:gd name="connsiteX36" fmla="*/ 0 w 318688"/>
                <a:gd name="connsiteY36" fmla="*/ 5162213 h 6341252"/>
                <a:gd name="connsiteX37" fmla="*/ 31901 w 318688"/>
                <a:gd name="connsiteY37" fmla="*/ 5162213 h 6341252"/>
                <a:gd name="connsiteX38" fmla="*/ 31901 w 318688"/>
                <a:gd name="connsiteY38" fmla="*/ 5194116 h 6341252"/>
                <a:gd name="connsiteX39" fmla="*/ 0 w 318688"/>
                <a:gd name="connsiteY39" fmla="*/ 5194116 h 6341252"/>
                <a:gd name="connsiteX40" fmla="*/ 286785 w 318688"/>
                <a:gd name="connsiteY40" fmla="*/ 4875429 h 6341252"/>
                <a:gd name="connsiteX41" fmla="*/ 318688 w 318688"/>
                <a:gd name="connsiteY41" fmla="*/ 4875429 h 6341252"/>
                <a:gd name="connsiteX42" fmla="*/ 318688 w 318688"/>
                <a:gd name="connsiteY42" fmla="*/ 4907331 h 6341252"/>
                <a:gd name="connsiteX43" fmla="*/ 286785 w 318688"/>
                <a:gd name="connsiteY43" fmla="*/ 4907331 h 6341252"/>
                <a:gd name="connsiteX44" fmla="*/ 0 w 318688"/>
                <a:gd name="connsiteY44" fmla="*/ 4875429 h 6341252"/>
                <a:gd name="connsiteX45" fmla="*/ 31901 w 318688"/>
                <a:gd name="connsiteY45" fmla="*/ 4875429 h 6341252"/>
                <a:gd name="connsiteX46" fmla="*/ 31901 w 318688"/>
                <a:gd name="connsiteY46" fmla="*/ 4907331 h 6341252"/>
                <a:gd name="connsiteX47" fmla="*/ 0 w 318688"/>
                <a:gd name="connsiteY47" fmla="*/ 4907331 h 6341252"/>
                <a:gd name="connsiteX48" fmla="*/ 286785 w 318688"/>
                <a:gd name="connsiteY48" fmla="*/ 4588644 h 6341252"/>
                <a:gd name="connsiteX49" fmla="*/ 318688 w 318688"/>
                <a:gd name="connsiteY49" fmla="*/ 4588644 h 6341252"/>
                <a:gd name="connsiteX50" fmla="*/ 318688 w 318688"/>
                <a:gd name="connsiteY50" fmla="*/ 4620545 h 6341252"/>
                <a:gd name="connsiteX51" fmla="*/ 286785 w 318688"/>
                <a:gd name="connsiteY51" fmla="*/ 4620545 h 6341252"/>
                <a:gd name="connsiteX52" fmla="*/ 0 w 318688"/>
                <a:gd name="connsiteY52" fmla="*/ 4588644 h 6341252"/>
                <a:gd name="connsiteX53" fmla="*/ 31901 w 318688"/>
                <a:gd name="connsiteY53" fmla="*/ 4588644 h 6341252"/>
                <a:gd name="connsiteX54" fmla="*/ 31901 w 318688"/>
                <a:gd name="connsiteY54" fmla="*/ 4620545 h 6341252"/>
                <a:gd name="connsiteX55" fmla="*/ 0 w 318688"/>
                <a:gd name="connsiteY55" fmla="*/ 4620545 h 6341252"/>
                <a:gd name="connsiteX56" fmla="*/ 286785 w 318688"/>
                <a:gd name="connsiteY56" fmla="*/ 4301860 h 6341252"/>
                <a:gd name="connsiteX57" fmla="*/ 318688 w 318688"/>
                <a:gd name="connsiteY57" fmla="*/ 4301860 h 6341252"/>
                <a:gd name="connsiteX58" fmla="*/ 318688 w 318688"/>
                <a:gd name="connsiteY58" fmla="*/ 4333762 h 6341252"/>
                <a:gd name="connsiteX59" fmla="*/ 286785 w 318688"/>
                <a:gd name="connsiteY59" fmla="*/ 4333762 h 6341252"/>
                <a:gd name="connsiteX60" fmla="*/ 0 w 318688"/>
                <a:gd name="connsiteY60" fmla="*/ 4301860 h 6341252"/>
                <a:gd name="connsiteX61" fmla="*/ 31901 w 318688"/>
                <a:gd name="connsiteY61" fmla="*/ 4301860 h 6341252"/>
                <a:gd name="connsiteX62" fmla="*/ 31901 w 318688"/>
                <a:gd name="connsiteY62" fmla="*/ 4333762 h 6341252"/>
                <a:gd name="connsiteX63" fmla="*/ 0 w 318688"/>
                <a:gd name="connsiteY63" fmla="*/ 4333762 h 6341252"/>
                <a:gd name="connsiteX64" fmla="*/ 286785 w 318688"/>
                <a:gd name="connsiteY64" fmla="*/ 4015075 h 6341252"/>
                <a:gd name="connsiteX65" fmla="*/ 318688 w 318688"/>
                <a:gd name="connsiteY65" fmla="*/ 4015075 h 6341252"/>
                <a:gd name="connsiteX66" fmla="*/ 318688 w 318688"/>
                <a:gd name="connsiteY66" fmla="*/ 4046976 h 6341252"/>
                <a:gd name="connsiteX67" fmla="*/ 286785 w 318688"/>
                <a:gd name="connsiteY67" fmla="*/ 4046976 h 6341252"/>
                <a:gd name="connsiteX68" fmla="*/ 0 w 318688"/>
                <a:gd name="connsiteY68" fmla="*/ 4015075 h 6341252"/>
                <a:gd name="connsiteX69" fmla="*/ 31901 w 318688"/>
                <a:gd name="connsiteY69" fmla="*/ 4015075 h 6341252"/>
                <a:gd name="connsiteX70" fmla="*/ 31901 w 318688"/>
                <a:gd name="connsiteY70" fmla="*/ 4046976 h 6341252"/>
                <a:gd name="connsiteX71" fmla="*/ 0 w 318688"/>
                <a:gd name="connsiteY71" fmla="*/ 4046976 h 6341252"/>
                <a:gd name="connsiteX72" fmla="*/ 286785 w 318688"/>
                <a:gd name="connsiteY72" fmla="*/ 3728291 h 6341252"/>
                <a:gd name="connsiteX73" fmla="*/ 318688 w 318688"/>
                <a:gd name="connsiteY73" fmla="*/ 3728291 h 6341252"/>
                <a:gd name="connsiteX74" fmla="*/ 318688 w 318688"/>
                <a:gd name="connsiteY74" fmla="*/ 3760193 h 6341252"/>
                <a:gd name="connsiteX75" fmla="*/ 286785 w 318688"/>
                <a:gd name="connsiteY75" fmla="*/ 3760193 h 6341252"/>
                <a:gd name="connsiteX76" fmla="*/ 0 w 318688"/>
                <a:gd name="connsiteY76" fmla="*/ 3728291 h 6341252"/>
                <a:gd name="connsiteX77" fmla="*/ 31901 w 318688"/>
                <a:gd name="connsiteY77" fmla="*/ 3728291 h 6341252"/>
                <a:gd name="connsiteX78" fmla="*/ 31901 w 318688"/>
                <a:gd name="connsiteY78" fmla="*/ 3760193 h 6341252"/>
                <a:gd name="connsiteX79" fmla="*/ 0 w 318688"/>
                <a:gd name="connsiteY79" fmla="*/ 3760193 h 6341252"/>
                <a:gd name="connsiteX80" fmla="*/ 286785 w 318688"/>
                <a:gd name="connsiteY80" fmla="*/ 3441515 h 6341252"/>
                <a:gd name="connsiteX81" fmla="*/ 318688 w 318688"/>
                <a:gd name="connsiteY81" fmla="*/ 3441515 h 6341252"/>
                <a:gd name="connsiteX82" fmla="*/ 318688 w 318688"/>
                <a:gd name="connsiteY82" fmla="*/ 3473408 h 6341252"/>
                <a:gd name="connsiteX83" fmla="*/ 286785 w 318688"/>
                <a:gd name="connsiteY83" fmla="*/ 3473408 h 6341252"/>
                <a:gd name="connsiteX84" fmla="*/ 0 w 318688"/>
                <a:gd name="connsiteY84" fmla="*/ 3441514 h 6341252"/>
                <a:gd name="connsiteX85" fmla="*/ 31901 w 318688"/>
                <a:gd name="connsiteY85" fmla="*/ 3441514 h 6341252"/>
                <a:gd name="connsiteX86" fmla="*/ 31901 w 318688"/>
                <a:gd name="connsiteY86" fmla="*/ 3473408 h 6341252"/>
                <a:gd name="connsiteX87" fmla="*/ 0 w 318688"/>
                <a:gd name="connsiteY87" fmla="*/ 3473408 h 6341252"/>
                <a:gd name="connsiteX88" fmla="*/ 286785 w 318688"/>
                <a:gd name="connsiteY88" fmla="*/ 3154732 h 6341252"/>
                <a:gd name="connsiteX89" fmla="*/ 318688 w 318688"/>
                <a:gd name="connsiteY89" fmla="*/ 3154732 h 6341252"/>
                <a:gd name="connsiteX90" fmla="*/ 318688 w 318688"/>
                <a:gd name="connsiteY90" fmla="*/ 3186635 h 6341252"/>
                <a:gd name="connsiteX91" fmla="*/ 286785 w 318688"/>
                <a:gd name="connsiteY91" fmla="*/ 3186635 h 6341252"/>
                <a:gd name="connsiteX92" fmla="*/ 0 w 318688"/>
                <a:gd name="connsiteY92" fmla="*/ 3154731 h 6341252"/>
                <a:gd name="connsiteX93" fmla="*/ 31901 w 318688"/>
                <a:gd name="connsiteY93" fmla="*/ 3154731 h 6341252"/>
                <a:gd name="connsiteX94" fmla="*/ 31901 w 318688"/>
                <a:gd name="connsiteY94" fmla="*/ 3186634 h 6341252"/>
                <a:gd name="connsiteX95" fmla="*/ 0 w 318688"/>
                <a:gd name="connsiteY95" fmla="*/ 3186634 h 6341252"/>
                <a:gd name="connsiteX96" fmla="*/ 286785 w 318688"/>
                <a:gd name="connsiteY96" fmla="*/ 2867859 h 6341252"/>
                <a:gd name="connsiteX97" fmla="*/ 318688 w 318688"/>
                <a:gd name="connsiteY97" fmla="*/ 2867859 h 6341252"/>
                <a:gd name="connsiteX98" fmla="*/ 318688 w 318688"/>
                <a:gd name="connsiteY98" fmla="*/ 2899760 h 6341252"/>
                <a:gd name="connsiteX99" fmla="*/ 286785 w 318688"/>
                <a:gd name="connsiteY99" fmla="*/ 2899760 h 6341252"/>
                <a:gd name="connsiteX100" fmla="*/ 0 w 318688"/>
                <a:gd name="connsiteY100" fmla="*/ 2867855 h 6341252"/>
                <a:gd name="connsiteX101" fmla="*/ 31901 w 318688"/>
                <a:gd name="connsiteY101" fmla="*/ 2867855 h 6341252"/>
                <a:gd name="connsiteX102" fmla="*/ 31901 w 318688"/>
                <a:gd name="connsiteY102" fmla="*/ 2899757 h 6341252"/>
                <a:gd name="connsiteX103" fmla="*/ 0 w 318688"/>
                <a:gd name="connsiteY103" fmla="*/ 2899757 h 6341252"/>
                <a:gd name="connsiteX104" fmla="*/ 286785 w 318688"/>
                <a:gd name="connsiteY104" fmla="*/ 2581076 h 6341252"/>
                <a:gd name="connsiteX105" fmla="*/ 318688 w 318688"/>
                <a:gd name="connsiteY105" fmla="*/ 2581076 h 6341252"/>
                <a:gd name="connsiteX106" fmla="*/ 318688 w 318688"/>
                <a:gd name="connsiteY106" fmla="*/ 2612993 h 6341252"/>
                <a:gd name="connsiteX107" fmla="*/ 286785 w 318688"/>
                <a:gd name="connsiteY107" fmla="*/ 2612993 h 6341252"/>
                <a:gd name="connsiteX108" fmla="*/ 0 w 318688"/>
                <a:gd name="connsiteY108" fmla="*/ 2581073 h 6341252"/>
                <a:gd name="connsiteX109" fmla="*/ 31901 w 318688"/>
                <a:gd name="connsiteY109" fmla="*/ 2581073 h 6341252"/>
                <a:gd name="connsiteX110" fmla="*/ 31901 w 318688"/>
                <a:gd name="connsiteY110" fmla="*/ 2612987 h 6341252"/>
                <a:gd name="connsiteX111" fmla="*/ 0 w 318688"/>
                <a:gd name="connsiteY111" fmla="*/ 2612987 h 6341252"/>
                <a:gd name="connsiteX112" fmla="*/ 286785 w 318688"/>
                <a:gd name="connsiteY112" fmla="*/ 2294287 h 6341252"/>
                <a:gd name="connsiteX113" fmla="*/ 318688 w 318688"/>
                <a:gd name="connsiteY113" fmla="*/ 2294287 h 6341252"/>
                <a:gd name="connsiteX114" fmla="*/ 318688 w 318688"/>
                <a:gd name="connsiteY114" fmla="*/ 2326193 h 6341252"/>
                <a:gd name="connsiteX115" fmla="*/ 286785 w 318688"/>
                <a:gd name="connsiteY115" fmla="*/ 2326193 h 6341252"/>
                <a:gd name="connsiteX116" fmla="*/ 0 w 318688"/>
                <a:gd name="connsiteY116" fmla="*/ 2294283 h 6341252"/>
                <a:gd name="connsiteX117" fmla="*/ 31901 w 318688"/>
                <a:gd name="connsiteY117" fmla="*/ 2294283 h 6341252"/>
                <a:gd name="connsiteX118" fmla="*/ 31901 w 318688"/>
                <a:gd name="connsiteY118" fmla="*/ 2326188 h 6341252"/>
                <a:gd name="connsiteX119" fmla="*/ 0 w 318688"/>
                <a:gd name="connsiteY119" fmla="*/ 2326188 h 6341252"/>
                <a:gd name="connsiteX120" fmla="*/ 286785 w 318688"/>
                <a:gd name="connsiteY120" fmla="*/ 2007498 h 6341252"/>
                <a:gd name="connsiteX121" fmla="*/ 318688 w 318688"/>
                <a:gd name="connsiteY121" fmla="*/ 2007498 h 6341252"/>
                <a:gd name="connsiteX122" fmla="*/ 318688 w 318688"/>
                <a:gd name="connsiteY122" fmla="*/ 2039391 h 6341252"/>
                <a:gd name="connsiteX123" fmla="*/ 286785 w 318688"/>
                <a:gd name="connsiteY123" fmla="*/ 2039391 h 6341252"/>
                <a:gd name="connsiteX124" fmla="*/ 0 w 318688"/>
                <a:gd name="connsiteY124" fmla="*/ 2007496 h 6341252"/>
                <a:gd name="connsiteX125" fmla="*/ 31901 w 318688"/>
                <a:gd name="connsiteY125" fmla="*/ 2007496 h 6341252"/>
                <a:gd name="connsiteX126" fmla="*/ 31901 w 318688"/>
                <a:gd name="connsiteY126" fmla="*/ 2039389 h 6341252"/>
                <a:gd name="connsiteX127" fmla="*/ 0 w 318688"/>
                <a:gd name="connsiteY127" fmla="*/ 2039389 h 6341252"/>
                <a:gd name="connsiteX128" fmla="*/ 286785 w 318688"/>
                <a:gd name="connsiteY128" fmla="*/ 1720711 h 6341252"/>
                <a:gd name="connsiteX129" fmla="*/ 318688 w 318688"/>
                <a:gd name="connsiteY129" fmla="*/ 1720711 h 6341252"/>
                <a:gd name="connsiteX130" fmla="*/ 318688 w 318688"/>
                <a:gd name="connsiteY130" fmla="*/ 1752614 h 6341252"/>
                <a:gd name="connsiteX131" fmla="*/ 286785 w 318688"/>
                <a:gd name="connsiteY131" fmla="*/ 1752614 h 6341252"/>
                <a:gd name="connsiteX132" fmla="*/ 0 w 318688"/>
                <a:gd name="connsiteY132" fmla="*/ 1720709 h 6341252"/>
                <a:gd name="connsiteX133" fmla="*/ 31901 w 318688"/>
                <a:gd name="connsiteY133" fmla="*/ 1720709 h 6341252"/>
                <a:gd name="connsiteX134" fmla="*/ 31901 w 318688"/>
                <a:gd name="connsiteY134" fmla="*/ 1752612 h 6341252"/>
                <a:gd name="connsiteX135" fmla="*/ 0 w 318688"/>
                <a:gd name="connsiteY135" fmla="*/ 1752612 h 6341252"/>
                <a:gd name="connsiteX136" fmla="*/ 286785 w 318688"/>
                <a:gd name="connsiteY136" fmla="*/ 1433930 h 6341252"/>
                <a:gd name="connsiteX137" fmla="*/ 318688 w 318688"/>
                <a:gd name="connsiteY137" fmla="*/ 1433930 h 6341252"/>
                <a:gd name="connsiteX138" fmla="*/ 318688 w 318688"/>
                <a:gd name="connsiteY138" fmla="*/ 1465831 h 6341252"/>
                <a:gd name="connsiteX139" fmla="*/ 286785 w 318688"/>
                <a:gd name="connsiteY139" fmla="*/ 1465831 h 6341252"/>
                <a:gd name="connsiteX140" fmla="*/ 0 w 318688"/>
                <a:gd name="connsiteY140" fmla="*/ 1433927 h 6341252"/>
                <a:gd name="connsiteX141" fmla="*/ 31901 w 318688"/>
                <a:gd name="connsiteY141" fmla="*/ 1433927 h 6341252"/>
                <a:gd name="connsiteX142" fmla="*/ 31901 w 318688"/>
                <a:gd name="connsiteY142" fmla="*/ 1465828 h 6341252"/>
                <a:gd name="connsiteX143" fmla="*/ 0 w 318688"/>
                <a:gd name="connsiteY143" fmla="*/ 1465828 h 6341252"/>
                <a:gd name="connsiteX144" fmla="*/ 286785 w 318688"/>
                <a:gd name="connsiteY144" fmla="*/ 1147150 h 6341252"/>
                <a:gd name="connsiteX145" fmla="*/ 318688 w 318688"/>
                <a:gd name="connsiteY145" fmla="*/ 1147150 h 6341252"/>
                <a:gd name="connsiteX146" fmla="*/ 318688 w 318688"/>
                <a:gd name="connsiteY146" fmla="*/ 1179052 h 6341252"/>
                <a:gd name="connsiteX147" fmla="*/ 286785 w 318688"/>
                <a:gd name="connsiteY147" fmla="*/ 1179052 h 6341252"/>
                <a:gd name="connsiteX148" fmla="*/ 0 w 318688"/>
                <a:gd name="connsiteY148" fmla="*/ 1147146 h 6341252"/>
                <a:gd name="connsiteX149" fmla="*/ 31901 w 318688"/>
                <a:gd name="connsiteY149" fmla="*/ 1147146 h 6341252"/>
                <a:gd name="connsiteX150" fmla="*/ 31901 w 318688"/>
                <a:gd name="connsiteY150" fmla="*/ 1179049 h 6341252"/>
                <a:gd name="connsiteX151" fmla="*/ 0 w 318688"/>
                <a:gd name="connsiteY151" fmla="*/ 1179049 h 6341252"/>
                <a:gd name="connsiteX152" fmla="*/ 286785 w 318688"/>
                <a:gd name="connsiteY152" fmla="*/ 860355 h 6341252"/>
                <a:gd name="connsiteX153" fmla="*/ 318688 w 318688"/>
                <a:gd name="connsiteY153" fmla="*/ 860355 h 6341252"/>
                <a:gd name="connsiteX154" fmla="*/ 318688 w 318688"/>
                <a:gd name="connsiteY154" fmla="*/ 892257 h 6341252"/>
                <a:gd name="connsiteX155" fmla="*/ 286785 w 318688"/>
                <a:gd name="connsiteY155" fmla="*/ 892257 h 6341252"/>
                <a:gd name="connsiteX156" fmla="*/ 0 w 318688"/>
                <a:gd name="connsiteY156" fmla="*/ 860351 h 6341252"/>
                <a:gd name="connsiteX157" fmla="*/ 31901 w 318688"/>
                <a:gd name="connsiteY157" fmla="*/ 860351 h 6341252"/>
                <a:gd name="connsiteX158" fmla="*/ 31901 w 318688"/>
                <a:gd name="connsiteY158" fmla="*/ 892254 h 6341252"/>
                <a:gd name="connsiteX159" fmla="*/ 0 w 318688"/>
                <a:gd name="connsiteY159" fmla="*/ 892254 h 6341252"/>
                <a:gd name="connsiteX160" fmla="*/ 286785 w 318688"/>
                <a:gd name="connsiteY160" fmla="*/ 573571 h 6341252"/>
                <a:gd name="connsiteX161" fmla="*/ 318688 w 318688"/>
                <a:gd name="connsiteY161" fmla="*/ 573571 h 6341252"/>
                <a:gd name="connsiteX162" fmla="*/ 318688 w 318688"/>
                <a:gd name="connsiteY162" fmla="*/ 605472 h 6341252"/>
                <a:gd name="connsiteX163" fmla="*/ 286785 w 318688"/>
                <a:gd name="connsiteY163" fmla="*/ 605472 h 6341252"/>
                <a:gd name="connsiteX164" fmla="*/ 0 w 318688"/>
                <a:gd name="connsiteY164" fmla="*/ 573568 h 6341252"/>
                <a:gd name="connsiteX165" fmla="*/ 31901 w 318688"/>
                <a:gd name="connsiteY165" fmla="*/ 573568 h 6341252"/>
                <a:gd name="connsiteX166" fmla="*/ 31901 w 318688"/>
                <a:gd name="connsiteY166" fmla="*/ 605470 h 6341252"/>
                <a:gd name="connsiteX167" fmla="*/ 0 w 318688"/>
                <a:gd name="connsiteY167" fmla="*/ 605470 h 6341252"/>
                <a:gd name="connsiteX168" fmla="*/ 286785 w 318688"/>
                <a:gd name="connsiteY168" fmla="*/ 286786 h 6341252"/>
                <a:gd name="connsiteX169" fmla="*/ 318688 w 318688"/>
                <a:gd name="connsiteY169" fmla="*/ 286786 h 6341252"/>
                <a:gd name="connsiteX170" fmla="*/ 318688 w 318688"/>
                <a:gd name="connsiteY170" fmla="*/ 318689 h 6341252"/>
                <a:gd name="connsiteX171" fmla="*/ 286785 w 318688"/>
                <a:gd name="connsiteY171" fmla="*/ 318689 h 6341252"/>
                <a:gd name="connsiteX172" fmla="*/ 0 w 318688"/>
                <a:gd name="connsiteY172" fmla="*/ 286784 h 6341252"/>
                <a:gd name="connsiteX173" fmla="*/ 31901 w 318688"/>
                <a:gd name="connsiteY173" fmla="*/ 286784 h 6341252"/>
                <a:gd name="connsiteX174" fmla="*/ 31901 w 318688"/>
                <a:gd name="connsiteY174" fmla="*/ 318687 h 6341252"/>
                <a:gd name="connsiteX175" fmla="*/ 0 w 318688"/>
                <a:gd name="connsiteY175" fmla="*/ 318687 h 6341252"/>
                <a:gd name="connsiteX176" fmla="*/ 286785 w 318688"/>
                <a:gd name="connsiteY176" fmla="*/ 3 h 6341252"/>
                <a:gd name="connsiteX177" fmla="*/ 318688 w 318688"/>
                <a:gd name="connsiteY177" fmla="*/ 3 h 6341252"/>
                <a:gd name="connsiteX178" fmla="*/ 318688 w 318688"/>
                <a:gd name="connsiteY178" fmla="*/ 31906 h 6341252"/>
                <a:gd name="connsiteX179" fmla="*/ 286785 w 318688"/>
                <a:gd name="connsiteY179" fmla="*/ 31906 h 6341252"/>
                <a:gd name="connsiteX180" fmla="*/ 0 w 318688"/>
                <a:gd name="connsiteY180" fmla="*/ 0 h 6341252"/>
                <a:gd name="connsiteX181" fmla="*/ 31901 w 318688"/>
                <a:gd name="connsiteY181" fmla="*/ 0 h 6341252"/>
                <a:gd name="connsiteX182" fmla="*/ 31901 w 318688"/>
                <a:gd name="connsiteY182" fmla="*/ 31903 h 6341252"/>
                <a:gd name="connsiteX183" fmla="*/ 0 w 318688"/>
                <a:gd name="connsiteY183" fmla="*/ 31903 h 6341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318688" h="6341252">
                  <a:moveTo>
                    <a:pt x="286785" y="6309351"/>
                  </a:moveTo>
                  <a:lnTo>
                    <a:pt x="318688" y="6309351"/>
                  </a:lnTo>
                  <a:lnTo>
                    <a:pt x="318688" y="6341252"/>
                  </a:lnTo>
                  <a:lnTo>
                    <a:pt x="286785" y="6341252"/>
                  </a:lnTo>
                  <a:close/>
                  <a:moveTo>
                    <a:pt x="0" y="6309351"/>
                  </a:moveTo>
                  <a:lnTo>
                    <a:pt x="31901" y="6309351"/>
                  </a:lnTo>
                  <a:lnTo>
                    <a:pt x="31901" y="6341252"/>
                  </a:lnTo>
                  <a:lnTo>
                    <a:pt x="0" y="6341252"/>
                  </a:lnTo>
                  <a:close/>
                  <a:moveTo>
                    <a:pt x="286785" y="6022567"/>
                  </a:moveTo>
                  <a:lnTo>
                    <a:pt x="318688" y="6022567"/>
                  </a:lnTo>
                  <a:lnTo>
                    <a:pt x="318688" y="6054468"/>
                  </a:lnTo>
                  <a:lnTo>
                    <a:pt x="286785" y="6054468"/>
                  </a:lnTo>
                  <a:close/>
                  <a:moveTo>
                    <a:pt x="0" y="6022567"/>
                  </a:moveTo>
                  <a:lnTo>
                    <a:pt x="31901" y="6022567"/>
                  </a:lnTo>
                  <a:lnTo>
                    <a:pt x="31901" y="6054468"/>
                  </a:lnTo>
                  <a:lnTo>
                    <a:pt x="0" y="6054468"/>
                  </a:lnTo>
                  <a:close/>
                  <a:moveTo>
                    <a:pt x="286785" y="5735783"/>
                  </a:moveTo>
                  <a:lnTo>
                    <a:pt x="318688" y="5735783"/>
                  </a:lnTo>
                  <a:lnTo>
                    <a:pt x="318688" y="5767685"/>
                  </a:lnTo>
                  <a:lnTo>
                    <a:pt x="286785" y="5767685"/>
                  </a:lnTo>
                  <a:close/>
                  <a:moveTo>
                    <a:pt x="0" y="5735783"/>
                  </a:moveTo>
                  <a:lnTo>
                    <a:pt x="31901" y="5735783"/>
                  </a:lnTo>
                  <a:lnTo>
                    <a:pt x="31901" y="5767685"/>
                  </a:lnTo>
                  <a:lnTo>
                    <a:pt x="0" y="5767685"/>
                  </a:lnTo>
                  <a:close/>
                  <a:moveTo>
                    <a:pt x="286785" y="5448997"/>
                  </a:moveTo>
                  <a:lnTo>
                    <a:pt x="318688" y="5448997"/>
                  </a:lnTo>
                  <a:lnTo>
                    <a:pt x="318688" y="5480899"/>
                  </a:lnTo>
                  <a:lnTo>
                    <a:pt x="286785" y="5480899"/>
                  </a:lnTo>
                  <a:close/>
                  <a:moveTo>
                    <a:pt x="0" y="5448997"/>
                  </a:moveTo>
                  <a:lnTo>
                    <a:pt x="31901" y="5448997"/>
                  </a:lnTo>
                  <a:lnTo>
                    <a:pt x="31901" y="5480899"/>
                  </a:lnTo>
                  <a:lnTo>
                    <a:pt x="0" y="5480899"/>
                  </a:lnTo>
                  <a:close/>
                  <a:moveTo>
                    <a:pt x="286785" y="5162213"/>
                  </a:moveTo>
                  <a:lnTo>
                    <a:pt x="318688" y="5162213"/>
                  </a:lnTo>
                  <a:lnTo>
                    <a:pt x="318688" y="5194116"/>
                  </a:lnTo>
                  <a:lnTo>
                    <a:pt x="286785" y="5194116"/>
                  </a:lnTo>
                  <a:close/>
                  <a:moveTo>
                    <a:pt x="0" y="5162213"/>
                  </a:moveTo>
                  <a:lnTo>
                    <a:pt x="31901" y="5162213"/>
                  </a:lnTo>
                  <a:lnTo>
                    <a:pt x="31901" y="5194116"/>
                  </a:lnTo>
                  <a:lnTo>
                    <a:pt x="0" y="5194116"/>
                  </a:lnTo>
                  <a:close/>
                  <a:moveTo>
                    <a:pt x="286785" y="4875429"/>
                  </a:moveTo>
                  <a:lnTo>
                    <a:pt x="318688" y="4875429"/>
                  </a:lnTo>
                  <a:lnTo>
                    <a:pt x="318688" y="4907331"/>
                  </a:lnTo>
                  <a:lnTo>
                    <a:pt x="286785" y="4907331"/>
                  </a:lnTo>
                  <a:close/>
                  <a:moveTo>
                    <a:pt x="0" y="4875429"/>
                  </a:moveTo>
                  <a:lnTo>
                    <a:pt x="31901" y="4875429"/>
                  </a:lnTo>
                  <a:lnTo>
                    <a:pt x="31901" y="4907331"/>
                  </a:lnTo>
                  <a:lnTo>
                    <a:pt x="0" y="4907331"/>
                  </a:lnTo>
                  <a:close/>
                  <a:moveTo>
                    <a:pt x="286785" y="4588644"/>
                  </a:moveTo>
                  <a:lnTo>
                    <a:pt x="318688" y="4588644"/>
                  </a:lnTo>
                  <a:lnTo>
                    <a:pt x="318688" y="4620545"/>
                  </a:lnTo>
                  <a:lnTo>
                    <a:pt x="286785" y="4620545"/>
                  </a:lnTo>
                  <a:close/>
                  <a:moveTo>
                    <a:pt x="0" y="4588644"/>
                  </a:moveTo>
                  <a:lnTo>
                    <a:pt x="31901" y="4588644"/>
                  </a:lnTo>
                  <a:lnTo>
                    <a:pt x="31901" y="4620545"/>
                  </a:lnTo>
                  <a:lnTo>
                    <a:pt x="0" y="4620545"/>
                  </a:lnTo>
                  <a:close/>
                  <a:moveTo>
                    <a:pt x="286785" y="4301860"/>
                  </a:moveTo>
                  <a:lnTo>
                    <a:pt x="318688" y="4301860"/>
                  </a:lnTo>
                  <a:lnTo>
                    <a:pt x="318688" y="4333762"/>
                  </a:lnTo>
                  <a:lnTo>
                    <a:pt x="286785" y="4333762"/>
                  </a:lnTo>
                  <a:close/>
                  <a:moveTo>
                    <a:pt x="0" y="4301860"/>
                  </a:moveTo>
                  <a:lnTo>
                    <a:pt x="31901" y="4301860"/>
                  </a:lnTo>
                  <a:lnTo>
                    <a:pt x="31901" y="4333762"/>
                  </a:lnTo>
                  <a:lnTo>
                    <a:pt x="0" y="4333762"/>
                  </a:lnTo>
                  <a:close/>
                  <a:moveTo>
                    <a:pt x="286785" y="4015075"/>
                  </a:moveTo>
                  <a:lnTo>
                    <a:pt x="318688" y="4015075"/>
                  </a:lnTo>
                  <a:lnTo>
                    <a:pt x="318688" y="4046976"/>
                  </a:lnTo>
                  <a:lnTo>
                    <a:pt x="286785" y="4046976"/>
                  </a:lnTo>
                  <a:close/>
                  <a:moveTo>
                    <a:pt x="0" y="4015075"/>
                  </a:moveTo>
                  <a:lnTo>
                    <a:pt x="31901" y="4015075"/>
                  </a:lnTo>
                  <a:lnTo>
                    <a:pt x="31901" y="4046976"/>
                  </a:lnTo>
                  <a:lnTo>
                    <a:pt x="0" y="4046976"/>
                  </a:lnTo>
                  <a:close/>
                  <a:moveTo>
                    <a:pt x="286785" y="3728291"/>
                  </a:moveTo>
                  <a:lnTo>
                    <a:pt x="318688" y="3728291"/>
                  </a:lnTo>
                  <a:lnTo>
                    <a:pt x="318688" y="3760193"/>
                  </a:lnTo>
                  <a:lnTo>
                    <a:pt x="286785" y="3760193"/>
                  </a:lnTo>
                  <a:close/>
                  <a:moveTo>
                    <a:pt x="0" y="3728291"/>
                  </a:moveTo>
                  <a:lnTo>
                    <a:pt x="31901" y="3728291"/>
                  </a:lnTo>
                  <a:lnTo>
                    <a:pt x="31901" y="3760193"/>
                  </a:lnTo>
                  <a:lnTo>
                    <a:pt x="0" y="3760193"/>
                  </a:lnTo>
                  <a:close/>
                  <a:moveTo>
                    <a:pt x="286785" y="3441515"/>
                  </a:moveTo>
                  <a:lnTo>
                    <a:pt x="318688" y="3441515"/>
                  </a:lnTo>
                  <a:lnTo>
                    <a:pt x="318688" y="3473408"/>
                  </a:lnTo>
                  <a:lnTo>
                    <a:pt x="286785" y="3473408"/>
                  </a:lnTo>
                  <a:close/>
                  <a:moveTo>
                    <a:pt x="0" y="3441514"/>
                  </a:moveTo>
                  <a:lnTo>
                    <a:pt x="31901" y="3441514"/>
                  </a:lnTo>
                  <a:lnTo>
                    <a:pt x="31901" y="3473408"/>
                  </a:lnTo>
                  <a:lnTo>
                    <a:pt x="0" y="3473408"/>
                  </a:lnTo>
                  <a:close/>
                  <a:moveTo>
                    <a:pt x="286785" y="3154732"/>
                  </a:moveTo>
                  <a:lnTo>
                    <a:pt x="318688" y="3154732"/>
                  </a:lnTo>
                  <a:lnTo>
                    <a:pt x="318688" y="3186635"/>
                  </a:lnTo>
                  <a:lnTo>
                    <a:pt x="286785" y="3186635"/>
                  </a:lnTo>
                  <a:close/>
                  <a:moveTo>
                    <a:pt x="0" y="3154731"/>
                  </a:moveTo>
                  <a:lnTo>
                    <a:pt x="31901" y="3154731"/>
                  </a:lnTo>
                  <a:lnTo>
                    <a:pt x="31901" y="3186634"/>
                  </a:lnTo>
                  <a:lnTo>
                    <a:pt x="0" y="3186634"/>
                  </a:lnTo>
                  <a:close/>
                  <a:moveTo>
                    <a:pt x="286785" y="2867859"/>
                  </a:moveTo>
                  <a:lnTo>
                    <a:pt x="318688" y="2867859"/>
                  </a:lnTo>
                  <a:lnTo>
                    <a:pt x="318688" y="2899760"/>
                  </a:lnTo>
                  <a:lnTo>
                    <a:pt x="286785" y="2899760"/>
                  </a:lnTo>
                  <a:close/>
                  <a:moveTo>
                    <a:pt x="0" y="2867855"/>
                  </a:moveTo>
                  <a:lnTo>
                    <a:pt x="31901" y="2867855"/>
                  </a:lnTo>
                  <a:lnTo>
                    <a:pt x="31901" y="2899757"/>
                  </a:lnTo>
                  <a:lnTo>
                    <a:pt x="0" y="2899757"/>
                  </a:lnTo>
                  <a:close/>
                  <a:moveTo>
                    <a:pt x="286785" y="2581076"/>
                  </a:moveTo>
                  <a:lnTo>
                    <a:pt x="318688" y="2581076"/>
                  </a:lnTo>
                  <a:lnTo>
                    <a:pt x="318688" y="2612993"/>
                  </a:lnTo>
                  <a:lnTo>
                    <a:pt x="286785" y="2612993"/>
                  </a:lnTo>
                  <a:close/>
                  <a:moveTo>
                    <a:pt x="0" y="2581073"/>
                  </a:moveTo>
                  <a:lnTo>
                    <a:pt x="31901" y="2581073"/>
                  </a:lnTo>
                  <a:lnTo>
                    <a:pt x="31901" y="2612987"/>
                  </a:lnTo>
                  <a:lnTo>
                    <a:pt x="0" y="2612987"/>
                  </a:lnTo>
                  <a:close/>
                  <a:moveTo>
                    <a:pt x="286785" y="2294287"/>
                  </a:moveTo>
                  <a:lnTo>
                    <a:pt x="318688" y="2294287"/>
                  </a:lnTo>
                  <a:lnTo>
                    <a:pt x="318688" y="2326193"/>
                  </a:lnTo>
                  <a:lnTo>
                    <a:pt x="286785" y="2326193"/>
                  </a:lnTo>
                  <a:close/>
                  <a:moveTo>
                    <a:pt x="0" y="2294283"/>
                  </a:moveTo>
                  <a:lnTo>
                    <a:pt x="31901" y="2294283"/>
                  </a:lnTo>
                  <a:lnTo>
                    <a:pt x="31901" y="2326188"/>
                  </a:lnTo>
                  <a:lnTo>
                    <a:pt x="0" y="2326188"/>
                  </a:lnTo>
                  <a:close/>
                  <a:moveTo>
                    <a:pt x="286785" y="2007498"/>
                  </a:moveTo>
                  <a:lnTo>
                    <a:pt x="318688" y="2007498"/>
                  </a:lnTo>
                  <a:lnTo>
                    <a:pt x="318688" y="2039391"/>
                  </a:lnTo>
                  <a:lnTo>
                    <a:pt x="286785" y="2039391"/>
                  </a:lnTo>
                  <a:close/>
                  <a:moveTo>
                    <a:pt x="0" y="2007496"/>
                  </a:moveTo>
                  <a:lnTo>
                    <a:pt x="31901" y="2007496"/>
                  </a:lnTo>
                  <a:lnTo>
                    <a:pt x="31901" y="2039389"/>
                  </a:lnTo>
                  <a:lnTo>
                    <a:pt x="0" y="2039389"/>
                  </a:lnTo>
                  <a:close/>
                  <a:moveTo>
                    <a:pt x="286785" y="1720711"/>
                  </a:moveTo>
                  <a:lnTo>
                    <a:pt x="318688" y="1720711"/>
                  </a:lnTo>
                  <a:lnTo>
                    <a:pt x="318688" y="1752614"/>
                  </a:lnTo>
                  <a:lnTo>
                    <a:pt x="286785" y="1752614"/>
                  </a:lnTo>
                  <a:close/>
                  <a:moveTo>
                    <a:pt x="0" y="1720709"/>
                  </a:moveTo>
                  <a:lnTo>
                    <a:pt x="31901" y="1720709"/>
                  </a:lnTo>
                  <a:lnTo>
                    <a:pt x="31901" y="1752612"/>
                  </a:lnTo>
                  <a:lnTo>
                    <a:pt x="0" y="1752612"/>
                  </a:lnTo>
                  <a:close/>
                  <a:moveTo>
                    <a:pt x="286785" y="1433930"/>
                  </a:moveTo>
                  <a:lnTo>
                    <a:pt x="318688" y="1433930"/>
                  </a:lnTo>
                  <a:lnTo>
                    <a:pt x="318688" y="1465831"/>
                  </a:lnTo>
                  <a:lnTo>
                    <a:pt x="286785" y="1465831"/>
                  </a:lnTo>
                  <a:close/>
                  <a:moveTo>
                    <a:pt x="0" y="1433927"/>
                  </a:moveTo>
                  <a:lnTo>
                    <a:pt x="31901" y="1433927"/>
                  </a:lnTo>
                  <a:lnTo>
                    <a:pt x="31901" y="1465828"/>
                  </a:lnTo>
                  <a:lnTo>
                    <a:pt x="0" y="1465828"/>
                  </a:lnTo>
                  <a:close/>
                  <a:moveTo>
                    <a:pt x="286785" y="1147150"/>
                  </a:moveTo>
                  <a:lnTo>
                    <a:pt x="318688" y="1147150"/>
                  </a:lnTo>
                  <a:lnTo>
                    <a:pt x="318688" y="1179052"/>
                  </a:lnTo>
                  <a:lnTo>
                    <a:pt x="286785" y="1179052"/>
                  </a:lnTo>
                  <a:close/>
                  <a:moveTo>
                    <a:pt x="0" y="1147146"/>
                  </a:moveTo>
                  <a:lnTo>
                    <a:pt x="31901" y="1147146"/>
                  </a:lnTo>
                  <a:lnTo>
                    <a:pt x="31901" y="1179049"/>
                  </a:lnTo>
                  <a:lnTo>
                    <a:pt x="0" y="1179049"/>
                  </a:lnTo>
                  <a:close/>
                  <a:moveTo>
                    <a:pt x="286785" y="860355"/>
                  </a:moveTo>
                  <a:lnTo>
                    <a:pt x="318688" y="860355"/>
                  </a:lnTo>
                  <a:lnTo>
                    <a:pt x="318688" y="892257"/>
                  </a:lnTo>
                  <a:lnTo>
                    <a:pt x="286785" y="892257"/>
                  </a:lnTo>
                  <a:close/>
                  <a:moveTo>
                    <a:pt x="0" y="860351"/>
                  </a:moveTo>
                  <a:lnTo>
                    <a:pt x="31901" y="860351"/>
                  </a:lnTo>
                  <a:lnTo>
                    <a:pt x="31901" y="892254"/>
                  </a:lnTo>
                  <a:lnTo>
                    <a:pt x="0" y="892254"/>
                  </a:lnTo>
                  <a:close/>
                  <a:moveTo>
                    <a:pt x="286785" y="573571"/>
                  </a:moveTo>
                  <a:lnTo>
                    <a:pt x="318688" y="573571"/>
                  </a:lnTo>
                  <a:lnTo>
                    <a:pt x="318688" y="605472"/>
                  </a:lnTo>
                  <a:lnTo>
                    <a:pt x="286785" y="605472"/>
                  </a:lnTo>
                  <a:close/>
                  <a:moveTo>
                    <a:pt x="0" y="573568"/>
                  </a:moveTo>
                  <a:lnTo>
                    <a:pt x="31901" y="573568"/>
                  </a:lnTo>
                  <a:lnTo>
                    <a:pt x="31901" y="605470"/>
                  </a:lnTo>
                  <a:lnTo>
                    <a:pt x="0" y="605470"/>
                  </a:lnTo>
                  <a:close/>
                  <a:moveTo>
                    <a:pt x="286785" y="286786"/>
                  </a:moveTo>
                  <a:lnTo>
                    <a:pt x="318688" y="286786"/>
                  </a:lnTo>
                  <a:lnTo>
                    <a:pt x="318688" y="318689"/>
                  </a:lnTo>
                  <a:lnTo>
                    <a:pt x="286785" y="318689"/>
                  </a:lnTo>
                  <a:close/>
                  <a:moveTo>
                    <a:pt x="0" y="286784"/>
                  </a:moveTo>
                  <a:lnTo>
                    <a:pt x="31901" y="286784"/>
                  </a:lnTo>
                  <a:lnTo>
                    <a:pt x="31901" y="318687"/>
                  </a:lnTo>
                  <a:lnTo>
                    <a:pt x="0" y="318687"/>
                  </a:lnTo>
                  <a:close/>
                  <a:moveTo>
                    <a:pt x="286785" y="3"/>
                  </a:moveTo>
                  <a:lnTo>
                    <a:pt x="318688" y="3"/>
                  </a:lnTo>
                  <a:lnTo>
                    <a:pt x="318688" y="31906"/>
                  </a:lnTo>
                  <a:lnTo>
                    <a:pt x="286785" y="31906"/>
                  </a:lnTo>
                  <a:close/>
                  <a:moveTo>
                    <a:pt x="0" y="0"/>
                  </a:moveTo>
                  <a:lnTo>
                    <a:pt x="31901" y="0"/>
                  </a:lnTo>
                  <a:lnTo>
                    <a:pt x="31901" y="31903"/>
                  </a:lnTo>
                  <a:lnTo>
                    <a:pt x="0" y="31903"/>
                  </a:lnTo>
                  <a:close/>
                </a:path>
              </a:pathLst>
            </a:custGeom>
            <a:grpFill/>
            <a:ln w="10294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01610C87-FCDE-46C3-9E2E-739916D61405}"/>
                </a:ext>
              </a:extLst>
            </p:cNvPr>
            <p:cNvSpPr/>
            <p:nvPr userDrawn="1"/>
          </p:nvSpPr>
          <p:spPr>
            <a:xfrm>
              <a:off x="9346573" y="258374"/>
              <a:ext cx="318688" cy="6341252"/>
            </a:xfrm>
            <a:custGeom>
              <a:avLst/>
              <a:gdLst>
                <a:gd name="connsiteX0" fmla="*/ 286785 w 318688"/>
                <a:gd name="connsiteY0" fmla="*/ 6309351 h 6341252"/>
                <a:gd name="connsiteX1" fmla="*/ 318688 w 318688"/>
                <a:gd name="connsiteY1" fmla="*/ 6309351 h 6341252"/>
                <a:gd name="connsiteX2" fmla="*/ 318688 w 318688"/>
                <a:gd name="connsiteY2" fmla="*/ 6341252 h 6341252"/>
                <a:gd name="connsiteX3" fmla="*/ 286785 w 318688"/>
                <a:gd name="connsiteY3" fmla="*/ 6341252 h 6341252"/>
                <a:gd name="connsiteX4" fmla="*/ 0 w 318688"/>
                <a:gd name="connsiteY4" fmla="*/ 6309351 h 6341252"/>
                <a:gd name="connsiteX5" fmla="*/ 31901 w 318688"/>
                <a:gd name="connsiteY5" fmla="*/ 6309351 h 6341252"/>
                <a:gd name="connsiteX6" fmla="*/ 31901 w 318688"/>
                <a:gd name="connsiteY6" fmla="*/ 6341252 h 6341252"/>
                <a:gd name="connsiteX7" fmla="*/ 0 w 318688"/>
                <a:gd name="connsiteY7" fmla="*/ 6341252 h 6341252"/>
                <a:gd name="connsiteX8" fmla="*/ 286785 w 318688"/>
                <a:gd name="connsiteY8" fmla="*/ 6022567 h 6341252"/>
                <a:gd name="connsiteX9" fmla="*/ 318688 w 318688"/>
                <a:gd name="connsiteY9" fmla="*/ 6022567 h 6341252"/>
                <a:gd name="connsiteX10" fmla="*/ 318688 w 318688"/>
                <a:gd name="connsiteY10" fmla="*/ 6054468 h 6341252"/>
                <a:gd name="connsiteX11" fmla="*/ 286785 w 318688"/>
                <a:gd name="connsiteY11" fmla="*/ 6054468 h 6341252"/>
                <a:gd name="connsiteX12" fmla="*/ 0 w 318688"/>
                <a:gd name="connsiteY12" fmla="*/ 6022567 h 6341252"/>
                <a:gd name="connsiteX13" fmla="*/ 31901 w 318688"/>
                <a:gd name="connsiteY13" fmla="*/ 6022567 h 6341252"/>
                <a:gd name="connsiteX14" fmla="*/ 31901 w 318688"/>
                <a:gd name="connsiteY14" fmla="*/ 6054468 h 6341252"/>
                <a:gd name="connsiteX15" fmla="*/ 0 w 318688"/>
                <a:gd name="connsiteY15" fmla="*/ 6054468 h 6341252"/>
                <a:gd name="connsiteX16" fmla="*/ 286785 w 318688"/>
                <a:gd name="connsiteY16" fmla="*/ 5735783 h 6341252"/>
                <a:gd name="connsiteX17" fmla="*/ 318688 w 318688"/>
                <a:gd name="connsiteY17" fmla="*/ 5735783 h 6341252"/>
                <a:gd name="connsiteX18" fmla="*/ 318688 w 318688"/>
                <a:gd name="connsiteY18" fmla="*/ 5767685 h 6341252"/>
                <a:gd name="connsiteX19" fmla="*/ 286785 w 318688"/>
                <a:gd name="connsiteY19" fmla="*/ 5767685 h 6341252"/>
                <a:gd name="connsiteX20" fmla="*/ 0 w 318688"/>
                <a:gd name="connsiteY20" fmla="*/ 5735783 h 6341252"/>
                <a:gd name="connsiteX21" fmla="*/ 31901 w 318688"/>
                <a:gd name="connsiteY21" fmla="*/ 5735783 h 6341252"/>
                <a:gd name="connsiteX22" fmla="*/ 31901 w 318688"/>
                <a:gd name="connsiteY22" fmla="*/ 5767685 h 6341252"/>
                <a:gd name="connsiteX23" fmla="*/ 0 w 318688"/>
                <a:gd name="connsiteY23" fmla="*/ 5767685 h 6341252"/>
                <a:gd name="connsiteX24" fmla="*/ 286785 w 318688"/>
                <a:gd name="connsiteY24" fmla="*/ 5448997 h 6341252"/>
                <a:gd name="connsiteX25" fmla="*/ 318688 w 318688"/>
                <a:gd name="connsiteY25" fmla="*/ 5448997 h 6341252"/>
                <a:gd name="connsiteX26" fmla="*/ 318688 w 318688"/>
                <a:gd name="connsiteY26" fmla="*/ 5480899 h 6341252"/>
                <a:gd name="connsiteX27" fmla="*/ 286785 w 318688"/>
                <a:gd name="connsiteY27" fmla="*/ 5480899 h 6341252"/>
                <a:gd name="connsiteX28" fmla="*/ 0 w 318688"/>
                <a:gd name="connsiteY28" fmla="*/ 5448997 h 6341252"/>
                <a:gd name="connsiteX29" fmla="*/ 31901 w 318688"/>
                <a:gd name="connsiteY29" fmla="*/ 5448997 h 6341252"/>
                <a:gd name="connsiteX30" fmla="*/ 31901 w 318688"/>
                <a:gd name="connsiteY30" fmla="*/ 5480899 h 6341252"/>
                <a:gd name="connsiteX31" fmla="*/ 0 w 318688"/>
                <a:gd name="connsiteY31" fmla="*/ 5480899 h 6341252"/>
                <a:gd name="connsiteX32" fmla="*/ 286785 w 318688"/>
                <a:gd name="connsiteY32" fmla="*/ 5162213 h 6341252"/>
                <a:gd name="connsiteX33" fmla="*/ 318688 w 318688"/>
                <a:gd name="connsiteY33" fmla="*/ 5162213 h 6341252"/>
                <a:gd name="connsiteX34" fmla="*/ 318688 w 318688"/>
                <a:gd name="connsiteY34" fmla="*/ 5194116 h 6341252"/>
                <a:gd name="connsiteX35" fmla="*/ 286785 w 318688"/>
                <a:gd name="connsiteY35" fmla="*/ 5194116 h 6341252"/>
                <a:gd name="connsiteX36" fmla="*/ 0 w 318688"/>
                <a:gd name="connsiteY36" fmla="*/ 5162213 h 6341252"/>
                <a:gd name="connsiteX37" fmla="*/ 31901 w 318688"/>
                <a:gd name="connsiteY37" fmla="*/ 5162213 h 6341252"/>
                <a:gd name="connsiteX38" fmla="*/ 31901 w 318688"/>
                <a:gd name="connsiteY38" fmla="*/ 5194116 h 6341252"/>
                <a:gd name="connsiteX39" fmla="*/ 0 w 318688"/>
                <a:gd name="connsiteY39" fmla="*/ 5194116 h 6341252"/>
                <a:gd name="connsiteX40" fmla="*/ 286785 w 318688"/>
                <a:gd name="connsiteY40" fmla="*/ 4875429 h 6341252"/>
                <a:gd name="connsiteX41" fmla="*/ 318688 w 318688"/>
                <a:gd name="connsiteY41" fmla="*/ 4875429 h 6341252"/>
                <a:gd name="connsiteX42" fmla="*/ 318688 w 318688"/>
                <a:gd name="connsiteY42" fmla="*/ 4907331 h 6341252"/>
                <a:gd name="connsiteX43" fmla="*/ 286785 w 318688"/>
                <a:gd name="connsiteY43" fmla="*/ 4907331 h 6341252"/>
                <a:gd name="connsiteX44" fmla="*/ 0 w 318688"/>
                <a:gd name="connsiteY44" fmla="*/ 4875429 h 6341252"/>
                <a:gd name="connsiteX45" fmla="*/ 31901 w 318688"/>
                <a:gd name="connsiteY45" fmla="*/ 4875429 h 6341252"/>
                <a:gd name="connsiteX46" fmla="*/ 31901 w 318688"/>
                <a:gd name="connsiteY46" fmla="*/ 4907331 h 6341252"/>
                <a:gd name="connsiteX47" fmla="*/ 0 w 318688"/>
                <a:gd name="connsiteY47" fmla="*/ 4907331 h 6341252"/>
                <a:gd name="connsiteX48" fmla="*/ 286785 w 318688"/>
                <a:gd name="connsiteY48" fmla="*/ 4588644 h 6341252"/>
                <a:gd name="connsiteX49" fmla="*/ 318688 w 318688"/>
                <a:gd name="connsiteY49" fmla="*/ 4588644 h 6341252"/>
                <a:gd name="connsiteX50" fmla="*/ 318688 w 318688"/>
                <a:gd name="connsiteY50" fmla="*/ 4620545 h 6341252"/>
                <a:gd name="connsiteX51" fmla="*/ 286785 w 318688"/>
                <a:gd name="connsiteY51" fmla="*/ 4620545 h 6341252"/>
                <a:gd name="connsiteX52" fmla="*/ 0 w 318688"/>
                <a:gd name="connsiteY52" fmla="*/ 4588644 h 6341252"/>
                <a:gd name="connsiteX53" fmla="*/ 31901 w 318688"/>
                <a:gd name="connsiteY53" fmla="*/ 4588644 h 6341252"/>
                <a:gd name="connsiteX54" fmla="*/ 31901 w 318688"/>
                <a:gd name="connsiteY54" fmla="*/ 4620545 h 6341252"/>
                <a:gd name="connsiteX55" fmla="*/ 0 w 318688"/>
                <a:gd name="connsiteY55" fmla="*/ 4620545 h 6341252"/>
                <a:gd name="connsiteX56" fmla="*/ 286785 w 318688"/>
                <a:gd name="connsiteY56" fmla="*/ 4301860 h 6341252"/>
                <a:gd name="connsiteX57" fmla="*/ 318688 w 318688"/>
                <a:gd name="connsiteY57" fmla="*/ 4301860 h 6341252"/>
                <a:gd name="connsiteX58" fmla="*/ 318688 w 318688"/>
                <a:gd name="connsiteY58" fmla="*/ 4333762 h 6341252"/>
                <a:gd name="connsiteX59" fmla="*/ 286785 w 318688"/>
                <a:gd name="connsiteY59" fmla="*/ 4333762 h 6341252"/>
                <a:gd name="connsiteX60" fmla="*/ 0 w 318688"/>
                <a:gd name="connsiteY60" fmla="*/ 4301860 h 6341252"/>
                <a:gd name="connsiteX61" fmla="*/ 31901 w 318688"/>
                <a:gd name="connsiteY61" fmla="*/ 4301860 h 6341252"/>
                <a:gd name="connsiteX62" fmla="*/ 31901 w 318688"/>
                <a:gd name="connsiteY62" fmla="*/ 4333762 h 6341252"/>
                <a:gd name="connsiteX63" fmla="*/ 0 w 318688"/>
                <a:gd name="connsiteY63" fmla="*/ 4333762 h 6341252"/>
                <a:gd name="connsiteX64" fmla="*/ 286785 w 318688"/>
                <a:gd name="connsiteY64" fmla="*/ 4015075 h 6341252"/>
                <a:gd name="connsiteX65" fmla="*/ 318688 w 318688"/>
                <a:gd name="connsiteY65" fmla="*/ 4015075 h 6341252"/>
                <a:gd name="connsiteX66" fmla="*/ 318688 w 318688"/>
                <a:gd name="connsiteY66" fmla="*/ 4046976 h 6341252"/>
                <a:gd name="connsiteX67" fmla="*/ 286785 w 318688"/>
                <a:gd name="connsiteY67" fmla="*/ 4046976 h 6341252"/>
                <a:gd name="connsiteX68" fmla="*/ 0 w 318688"/>
                <a:gd name="connsiteY68" fmla="*/ 4015075 h 6341252"/>
                <a:gd name="connsiteX69" fmla="*/ 31901 w 318688"/>
                <a:gd name="connsiteY69" fmla="*/ 4015075 h 6341252"/>
                <a:gd name="connsiteX70" fmla="*/ 31901 w 318688"/>
                <a:gd name="connsiteY70" fmla="*/ 4046976 h 6341252"/>
                <a:gd name="connsiteX71" fmla="*/ 0 w 318688"/>
                <a:gd name="connsiteY71" fmla="*/ 4046976 h 6341252"/>
                <a:gd name="connsiteX72" fmla="*/ 286785 w 318688"/>
                <a:gd name="connsiteY72" fmla="*/ 3728291 h 6341252"/>
                <a:gd name="connsiteX73" fmla="*/ 318688 w 318688"/>
                <a:gd name="connsiteY73" fmla="*/ 3728291 h 6341252"/>
                <a:gd name="connsiteX74" fmla="*/ 318688 w 318688"/>
                <a:gd name="connsiteY74" fmla="*/ 3760193 h 6341252"/>
                <a:gd name="connsiteX75" fmla="*/ 286785 w 318688"/>
                <a:gd name="connsiteY75" fmla="*/ 3760193 h 6341252"/>
                <a:gd name="connsiteX76" fmla="*/ 0 w 318688"/>
                <a:gd name="connsiteY76" fmla="*/ 3728291 h 6341252"/>
                <a:gd name="connsiteX77" fmla="*/ 31901 w 318688"/>
                <a:gd name="connsiteY77" fmla="*/ 3728291 h 6341252"/>
                <a:gd name="connsiteX78" fmla="*/ 31901 w 318688"/>
                <a:gd name="connsiteY78" fmla="*/ 3760193 h 6341252"/>
                <a:gd name="connsiteX79" fmla="*/ 0 w 318688"/>
                <a:gd name="connsiteY79" fmla="*/ 3760193 h 6341252"/>
                <a:gd name="connsiteX80" fmla="*/ 286785 w 318688"/>
                <a:gd name="connsiteY80" fmla="*/ 3441515 h 6341252"/>
                <a:gd name="connsiteX81" fmla="*/ 318688 w 318688"/>
                <a:gd name="connsiteY81" fmla="*/ 3441515 h 6341252"/>
                <a:gd name="connsiteX82" fmla="*/ 318688 w 318688"/>
                <a:gd name="connsiteY82" fmla="*/ 3473408 h 6341252"/>
                <a:gd name="connsiteX83" fmla="*/ 286785 w 318688"/>
                <a:gd name="connsiteY83" fmla="*/ 3473408 h 6341252"/>
                <a:gd name="connsiteX84" fmla="*/ 0 w 318688"/>
                <a:gd name="connsiteY84" fmla="*/ 3441514 h 6341252"/>
                <a:gd name="connsiteX85" fmla="*/ 31901 w 318688"/>
                <a:gd name="connsiteY85" fmla="*/ 3441514 h 6341252"/>
                <a:gd name="connsiteX86" fmla="*/ 31901 w 318688"/>
                <a:gd name="connsiteY86" fmla="*/ 3473408 h 6341252"/>
                <a:gd name="connsiteX87" fmla="*/ 0 w 318688"/>
                <a:gd name="connsiteY87" fmla="*/ 3473408 h 6341252"/>
                <a:gd name="connsiteX88" fmla="*/ 286785 w 318688"/>
                <a:gd name="connsiteY88" fmla="*/ 3154732 h 6341252"/>
                <a:gd name="connsiteX89" fmla="*/ 318688 w 318688"/>
                <a:gd name="connsiteY89" fmla="*/ 3154732 h 6341252"/>
                <a:gd name="connsiteX90" fmla="*/ 318688 w 318688"/>
                <a:gd name="connsiteY90" fmla="*/ 3186635 h 6341252"/>
                <a:gd name="connsiteX91" fmla="*/ 286785 w 318688"/>
                <a:gd name="connsiteY91" fmla="*/ 3186635 h 6341252"/>
                <a:gd name="connsiteX92" fmla="*/ 0 w 318688"/>
                <a:gd name="connsiteY92" fmla="*/ 3154731 h 6341252"/>
                <a:gd name="connsiteX93" fmla="*/ 31901 w 318688"/>
                <a:gd name="connsiteY93" fmla="*/ 3154731 h 6341252"/>
                <a:gd name="connsiteX94" fmla="*/ 31901 w 318688"/>
                <a:gd name="connsiteY94" fmla="*/ 3186634 h 6341252"/>
                <a:gd name="connsiteX95" fmla="*/ 0 w 318688"/>
                <a:gd name="connsiteY95" fmla="*/ 3186634 h 6341252"/>
                <a:gd name="connsiteX96" fmla="*/ 286785 w 318688"/>
                <a:gd name="connsiteY96" fmla="*/ 2867859 h 6341252"/>
                <a:gd name="connsiteX97" fmla="*/ 318688 w 318688"/>
                <a:gd name="connsiteY97" fmla="*/ 2867859 h 6341252"/>
                <a:gd name="connsiteX98" fmla="*/ 318688 w 318688"/>
                <a:gd name="connsiteY98" fmla="*/ 2899760 h 6341252"/>
                <a:gd name="connsiteX99" fmla="*/ 286785 w 318688"/>
                <a:gd name="connsiteY99" fmla="*/ 2899760 h 6341252"/>
                <a:gd name="connsiteX100" fmla="*/ 0 w 318688"/>
                <a:gd name="connsiteY100" fmla="*/ 2867855 h 6341252"/>
                <a:gd name="connsiteX101" fmla="*/ 31901 w 318688"/>
                <a:gd name="connsiteY101" fmla="*/ 2867855 h 6341252"/>
                <a:gd name="connsiteX102" fmla="*/ 31901 w 318688"/>
                <a:gd name="connsiteY102" fmla="*/ 2899757 h 6341252"/>
                <a:gd name="connsiteX103" fmla="*/ 0 w 318688"/>
                <a:gd name="connsiteY103" fmla="*/ 2899757 h 6341252"/>
                <a:gd name="connsiteX104" fmla="*/ 286785 w 318688"/>
                <a:gd name="connsiteY104" fmla="*/ 2581076 h 6341252"/>
                <a:gd name="connsiteX105" fmla="*/ 318688 w 318688"/>
                <a:gd name="connsiteY105" fmla="*/ 2581076 h 6341252"/>
                <a:gd name="connsiteX106" fmla="*/ 318688 w 318688"/>
                <a:gd name="connsiteY106" fmla="*/ 2612993 h 6341252"/>
                <a:gd name="connsiteX107" fmla="*/ 286785 w 318688"/>
                <a:gd name="connsiteY107" fmla="*/ 2612993 h 6341252"/>
                <a:gd name="connsiteX108" fmla="*/ 0 w 318688"/>
                <a:gd name="connsiteY108" fmla="*/ 2581073 h 6341252"/>
                <a:gd name="connsiteX109" fmla="*/ 31901 w 318688"/>
                <a:gd name="connsiteY109" fmla="*/ 2581073 h 6341252"/>
                <a:gd name="connsiteX110" fmla="*/ 31901 w 318688"/>
                <a:gd name="connsiteY110" fmla="*/ 2612987 h 6341252"/>
                <a:gd name="connsiteX111" fmla="*/ 0 w 318688"/>
                <a:gd name="connsiteY111" fmla="*/ 2612987 h 6341252"/>
                <a:gd name="connsiteX112" fmla="*/ 286785 w 318688"/>
                <a:gd name="connsiteY112" fmla="*/ 2294287 h 6341252"/>
                <a:gd name="connsiteX113" fmla="*/ 318688 w 318688"/>
                <a:gd name="connsiteY113" fmla="*/ 2294287 h 6341252"/>
                <a:gd name="connsiteX114" fmla="*/ 318688 w 318688"/>
                <a:gd name="connsiteY114" fmla="*/ 2326193 h 6341252"/>
                <a:gd name="connsiteX115" fmla="*/ 286785 w 318688"/>
                <a:gd name="connsiteY115" fmla="*/ 2326193 h 6341252"/>
                <a:gd name="connsiteX116" fmla="*/ 0 w 318688"/>
                <a:gd name="connsiteY116" fmla="*/ 2294283 h 6341252"/>
                <a:gd name="connsiteX117" fmla="*/ 31901 w 318688"/>
                <a:gd name="connsiteY117" fmla="*/ 2294283 h 6341252"/>
                <a:gd name="connsiteX118" fmla="*/ 31901 w 318688"/>
                <a:gd name="connsiteY118" fmla="*/ 2326188 h 6341252"/>
                <a:gd name="connsiteX119" fmla="*/ 0 w 318688"/>
                <a:gd name="connsiteY119" fmla="*/ 2326188 h 6341252"/>
                <a:gd name="connsiteX120" fmla="*/ 286785 w 318688"/>
                <a:gd name="connsiteY120" fmla="*/ 2007498 h 6341252"/>
                <a:gd name="connsiteX121" fmla="*/ 318688 w 318688"/>
                <a:gd name="connsiteY121" fmla="*/ 2007498 h 6341252"/>
                <a:gd name="connsiteX122" fmla="*/ 318688 w 318688"/>
                <a:gd name="connsiteY122" fmla="*/ 2039391 h 6341252"/>
                <a:gd name="connsiteX123" fmla="*/ 286785 w 318688"/>
                <a:gd name="connsiteY123" fmla="*/ 2039391 h 6341252"/>
                <a:gd name="connsiteX124" fmla="*/ 0 w 318688"/>
                <a:gd name="connsiteY124" fmla="*/ 2007496 h 6341252"/>
                <a:gd name="connsiteX125" fmla="*/ 31901 w 318688"/>
                <a:gd name="connsiteY125" fmla="*/ 2007496 h 6341252"/>
                <a:gd name="connsiteX126" fmla="*/ 31901 w 318688"/>
                <a:gd name="connsiteY126" fmla="*/ 2039389 h 6341252"/>
                <a:gd name="connsiteX127" fmla="*/ 0 w 318688"/>
                <a:gd name="connsiteY127" fmla="*/ 2039389 h 6341252"/>
                <a:gd name="connsiteX128" fmla="*/ 286785 w 318688"/>
                <a:gd name="connsiteY128" fmla="*/ 1720711 h 6341252"/>
                <a:gd name="connsiteX129" fmla="*/ 318688 w 318688"/>
                <a:gd name="connsiteY129" fmla="*/ 1720711 h 6341252"/>
                <a:gd name="connsiteX130" fmla="*/ 318688 w 318688"/>
                <a:gd name="connsiteY130" fmla="*/ 1752614 h 6341252"/>
                <a:gd name="connsiteX131" fmla="*/ 286785 w 318688"/>
                <a:gd name="connsiteY131" fmla="*/ 1752614 h 6341252"/>
                <a:gd name="connsiteX132" fmla="*/ 0 w 318688"/>
                <a:gd name="connsiteY132" fmla="*/ 1720709 h 6341252"/>
                <a:gd name="connsiteX133" fmla="*/ 31901 w 318688"/>
                <a:gd name="connsiteY133" fmla="*/ 1720709 h 6341252"/>
                <a:gd name="connsiteX134" fmla="*/ 31901 w 318688"/>
                <a:gd name="connsiteY134" fmla="*/ 1752612 h 6341252"/>
                <a:gd name="connsiteX135" fmla="*/ 0 w 318688"/>
                <a:gd name="connsiteY135" fmla="*/ 1752612 h 6341252"/>
                <a:gd name="connsiteX136" fmla="*/ 286785 w 318688"/>
                <a:gd name="connsiteY136" fmla="*/ 1433930 h 6341252"/>
                <a:gd name="connsiteX137" fmla="*/ 318688 w 318688"/>
                <a:gd name="connsiteY137" fmla="*/ 1433930 h 6341252"/>
                <a:gd name="connsiteX138" fmla="*/ 318688 w 318688"/>
                <a:gd name="connsiteY138" fmla="*/ 1465831 h 6341252"/>
                <a:gd name="connsiteX139" fmla="*/ 286785 w 318688"/>
                <a:gd name="connsiteY139" fmla="*/ 1465831 h 6341252"/>
                <a:gd name="connsiteX140" fmla="*/ 0 w 318688"/>
                <a:gd name="connsiteY140" fmla="*/ 1433927 h 6341252"/>
                <a:gd name="connsiteX141" fmla="*/ 31901 w 318688"/>
                <a:gd name="connsiteY141" fmla="*/ 1433927 h 6341252"/>
                <a:gd name="connsiteX142" fmla="*/ 31901 w 318688"/>
                <a:gd name="connsiteY142" fmla="*/ 1465828 h 6341252"/>
                <a:gd name="connsiteX143" fmla="*/ 0 w 318688"/>
                <a:gd name="connsiteY143" fmla="*/ 1465828 h 6341252"/>
                <a:gd name="connsiteX144" fmla="*/ 286785 w 318688"/>
                <a:gd name="connsiteY144" fmla="*/ 1147150 h 6341252"/>
                <a:gd name="connsiteX145" fmla="*/ 318688 w 318688"/>
                <a:gd name="connsiteY145" fmla="*/ 1147150 h 6341252"/>
                <a:gd name="connsiteX146" fmla="*/ 318688 w 318688"/>
                <a:gd name="connsiteY146" fmla="*/ 1179052 h 6341252"/>
                <a:gd name="connsiteX147" fmla="*/ 286785 w 318688"/>
                <a:gd name="connsiteY147" fmla="*/ 1179052 h 6341252"/>
                <a:gd name="connsiteX148" fmla="*/ 0 w 318688"/>
                <a:gd name="connsiteY148" fmla="*/ 1147146 h 6341252"/>
                <a:gd name="connsiteX149" fmla="*/ 31901 w 318688"/>
                <a:gd name="connsiteY149" fmla="*/ 1147146 h 6341252"/>
                <a:gd name="connsiteX150" fmla="*/ 31901 w 318688"/>
                <a:gd name="connsiteY150" fmla="*/ 1179049 h 6341252"/>
                <a:gd name="connsiteX151" fmla="*/ 0 w 318688"/>
                <a:gd name="connsiteY151" fmla="*/ 1179049 h 6341252"/>
                <a:gd name="connsiteX152" fmla="*/ 286785 w 318688"/>
                <a:gd name="connsiteY152" fmla="*/ 860355 h 6341252"/>
                <a:gd name="connsiteX153" fmla="*/ 318688 w 318688"/>
                <a:gd name="connsiteY153" fmla="*/ 860355 h 6341252"/>
                <a:gd name="connsiteX154" fmla="*/ 318688 w 318688"/>
                <a:gd name="connsiteY154" fmla="*/ 892257 h 6341252"/>
                <a:gd name="connsiteX155" fmla="*/ 286785 w 318688"/>
                <a:gd name="connsiteY155" fmla="*/ 892257 h 6341252"/>
                <a:gd name="connsiteX156" fmla="*/ 0 w 318688"/>
                <a:gd name="connsiteY156" fmla="*/ 860351 h 6341252"/>
                <a:gd name="connsiteX157" fmla="*/ 31901 w 318688"/>
                <a:gd name="connsiteY157" fmla="*/ 860351 h 6341252"/>
                <a:gd name="connsiteX158" fmla="*/ 31901 w 318688"/>
                <a:gd name="connsiteY158" fmla="*/ 892254 h 6341252"/>
                <a:gd name="connsiteX159" fmla="*/ 0 w 318688"/>
                <a:gd name="connsiteY159" fmla="*/ 892254 h 6341252"/>
                <a:gd name="connsiteX160" fmla="*/ 286785 w 318688"/>
                <a:gd name="connsiteY160" fmla="*/ 573571 h 6341252"/>
                <a:gd name="connsiteX161" fmla="*/ 318688 w 318688"/>
                <a:gd name="connsiteY161" fmla="*/ 573571 h 6341252"/>
                <a:gd name="connsiteX162" fmla="*/ 318688 w 318688"/>
                <a:gd name="connsiteY162" fmla="*/ 605472 h 6341252"/>
                <a:gd name="connsiteX163" fmla="*/ 286785 w 318688"/>
                <a:gd name="connsiteY163" fmla="*/ 605472 h 6341252"/>
                <a:gd name="connsiteX164" fmla="*/ 0 w 318688"/>
                <a:gd name="connsiteY164" fmla="*/ 573568 h 6341252"/>
                <a:gd name="connsiteX165" fmla="*/ 31901 w 318688"/>
                <a:gd name="connsiteY165" fmla="*/ 573568 h 6341252"/>
                <a:gd name="connsiteX166" fmla="*/ 31901 w 318688"/>
                <a:gd name="connsiteY166" fmla="*/ 605470 h 6341252"/>
                <a:gd name="connsiteX167" fmla="*/ 0 w 318688"/>
                <a:gd name="connsiteY167" fmla="*/ 605470 h 6341252"/>
                <a:gd name="connsiteX168" fmla="*/ 286785 w 318688"/>
                <a:gd name="connsiteY168" fmla="*/ 286786 h 6341252"/>
                <a:gd name="connsiteX169" fmla="*/ 318688 w 318688"/>
                <a:gd name="connsiteY169" fmla="*/ 286786 h 6341252"/>
                <a:gd name="connsiteX170" fmla="*/ 318688 w 318688"/>
                <a:gd name="connsiteY170" fmla="*/ 318689 h 6341252"/>
                <a:gd name="connsiteX171" fmla="*/ 286785 w 318688"/>
                <a:gd name="connsiteY171" fmla="*/ 318689 h 6341252"/>
                <a:gd name="connsiteX172" fmla="*/ 0 w 318688"/>
                <a:gd name="connsiteY172" fmla="*/ 286784 h 6341252"/>
                <a:gd name="connsiteX173" fmla="*/ 31901 w 318688"/>
                <a:gd name="connsiteY173" fmla="*/ 286784 h 6341252"/>
                <a:gd name="connsiteX174" fmla="*/ 31901 w 318688"/>
                <a:gd name="connsiteY174" fmla="*/ 318687 h 6341252"/>
                <a:gd name="connsiteX175" fmla="*/ 0 w 318688"/>
                <a:gd name="connsiteY175" fmla="*/ 318687 h 6341252"/>
                <a:gd name="connsiteX176" fmla="*/ 286785 w 318688"/>
                <a:gd name="connsiteY176" fmla="*/ 3 h 6341252"/>
                <a:gd name="connsiteX177" fmla="*/ 318688 w 318688"/>
                <a:gd name="connsiteY177" fmla="*/ 3 h 6341252"/>
                <a:gd name="connsiteX178" fmla="*/ 318688 w 318688"/>
                <a:gd name="connsiteY178" fmla="*/ 31906 h 6341252"/>
                <a:gd name="connsiteX179" fmla="*/ 286785 w 318688"/>
                <a:gd name="connsiteY179" fmla="*/ 31906 h 6341252"/>
                <a:gd name="connsiteX180" fmla="*/ 0 w 318688"/>
                <a:gd name="connsiteY180" fmla="*/ 0 h 6341252"/>
                <a:gd name="connsiteX181" fmla="*/ 31901 w 318688"/>
                <a:gd name="connsiteY181" fmla="*/ 0 h 6341252"/>
                <a:gd name="connsiteX182" fmla="*/ 31901 w 318688"/>
                <a:gd name="connsiteY182" fmla="*/ 31903 h 6341252"/>
                <a:gd name="connsiteX183" fmla="*/ 0 w 318688"/>
                <a:gd name="connsiteY183" fmla="*/ 31903 h 6341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318688" h="6341252">
                  <a:moveTo>
                    <a:pt x="286785" y="6309351"/>
                  </a:moveTo>
                  <a:lnTo>
                    <a:pt x="318688" y="6309351"/>
                  </a:lnTo>
                  <a:lnTo>
                    <a:pt x="318688" y="6341252"/>
                  </a:lnTo>
                  <a:lnTo>
                    <a:pt x="286785" y="6341252"/>
                  </a:lnTo>
                  <a:close/>
                  <a:moveTo>
                    <a:pt x="0" y="6309351"/>
                  </a:moveTo>
                  <a:lnTo>
                    <a:pt x="31901" y="6309351"/>
                  </a:lnTo>
                  <a:lnTo>
                    <a:pt x="31901" y="6341252"/>
                  </a:lnTo>
                  <a:lnTo>
                    <a:pt x="0" y="6341252"/>
                  </a:lnTo>
                  <a:close/>
                  <a:moveTo>
                    <a:pt x="286785" y="6022567"/>
                  </a:moveTo>
                  <a:lnTo>
                    <a:pt x="318688" y="6022567"/>
                  </a:lnTo>
                  <a:lnTo>
                    <a:pt x="318688" y="6054468"/>
                  </a:lnTo>
                  <a:lnTo>
                    <a:pt x="286785" y="6054468"/>
                  </a:lnTo>
                  <a:close/>
                  <a:moveTo>
                    <a:pt x="0" y="6022567"/>
                  </a:moveTo>
                  <a:lnTo>
                    <a:pt x="31901" y="6022567"/>
                  </a:lnTo>
                  <a:lnTo>
                    <a:pt x="31901" y="6054468"/>
                  </a:lnTo>
                  <a:lnTo>
                    <a:pt x="0" y="6054468"/>
                  </a:lnTo>
                  <a:close/>
                  <a:moveTo>
                    <a:pt x="286785" y="5735783"/>
                  </a:moveTo>
                  <a:lnTo>
                    <a:pt x="318688" y="5735783"/>
                  </a:lnTo>
                  <a:lnTo>
                    <a:pt x="318688" y="5767685"/>
                  </a:lnTo>
                  <a:lnTo>
                    <a:pt x="286785" y="5767685"/>
                  </a:lnTo>
                  <a:close/>
                  <a:moveTo>
                    <a:pt x="0" y="5735783"/>
                  </a:moveTo>
                  <a:lnTo>
                    <a:pt x="31901" y="5735783"/>
                  </a:lnTo>
                  <a:lnTo>
                    <a:pt x="31901" y="5767685"/>
                  </a:lnTo>
                  <a:lnTo>
                    <a:pt x="0" y="5767685"/>
                  </a:lnTo>
                  <a:close/>
                  <a:moveTo>
                    <a:pt x="286785" y="5448997"/>
                  </a:moveTo>
                  <a:lnTo>
                    <a:pt x="318688" y="5448997"/>
                  </a:lnTo>
                  <a:lnTo>
                    <a:pt x="318688" y="5480899"/>
                  </a:lnTo>
                  <a:lnTo>
                    <a:pt x="286785" y="5480899"/>
                  </a:lnTo>
                  <a:close/>
                  <a:moveTo>
                    <a:pt x="0" y="5448997"/>
                  </a:moveTo>
                  <a:lnTo>
                    <a:pt x="31901" y="5448997"/>
                  </a:lnTo>
                  <a:lnTo>
                    <a:pt x="31901" y="5480899"/>
                  </a:lnTo>
                  <a:lnTo>
                    <a:pt x="0" y="5480899"/>
                  </a:lnTo>
                  <a:close/>
                  <a:moveTo>
                    <a:pt x="286785" y="5162213"/>
                  </a:moveTo>
                  <a:lnTo>
                    <a:pt x="318688" y="5162213"/>
                  </a:lnTo>
                  <a:lnTo>
                    <a:pt x="318688" y="5194116"/>
                  </a:lnTo>
                  <a:lnTo>
                    <a:pt x="286785" y="5194116"/>
                  </a:lnTo>
                  <a:close/>
                  <a:moveTo>
                    <a:pt x="0" y="5162213"/>
                  </a:moveTo>
                  <a:lnTo>
                    <a:pt x="31901" y="5162213"/>
                  </a:lnTo>
                  <a:lnTo>
                    <a:pt x="31901" y="5194116"/>
                  </a:lnTo>
                  <a:lnTo>
                    <a:pt x="0" y="5194116"/>
                  </a:lnTo>
                  <a:close/>
                  <a:moveTo>
                    <a:pt x="286785" y="4875429"/>
                  </a:moveTo>
                  <a:lnTo>
                    <a:pt x="318688" y="4875429"/>
                  </a:lnTo>
                  <a:lnTo>
                    <a:pt x="318688" y="4907331"/>
                  </a:lnTo>
                  <a:lnTo>
                    <a:pt x="286785" y="4907331"/>
                  </a:lnTo>
                  <a:close/>
                  <a:moveTo>
                    <a:pt x="0" y="4875429"/>
                  </a:moveTo>
                  <a:lnTo>
                    <a:pt x="31901" y="4875429"/>
                  </a:lnTo>
                  <a:lnTo>
                    <a:pt x="31901" y="4907331"/>
                  </a:lnTo>
                  <a:lnTo>
                    <a:pt x="0" y="4907331"/>
                  </a:lnTo>
                  <a:close/>
                  <a:moveTo>
                    <a:pt x="286785" y="4588644"/>
                  </a:moveTo>
                  <a:lnTo>
                    <a:pt x="318688" y="4588644"/>
                  </a:lnTo>
                  <a:lnTo>
                    <a:pt x="318688" y="4620545"/>
                  </a:lnTo>
                  <a:lnTo>
                    <a:pt x="286785" y="4620545"/>
                  </a:lnTo>
                  <a:close/>
                  <a:moveTo>
                    <a:pt x="0" y="4588644"/>
                  </a:moveTo>
                  <a:lnTo>
                    <a:pt x="31901" y="4588644"/>
                  </a:lnTo>
                  <a:lnTo>
                    <a:pt x="31901" y="4620545"/>
                  </a:lnTo>
                  <a:lnTo>
                    <a:pt x="0" y="4620545"/>
                  </a:lnTo>
                  <a:close/>
                  <a:moveTo>
                    <a:pt x="286785" y="4301860"/>
                  </a:moveTo>
                  <a:lnTo>
                    <a:pt x="318688" y="4301860"/>
                  </a:lnTo>
                  <a:lnTo>
                    <a:pt x="318688" y="4333762"/>
                  </a:lnTo>
                  <a:lnTo>
                    <a:pt x="286785" y="4333762"/>
                  </a:lnTo>
                  <a:close/>
                  <a:moveTo>
                    <a:pt x="0" y="4301860"/>
                  </a:moveTo>
                  <a:lnTo>
                    <a:pt x="31901" y="4301860"/>
                  </a:lnTo>
                  <a:lnTo>
                    <a:pt x="31901" y="4333762"/>
                  </a:lnTo>
                  <a:lnTo>
                    <a:pt x="0" y="4333762"/>
                  </a:lnTo>
                  <a:close/>
                  <a:moveTo>
                    <a:pt x="286785" y="4015075"/>
                  </a:moveTo>
                  <a:lnTo>
                    <a:pt x="318688" y="4015075"/>
                  </a:lnTo>
                  <a:lnTo>
                    <a:pt x="318688" y="4046976"/>
                  </a:lnTo>
                  <a:lnTo>
                    <a:pt x="286785" y="4046976"/>
                  </a:lnTo>
                  <a:close/>
                  <a:moveTo>
                    <a:pt x="0" y="4015075"/>
                  </a:moveTo>
                  <a:lnTo>
                    <a:pt x="31901" y="4015075"/>
                  </a:lnTo>
                  <a:lnTo>
                    <a:pt x="31901" y="4046976"/>
                  </a:lnTo>
                  <a:lnTo>
                    <a:pt x="0" y="4046976"/>
                  </a:lnTo>
                  <a:close/>
                  <a:moveTo>
                    <a:pt x="286785" y="3728291"/>
                  </a:moveTo>
                  <a:lnTo>
                    <a:pt x="318688" y="3728291"/>
                  </a:lnTo>
                  <a:lnTo>
                    <a:pt x="318688" y="3760193"/>
                  </a:lnTo>
                  <a:lnTo>
                    <a:pt x="286785" y="3760193"/>
                  </a:lnTo>
                  <a:close/>
                  <a:moveTo>
                    <a:pt x="0" y="3728291"/>
                  </a:moveTo>
                  <a:lnTo>
                    <a:pt x="31901" y="3728291"/>
                  </a:lnTo>
                  <a:lnTo>
                    <a:pt x="31901" y="3760193"/>
                  </a:lnTo>
                  <a:lnTo>
                    <a:pt x="0" y="3760193"/>
                  </a:lnTo>
                  <a:close/>
                  <a:moveTo>
                    <a:pt x="286785" y="3441515"/>
                  </a:moveTo>
                  <a:lnTo>
                    <a:pt x="318688" y="3441515"/>
                  </a:lnTo>
                  <a:lnTo>
                    <a:pt x="318688" y="3473408"/>
                  </a:lnTo>
                  <a:lnTo>
                    <a:pt x="286785" y="3473408"/>
                  </a:lnTo>
                  <a:close/>
                  <a:moveTo>
                    <a:pt x="0" y="3441514"/>
                  </a:moveTo>
                  <a:lnTo>
                    <a:pt x="31901" y="3441514"/>
                  </a:lnTo>
                  <a:lnTo>
                    <a:pt x="31901" y="3473408"/>
                  </a:lnTo>
                  <a:lnTo>
                    <a:pt x="0" y="3473408"/>
                  </a:lnTo>
                  <a:close/>
                  <a:moveTo>
                    <a:pt x="286785" y="3154732"/>
                  </a:moveTo>
                  <a:lnTo>
                    <a:pt x="318688" y="3154732"/>
                  </a:lnTo>
                  <a:lnTo>
                    <a:pt x="318688" y="3186635"/>
                  </a:lnTo>
                  <a:lnTo>
                    <a:pt x="286785" y="3186635"/>
                  </a:lnTo>
                  <a:close/>
                  <a:moveTo>
                    <a:pt x="0" y="3154731"/>
                  </a:moveTo>
                  <a:lnTo>
                    <a:pt x="31901" y="3154731"/>
                  </a:lnTo>
                  <a:lnTo>
                    <a:pt x="31901" y="3186634"/>
                  </a:lnTo>
                  <a:lnTo>
                    <a:pt x="0" y="3186634"/>
                  </a:lnTo>
                  <a:close/>
                  <a:moveTo>
                    <a:pt x="286785" y="2867859"/>
                  </a:moveTo>
                  <a:lnTo>
                    <a:pt x="318688" y="2867859"/>
                  </a:lnTo>
                  <a:lnTo>
                    <a:pt x="318688" y="2899760"/>
                  </a:lnTo>
                  <a:lnTo>
                    <a:pt x="286785" y="2899760"/>
                  </a:lnTo>
                  <a:close/>
                  <a:moveTo>
                    <a:pt x="0" y="2867855"/>
                  </a:moveTo>
                  <a:lnTo>
                    <a:pt x="31901" y="2867855"/>
                  </a:lnTo>
                  <a:lnTo>
                    <a:pt x="31901" y="2899757"/>
                  </a:lnTo>
                  <a:lnTo>
                    <a:pt x="0" y="2899757"/>
                  </a:lnTo>
                  <a:close/>
                  <a:moveTo>
                    <a:pt x="286785" y="2581076"/>
                  </a:moveTo>
                  <a:lnTo>
                    <a:pt x="318688" y="2581076"/>
                  </a:lnTo>
                  <a:lnTo>
                    <a:pt x="318688" y="2612993"/>
                  </a:lnTo>
                  <a:lnTo>
                    <a:pt x="286785" y="2612993"/>
                  </a:lnTo>
                  <a:close/>
                  <a:moveTo>
                    <a:pt x="0" y="2581073"/>
                  </a:moveTo>
                  <a:lnTo>
                    <a:pt x="31901" y="2581073"/>
                  </a:lnTo>
                  <a:lnTo>
                    <a:pt x="31901" y="2612987"/>
                  </a:lnTo>
                  <a:lnTo>
                    <a:pt x="0" y="2612987"/>
                  </a:lnTo>
                  <a:close/>
                  <a:moveTo>
                    <a:pt x="286785" y="2294287"/>
                  </a:moveTo>
                  <a:lnTo>
                    <a:pt x="318688" y="2294287"/>
                  </a:lnTo>
                  <a:lnTo>
                    <a:pt x="318688" y="2326193"/>
                  </a:lnTo>
                  <a:lnTo>
                    <a:pt x="286785" y="2326193"/>
                  </a:lnTo>
                  <a:close/>
                  <a:moveTo>
                    <a:pt x="0" y="2294283"/>
                  </a:moveTo>
                  <a:lnTo>
                    <a:pt x="31901" y="2294283"/>
                  </a:lnTo>
                  <a:lnTo>
                    <a:pt x="31901" y="2326188"/>
                  </a:lnTo>
                  <a:lnTo>
                    <a:pt x="0" y="2326188"/>
                  </a:lnTo>
                  <a:close/>
                  <a:moveTo>
                    <a:pt x="286785" y="2007498"/>
                  </a:moveTo>
                  <a:lnTo>
                    <a:pt x="318688" y="2007498"/>
                  </a:lnTo>
                  <a:lnTo>
                    <a:pt x="318688" y="2039391"/>
                  </a:lnTo>
                  <a:lnTo>
                    <a:pt x="286785" y="2039391"/>
                  </a:lnTo>
                  <a:close/>
                  <a:moveTo>
                    <a:pt x="0" y="2007496"/>
                  </a:moveTo>
                  <a:lnTo>
                    <a:pt x="31901" y="2007496"/>
                  </a:lnTo>
                  <a:lnTo>
                    <a:pt x="31901" y="2039389"/>
                  </a:lnTo>
                  <a:lnTo>
                    <a:pt x="0" y="2039389"/>
                  </a:lnTo>
                  <a:close/>
                  <a:moveTo>
                    <a:pt x="286785" y="1720711"/>
                  </a:moveTo>
                  <a:lnTo>
                    <a:pt x="318688" y="1720711"/>
                  </a:lnTo>
                  <a:lnTo>
                    <a:pt x="318688" y="1752614"/>
                  </a:lnTo>
                  <a:lnTo>
                    <a:pt x="286785" y="1752614"/>
                  </a:lnTo>
                  <a:close/>
                  <a:moveTo>
                    <a:pt x="0" y="1720709"/>
                  </a:moveTo>
                  <a:lnTo>
                    <a:pt x="31901" y="1720709"/>
                  </a:lnTo>
                  <a:lnTo>
                    <a:pt x="31901" y="1752612"/>
                  </a:lnTo>
                  <a:lnTo>
                    <a:pt x="0" y="1752612"/>
                  </a:lnTo>
                  <a:close/>
                  <a:moveTo>
                    <a:pt x="286785" y="1433930"/>
                  </a:moveTo>
                  <a:lnTo>
                    <a:pt x="318688" y="1433930"/>
                  </a:lnTo>
                  <a:lnTo>
                    <a:pt x="318688" y="1465831"/>
                  </a:lnTo>
                  <a:lnTo>
                    <a:pt x="286785" y="1465831"/>
                  </a:lnTo>
                  <a:close/>
                  <a:moveTo>
                    <a:pt x="0" y="1433927"/>
                  </a:moveTo>
                  <a:lnTo>
                    <a:pt x="31901" y="1433927"/>
                  </a:lnTo>
                  <a:lnTo>
                    <a:pt x="31901" y="1465828"/>
                  </a:lnTo>
                  <a:lnTo>
                    <a:pt x="0" y="1465828"/>
                  </a:lnTo>
                  <a:close/>
                  <a:moveTo>
                    <a:pt x="286785" y="1147150"/>
                  </a:moveTo>
                  <a:lnTo>
                    <a:pt x="318688" y="1147150"/>
                  </a:lnTo>
                  <a:lnTo>
                    <a:pt x="318688" y="1179052"/>
                  </a:lnTo>
                  <a:lnTo>
                    <a:pt x="286785" y="1179052"/>
                  </a:lnTo>
                  <a:close/>
                  <a:moveTo>
                    <a:pt x="0" y="1147146"/>
                  </a:moveTo>
                  <a:lnTo>
                    <a:pt x="31901" y="1147146"/>
                  </a:lnTo>
                  <a:lnTo>
                    <a:pt x="31901" y="1179049"/>
                  </a:lnTo>
                  <a:lnTo>
                    <a:pt x="0" y="1179049"/>
                  </a:lnTo>
                  <a:close/>
                  <a:moveTo>
                    <a:pt x="286785" y="860355"/>
                  </a:moveTo>
                  <a:lnTo>
                    <a:pt x="318688" y="860355"/>
                  </a:lnTo>
                  <a:lnTo>
                    <a:pt x="318688" y="892257"/>
                  </a:lnTo>
                  <a:lnTo>
                    <a:pt x="286785" y="892257"/>
                  </a:lnTo>
                  <a:close/>
                  <a:moveTo>
                    <a:pt x="0" y="860351"/>
                  </a:moveTo>
                  <a:lnTo>
                    <a:pt x="31901" y="860351"/>
                  </a:lnTo>
                  <a:lnTo>
                    <a:pt x="31901" y="892254"/>
                  </a:lnTo>
                  <a:lnTo>
                    <a:pt x="0" y="892254"/>
                  </a:lnTo>
                  <a:close/>
                  <a:moveTo>
                    <a:pt x="286785" y="573571"/>
                  </a:moveTo>
                  <a:lnTo>
                    <a:pt x="318688" y="573571"/>
                  </a:lnTo>
                  <a:lnTo>
                    <a:pt x="318688" y="605472"/>
                  </a:lnTo>
                  <a:lnTo>
                    <a:pt x="286785" y="605472"/>
                  </a:lnTo>
                  <a:close/>
                  <a:moveTo>
                    <a:pt x="0" y="573568"/>
                  </a:moveTo>
                  <a:lnTo>
                    <a:pt x="31901" y="573568"/>
                  </a:lnTo>
                  <a:lnTo>
                    <a:pt x="31901" y="605470"/>
                  </a:lnTo>
                  <a:lnTo>
                    <a:pt x="0" y="605470"/>
                  </a:lnTo>
                  <a:close/>
                  <a:moveTo>
                    <a:pt x="286785" y="286786"/>
                  </a:moveTo>
                  <a:lnTo>
                    <a:pt x="318688" y="286786"/>
                  </a:lnTo>
                  <a:lnTo>
                    <a:pt x="318688" y="318689"/>
                  </a:lnTo>
                  <a:lnTo>
                    <a:pt x="286785" y="318689"/>
                  </a:lnTo>
                  <a:close/>
                  <a:moveTo>
                    <a:pt x="0" y="286784"/>
                  </a:moveTo>
                  <a:lnTo>
                    <a:pt x="31901" y="286784"/>
                  </a:lnTo>
                  <a:lnTo>
                    <a:pt x="31901" y="318687"/>
                  </a:lnTo>
                  <a:lnTo>
                    <a:pt x="0" y="318687"/>
                  </a:lnTo>
                  <a:close/>
                  <a:moveTo>
                    <a:pt x="286785" y="3"/>
                  </a:moveTo>
                  <a:lnTo>
                    <a:pt x="318688" y="3"/>
                  </a:lnTo>
                  <a:lnTo>
                    <a:pt x="318688" y="31906"/>
                  </a:lnTo>
                  <a:lnTo>
                    <a:pt x="286785" y="31906"/>
                  </a:lnTo>
                  <a:close/>
                  <a:moveTo>
                    <a:pt x="0" y="0"/>
                  </a:moveTo>
                  <a:lnTo>
                    <a:pt x="31901" y="0"/>
                  </a:lnTo>
                  <a:lnTo>
                    <a:pt x="31901" y="31903"/>
                  </a:lnTo>
                  <a:lnTo>
                    <a:pt x="0" y="31903"/>
                  </a:lnTo>
                  <a:close/>
                </a:path>
              </a:pathLst>
            </a:custGeom>
            <a:grpFill/>
            <a:ln w="10294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</p:grpSp>
      <p:sp>
        <p:nvSpPr>
          <p:cNvPr id="31" name="TextBox 30">
            <a:extLst>
              <a:ext uri="{FF2B5EF4-FFF2-40B4-BE49-F238E27FC236}">
                <a16:creationId xmlns:a16="http://schemas.microsoft.com/office/drawing/2014/main" id="{06130633-8398-4340-A091-16D418D4BA0E}"/>
              </a:ext>
            </a:extLst>
          </p:cNvPr>
          <p:cNvSpPr txBox="1">
            <a:spLocks/>
          </p:cNvSpPr>
          <p:nvPr userDrawn="1"/>
        </p:nvSpPr>
        <p:spPr>
          <a:xfrm rot="2700000" flipH="1" flipV="1">
            <a:off x="9044758" y="5894614"/>
            <a:ext cx="1592914" cy="795094"/>
          </a:xfrm>
          <a:custGeom>
            <a:avLst/>
            <a:gdLst>
              <a:gd name="connsiteX0" fmla="*/ 6166943 w 6166943"/>
              <a:gd name="connsiteY0" fmla="*/ 1970146 h 3078196"/>
              <a:gd name="connsiteX1" fmla="*/ 4655668 w 6166943"/>
              <a:gd name="connsiteY1" fmla="*/ 458871 h 3078196"/>
              <a:gd name="connsiteX2" fmla="*/ 4492661 w 6166943"/>
              <a:gd name="connsiteY2" fmla="*/ 580765 h 3078196"/>
              <a:gd name="connsiteX3" fmla="*/ 3297075 w 6166943"/>
              <a:gd name="connsiteY3" fmla="*/ 945968 h 3078196"/>
              <a:gd name="connsiteX4" fmla="*/ 1523897 w 6166943"/>
              <a:gd name="connsiteY4" fmla="*/ 3175 h 3078196"/>
              <a:gd name="connsiteX5" fmla="*/ 1521968 w 6166943"/>
              <a:gd name="connsiteY5" fmla="*/ 0 h 3078196"/>
              <a:gd name="connsiteX6" fmla="*/ 0 w 6166943"/>
              <a:gd name="connsiteY6" fmla="*/ 1521969 h 3078196"/>
              <a:gd name="connsiteX7" fmla="*/ 1668 w 6166943"/>
              <a:gd name="connsiteY7" fmla="*/ 1524092 h 3078196"/>
              <a:gd name="connsiteX8" fmla="*/ 3297075 w 6166943"/>
              <a:gd name="connsiteY8" fmla="*/ 3078196 h 3078196"/>
              <a:gd name="connsiteX9" fmla="*/ 6013576 w 6166943"/>
              <a:gd name="connsiteY9" fmla="*/ 2102997 h 30781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166943" h="3078196">
                <a:moveTo>
                  <a:pt x="6166943" y="1970146"/>
                </a:moveTo>
                <a:lnTo>
                  <a:pt x="4655668" y="458871"/>
                </a:lnTo>
                <a:lnTo>
                  <a:pt x="4492661" y="580765"/>
                </a:lnTo>
                <a:cubicBezTo>
                  <a:pt x="4151374" y="811334"/>
                  <a:pt x="3739947" y="945968"/>
                  <a:pt x="3297075" y="945968"/>
                </a:cubicBezTo>
                <a:cubicBezTo>
                  <a:pt x="2558955" y="945968"/>
                  <a:pt x="1908180" y="571989"/>
                  <a:pt x="1523897" y="3175"/>
                </a:cubicBezTo>
                <a:lnTo>
                  <a:pt x="1521968" y="0"/>
                </a:lnTo>
                <a:lnTo>
                  <a:pt x="0" y="1521969"/>
                </a:lnTo>
                <a:lnTo>
                  <a:pt x="1668" y="1524092"/>
                </a:lnTo>
                <a:cubicBezTo>
                  <a:pt x="784959" y="2473222"/>
                  <a:pt x="1970367" y="3078196"/>
                  <a:pt x="3297075" y="3078196"/>
                </a:cubicBezTo>
                <a:cubicBezTo>
                  <a:pt x="4328957" y="3078196"/>
                  <a:pt x="5275363" y="2712224"/>
                  <a:pt x="6013576" y="2102997"/>
                </a:cubicBezTo>
                <a:close/>
              </a:path>
            </a:pathLst>
          </a:custGeom>
          <a:solidFill>
            <a:schemeClr val="accent1">
              <a:lumMod val="75000"/>
            </a:schemeClr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20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19" name="Text Placeholder 83">
            <a:extLst>
              <a:ext uri="{FF2B5EF4-FFF2-40B4-BE49-F238E27FC236}">
                <a16:creationId xmlns:a16="http://schemas.microsoft.com/office/drawing/2014/main" id="{65E572D2-FB5D-4AE4-ADCA-539A3B5D2872}"/>
              </a:ext>
            </a:extLst>
          </p:cNvPr>
          <p:cNvSpPr txBox="1">
            <a:spLocks/>
          </p:cNvSpPr>
          <p:nvPr userDrawn="1"/>
        </p:nvSpPr>
        <p:spPr>
          <a:xfrm rot="16200000" flipV="1">
            <a:off x="10498451" y="1143711"/>
            <a:ext cx="2253832" cy="1126916"/>
          </a:xfrm>
          <a:custGeom>
            <a:avLst/>
            <a:gdLst>
              <a:gd name="connsiteX0" fmla="*/ 0 w 2125980"/>
              <a:gd name="connsiteY0" fmla="*/ 0 h 1062991"/>
              <a:gd name="connsiteX1" fmla="*/ 530729 w 2125980"/>
              <a:gd name="connsiteY1" fmla="*/ 0 h 1062991"/>
              <a:gd name="connsiteX2" fmla="*/ 1062990 w 2125980"/>
              <a:gd name="connsiteY2" fmla="*/ 532261 h 1062991"/>
              <a:gd name="connsiteX3" fmla="*/ 1595250 w 2125980"/>
              <a:gd name="connsiteY3" fmla="*/ 0 h 1062991"/>
              <a:gd name="connsiteX4" fmla="*/ 2125980 w 2125980"/>
              <a:gd name="connsiteY4" fmla="*/ 0 h 1062991"/>
              <a:gd name="connsiteX5" fmla="*/ 1062990 w 2125980"/>
              <a:gd name="connsiteY5" fmla="*/ 1062991 h 1062991"/>
              <a:gd name="connsiteX6" fmla="*/ 0 w 2125980"/>
              <a:gd name="connsiteY6" fmla="*/ 0 h 10629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125980" h="1062991">
                <a:moveTo>
                  <a:pt x="0" y="0"/>
                </a:moveTo>
                <a:lnTo>
                  <a:pt x="530729" y="0"/>
                </a:lnTo>
                <a:cubicBezTo>
                  <a:pt x="530729" y="293959"/>
                  <a:pt x="769031" y="532261"/>
                  <a:pt x="1062990" y="532261"/>
                </a:cubicBezTo>
                <a:cubicBezTo>
                  <a:pt x="1356949" y="532261"/>
                  <a:pt x="1595250" y="293959"/>
                  <a:pt x="1595250" y="0"/>
                </a:cubicBezTo>
                <a:lnTo>
                  <a:pt x="2125980" y="0"/>
                </a:lnTo>
                <a:cubicBezTo>
                  <a:pt x="2125980" y="587074"/>
                  <a:pt x="1650063" y="1062991"/>
                  <a:pt x="1062990" y="1062991"/>
                </a:cubicBezTo>
                <a:cubicBezTo>
                  <a:pt x="475916" y="1062991"/>
                  <a:pt x="0" y="587074"/>
                  <a:pt x="0" y="0"/>
                </a:cubicBezTo>
                <a:close/>
              </a:path>
            </a:pathLst>
          </a:custGeom>
          <a:solidFill>
            <a:schemeClr val="accent1">
              <a:lumMod val="75000"/>
            </a:schemeClr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20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20" name="Freeform: Shape 83">
            <a:extLst>
              <a:ext uri="{FF2B5EF4-FFF2-40B4-BE49-F238E27FC236}">
                <a16:creationId xmlns:a16="http://schemas.microsoft.com/office/drawing/2014/main" id="{F05596E1-7FE6-4BB0-BB11-FC47E5FF65BF}"/>
              </a:ext>
            </a:extLst>
          </p:cNvPr>
          <p:cNvSpPr txBox="1">
            <a:spLocks/>
          </p:cNvSpPr>
          <p:nvPr userDrawn="1"/>
        </p:nvSpPr>
        <p:spPr>
          <a:xfrm rot="16200000">
            <a:off x="9917919" y="3148489"/>
            <a:ext cx="574904" cy="1706308"/>
          </a:xfrm>
          <a:custGeom>
            <a:avLst/>
            <a:gdLst>
              <a:gd name="connsiteX0" fmla="*/ 0 w 530877"/>
              <a:gd name="connsiteY0" fmla="*/ 0 h 1012276"/>
              <a:gd name="connsiteX1" fmla="*/ 530877 w 530877"/>
              <a:gd name="connsiteY1" fmla="*/ 0 h 1012276"/>
              <a:gd name="connsiteX2" fmla="*/ 530877 w 530877"/>
              <a:gd name="connsiteY2" fmla="*/ 1012276 h 1012276"/>
              <a:gd name="connsiteX3" fmla="*/ 0 w 530877"/>
              <a:gd name="connsiteY3" fmla="*/ 1012276 h 10122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0877" h="1012276">
                <a:moveTo>
                  <a:pt x="0" y="0"/>
                </a:moveTo>
                <a:lnTo>
                  <a:pt x="530877" y="0"/>
                </a:lnTo>
                <a:lnTo>
                  <a:pt x="530877" y="1012276"/>
                </a:lnTo>
                <a:lnTo>
                  <a:pt x="0" y="1012276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20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21" name="Text Placeholder 49">
            <a:extLst>
              <a:ext uri="{FF2B5EF4-FFF2-40B4-BE49-F238E27FC236}">
                <a16:creationId xmlns:a16="http://schemas.microsoft.com/office/drawing/2014/main" id="{A0F317CE-035E-44FD-A5F6-9E40D83A2190}"/>
              </a:ext>
            </a:extLst>
          </p:cNvPr>
          <p:cNvSpPr txBox="1">
            <a:spLocks/>
          </p:cNvSpPr>
          <p:nvPr userDrawn="1"/>
        </p:nvSpPr>
        <p:spPr>
          <a:xfrm>
            <a:off x="9935038" y="2296382"/>
            <a:ext cx="546640" cy="546635"/>
          </a:xfrm>
          <a:custGeom>
            <a:avLst/>
            <a:gdLst>
              <a:gd name="connsiteX0" fmla="*/ 265718 w 531436"/>
              <a:gd name="connsiteY0" fmla="*/ 0 h 531432"/>
              <a:gd name="connsiteX1" fmla="*/ 531436 w 531436"/>
              <a:gd name="connsiteY1" fmla="*/ 265716 h 531432"/>
              <a:gd name="connsiteX2" fmla="*/ 265718 w 531436"/>
              <a:gd name="connsiteY2" fmla="*/ 531432 h 531432"/>
              <a:gd name="connsiteX3" fmla="*/ 0 w 531436"/>
              <a:gd name="connsiteY3" fmla="*/ 265716 h 531432"/>
              <a:gd name="connsiteX4" fmla="*/ 265718 w 531436"/>
              <a:gd name="connsiteY4" fmla="*/ 0 h 531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1436" h="531432">
                <a:moveTo>
                  <a:pt x="265718" y="0"/>
                </a:moveTo>
                <a:cubicBezTo>
                  <a:pt x="412470" y="0"/>
                  <a:pt x="531436" y="118965"/>
                  <a:pt x="531436" y="265716"/>
                </a:cubicBezTo>
                <a:cubicBezTo>
                  <a:pt x="531436" y="412467"/>
                  <a:pt x="412470" y="531432"/>
                  <a:pt x="265718" y="531432"/>
                </a:cubicBezTo>
                <a:cubicBezTo>
                  <a:pt x="118966" y="531432"/>
                  <a:pt x="0" y="412467"/>
                  <a:pt x="0" y="265716"/>
                </a:cubicBezTo>
                <a:cubicBezTo>
                  <a:pt x="0" y="118965"/>
                  <a:pt x="118966" y="0"/>
                  <a:pt x="265718" y="0"/>
                </a:cubicBezTo>
                <a:close/>
              </a:path>
            </a:pathLst>
          </a:custGeom>
          <a:solidFill>
            <a:schemeClr val="accent1">
              <a:lumMod val="75000"/>
            </a:schemeClr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20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22" name="Text Placeholder 49">
            <a:extLst>
              <a:ext uri="{FF2B5EF4-FFF2-40B4-BE49-F238E27FC236}">
                <a16:creationId xmlns:a16="http://schemas.microsoft.com/office/drawing/2014/main" id="{C876EBD3-018B-46D6-8C3B-B7B3FA122BE1}"/>
              </a:ext>
            </a:extLst>
          </p:cNvPr>
          <p:cNvSpPr txBox="1">
            <a:spLocks/>
          </p:cNvSpPr>
          <p:nvPr userDrawn="1"/>
        </p:nvSpPr>
        <p:spPr>
          <a:xfrm>
            <a:off x="10878327" y="5270086"/>
            <a:ext cx="546640" cy="546635"/>
          </a:xfrm>
          <a:custGeom>
            <a:avLst/>
            <a:gdLst>
              <a:gd name="connsiteX0" fmla="*/ 265718 w 531436"/>
              <a:gd name="connsiteY0" fmla="*/ 0 h 531432"/>
              <a:gd name="connsiteX1" fmla="*/ 531436 w 531436"/>
              <a:gd name="connsiteY1" fmla="*/ 265716 h 531432"/>
              <a:gd name="connsiteX2" fmla="*/ 265718 w 531436"/>
              <a:gd name="connsiteY2" fmla="*/ 531432 h 531432"/>
              <a:gd name="connsiteX3" fmla="*/ 0 w 531436"/>
              <a:gd name="connsiteY3" fmla="*/ 265716 h 531432"/>
              <a:gd name="connsiteX4" fmla="*/ 265718 w 531436"/>
              <a:gd name="connsiteY4" fmla="*/ 0 h 531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1436" h="531432">
                <a:moveTo>
                  <a:pt x="265718" y="0"/>
                </a:moveTo>
                <a:cubicBezTo>
                  <a:pt x="412470" y="0"/>
                  <a:pt x="531436" y="118965"/>
                  <a:pt x="531436" y="265716"/>
                </a:cubicBezTo>
                <a:cubicBezTo>
                  <a:pt x="531436" y="412467"/>
                  <a:pt x="412470" y="531432"/>
                  <a:pt x="265718" y="531432"/>
                </a:cubicBezTo>
                <a:cubicBezTo>
                  <a:pt x="118966" y="531432"/>
                  <a:pt x="0" y="412467"/>
                  <a:pt x="0" y="265716"/>
                </a:cubicBezTo>
                <a:cubicBezTo>
                  <a:pt x="0" y="118965"/>
                  <a:pt x="118966" y="0"/>
                  <a:pt x="265718" y="0"/>
                </a:cubicBezTo>
                <a:close/>
              </a:path>
            </a:pathLst>
          </a:custGeom>
          <a:solidFill>
            <a:schemeClr val="accent1">
              <a:lumMod val="75000"/>
            </a:schemeClr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20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29" name="Freeform: Shape 83">
            <a:extLst>
              <a:ext uri="{FF2B5EF4-FFF2-40B4-BE49-F238E27FC236}">
                <a16:creationId xmlns:a16="http://schemas.microsoft.com/office/drawing/2014/main" id="{746EFE52-6B31-424B-954D-38ECEE5E8891}"/>
              </a:ext>
            </a:extLst>
          </p:cNvPr>
          <p:cNvSpPr txBox="1">
            <a:spLocks/>
          </p:cNvSpPr>
          <p:nvPr userDrawn="1"/>
        </p:nvSpPr>
        <p:spPr>
          <a:xfrm>
            <a:off x="10198402" y="0"/>
            <a:ext cx="574904" cy="851154"/>
          </a:xfrm>
          <a:custGeom>
            <a:avLst/>
            <a:gdLst>
              <a:gd name="connsiteX0" fmla="*/ 0 w 530877"/>
              <a:gd name="connsiteY0" fmla="*/ 0 h 1012276"/>
              <a:gd name="connsiteX1" fmla="*/ 530877 w 530877"/>
              <a:gd name="connsiteY1" fmla="*/ 0 h 1012276"/>
              <a:gd name="connsiteX2" fmla="*/ 530877 w 530877"/>
              <a:gd name="connsiteY2" fmla="*/ 1012276 h 1012276"/>
              <a:gd name="connsiteX3" fmla="*/ 0 w 530877"/>
              <a:gd name="connsiteY3" fmla="*/ 1012276 h 10122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0877" h="1012276">
                <a:moveTo>
                  <a:pt x="0" y="0"/>
                </a:moveTo>
                <a:lnTo>
                  <a:pt x="530877" y="0"/>
                </a:lnTo>
                <a:lnTo>
                  <a:pt x="530877" y="1012276"/>
                </a:lnTo>
                <a:lnTo>
                  <a:pt x="0" y="1012276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20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9884270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Title – Grid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13C630F6-5777-4826-A8BA-A5E5F67ED8DE}"/>
              </a:ext>
            </a:extLst>
          </p:cNvPr>
          <p:cNvGrpSpPr/>
          <p:nvPr userDrawn="1"/>
        </p:nvGrpSpPr>
        <p:grpSpPr>
          <a:xfrm rot="5400000">
            <a:off x="7595288" y="1985141"/>
            <a:ext cx="2032867" cy="6341252"/>
            <a:chOff x="9906425" y="258374"/>
            <a:chExt cx="2032867" cy="6341252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6D23DED4-46CF-4034-A62B-714FB0F82593}"/>
                </a:ext>
              </a:extLst>
            </p:cNvPr>
            <p:cNvGrpSpPr/>
            <p:nvPr userDrawn="1"/>
          </p:nvGrpSpPr>
          <p:grpSpPr>
            <a:xfrm>
              <a:off x="9906425" y="258374"/>
              <a:ext cx="1451546" cy="6341252"/>
              <a:chOff x="10020609" y="242905"/>
              <a:chExt cx="1346145" cy="5880798"/>
            </a:xfrm>
          </p:grpSpPr>
          <p:sp>
            <p:nvSpPr>
              <p:cNvPr id="18" name="Freeform: Shape 17">
                <a:extLst>
                  <a:ext uri="{FF2B5EF4-FFF2-40B4-BE49-F238E27FC236}">
                    <a16:creationId xmlns:a16="http://schemas.microsoft.com/office/drawing/2014/main" id="{102FE358-5F18-4618-841E-AC396B767858}"/>
                  </a:ext>
                </a:extLst>
              </p:cNvPr>
              <p:cNvSpPr/>
              <p:nvPr userDrawn="1"/>
            </p:nvSpPr>
            <p:spPr>
              <a:xfrm>
                <a:off x="10020609" y="242905"/>
                <a:ext cx="561506" cy="5880798"/>
              </a:xfrm>
              <a:custGeom>
                <a:avLst/>
                <a:gdLst>
                  <a:gd name="connsiteX0" fmla="*/ 531921 w 561506"/>
                  <a:gd name="connsiteY0" fmla="*/ 5851213 h 5880798"/>
                  <a:gd name="connsiteX1" fmla="*/ 561506 w 561506"/>
                  <a:gd name="connsiteY1" fmla="*/ 5851213 h 5880798"/>
                  <a:gd name="connsiteX2" fmla="*/ 561506 w 561506"/>
                  <a:gd name="connsiteY2" fmla="*/ 5880798 h 5880798"/>
                  <a:gd name="connsiteX3" fmla="*/ 531921 w 561506"/>
                  <a:gd name="connsiteY3" fmla="*/ 5880798 h 5880798"/>
                  <a:gd name="connsiteX4" fmla="*/ 265961 w 561506"/>
                  <a:gd name="connsiteY4" fmla="*/ 5851213 h 5880798"/>
                  <a:gd name="connsiteX5" fmla="*/ 295547 w 561506"/>
                  <a:gd name="connsiteY5" fmla="*/ 5851213 h 5880798"/>
                  <a:gd name="connsiteX6" fmla="*/ 295547 w 561506"/>
                  <a:gd name="connsiteY6" fmla="*/ 5880798 h 5880798"/>
                  <a:gd name="connsiteX7" fmla="*/ 265961 w 561506"/>
                  <a:gd name="connsiteY7" fmla="*/ 5880798 h 5880798"/>
                  <a:gd name="connsiteX8" fmla="*/ 0 w 561506"/>
                  <a:gd name="connsiteY8" fmla="*/ 5851213 h 5880798"/>
                  <a:gd name="connsiteX9" fmla="*/ 29585 w 561506"/>
                  <a:gd name="connsiteY9" fmla="*/ 5851213 h 5880798"/>
                  <a:gd name="connsiteX10" fmla="*/ 29585 w 561506"/>
                  <a:gd name="connsiteY10" fmla="*/ 5880798 h 5880798"/>
                  <a:gd name="connsiteX11" fmla="*/ 0 w 561506"/>
                  <a:gd name="connsiteY11" fmla="*/ 5880798 h 5880798"/>
                  <a:gd name="connsiteX12" fmla="*/ 531921 w 561506"/>
                  <a:gd name="connsiteY12" fmla="*/ 5585253 h 5880798"/>
                  <a:gd name="connsiteX13" fmla="*/ 561506 w 561506"/>
                  <a:gd name="connsiteY13" fmla="*/ 5585253 h 5880798"/>
                  <a:gd name="connsiteX14" fmla="*/ 561506 w 561506"/>
                  <a:gd name="connsiteY14" fmla="*/ 5614838 h 5880798"/>
                  <a:gd name="connsiteX15" fmla="*/ 531921 w 561506"/>
                  <a:gd name="connsiteY15" fmla="*/ 5614838 h 5880798"/>
                  <a:gd name="connsiteX16" fmla="*/ 265961 w 561506"/>
                  <a:gd name="connsiteY16" fmla="*/ 5585253 h 5880798"/>
                  <a:gd name="connsiteX17" fmla="*/ 295547 w 561506"/>
                  <a:gd name="connsiteY17" fmla="*/ 5585253 h 5880798"/>
                  <a:gd name="connsiteX18" fmla="*/ 295547 w 561506"/>
                  <a:gd name="connsiteY18" fmla="*/ 5614838 h 5880798"/>
                  <a:gd name="connsiteX19" fmla="*/ 265961 w 561506"/>
                  <a:gd name="connsiteY19" fmla="*/ 5614838 h 5880798"/>
                  <a:gd name="connsiteX20" fmla="*/ 0 w 561506"/>
                  <a:gd name="connsiteY20" fmla="*/ 5585253 h 5880798"/>
                  <a:gd name="connsiteX21" fmla="*/ 29585 w 561506"/>
                  <a:gd name="connsiteY21" fmla="*/ 5585253 h 5880798"/>
                  <a:gd name="connsiteX22" fmla="*/ 29585 w 561506"/>
                  <a:gd name="connsiteY22" fmla="*/ 5614838 h 5880798"/>
                  <a:gd name="connsiteX23" fmla="*/ 0 w 561506"/>
                  <a:gd name="connsiteY23" fmla="*/ 5614838 h 5880798"/>
                  <a:gd name="connsiteX24" fmla="*/ 531921 w 561506"/>
                  <a:gd name="connsiteY24" fmla="*/ 5319293 h 5880798"/>
                  <a:gd name="connsiteX25" fmla="*/ 561506 w 561506"/>
                  <a:gd name="connsiteY25" fmla="*/ 5319293 h 5880798"/>
                  <a:gd name="connsiteX26" fmla="*/ 561506 w 561506"/>
                  <a:gd name="connsiteY26" fmla="*/ 5348879 h 5880798"/>
                  <a:gd name="connsiteX27" fmla="*/ 531921 w 561506"/>
                  <a:gd name="connsiteY27" fmla="*/ 5348879 h 5880798"/>
                  <a:gd name="connsiteX28" fmla="*/ 265961 w 561506"/>
                  <a:gd name="connsiteY28" fmla="*/ 5319293 h 5880798"/>
                  <a:gd name="connsiteX29" fmla="*/ 295547 w 561506"/>
                  <a:gd name="connsiteY29" fmla="*/ 5319293 h 5880798"/>
                  <a:gd name="connsiteX30" fmla="*/ 295547 w 561506"/>
                  <a:gd name="connsiteY30" fmla="*/ 5348879 h 5880798"/>
                  <a:gd name="connsiteX31" fmla="*/ 265961 w 561506"/>
                  <a:gd name="connsiteY31" fmla="*/ 5348879 h 5880798"/>
                  <a:gd name="connsiteX32" fmla="*/ 0 w 561506"/>
                  <a:gd name="connsiteY32" fmla="*/ 5319293 h 5880798"/>
                  <a:gd name="connsiteX33" fmla="*/ 29585 w 561506"/>
                  <a:gd name="connsiteY33" fmla="*/ 5319293 h 5880798"/>
                  <a:gd name="connsiteX34" fmla="*/ 29585 w 561506"/>
                  <a:gd name="connsiteY34" fmla="*/ 5348879 h 5880798"/>
                  <a:gd name="connsiteX35" fmla="*/ 0 w 561506"/>
                  <a:gd name="connsiteY35" fmla="*/ 5348879 h 5880798"/>
                  <a:gd name="connsiteX36" fmla="*/ 531921 w 561506"/>
                  <a:gd name="connsiteY36" fmla="*/ 5053332 h 5880798"/>
                  <a:gd name="connsiteX37" fmla="*/ 561506 w 561506"/>
                  <a:gd name="connsiteY37" fmla="*/ 5053332 h 5880798"/>
                  <a:gd name="connsiteX38" fmla="*/ 561506 w 561506"/>
                  <a:gd name="connsiteY38" fmla="*/ 5082917 h 5880798"/>
                  <a:gd name="connsiteX39" fmla="*/ 531921 w 561506"/>
                  <a:gd name="connsiteY39" fmla="*/ 5082917 h 5880798"/>
                  <a:gd name="connsiteX40" fmla="*/ 265961 w 561506"/>
                  <a:gd name="connsiteY40" fmla="*/ 5053332 h 5880798"/>
                  <a:gd name="connsiteX41" fmla="*/ 295547 w 561506"/>
                  <a:gd name="connsiteY41" fmla="*/ 5053332 h 5880798"/>
                  <a:gd name="connsiteX42" fmla="*/ 295547 w 561506"/>
                  <a:gd name="connsiteY42" fmla="*/ 5082917 h 5880798"/>
                  <a:gd name="connsiteX43" fmla="*/ 265961 w 561506"/>
                  <a:gd name="connsiteY43" fmla="*/ 5082917 h 5880798"/>
                  <a:gd name="connsiteX44" fmla="*/ 0 w 561506"/>
                  <a:gd name="connsiteY44" fmla="*/ 5053332 h 5880798"/>
                  <a:gd name="connsiteX45" fmla="*/ 29585 w 561506"/>
                  <a:gd name="connsiteY45" fmla="*/ 5053332 h 5880798"/>
                  <a:gd name="connsiteX46" fmla="*/ 29585 w 561506"/>
                  <a:gd name="connsiteY46" fmla="*/ 5082917 h 5880798"/>
                  <a:gd name="connsiteX47" fmla="*/ 0 w 561506"/>
                  <a:gd name="connsiteY47" fmla="*/ 5082917 h 5880798"/>
                  <a:gd name="connsiteX48" fmla="*/ 531921 w 561506"/>
                  <a:gd name="connsiteY48" fmla="*/ 4787372 h 5880798"/>
                  <a:gd name="connsiteX49" fmla="*/ 561506 w 561506"/>
                  <a:gd name="connsiteY49" fmla="*/ 4787372 h 5880798"/>
                  <a:gd name="connsiteX50" fmla="*/ 561506 w 561506"/>
                  <a:gd name="connsiteY50" fmla="*/ 4816958 h 5880798"/>
                  <a:gd name="connsiteX51" fmla="*/ 531921 w 561506"/>
                  <a:gd name="connsiteY51" fmla="*/ 4816958 h 5880798"/>
                  <a:gd name="connsiteX52" fmla="*/ 265961 w 561506"/>
                  <a:gd name="connsiteY52" fmla="*/ 4787372 h 5880798"/>
                  <a:gd name="connsiteX53" fmla="*/ 295547 w 561506"/>
                  <a:gd name="connsiteY53" fmla="*/ 4787372 h 5880798"/>
                  <a:gd name="connsiteX54" fmla="*/ 295547 w 561506"/>
                  <a:gd name="connsiteY54" fmla="*/ 4816958 h 5880798"/>
                  <a:gd name="connsiteX55" fmla="*/ 265961 w 561506"/>
                  <a:gd name="connsiteY55" fmla="*/ 4816958 h 5880798"/>
                  <a:gd name="connsiteX56" fmla="*/ 0 w 561506"/>
                  <a:gd name="connsiteY56" fmla="*/ 4787372 h 5880798"/>
                  <a:gd name="connsiteX57" fmla="*/ 29585 w 561506"/>
                  <a:gd name="connsiteY57" fmla="*/ 4787372 h 5880798"/>
                  <a:gd name="connsiteX58" fmla="*/ 29585 w 561506"/>
                  <a:gd name="connsiteY58" fmla="*/ 4816958 h 5880798"/>
                  <a:gd name="connsiteX59" fmla="*/ 0 w 561506"/>
                  <a:gd name="connsiteY59" fmla="*/ 4816958 h 5880798"/>
                  <a:gd name="connsiteX60" fmla="*/ 531921 w 561506"/>
                  <a:gd name="connsiteY60" fmla="*/ 4521412 h 5880798"/>
                  <a:gd name="connsiteX61" fmla="*/ 561506 w 561506"/>
                  <a:gd name="connsiteY61" fmla="*/ 4521412 h 5880798"/>
                  <a:gd name="connsiteX62" fmla="*/ 561506 w 561506"/>
                  <a:gd name="connsiteY62" fmla="*/ 4550997 h 5880798"/>
                  <a:gd name="connsiteX63" fmla="*/ 531921 w 561506"/>
                  <a:gd name="connsiteY63" fmla="*/ 4550997 h 5880798"/>
                  <a:gd name="connsiteX64" fmla="*/ 265961 w 561506"/>
                  <a:gd name="connsiteY64" fmla="*/ 4521412 h 5880798"/>
                  <a:gd name="connsiteX65" fmla="*/ 295547 w 561506"/>
                  <a:gd name="connsiteY65" fmla="*/ 4521412 h 5880798"/>
                  <a:gd name="connsiteX66" fmla="*/ 295547 w 561506"/>
                  <a:gd name="connsiteY66" fmla="*/ 4550997 h 5880798"/>
                  <a:gd name="connsiteX67" fmla="*/ 265961 w 561506"/>
                  <a:gd name="connsiteY67" fmla="*/ 4550997 h 5880798"/>
                  <a:gd name="connsiteX68" fmla="*/ 0 w 561506"/>
                  <a:gd name="connsiteY68" fmla="*/ 4521412 h 5880798"/>
                  <a:gd name="connsiteX69" fmla="*/ 29585 w 561506"/>
                  <a:gd name="connsiteY69" fmla="*/ 4521412 h 5880798"/>
                  <a:gd name="connsiteX70" fmla="*/ 29585 w 561506"/>
                  <a:gd name="connsiteY70" fmla="*/ 4550997 h 5880798"/>
                  <a:gd name="connsiteX71" fmla="*/ 0 w 561506"/>
                  <a:gd name="connsiteY71" fmla="*/ 4550997 h 5880798"/>
                  <a:gd name="connsiteX72" fmla="*/ 531921 w 561506"/>
                  <a:gd name="connsiteY72" fmla="*/ 4255451 h 5880798"/>
                  <a:gd name="connsiteX73" fmla="*/ 561506 w 561506"/>
                  <a:gd name="connsiteY73" fmla="*/ 4255451 h 5880798"/>
                  <a:gd name="connsiteX74" fmla="*/ 561506 w 561506"/>
                  <a:gd name="connsiteY74" fmla="*/ 4285036 h 5880798"/>
                  <a:gd name="connsiteX75" fmla="*/ 531921 w 561506"/>
                  <a:gd name="connsiteY75" fmla="*/ 4285036 h 5880798"/>
                  <a:gd name="connsiteX76" fmla="*/ 265961 w 561506"/>
                  <a:gd name="connsiteY76" fmla="*/ 4255451 h 5880798"/>
                  <a:gd name="connsiteX77" fmla="*/ 295547 w 561506"/>
                  <a:gd name="connsiteY77" fmla="*/ 4255451 h 5880798"/>
                  <a:gd name="connsiteX78" fmla="*/ 295547 w 561506"/>
                  <a:gd name="connsiteY78" fmla="*/ 4285036 h 5880798"/>
                  <a:gd name="connsiteX79" fmla="*/ 265961 w 561506"/>
                  <a:gd name="connsiteY79" fmla="*/ 4285036 h 5880798"/>
                  <a:gd name="connsiteX80" fmla="*/ 0 w 561506"/>
                  <a:gd name="connsiteY80" fmla="*/ 4255451 h 5880798"/>
                  <a:gd name="connsiteX81" fmla="*/ 29585 w 561506"/>
                  <a:gd name="connsiteY81" fmla="*/ 4255451 h 5880798"/>
                  <a:gd name="connsiteX82" fmla="*/ 29585 w 561506"/>
                  <a:gd name="connsiteY82" fmla="*/ 4285036 h 5880798"/>
                  <a:gd name="connsiteX83" fmla="*/ 0 w 561506"/>
                  <a:gd name="connsiteY83" fmla="*/ 4285036 h 5880798"/>
                  <a:gd name="connsiteX84" fmla="*/ 531921 w 561506"/>
                  <a:gd name="connsiteY84" fmla="*/ 3989491 h 5880798"/>
                  <a:gd name="connsiteX85" fmla="*/ 561506 w 561506"/>
                  <a:gd name="connsiteY85" fmla="*/ 3989491 h 5880798"/>
                  <a:gd name="connsiteX86" fmla="*/ 561506 w 561506"/>
                  <a:gd name="connsiteY86" fmla="*/ 4019077 h 5880798"/>
                  <a:gd name="connsiteX87" fmla="*/ 531921 w 561506"/>
                  <a:gd name="connsiteY87" fmla="*/ 4019077 h 5880798"/>
                  <a:gd name="connsiteX88" fmla="*/ 265961 w 561506"/>
                  <a:gd name="connsiteY88" fmla="*/ 3989491 h 5880798"/>
                  <a:gd name="connsiteX89" fmla="*/ 295547 w 561506"/>
                  <a:gd name="connsiteY89" fmla="*/ 3989491 h 5880798"/>
                  <a:gd name="connsiteX90" fmla="*/ 295547 w 561506"/>
                  <a:gd name="connsiteY90" fmla="*/ 4019077 h 5880798"/>
                  <a:gd name="connsiteX91" fmla="*/ 265961 w 561506"/>
                  <a:gd name="connsiteY91" fmla="*/ 4019077 h 5880798"/>
                  <a:gd name="connsiteX92" fmla="*/ 0 w 561506"/>
                  <a:gd name="connsiteY92" fmla="*/ 3989491 h 5880798"/>
                  <a:gd name="connsiteX93" fmla="*/ 29585 w 561506"/>
                  <a:gd name="connsiteY93" fmla="*/ 3989491 h 5880798"/>
                  <a:gd name="connsiteX94" fmla="*/ 29585 w 561506"/>
                  <a:gd name="connsiteY94" fmla="*/ 4019077 h 5880798"/>
                  <a:gd name="connsiteX95" fmla="*/ 0 w 561506"/>
                  <a:gd name="connsiteY95" fmla="*/ 4019077 h 5880798"/>
                  <a:gd name="connsiteX96" fmla="*/ 531921 w 561506"/>
                  <a:gd name="connsiteY96" fmla="*/ 3723530 h 5880798"/>
                  <a:gd name="connsiteX97" fmla="*/ 561506 w 561506"/>
                  <a:gd name="connsiteY97" fmla="*/ 3723530 h 5880798"/>
                  <a:gd name="connsiteX98" fmla="*/ 561506 w 561506"/>
                  <a:gd name="connsiteY98" fmla="*/ 3753115 h 5880798"/>
                  <a:gd name="connsiteX99" fmla="*/ 531921 w 561506"/>
                  <a:gd name="connsiteY99" fmla="*/ 3753115 h 5880798"/>
                  <a:gd name="connsiteX100" fmla="*/ 265961 w 561506"/>
                  <a:gd name="connsiteY100" fmla="*/ 3723530 h 5880798"/>
                  <a:gd name="connsiteX101" fmla="*/ 295547 w 561506"/>
                  <a:gd name="connsiteY101" fmla="*/ 3723530 h 5880798"/>
                  <a:gd name="connsiteX102" fmla="*/ 295547 w 561506"/>
                  <a:gd name="connsiteY102" fmla="*/ 3753115 h 5880798"/>
                  <a:gd name="connsiteX103" fmla="*/ 265961 w 561506"/>
                  <a:gd name="connsiteY103" fmla="*/ 3753115 h 5880798"/>
                  <a:gd name="connsiteX104" fmla="*/ 0 w 561506"/>
                  <a:gd name="connsiteY104" fmla="*/ 3723530 h 5880798"/>
                  <a:gd name="connsiteX105" fmla="*/ 29585 w 561506"/>
                  <a:gd name="connsiteY105" fmla="*/ 3723530 h 5880798"/>
                  <a:gd name="connsiteX106" fmla="*/ 29585 w 561506"/>
                  <a:gd name="connsiteY106" fmla="*/ 3753115 h 5880798"/>
                  <a:gd name="connsiteX107" fmla="*/ 0 w 561506"/>
                  <a:gd name="connsiteY107" fmla="*/ 3753115 h 5880798"/>
                  <a:gd name="connsiteX108" fmla="*/ 531921 w 561506"/>
                  <a:gd name="connsiteY108" fmla="*/ 3457570 h 5880798"/>
                  <a:gd name="connsiteX109" fmla="*/ 561506 w 561506"/>
                  <a:gd name="connsiteY109" fmla="*/ 3457570 h 5880798"/>
                  <a:gd name="connsiteX110" fmla="*/ 561506 w 561506"/>
                  <a:gd name="connsiteY110" fmla="*/ 3487156 h 5880798"/>
                  <a:gd name="connsiteX111" fmla="*/ 531921 w 561506"/>
                  <a:gd name="connsiteY111" fmla="*/ 3487156 h 5880798"/>
                  <a:gd name="connsiteX112" fmla="*/ 265961 w 561506"/>
                  <a:gd name="connsiteY112" fmla="*/ 3457570 h 5880798"/>
                  <a:gd name="connsiteX113" fmla="*/ 295547 w 561506"/>
                  <a:gd name="connsiteY113" fmla="*/ 3457570 h 5880798"/>
                  <a:gd name="connsiteX114" fmla="*/ 295547 w 561506"/>
                  <a:gd name="connsiteY114" fmla="*/ 3487156 h 5880798"/>
                  <a:gd name="connsiteX115" fmla="*/ 265961 w 561506"/>
                  <a:gd name="connsiteY115" fmla="*/ 3487156 h 5880798"/>
                  <a:gd name="connsiteX116" fmla="*/ 0 w 561506"/>
                  <a:gd name="connsiteY116" fmla="*/ 3457570 h 5880798"/>
                  <a:gd name="connsiteX117" fmla="*/ 29585 w 561506"/>
                  <a:gd name="connsiteY117" fmla="*/ 3457570 h 5880798"/>
                  <a:gd name="connsiteX118" fmla="*/ 29585 w 561506"/>
                  <a:gd name="connsiteY118" fmla="*/ 3487156 h 5880798"/>
                  <a:gd name="connsiteX119" fmla="*/ 0 w 561506"/>
                  <a:gd name="connsiteY119" fmla="*/ 3487156 h 5880798"/>
                  <a:gd name="connsiteX120" fmla="*/ 531921 w 561506"/>
                  <a:gd name="connsiteY120" fmla="*/ 3191618 h 5880798"/>
                  <a:gd name="connsiteX121" fmla="*/ 561506 w 561506"/>
                  <a:gd name="connsiteY121" fmla="*/ 3191618 h 5880798"/>
                  <a:gd name="connsiteX122" fmla="*/ 561506 w 561506"/>
                  <a:gd name="connsiteY122" fmla="*/ 3221195 h 5880798"/>
                  <a:gd name="connsiteX123" fmla="*/ 531921 w 561506"/>
                  <a:gd name="connsiteY123" fmla="*/ 3221195 h 5880798"/>
                  <a:gd name="connsiteX124" fmla="*/ 265961 w 561506"/>
                  <a:gd name="connsiteY124" fmla="*/ 3191618 h 5880798"/>
                  <a:gd name="connsiteX125" fmla="*/ 295547 w 561506"/>
                  <a:gd name="connsiteY125" fmla="*/ 3191618 h 5880798"/>
                  <a:gd name="connsiteX126" fmla="*/ 295547 w 561506"/>
                  <a:gd name="connsiteY126" fmla="*/ 3221195 h 5880798"/>
                  <a:gd name="connsiteX127" fmla="*/ 265961 w 561506"/>
                  <a:gd name="connsiteY127" fmla="*/ 3221195 h 5880798"/>
                  <a:gd name="connsiteX128" fmla="*/ 0 w 561506"/>
                  <a:gd name="connsiteY128" fmla="*/ 3191617 h 5880798"/>
                  <a:gd name="connsiteX129" fmla="*/ 29585 w 561506"/>
                  <a:gd name="connsiteY129" fmla="*/ 3191617 h 5880798"/>
                  <a:gd name="connsiteX130" fmla="*/ 29585 w 561506"/>
                  <a:gd name="connsiteY130" fmla="*/ 3221195 h 5880798"/>
                  <a:gd name="connsiteX131" fmla="*/ 0 w 561506"/>
                  <a:gd name="connsiteY131" fmla="*/ 3221195 h 5880798"/>
                  <a:gd name="connsiteX132" fmla="*/ 531921 w 561506"/>
                  <a:gd name="connsiteY132" fmla="*/ 2925660 h 5880798"/>
                  <a:gd name="connsiteX133" fmla="*/ 561506 w 561506"/>
                  <a:gd name="connsiteY133" fmla="*/ 2925660 h 5880798"/>
                  <a:gd name="connsiteX134" fmla="*/ 561506 w 561506"/>
                  <a:gd name="connsiteY134" fmla="*/ 2955246 h 5880798"/>
                  <a:gd name="connsiteX135" fmla="*/ 531921 w 561506"/>
                  <a:gd name="connsiteY135" fmla="*/ 2955246 h 5880798"/>
                  <a:gd name="connsiteX136" fmla="*/ 265961 w 561506"/>
                  <a:gd name="connsiteY136" fmla="*/ 2925659 h 5880798"/>
                  <a:gd name="connsiteX137" fmla="*/ 295547 w 561506"/>
                  <a:gd name="connsiteY137" fmla="*/ 2925659 h 5880798"/>
                  <a:gd name="connsiteX138" fmla="*/ 295547 w 561506"/>
                  <a:gd name="connsiteY138" fmla="*/ 2955245 h 5880798"/>
                  <a:gd name="connsiteX139" fmla="*/ 265961 w 561506"/>
                  <a:gd name="connsiteY139" fmla="*/ 2955245 h 5880798"/>
                  <a:gd name="connsiteX140" fmla="*/ 0 w 561506"/>
                  <a:gd name="connsiteY140" fmla="*/ 2925658 h 5880798"/>
                  <a:gd name="connsiteX141" fmla="*/ 29585 w 561506"/>
                  <a:gd name="connsiteY141" fmla="*/ 2925658 h 5880798"/>
                  <a:gd name="connsiteX142" fmla="*/ 29585 w 561506"/>
                  <a:gd name="connsiteY142" fmla="*/ 2955244 h 5880798"/>
                  <a:gd name="connsiteX143" fmla="*/ 0 w 561506"/>
                  <a:gd name="connsiteY143" fmla="*/ 2955244 h 5880798"/>
                  <a:gd name="connsiteX144" fmla="*/ 531921 w 561506"/>
                  <a:gd name="connsiteY144" fmla="*/ 2659620 h 5880798"/>
                  <a:gd name="connsiteX145" fmla="*/ 561506 w 561506"/>
                  <a:gd name="connsiteY145" fmla="*/ 2659620 h 5880798"/>
                  <a:gd name="connsiteX146" fmla="*/ 561506 w 561506"/>
                  <a:gd name="connsiteY146" fmla="*/ 2689204 h 5880798"/>
                  <a:gd name="connsiteX147" fmla="*/ 531921 w 561506"/>
                  <a:gd name="connsiteY147" fmla="*/ 2689204 h 5880798"/>
                  <a:gd name="connsiteX148" fmla="*/ 265961 w 561506"/>
                  <a:gd name="connsiteY148" fmla="*/ 2659616 h 5880798"/>
                  <a:gd name="connsiteX149" fmla="*/ 295547 w 561506"/>
                  <a:gd name="connsiteY149" fmla="*/ 2659616 h 5880798"/>
                  <a:gd name="connsiteX150" fmla="*/ 295547 w 561506"/>
                  <a:gd name="connsiteY150" fmla="*/ 2689201 h 5880798"/>
                  <a:gd name="connsiteX151" fmla="*/ 265961 w 561506"/>
                  <a:gd name="connsiteY151" fmla="*/ 2689201 h 5880798"/>
                  <a:gd name="connsiteX152" fmla="*/ 0 w 561506"/>
                  <a:gd name="connsiteY152" fmla="*/ 2659613 h 5880798"/>
                  <a:gd name="connsiteX153" fmla="*/ 29585 w 561506"/>
                  <a:gd name="connsiteY153" fmla="*/ 2659613 h 5880798"/>
                  <a:gd name="connsiteX154" fmla="*/ 29585 w 561506"/>
                  <a:gd name="connsiteY154" fmla="*/ 2689198 h 5880798"/>
                  <a:gd name="connsiteX155" fmla="*/ 0 w 561506"/>
                  <a:gd name="connsiteY155" fmla="*/ 2689198 h 5880798"/>
                  <a:gd name="connsiteX156" fmla="*/ 531921 w 561506"/>
                  <a:gd name="connsiteY156" fmla="*/ 2393661 h 5880798"/>
                  <a:gd name="connsiteX157" fmla="*/ 561506 w 561506"/>
                  <a:gd name="connsiteY157" fmla="*/ 2393661 h 5880798"/>
                  <a:gd name="connsiteX158" fmla="*/ 561506 w 561506"/>
                  <a:gd name="connsiteY158" fmla="*/ 2423260 h 5880798"/>
                  <a:gd name="connsiteX159" fmla="*/ 531921 w 561506"/>
                  <a:gd name="connsiteY159" fmla="*/ 2423260 h 5880798"/>
                  <a:gd name="connsiteX160" fmla="*/ 265961 w 561506"/>
                  <a:gd name="connsiteY160" fmla="*/ 2393658 h 5880798"/>
                  <a:gd name="connsiteX161" fmla="*/ 295547 w 561506"/>
                  <a:gd name="connsiteY161" fmla="*/ 2393658 h 5880798"/>
                  <a:gd name="connsiteX162" fmla="*/ 295547 w 561506"/>
                  <a:gd name="connsiteY162" fmla="*/ 2423257 h 5880798"/>
                  <a:gd name="connsiteX163" fmla="*/ 265961 w 561506"/>
                  <a:gd name="connsiteY163" fmla="*/ 2423257 h 5880798"/>
                  <a:gd name="connsiteX164" fmla="*/ 0 w 561506"/>
                  <a:gd name="connsiteY164" fmla="*/ 2393655 h 5880798"/>
                  <a:gd name="connsiteX165" fmla="*/ 29585 w 561506"/>
                  <a:gd name="connsiteY165" fmla="*/ 2393655 h 5880798"/>
                  <a:gd name="connsiteX166" fmla="*/ 29585 w 561506"/>
                  <a:gd name="connsiteY166" fmla="*/ 2423251 h 5880798"/>
                  <a:gd name="connsiteX167" fmla="*/ 0 w 561506"/>
                  <a:gd name="connsiteY167" fmla="*/ 2423251 h 5880798"/>
                  <a:gd name="connsiteX168" fmla="*/ 531921 w 561506"/>
                  <a:gd name="connsiteY168" fmla="*/ 2127694 h 5880798"/>
                  <a:gd name="connsiteX169" fmla="*/ 561506 w 561506"/>
                  <a:gd name="connsiteY169" fmla="*/ 2127694 h 5880798"/>
                  <a:gd name="connsiteX170" fmla="*/ 561506 w 561506"/>
                  <a:gd name="connsiteY170" fmla="*/ 2157283 h 5880798"/>
                  <a:gd name="connsiteX171" fmla="*/ 531921 w 561506"/>
                  <a:gd name="connsiteY171" fmla="*/ 2157283 h 5880798"/>
                  <a:gd name="connsiteX172" fmla="*/ 265961 w 561506"/>
                  <a:gd name="connsiteY172" fmla="*/ 2127693 h 5880798"/>
                  <a:gd name="connsiteX173" fmla="*/ 295547 w 561506"/>
                  <a:gd name="connsiteY173" fmla="*/ 2127693 h 5880798"/>
                  <a:gd name="connsiteX174" fmla="*/ 295547 w 561506"/>
                  <a:gd name="connsiteY174" fmla="*/ 2157282 h 5880798"/>
                  <a:gd name="connsiteX175" fmla="*/ 265961 w 561506"/>
                  <a:gd name="connsiteY175" fmla="*/ 2157282 h 5880798"/>
                  <a:gd name="connsiteX176" fmla="*/ 0 w 561506"/>
                  <a:gd name="connsiteY176" fmla="*/ 2127689 h 5880798"/>
                  <a:gd name="connsiteX177" fmla="*/ 29585 w 561506"/>
                  <a:gd name="connsiteY177" fmla="*/ 2127689 h 5880798"/>
                  <a:gd name="connsiteX178" fmla="*/ 29585 w 561506"/>
                  <a:gd name="connsiteY178" fmla="*/ 2157278 h 5880798"/>
                  <a:gd name="connsiteX179" fmla="*/ 0 w 561506"/>
                  <a:gd name="connsiteY179" fmla="*/ 2157278 h 5880798"/>
                  <a:gd name="connsiteX180" fmla="*/ 531921 w 561506"/>
                  <a:gd name="connsiteY180" fmla="*/ 1861731 h 5880798"/>
                  <a:gd name="connsiteX181" fmla="*/ 561506 w 561506"/>
                  <a:gd name="connsiteY181" fmla="*/ 1861731 h 5880798"/>
                  <a:gd name="connsiteX182" fmla="*/ 561506 w 561506"/>
                  <a:gd name="connsiteY182" fmla="*/ 1891308 h 5880798"/>
                  <a:gd name="connsiteX183" fmla="*/ 531921 w 561506"/>
                  <a:gd name="connsiteY183" fmla="*/ 1891308 h 5880798"/>
                  <a:gd name="connsiteX184" fmla="*/ 265961 w 561506"/>
                  <a:gd name="connsiteY184" fmla="*/ 1861728 h 5880798"/>
                  <a:gd name="connsiteX185" fmla="*/ 295547 w 561506"/>
                  <a:gd name="connsiteY185" fmla="*/ 1861728 h 5880798"/>
                  <a:gd name="connsiteX186" fmla="*/ 295547 w 561506"/>
                  <a:gd name="connsiteY186" fmla="*/ 1891306 h 5880798"/>
                  <a:gd name="connsiteX187" fmla="*/ 265961 w 561506"/>
                  <a:gd name="connsiteY187" fmla="*/ 1891306 h 5880798"/>
                  <a:gd name="connsiteX188" fmla="*/ 0 w 561506"/>
                  <a:gd name="connsiteY188" fmla="*/ 1861726 h 5880798"/>
                  <a:gd name="connsiteX189" fmla="*/ 29585 w 561506"/>
                  <a:gd name="connsiteY189" fmla="*/ 1861726 h 5880798"/>
                  <a:gd name="connsiteX190" fmla="*/ 29585 w 561506"/>
                  <a:gd name="connsiteY190" fmla="*/ 1891304 h 5880798"/>
                  <a:gd name="connsiteX191" fmla="*/ 0 w 561506"/>
                  <a:gd name="connsiteY191" fmla="*/ 1891304 h 5880798"/>
                  <a:gd name="connsiteX192" fmla="*/ 531921 w 561506"/>
                  <a:gd name="connsiteY192" fmla="*/ 1595769 h 5880798"/>
                  <a:gd name="connsiteX193" fmla="*/ 561506 w 561506"/>
                  <a:gd name="connsiteY193" fmla="*/ 1595769 h 5880798"/>
                  <a:gd name="connsiteX194" fmla="*/ 561506 w 561506"/>
                  <a:gd name="connsiteY194" fmla="*/ 1625355 h 5880798"/>
                  <a:gd name="connsiteX195" fmla="*/ 531921 w 561506"/>
                  <a:gd name="connsiteY195" fmla="*/ 1625355 h 5880798"/>
                  <a:gd name="connsiteX196" fmla="*/ 265961 w 561506"/>
                  <a:gd name="connsiteY196" fmla="*/ 1595766 h 5880798"/>
                  <a:gd name="connsiteX197" fmla="*/ 295547 w 561506"/>
                  <a:gd name="connsiteY197" fmla="*/ 1595766 h 5880798"/>
                  <a:gd name="connsiteX198" fmla="*/ 295547 w 561506"/>
                  <a:gd name="connsiteY198" fmla="*/ 1625352 h 5880798"/>
                  <a:gd name="connsiteX199" fmla="*/ 265961 w 561506"/>
                  <a:gd name="connsiteY199" fmla="*/ 1625352 h 5880798"/>
                  <a:gd name="connsiteX200" fmla="*/ 0 w 561506"/>
                  <a:gd name="connsiteY200" fmla="*/ 1595764 h 5880798"/>
                  <a:gd name="connsiteX201" fmla="*/ 29585 w 561506"/>
                  <a:gd name="connsiteY201" fmla="*/ 1595764 h 5880798"/>
                  <a:gd name="connsiteX202" fmla="*/ 29585 w 561506"/>
                  <a:gd name="connsiteY202" fmla="*/ 1625350 h 5880798"/>
                  <a:gd name="connsiteX203" fmla="*/ 0 w 561506"/>
                  <a:gd name="connsiteY203" fmla="*/ 1625350 h 5880798"/>
                  <a:gd name="connsiteX204" fmla="*/ 531921 w 561506"/>
                  <a:gd name="connsiteY204" fmla="*/ 1329811 h 5880798"/>
                  <a:gd name="connsiteX205" fmla="*/ 561506 w 561506"/>
                  <a:gd name="connsiteY205" fmla="*/ 1329811 h 5880798"/>
                  <a:gd name="connsiteX206" fmla="*/ 561506 w 561506"/>
                  <a:gd name="connsiteY206" fmla="*/ 1359396 h 5880798"/>
                  <a:gd name="connsiteX207" fmla="*/ 531921 w 561506"/>
                  <a:gd name="connsiteY207" fmla="*/ 1359396 h 5880798"/>
                  <a:gd name="connsiteX208" fmla="*/ 265961 w 561506"/>
                  <a:gd name="connsiteY208" fmla="*/ 1329809 h 5880798"/>
                  <a:gd name="connsiteX209" fmla="*/ 295547 w 561506"/>
                  <a:gd name="connsiteY209" fmla="*/ 1329809 h 5880798"/>
                  <a:gd name="connsiteX210" fmla="*/ 295547 w 561506"/>
                  <a:gd name="connsiteY210" fmla="*/ 1359393 h 5880798"/>
                  <a:gd name="connsiteX211" fmla="*/ 265961 w 561506"/>
                  <a:gd name="connsiteY211" fmla="*/ 1359393 h 5880798"/>
                  <a:gd name="connsiteX212" fmla="*/ 0 w 561506"/>
                  <a:gd name="connsiteY212" fmla="*/ 1329806 h 5880798"/>
                  <a:gd name="connsiteX213" fmla="*/ 29585 w 561506"/>
                  <a:gd name="connsiteY213" fmla="*/ 1329806 h 5880798"/>
                  <a:gd name="connsiteX214" fmla="*/ 29585 w 561506"/>
                  <a:gd name="connsiteY214" fmla="*/ 1359391 h 5880798"/>
                  <a:gd name="connsiteX215" fmla="*/ 0 w 561506"/>
                  <a:gd name="connsiteY215" fmla="*/ 1359391 h 5880798"/>
                  <a:gd name="connsiteX216" fmla="*/ 531921 w 561506"/>
                  <a:gd name="connsiteY216" fmla="*/ 1063855 h 5880798"/>
                  <a:gd name="connsiteX217" fmla="*/ 561506 w 561506"/>
                  <a:gd name="connsiteY217" fmla="*/ 1063855 h 5880798"/>
                  <a:gd name="connsiteX218" fmla="*/ 561506 w 561506"/>
                  <a:gd name="connsiteY218" fmla="*/ 1093441 h 5880798"/>
                  <a:gd name="connsiteX219" fmla="*/ 531921 w 561506"/>
                  <a:gd name="connsiteY219" fmla="*/ 1093441 h 5880798"/>
                  <a:gd name="connsiteX220" fmla="*/ 265961 w 561506"/>
                  <a:gd name="connsiteY220" fmla="*/ 1063852 h 5880798"/>
                  <a:gd name="connsiteX221" fmla="*/ 295547 w 561506"/>
                  <a:gd name="connsiteY221" fmla="*/ 1063852 h 5880798"/>
                  <a:gd name="connsiteX222" fmla="*/ 295547 w 561506"/>
                  <a:gd name="connsiteY222" fmla="*/ 1093438 h 5880798"/>
                  <a:gd name="connsiteX223" fmla="*/ 265961 w 561506"/>
                  <a:gd name="connsiteY223" fmla="*/ 1093438 h 5880798"/>
                  <a:gd name="connsiteX224" fmla="*/ 0 w 561506"/>
                  <a:gd name="connsiteY224" fmla="*/ 1063849 h 5880798"/>
                  <a:gd name="connsiteX225" fmla="*/ 29585 w 561506"/>
                  <a:gd name="connsiteY225" fmla="*/ 1063849 h 5880798"/>
                  <a:gd name="connsiteX226" fmla="*/ 29585 w 561506"/>
                  <a:gd name="connsiteY226" fmla="*/ 1093435 h 5880798"/>
                  <a:gd name="connsiteX227" fmla="*/ 0 w 561506"/>
                  <a:gd name="connsiteY227" fmla="*/ 1093435 h 5880798"/>
                  <a:gd name="connsiteX228" fmla="*/ 531921 w 561506"/>
                  <a:gd name="connsiteY228" fmla="*/ 797884 h 5880798"/>
                  <a:gd name="connsiteX229" fmla="*/ 561506 w 561506"/>
                  <a:gd name="connsiteY229" fmla="*/ 797884 h 5880798"/>
                  <a:gd name="connsiteX230" fmla="*/ 561506 w 561506"/>
                  <a:gd name="connsiteY230" fmla="*/ 827470 h 5880798"/>
                  <a:gd name="connsiteX231" fmla="*/ 531921 w 561506"/>
                  <a:gd name="connsiteY231" fmla="*/ 827470 h 5880798"/>
                  <a:gd name="connsiteX232" fmla="*/ 265961 w 561506"/>
                  <a:gd name="connsiteY232" fmla="*/ 797882 h 5880798"/>
                  <a:gd name="connsiteX233" fmla="*/ 295547 w 561506"/>
                  <a:gd name="connsiteY233" fmla="*/ 797882 h 5880798"/>
                  <a:gd name="connsiteX234" fmla="*/ 295547 w 561506"/>
                  <a:gd name="connsiteY234" fmla="*/ 827468 h 5880798"/>
                  <a:gd name="connsiteX235" fmla="*/ 265961 w 561506"/>
                  <a:gd name="connsiteY235" fmla="*/ 827468 h 5880798"/>
                  <a:gd name="connsiteX236" fmla="*/ 0 w 561506"/>
                  <a:gd name="connsiteY236" fmla="*/ 797879 h 5880798"/>
                  <a:gd name="connsiteX237" fmla="*/ 29585 w 561506"/>
                  <a:gd name="connsiteY237" fmla="*/ 797879 h 5880798"/>
                  <a:gd name="connsiteX238" fmla="*/ 29585 w 561506"/>
                  <a:gd name="connsiteY238" fmla="*/ 827465 h 5880798"/>
                  <a:gd name="connsiteX239" fmla="*/ 0 w 561506"/>
                  <a:gd name="connsiteY239" fmla="*/ 827465 h 5880798"/>
                  <a:gd name="connsiteX240" fmla="*/ 531921 w 561506"/>
                  <a:gd name="connsiteY240" fmla="*/ 531924 h 5880798"/>
                  <a:gd name="connsiteX241" fmla="*/ 561506 w 561506"/>
                  <a:gd name="connsiteY241" fmla="*/ 531924 h 5880798"/>
                  <a:gd name="connsiteX242" fmla="*/ 561506 w 561506"/>
                  <a:gd name="connsiteY242" fmla="*/ 561509 h 5880798"/>
                  <a:gd name="connsiteX243" fmla="*/ 531921 w 561506"/>
                  <a:gd name="connsiteY243" fmla="*/ 561509 h 5880798"/>
                  <a:gd name="connsiteX244" fmla="*/ 265961 w 561506"/>
                  <a:gd name="connsiteY244" fmla="*/ 531922 h 5880798"/>
                  <a:gd name="connsiteX245" fmla="*/ 295547 w 561506"/>
                  <a:gd name="connsiteY245" fmla="*/ 531922 h 5880798"/>
                  <a:gd name="connsiteX246" fmla="*/ 295547 w 561506"/>
                  <a:gd name="connsiteY246" fmla="*/ 561507 h 5880798"/>
                  <a:gd name="connsiteX247" fmla="*/ 265961 w 561506"/>
                  <a:gd name="connsiteY247" fmla="*/ 561507 h 5880798"/>
                  <a:gd name="connsiteX248" fmla="*/ 0 w 561506"/>
                  <a:gd name="connsiteY248" fmla="*/ 531920 h 5880798"/>
                  <a:gd name="connsiteX249" fmla="*/ 29585 w 561506"/>
                  <a:gd name="connsiteY249" fmla="*/ 531920 h 5880798"/>
                  <a:gd name="connsiteX250" fmla="*/ 29585 w 561506"/>
                  <a:gd name="connsiteY250" fmla="*/ 561505 h 5880798"/>
                  <a:gd name="connsiteX251" fmla="*/ 0 w 561506"/>
                  <a:gd name="connsiteY251" fmla="*/ 561505 h 5880798"/>
                  <a:gd name="connsiteX252" fmla="*/ 531921 w 561506"/>
                  <a:gd name="connsiteY252" fmla="*/ 265964 h 5880798"/>
                  <a:gd name="connsiteX253" fmla="*/ 561506 w 561506"/>
                  <a:gd name="connsiteY253" fmla="*/ 265964 h 5880798"/>
                  <a:gd name="connsiteX254" fmla="*/ 561506 w 561506"/>
                  <a:gd name="connsiteY254" fmla="*/ 295550 h 5880798"/>
                  <a:gd name="connsiteX255" fmla="*/ 531921 w 561506"/>
                  <a:gd name="connsiteY255" fmla="*/ 295550 h 5880798"/>
                  <a:gd name="connsiteX256" fmla="*/ 265961 w 561506"/>
                  <a:gd name="connsiteY256" fmla="*/ 265962 h 5880798"/>
                  <a:gd name="connsiteX257" fmla="*/ 295547 w 561506"/>
                  <a:gd name="connsiteY257" fmla="*/ 265962 h 5880798"/>
                  <a:gd name="connsiteX258" fmla="*/ 295547 w 561506"/>
                  <a:gd name="connsiteY258" fmla="*/ 295548 h 5880798"/>
                  <a:gd name="connsiteX259" fmla="*/ 265961 w 561506"/>
                  <a:gd name="connsiteY259" fmla="*/ 295548 h 5880798"/>
                  <a:gd name="connsiteX260" fmla="*/ 0 w 561506"/>
                  <a:gd name="connsiteY260" fmla="*/ 265960 h 5880798"/>
                  <a:gd name="connsiteX261" fmla="*/ 29585 w 561506"/>
                  <a:gd name="connsiteY261" fmla="*/ 265960 h 5880798"/>
                  <a:gd name="connsiteX262" fmla="*/ 29585 w 561506"/>
                  <a:gd name="connsiteY262" fmla="*/ 295546 h 5880798"/>
                  <a:gd name="connsiteX263" fmla="*/ 0 w 561506"/>
                  <a:gd name="connsiteY263" fmla="*/ 295546 h 5880798"/>
                  <a:gd name="connsiteX264" fmla="*/ 531921 w 561506"/>
                  <a:gd name="connsiteY264" fmla="*/ 5 h 5880798"/>
                  <a:gd name="connsiteX265" fmla="*/ 561506 w 561506"/>
                  <a:gd name="connsiteY265" fmla="*/ 5 h 5880798"/>
                  <a:gd name="connsiteX266" fmla="*/ 561506 w 561506"/>
                  <a:gd name="connsiteY266" fmla="*/ 29591 h 5880798"/>
                  <a:gd name="connsiteX267" fmla="*/ 531921 w 561506"/>
                  <a:gd name="connsiteY267" fmla="*/ 29591 h 5880798"/>
                  <a:gd name="connsiteX268" fmla="*/ 265961 w 561506"/>
                  <a:gd name="connsiteY268" fmla="*/ 3 h 5880798"/>
                  <a:gd name="connsiteX269" fmla="*/ 295547 w 561506"/>
                  <a:gd name="connsiteY269" fmla="*/ 3 h 5880798"/>
                  <a:gd name="connsiteX270" fmla="*/ 295547 w 561506"/>
                  <a:gd name="connsiteY270" fmla="*/ 29589 h 5880798"/>
                  <a:gd name="connsiteX271" fmla="*/ 265961 w 561506"/>
                  <a:gd name="connsiteY271" fmla="*/ 29589 h 5880798"/>
                  <a:gd name="connsiteX272" fmla="*/ 0 w 561506"/>
                  <a:gd name="connsiteY272" fmla="*/ 0 h 5880798"/>
                  <a:gd name="connsiteX273" fmla="*/ 29585 w 561506"/>
                  <a:gd name="connsiteY273" fmla="*/ 0 h 5880798"/>
                  <a:gd name="connsiteX274" fmla="*/ 29585 w 561506"/>
                  <a:gd name="connsiteY274" fmla="*/ 29586 h 5880798"/>
                  <a:gd name="connsiteX275" fmla="*/ 0 w 561506"/>
                  <a:gd name="connsiteY275" fmla="*/ 29586 h 58807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</a:cxnLst>
                <a:rect l="l" t="t" r="r" b="b"/>
                <a:pathLst>
                  <a:path w="561506" h="5880798">
                    <a:moveTo>
                      <a:pt x="531921" y="5851213"/>
                    </a:moveTo>
                    <a:lnTo>
                      <a:pt x="561506" y="5851213"/>
                    </a:lnTo>
                    <a:lnTo>
                      <a:pt x="561506" y="5880798"/>
                    </a:lnTo>
                    <a:lnTo>
                      <a:pt x="531921" y="5880798"/>
                    </a:lnTo>
                    <a:close/>
                    <a:moveTo>
                      <a:pt x="265961" y="5851213"/>
                    </a:moveTo>
                    <a:lnTo>
                      <a:pt x="295547" y="5851213"/>
                    </a:lnTo>
                    <a:lnTo>
                      <a:pt x="295547" y="5880798"/>
                    </a:lnTo>
                    <a:lnTo>
                      <a:pt x="265961" y="5880798"/>
                    </a:lnTo>
                    <a:close/>
                    <a:moveTo>
                      <a:pt x="0" y="5851213"/>
                    </a:moveTo>
                    <a:lnTo>
                      <a:pt x="29585" y="5851213"/>
                    </a:lnTo>
                    <a:lnTo>
                      <a:pt x="29585" y="5880798"/>
                    </a:lnTo>
                    <a:lnTo>
                      <a:pt x="0" y="5880798"/>
                    </a:lnTo>
                    <a:close/>
                    <a:moveTo>
                      <a:pt x="531921" y="5585253"/>
                    </a:moveTo>
                    <a:lnTo>
                      <a:pt x="561506" y="5585253"/>
                    </a:lnTo>
                    <a:lnTo>
                      <a:pt x="561506" y="5614838"/>
                    </a:lnTo>
                    <a:lnTo>
                      <a:pt x="531921" y="5614838"/>
                    </a:lnTo>
                    <a:close/>
                    <a:moveTo>
                      <a:pt x="265961" y="5585253"/>
                    </a:moveTo>
                    <a:lnTo>
                      <a:pt x="295547" y="5585253"/>
                    </a:lnTo>
                    <a:lnTo>
                      <a:pt x="295547" y="5614838"/>
                    </a:lnTo>
                    <a:lnTo>
                      <a:pt x="265961" y="5614838"/>
                    </a:lnTo>
                    <a:close/>
                    <a:moveTo>
                      <a:pt x="0" y="5585253"/>
                    </a:moveTo>
                    <a:lnTo>
                      <a:pt x="29585" y="5585253"/>
                    </a:lnTo>
                    <a:lnTo>
                      <a:pt x="29585" y="5614838"/>
                    </a:lnTo>
                    <a:lnTo>
                      <a:pt x="0" y="5614838"/>
                    </a:lnTo>
                    <a:close/>
                    <a:moveTo>
                      <a:pt x="531921" y="5319293"/>
                    </a:moveTo>
                    <a:lnTo>
                      <a:pt x="561506" y="5319293"/>
                    </a:lnTo>
                    <a:lnTo>
                      <a:pt x="561506" y="5348879"/>
                    </a:lnTo>
                    <a:lnTo>
                      <a:pt x="531921" y="5348879"/>
                    </a:lnTo>
                    <a:close/>
                    <a:moveTo>
                      <a:pt x="265961" y="5319293"/>
                    </a:moveTo>
                    <a:lnTo>
                      <a:pt x="295547" y="5319293"/>
                    </a:lnTo>
                    <a:lnTo>
                      <a:pt x="295547" y="5348879"/>
                    </a:lnTo>
                    <a:lnTo>
                      <a:pt x="265961" y="5348879"/>
                    </a:lnTo>
                    <a:close/>
                    <a:moveTo>
                      <a:pt x="0" y="5319293"/>
                    </a:moveTo>
                    <a:lnTo>
                      <a:pt x="29585" y="5319293"/>
                    </a:lnTo>
                    <a:lnTo>
                      <a:pt x="29585" y="5348879"/>
                    </a:lnTo>
                    <a:lnTo>
                      <a:pt x="0" y="5348879"/>
                    </a:lnTo>
                    <a:close/>
                    <a:moveTo>
                      <a:pt x="531921" y="5053332"/>
                    </a:moveTo>
                    <a:lnTo>
                      <a:pt x="561506" y="5053332"/>
                    </a:lnTo>
                    <a:lnTo>
                      <a:pt x="561506" y="5082917"/>
                    </a:lnTo>
                    <a:lnTo>
                      <a:pt x="531921" y="5082917"/>
                    </a:lnTo>
                    <a:close/>
                    <a:moveTo>
                      <a:pt x="265961" y="5053332"/>
                    </a:moveTo>
                    <a:lnTo>
                      <a:pt x="295547" y="5053332"/>
                    </a:lnTo>
                    <a:lnTo>
                      <a:pt x="295547" y="5082917"/>
                    </a:lnTo>
                    <a:lnTo>
                      <a:pt x="265961" y="5082917"/>
                    </a:lnTo>
                    <a:close/>
                    <a:moveTo>
                      <a:pt x="0" y="5053332"/>
                    </a:moveTo>
                    <a:lnTo>
                      <a:pt x="29585" y="5053332"/>
                    </a:lnTo>
                    <a:lnTo>
                      <a:pt x="29585" y="5082917"/>
                    </a:lnTo>
                    <a:lnTo>
                      <a:pt x="0" y="5082917"/>
                    </a:lnTo>
                    <a:close/>
                    <a:moveTo>
                      <a:pt x="531921" y="4787372"/>
                    </a:moveTo>
                    <a:lnTo>
                      <a:pt x="561506" y="4787372"/>
                    </a:lnTo>
                    <a:lnTo>
                      <a:pt x="561506" y="4816958"/>
                    </a:lnTo>
                    <a:lnTo>
                      <a:pt x="531921" y="4816958"/>
                    </a:lnTo>
                    <a:close/>
                    <a:moveTo>
                      <a:pt x="265961" y="4787372"/>
                    </a:moveTo>
                    <a:lnTo>
                      <a:pt x="295547" y="4787372"/>
                    </a:lnTo>
                    <a:lnTo>
                      <a:pt x="295547" y="4816958"/>
                    </a:lnTo>
                    <a:lnTo>
                      <a:pt x="265961" y="4816958"/>
                    </a:lnTo>
                    <a:close/>
                    <a:moveTo>
                      <a:pt x="0" y="4787372"/>
                    </a:moveTo>
                    <a:lnTo>
                      <a:pt x="29585" y="4787372"/>
                    </a:lnTo>
                    <a:lnTo>
                      <a:pt x="29585" y="4816958"/>
                    </a:lnTo>
                    <a:lnTo>
                      <a:pt x="0" y="4816958"/>
                    </a:lnTo>
                    <a:close/>
                    <a:moveTo>
                      <a:pt x="531921" y="4521412"/>
                    </a:moveTo>
                    <a:lnTo>
                      <a:pt x="561506" y="4521412"/>
                    </a:lnTo>
                    <a:lnTo>
                      <a:pt x="561506" y="4550997"/>
                    </a:lnTo>
                    <a:lnTo>
                      <a:pt x="531921" y="4550997"/>
                    </a:lnTo>
                    <a:close/>
                    <a:moveTo>
                      <a:pt x="265961" y="4521412"/>
                    </a:moveTo>
                    <a:lnTo>
                      <a:pt x="295547" y="4521412"/>
                    </a:lnTo>
                    <a:lnTo>
                      <a:pt x="295547" y="4550997"/>
                    </a:lnTo>
                    <a:lnTo>
                      <a:pt x="265961" y="4550997"/>
                    </a:lnTo>
                    <a:close/>
                    <a:moveTo>
                      <a:pt x="0" y="4521412"/>
                    </a:moveTo>
                    <a:lnTo>
                      <a:pt x="29585" y="4521412"/>
                    </a:lnTo>
                    <a:lnTo>
                      <a:pt x="29585" y="4550997"/>
                    </a:lnTo>
                    <a:lnTo>
                      <a:pt x="0" y="4550997"/>
                    </a:lnTo>
                    <a:close/>
                    <a:moveTo>
                      <a:pt x="531921" y="4255451"/>
                    </a:moveTo>
                    <a:lnTo>
                      <a:pt x="561506" y="4255451"/>
                    </a:lnTo>
                    <a:lnTo>
                      <a:pt x="561506" y="4285036"/>
                    </a:lnTo>
                    <a:lnTo>
                      <a:pt x="531921" y="4285036"/>
                    </a:lnTo>
                    <a:close/>
                    <a:moveTo>
                      <a:pt x="265961" y="4255451"/>
                    </a:moveTo>
                    <a:lnTo>
                      <a:pt x="295547" y="4255451"/>
                    </a:lnTo>
                    <a:lnTo>
                      <a:pt x="295547" y="4285036"/>
                    </a:lnTo>
                    <a:lnTo>
                      <a:pt x="265961" y="4285036"/>
                    </a:lnTo>
                    <a:close/>
                    <a:moveTo>
                      <a:pt x="0" y="4255451"/>
                    </a:moveTo>
                    <a:lnTo>
                      <a:pt x="29585" y="4255451"/>
                    </a:lnTo>
                    <a:lnTo>
                      <a:pt x="29585" y="4285036"/>
                    </a:lnTo>
                    <a:lnTo>
                      <a:pt x="0" y="4285036"/>
                    </a:lnTo>
                    <a:close/>
                    <a:moveTo>
                      <a:pt x="531921" y="3989491"/>
                    </a:moveTo>
                    <a:lnTo>
                      <a:pt x="561506" y="3989491"/>
                    </a:lnTo>
                    <a:lnTo>
                      <a:pt x="561506" y="4019077"/>
                    </a:lnTo>
                    <a:lnTo>
                      <a:pt x="531921" y="4019077"/>
                    </a:lnTo>
                    <a:close/>
                    <a:moveTo>
                      <a:pt x="265961" y="3989491"/>
                    </a:moveTo>
                    <a:lnTo>
                      <a:pt x="295547" y="3989491"/>
                    </a:lnTo>
                    <a:lnTo>
                      <a:pt x="295547" y="4019077"/>
                    </a:lnTo>
                    <a:lnTo>
                      <a:pt x="265961" y="4019077"/>
                    </a:lnTo>
                    <a:close/>
                    <a:moveTo>
                      <a:pt x="0" y="3989491"/>
                    </a:moveTo>
                    <a:lnTo>
                      <a:pt x="29585" y="3989491"/>
                    </a:lnTo>
                    <a:lnTo>
                      <a:pt x="29585" y="4019077"/>
                    </a:lnTo>
                    <a:lnTo>
                      <a:pt x="0" y="4019077"/>
                    </a:lnTo>
                    <a:close/>
                    <a:moveTo>
                      <a:pt x="531921" y="3723530"/>
                    </a:moveTo>
                    <a:lnTo>
                      <a:pt x="561506" y="3723530"/>
                    </a:lnTo>
                    <a:lnTo>
                      <a:pt x="561506" y="3753115"/>
                    </a:lnTo>
                    <a:lnTo>
                      <a:pt x="531921" y="3753115"/>
                    </a:lnTo>
                    <a:close/>
                    <a:moveTo>
                      <a:pt x="265961" y="3723530"/>
                    </a:moveTo>
                    <a:lnTo>
                      <a:pt x="295547" y="3723530"/>
                    </a:lnTo>
                    <a:lnTo>
                      <a:pt x="295547" y="3753115"/>
                    </a:lnTo>
                    <a:lnTo>
                      <a:pt x="265961" y="3753115"/>
                    </a:lnTo>
                    <a:close/>
                    <a:moveTo>
                      <a:pt x="0" y="3723530"/>
                    </a:moveTo>
                    <a:lnTo>
                      <a:pt x="29585" y="3723530"/>
                    </a:lnTo>
                    <a:lnTo>
                      <a:pt x="29585" y="3753115"/>
                    </a:lnTo>
                    <a:lnTo>
                      <a:pt x="0" y="3753115"/>
                    </a:lnTo>
                    <a:close/>
                    <a:moveTo>
                      <a:pt x="531921" y="3457570"/>
                    </a:moveTo>
                    <a:lnTo>
                      <a:pt x="561506" y="3457570"/>
                    </a:lnTo>
                    <a:lnTo>
                      <a:pt x="561506" y="3487156"/>
                    </a:lnTo>
                    <a:lnTo>
                      <a:pt x="531921" y="3487156"/>
                    </a:lnTo>
                    <a:close/>
                    <a:moveTo>
                      <a:pt x="265961" y="3457570"/>
                    </a:moveTo>
                    <a:lnTo>
                      <a:pt x="295547" y="3457570"/>
                    </a:lnTo>
                    <a:lnTo>
                      <a:pt x="295547" y="3487156"/>
                    </a:lnTo>
                    <a:lnTo>
                      <a:pt x="265961" y="3487156"/>
                    </a:lnTo>
                    <a:close/>
                    <a:moveTo>
                      <a:pt x="0" y="3457570"/>
                    </a:moveTo>
                    <a:lnTo>
                      <a:pt x="29585" y="3457570"/>
                    </a:lnTo>
                    <a:lnTo>
                      <a:pt x="29585" y="3487156"/>
                    </a:lnTo>
                    <a:lnTo>
                      <a:pt x="0" y="3487156"/>
                    </a:lnTo>
                    <a:close/>
                    <a:moveTo>
                      <a:pt x="531921" y="3191618"/>
                    </a:moveTo>
                    <a:lnTo>
                      <a:pt x="561506" y="3191618"/>
                    </a:lnTo>
                    <a:lnTo>
                      <a:pt x="561506" y="3221195"/>
                    </a:lnTo>
                    <a:lnTo>
                      <a:pt x="531921" y="3221195"/>
                    </a:lnTo>
                    <a:close/>
                    <a:moveTo>
                      <a:pt x="265961" y="3191618"/>
                    </a:moveTo>
                    <a:lnTo>
                      <a:pt x="295547" y="3191618"/>
                    </a:lnTo>
                    <a:lnTo>
                      <a:pt x="295547" y="3221195"/>
                    </a:lnTo>
                    <a:lnTo>
                      <a:pt x="265961" y="3221195"/>
                    </a:lnTo>
                    <a:close/>
                    <a:moveTo>
                      <a:pt x="0" y="3191617"/>
                    </a:moveTo>
                    <a:lnTo>
                      <a:pt x="29585" y="3191617"/>
                    </a:lnTo>
                    <a:lnTo>
                      <a:pt x="29585" y="3221195"/>
                    </a:lnTo>
                    <a:lnTo>
                      <a:pt x="0" y="3221195"/>
                    </a:lnTo>
                    <a:close/>
                    <a:moveTo>
                      <a:pt x="531921" y="2925660"/>
                    </a:moveTo>
                    <a:lnTo>
                      <a:pt x="561506" y="2925660"/>
                    </a:lnTo>
                    <a:lnTo>
                      <a:pt x="561506" y="2955246"/>
                    </a:lnTo>
                    <a:lnTo>
                      <a:pt x="531921" y="2955246"/>
                    </a:lnTo>
                    <a:close/>
                    <a:moveTo>
                      <a:pt x="265961" y="2925659"/>
                    </a:moveTo>
                    <a:lnTo>
                      <a:pt x="295547" y="2925659"/>
                    </a:lnTo>
                    <a:lnTo>
                      <a:pt x="295547" y="2955245"/>
                    </a:lnTo>
                    <a:lnTo>
                      <a:pt x="265961" y="2955245"/>
                    </a:lnTo>
                    <a:close/>
                    <a:moveTo>
                      <a:pt x="0" y="2925658"/>
                    </a:moveTo>
                    <a:lnTo>
                      <a:pt x="29585" y="2925658"/>
                    </a:lnTo>
                    <a:lnTo>
                      <a:pt x="29585" y="2955244"/>
                    </a:lnTo>
                    <a:lnTo>
                      <a:pt x="0" y="2955244"/>
                    </a:lnTo>
                    <a:close/>
                    <a:moveTo>
                      <a:pt x="531921" y="2659620"/>
                    </a:moveTo>
                    <a:lnTo>
                      <a:pt x="561506" y="2659620"/>
                    </a:lnTo>
                    <a:lnTo>
                      <a:pt x="561506" y="2689204"/>
                    </a:lnTo>
                    <a:lnTo>
                      <a:pt x="531921" y="2689204"/>
                    </a:lnTo>
                    <a:close/>
                    <a:moveTo>
                      <a:pt x="265961" y="2659616"/>
                    </a:moveTo>
                    <a:lnTo>
                      <a:pt x="295547" y="2659616"/>
                    </a:lnTo>
                    <a:lnTo>
                      <a:pt x="295547" y="2689201"/>
                    </a:lnTo>
                    <a:lnTo>
                      <a:pt x="265961" y="2689201"/>
                    </a:lnTo>
                    <a:close/>
                    <a:moveTo>
                      <a:pt x="0" y="2659613"/>
                    </a:moveTo>
                    <a:lnTo>
                      <a:pt x="29585" y="2659613"/>
                    </a:lnTo>
                    <a:lnTo>
                      <a:pt x="29585" y="2689198"/>
                    </a:lnTo>
                    <a:lnTo>
                      <a:pt x="0" y="2689198"/>
                    </a:lnTo>
                    <a:close/>
                    <a:moveTo>
                      <a:pt x="531921" y="2393661"/>
                    </a:moveTo>
                    <a:lnTo>
                      <a:pt x="561506" y="2393661"/>
                    </a:lnTo>
                    <a:lnTo>
                      <a:pt x="561506" y="2423260"/>
                    </a:lnTo>
                    <a:lnTo>
                      <a:pt x="531921" y="2423260"/>
                    </a:lnTo>
                    <a:close/>
                    <a:moveTo>
                      <a:pt x="265961" y="2393658"/>
                    </a:moveTo>
                    <a:lnTo>
                      <a:pt x="295547" y="2393658"/>
                    </a:lnTo>
                    <a:lnTo>
                      <a:pt x="295547" y="2423257"/>
                    </a:lnTo>
                    <a:lnTo>
                      <a:pt x="265961" y="2423257"/>
                    </a:lnTo>
                    <a:close/>
                    <a:moveTo>
                      <a:pt x="0" y="2393655"/>
                    </a:moveTo>
                    <a:lnTo>
                      <a:pt x="29585" y="2393655"/>
                    </a:lnTo>
                    <a:lnTo>
                      <a:pt x="29585" y="2423251"/>
                    </a:lnTo>
                    <a:lnTo>
                      <a:pt x="0" y="2423251"/>
                    </a:lnTo>
                    <a:close/>
                    <a:moveTo>
                      <a:pt x="531921" y="2127694"/>
                    </a:moveTo>
                    <a:lnTo>
                      <a:pt x="561506" y="2127694"/>
                    </a:lnTo>
                    <a:lnTo>
                      <a:pt x="561506" y="2157283"/>
                    </a:lnTo>
                    <a:lnTo>
                      <a:pt x="531921" y="2157283"/>
                    </a:lnTo>
                    <a:close/>
                    <a:moveTo>
                      <a:pt x="265961" y="2127693"/>
                    </a:moveTo>
                    <a:lnTo>
                      <a:pt x="295547" y="2127693"/>
                    </a:lnTo>
                    <a:lnTo>
                      <a:pt x="295547" y="2157282"/>
                    </a:lnTo>
                    <a:lnTo>
                      <a:pt x="265961" y="2157282"/>
                    </a:lnTo>
                    <a:close/>
                    <a:moveTo>
                      <a:pt x="0" y="2127689"/>
                    </a:moveTo>
                    <a:lnTo>
                      <a:pt x="29585" y="2127689"/>
                    </a:lnTo>
                    <a:lnTo>
                      <a:pt x="29585" y="2157278"/>
                    </a:lnTo>
                    <a:lnTo>
                      <a:pt x="0" y="2157278"/>
                    </a:lnTo>
                    <a:close/>
                    <a:moveTo>
                      <a:pt x="531921" y="1861731"/>
                    </a:moveTo>
                    <a:lnTo>
                      <a:pt x="561506" y="1861731"/>
                    </a:lnTo>
                    <a:lnTo>
                      <a:pt x="561506" y="1891308"/>
                    </a:lnTo>
                    <a:lnTo>
                      <a:pt x="531921" y="1891308"/>
                    </a:lnTo>
                    <a:close/>
                    <a:moveTo>
                      <a:pt x="265961" y="1861728"/>
                    </a:moveTo>
                    <a:lnTo>
                      <a:pt x="295547" y="1861728"/>
                    </a:lnTo>
                    <a:lnTo>
                      <a:pt x="295547" y="1891306"/>
                    </a:lnTo>
                    <a:lnTo>
                      <a:pt x="265961" y="1891306"/>
                    </a:lnTo>
                    <a:close/>
                    <a:moveTo>
                      <a:pt x="0" y="1861726"/>
                    </a:moveTo>
                    <a:lnTo>
                      <a:pt x="29585" y="1861726"/>
                    </a:lnTo>
                    <a:lnTo>
                      <a:pt x="29585" y="1891304"/>
                    </a:lnTo>
                    <a:lnTo>
                      <a:pt x="0" y="1891304"/>
                    </a:lnTo>
                    <a:close/>
                    <a:moveTo>
                      <a:pt x="531921" y="1595769"/>
                    </a:moveTo>
                    <a:lnTo>
                      <a:pt x="561506" y="1595769"/>
                    </a:lnTo>
                    <a:lnTo>
                      <a:pt x="561506" y="1625355"/>
                    </a:lnTo>
                    <a:lnTo>
                      <a:pt x="531921" y="1625355"/>
                    </a:lnTo>
                    <a:close/>
                    <a:moveTo>
                      <a:pt x="265961" y="1595766"/>
                    </a:moveTo>
                    <a:lnTo>
                      <a:pt x="295547" y="1595766"/>
                    </a:lnTo>
                    <a:lnTo>
                      <a:pt x="295547" y="1625352"/>
                    </a:lnTo>
                    <a:lnTo>
                      <a:pt x="265961" y="1625352"/>
                    </a:lnTo>
                    <a:close/>
                    <a:moveTo>
                      <a:pt x="0" y="1595764"/>
                    </a:moveTo>
                    <a:lnTo>
                      <a:pt x="29585" y="1595764"/>
                    </a:lnTo>
                    <a:lnTo>
                      <a:pt x="29585" y="1625350"/>
                    </a:lnTo>
                    <a:lnTo>
                      <a:pt x="0" y="1625350"/>
                    </a:lnTo>
                    <a:close/>
                    <a:moveTo>
                      <a:pt x="531921" y="1329811"/>
                    </a:moveTo>
                    <a:lnTo>
                      <a:pt x="561506" y="1329811"/>
                    </a:lnTo>
                    <a:lnTo>
                      <a:pt x="561506" y="1359396"/>
                    </a:lnTo>
                    <a:lnTo>
                      <a:pt x="531921" y="1359396"/>
                    </a:lnTo>
                    <a:close/>
                    <a:moveTo>
                      <a:pt x="265961" y="1329809"/>
                    </a:moveTo>
                    <a:lnTo>
                      <a:pt x="295547" y="1329809"/>
                    </a:lnTo>
                    <a:lnTo>
                      <a:pt x="295547" y="1359393"/>
                    </a:lnTo>
                    <a:lnTo>
                      <a:pt x="265961" y="1359393"/>
                    </a:lnTo>
                    <a:close/>
                    <a:moveTo>
                      <a:pt x="0" y="1329806"/>
                    </a:moveTo>
                    <a:lnTo>
                      <a:pt x="29585" y="1329806"/>
                    </a:lnTo>
                    <a:lnTo>
                      <a:pt x="29585" y="1359391"/>
                    </a:lnTo>
                    <a:lnTo>
                      <a:pt x="0" y="1359391"/>
                    </a:lnTo>
                    <a:close/>
                    <a:moveTo>
                      <a:pt x="531921" y="1063855"/>
                    </a:moveTo>
                    <a:lnTo>
                      <a:pt x="561506" y="1063855"/>
                    </a:lnTo>
                    <a:lnTo>
                      <a:pt x="561506" y="1093441"/>
                    </a:lnTo>
                    <a:lnTo>
                      <a:pt x="531921" y="1093441"/>
                    </a:lnTo>
                    <a:close/>
                    <a:moveTo>
                      <a:pt x="265961" y="1063852"/>
                    </a:moveTo>
                    <a:lnTo>
                      <a:pt x="295547" y="1063852"/>
                    </a:lnTo>
                    <a:lnTo>
                      <a:pt x="295547" y="1093438"/>
                    </a:lnTo>
                    <a:lnTo>
                      <a:pt x="265961" y="1093438"/>
                    </a:lnTo>
                    <a:close/>
                    <a:moveTo>
                      <a:pt x="0" y="1063849"/>
                    </a:moveTo>
                    <a:lnTo>
                      <a:pt x="29585" y="1063849"/>
                    </a:lnTo>
                    <a:lnTo>
                      <a:pt x="29585" y="1093435"/>
                    </a:lnTo>
                    <a:lnTo>
                      <a:pt x="0" y="1093435"/>
                    </a:lnTo>
                    <a:close/>
                    <a:moveTo>
                      <a:pt x="531921" y="797884"/>
                    </a:moveTo>
                    <a:lnTo>
                      <a:pt x="561506" y="797884"/>
                    </a:lnTo>
                    <a:lnTo>
                      <a:pt x="561506" y="827470"/>
                    </a:lnTo>
                    <a:lnTo>
                      <a:pt x="531921" y="827470"/>
                    </a:lnTo>
                    <a:close/>
                    <a:moveTo>
                      <a:pt x="265961" y="797882"/>
                    </a:moveTo>
                    <a:lnTo>
                      <a:pt x="295547" y="797882"/>
                    </a:lnTo>
                    <a:lnTo>
                      <a:pt x="295547" y="827468"/>
                    </a:lnTo>
                    <a:lnTo>
                      <a:pt x="265961" y="827468"/>
                    </a:lnTo>
                    <a:close/>
                    <a:moveTo>
                      <a:pt x="0" y="797879"/>
                    </a:moveTo>
                    <a:lnTo>
                      <a:pt x="29585" y="797879"/>
                    </a:lnTo>
                    <a:lnTo>
                      <a:pt x="29585" y="827465"/>
                    </a:lnTo>
                    <a:lnTo>
                      <a:pt x="0" y="827465"/>
                    </a:lnTo>
                    <a:close/>
                    <a:moveTo>
                      <a:pt x="531921" y="531924"/>
                    </a:moveTo>
                    <a:lnTo>
                      <a:pt x="561506" y="531924"/>
                    </a:lnTo>
                    <a:lnTo>
                      <a:pt x="561506" y="561509"/>
                    </a:lnTo>
                    <a:lnTo>
                      <a:pt x="531921" y="561509"/>
                    </a:lnTo>
                    <a:close/>
                    <a:moveTo>
                      <a:pt x="265961" y="531922"/>
                    </a:moveTo>
                    <a:lnTo>
                      <a:pt x="295547" y="531922"/>
                    </a:lnTo>
                    <a:lnTo>
                      <a:pt x="295547" y="561507"/>
                    </a:lnTo>
                    <a:lnTo>
                      <a:pt x="265961" y="561507"/>
                    </a:lnTo>
                    <a:close/>
                    <a:moveTo>
                      <a:pt x="0" y="531920"/>
                    </a:moveTo>
                    <a:lnTo>
                      <a:pt x="29585" y="531920"/>
                    </a:lnTo>
                    <a:lnTo>
                      <a:pt x="29585" y="561505"/>
                    </a:lnTo>
                    <a:lnTo>
                      <a:pt x="0" y="561505"/>
                    </a:lnTo>
                    <a:close/>
                    <a:moveTo>
                      <a:pt x="531921" y="265964"/>
                    </a:moveTo>
                    <a:lnTo>
                      <a:pt x="561506" y="265964"/>
                    </a:lnTo>
                    <a:lnTo>
                      <a:pt x="561506" y="295550"/>
                    </a:lnTo>
                    <a:lnTo>
                      <a:pt x="531921" y="295550"/>
                    </a:lnTo>
                    <a:close/>
                    <a:moveTo>
                      <a:pt x="265961" y="265962"/>
                    </a:moveTo>
                    <a:lnTo>
                      <a:pt x="295547" y="265962"/>
                    </a:lnTo>
                    <a:lnTo>
                      <a:pt x="295547" y="295548"/>
                    </a:lnTo>
                    <a:lnTo>
                      <a:pt x="265961" y="295548"/>
                    </a:lnTo>
                    <a:close/>
                    <a:moveTo>
                      <a:pt x="0" y="265960"/>
                    </a:moveTo>
                    <a:lnTo>
                      <a:pt x="29585" y="265960"/>
                    </a:lnTo>
                    <a:lnTo>
                      <a:pt x="29585" y="295546"/>
                    </a:lnTo>
                    <a:lnTo>
                      <a:pt x="0" y="295546"/>
                    </a:lnTo>
                    <a:close/>
                    <a:moveTo>
                      <a:pt x="531921" y="5"/>
                    </a:moveTo>
                    <a:lnTo>
                      <a:pt x="561506" y="5"/>
                    </a:lnTo>
                    <a:lnTo>
                      <a:pt x="561506" y="29591"/>
                    </a:lnTo>
                    <a:lnTo>
                      <a:pt x="531921" y="29591"/>
                    </a:lnTo>
                    <a:close/>
                    <a:moveTo>
                      <a:pt x="265961" y="3"/>
                    </a:moveTo>
                    <a:lnTo>
                      <a:pt x="295547" y="3"/>
                    </a:lnTo>
                    <a:lnTo>
                      <a:pt x="295547" y="29589"/>
                    </a:lnTo>
                    <a:lnTo>
                      <a:pt x="265961" y="29589"/>
                    </a:lnTo>
                    <a:close/>
                    <a:moveTo>
                      <a:pt x="0" y="0"/>
                    </a:moveTo>
                    <a:lnTo>
                      <a:pt x="29585" y="0"/>
                    </a:lnTo>
                    <a:lnTo>
                      <a:pt x="29585" y="29586"/>
                    </a:lnTo>
                    <a:lnTo>
                      <a:pt x="0" y="29586"/>
                    </a:lnTo>
                    <a:close/>
                  </a:path>
                </a:pathLst>
              </a:custGeom>
              <a:solidFill>
                <a:schemeClr val="tx2">
                  <a:alpha val="20000"/>
                </a:schemeClr>
              </a:solidFill>
              <a:ln w="10294" cap="flat">
                <a:noFill/>
                <a:prstDash val="solid"/>
                <a:miter/>
              </a:ln>
            </p:spPr>
            <p:txBody>
              <a:bodyPr wrap="square" rtlCol="0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933AAC8F-088F-4C17-BF99-81037FD20C59}"/>
                  </a:ext>
                </a:extLst>
              </p:cNvPr>
              <p:cNvSpPr/>
              <p:nvPr userDrawn="1"/>
            </p:nvSpPr>
            <p:spPr>
              <a:xfrm>
                <a:off x="10805248" y="242905"/>
                <a:ext cx="561506" cy="5880798"/>
              </a:xfrm>
              <a:custGeom>
                <a:avLst/>
                <a:gdLst>
                  <a:gd name="connsiteX0" fmla="*/ 531921 w 561506"/>
                  <a:gd name="connsiteY0" fmla="*/ 5851213 h 5880798"/>
                  <a:gd name="connsiteX1" fmla="*/ 561506 w 561506"/>
                  <a:gd name="connsiteY1" fmla="*/ 5851213 h 5880798"/>
                  <a:gd name="connsiteX2" fmla="*/ 561506 w 561506"/>
                  <a:gd name="connsiteY2" fmla="*/ 5880798 h 5880798"/>
                  <a:gd name="connsiteX3" fmla="*/ 531921 w 561506"/>
                  <a:gd name="connsiteY3" fmla="*/ 5880798 h 5880798"/>
                  <a:gd name="connsiteX4" fmla="*/ 265961 w 561506"/>
                  <a:gd name="connsiteY4" fmla="*/ 5851213 h 5880798"/>
                  <a:gd name="connsiteX5" fmla="*/ 295547 w 561506"/>
                  <a:gd name="connsiteY5" fmla="*/ 5851213 h 5880798"/>
                  <a:gd name="connsiteX6" fmla="*/ 295547 w 561506"/>
                  <a:gd name="connsiteY6" fmla="*/ 5880798 h 5880798"/>
                  <a:gd name="connsiteX7" fmla="*/ 265961 w 561506"/>
                  <a:gd name="connsiteY7" fmla="*/ 5880798 h 5880798"/>
                  <a:gd name="connsiteX8" fmla="*/ 0 w 561506"/>
                  <a:gd name="connsiteY8" fmla="*/ 5851213 h 5880798"/>
                  <a:gd name="connsiteX9" fmla="*/ 29585 w 561506"/>
                  <a:gd name="connsiteY9" fmla="*/ 5851213 h 5880798"/>
                  <a:gd name="connsiteX10" fmla="*/ 29585 w 561506"/>
                  <a:gd name="connsiteY10" fmla="*/ 5880798 h 5880798"/>
                  <a:gd name="connsiteX11" fmla="*/ 0 w 561506"/>
                  <a:gd name="connsiteY11" fmla="*/ 5880798 h 5880798"/>
                  <a:gd name="connsiteX12" fmla="*/ 531921 w 561506"/>
                  <a:gd name="connsiteY12" fmla="*/ 5585253 h 5880798"/>
                  <a:gd name="connsiteX13" fmla="*/ 561506 w 561506"/>
                  <a:gd name="connsiteY13" fmla="*/ 5585253 h 5880798"/>
                  <a:gd name="connsiteX14" fmla="*/ 561506 w 561506"/>
                  <a:gd name="connsiteY14" fmla="*/ 5614838 h 5880798"/>
                  <a:gd name="connsiteX15" fmla="*/ 531921 w 561506"/>
                  <a:gd name="connsiteY15" fmla="*/ 5614838 h 5880798"/>
                  <a:gd name="connsiteX16" fmla="*/ 265961 w 561506"/>
                  <a:gd name="connsiteY16" fmla="*/ 5585253 h 5880798"/>
                  <a:gd name="connsiteX17" fmla="*/ 295547 w 561506"/>
                  <a:gd name="connsiteY17" fmla="*/ 5585253 h 5880798"/>
                  <a:gd name="connsiteX18" fmla="*/ 295547 w 561506"/>
                  <a:gd name="connsiteY18" fmla="*/ 5614838 h 5880798"/>
                  <a:gd name="connsiteX19" fmla="*/ 265961 w 561506"/>
                  <a:gd name="connsiteY19" fmla="*/ 5614838 h 5880798"/>
                  <a:gd name="connsiteX20" fmla="*/ 0 w 561506"/>
                  <a:gd name="connsiteY20" fmla="*/ 5585253 h 5880798"/>
                  <a:gd name="connsiteX21" fmla="*/ 29585 w 561506"/>
                  <a:gd name="connsiteY21" fmla="*/ 5585253 h 5880798"/>
                  <a:gd name="connsiteX22" fmla="*/ 29585 w 561506"/>
                  <a:gd name="connsiteY22" fmla="*/ 5614838 h 5880798"/>
                  <a:gd name="connsiteX23" fmla="*/ 0 w 561506"/>
                  <a:gd name="connsiteY23" fmla="*/ 5614838 h 5880798"/>
                  <a:gd name="connsiteX24" fmla="*/ 531921 w 561506"/>
                  <a:gd name="connsiteY24" fmla="*/ 5319293 h 5880798"/>
                  <a:gd name="connsiteX25" fmla="*/ 561506 w 561506"/>
                  <a:gd name="connsiteY25" fmla="*/ 5319293 h 5880798"/>
                  <a:gd name="connsiteX26" fmla="*/ 561506 w 561506"/>
                  <a:gd name="connsiteY26" fmla="*/ 5348879 h 5880798"/>
                  <a:gd name="connsiteX27" fmla="*/ 531921 w 561506"/>
                  <a:gd name="connsiteY27" fmla="*/ 5348879 h 5880798"/>
                  <a:gd name="connsiteX28" fmla="*/ 265961 w 561506"/>
                  <a:gd name="connsiteY28" fmla="*/ 5319293 h 5880798"/>
                  <a:gd name="connsiteX29" fmla="*/ 295547 w 561506"/>
                  <a:gd name="connsiteY29" fmla="*/ 5319293 h 5880798"/>
                  <a:gd name="connsiteX30" fmla="*/ 295547 w 561506"/>
                  <a:gd name="connsiteY30" fmla="*/ 5348879 h 5880798"/>
                  <a:gd name="connsiteX31" fmla="*/ 265961 w 561506"/>
                  <a:gd name="connsiteY31" fmla="*/ 5348879 h 5880798"/>
                  <a:gd name="connsiteX32" fmla="*/ 0 w 561506"/>
                  <a:gd name="connsiteY32" fmla="*/ 5319293 h 5880798"/>
                  <a:gd name="connsiteX33" fmla="*/ 29585 w 561506"/>
                  <a:gd name="connsiteY33" fmla="*/ 5319293 h 5880798"/>
                  <a:gd name="connsiteX34" fmla="*/ 29585 w 561506"/>
                  <a:gd name="connsiteY34" fmla="*/ 5348879 h 5880798"/>
                  <a:gd name="connsiteX35" fmla="*/ 0 w 561506"/>
                  <a:gd name="connsiteY35" fmla="*/ 5348879 h 5880798"/>
                  <a:gd name="connsiteX36" fmla="*/ 531921 w 561506"/>
                  <a:gd name="connsiteY36" fmla="*/ 5053332 h 5880798"/>
                  <a:gd name="connsiteX37" fmla="*/ 561506 w 561506"/>
                  <a:gd name="connsiteY37" fmla="*/ 5053332 h 5880798"/>
                  <a:gd name="connsiteX38" fmla="*/ 561506 w 561506"/>
                  <a:gd name="connsiteY38" fmla="*/ 5082917 h 5880798"/>
                  <a:gd name="connsiteX39" fmla="*/ 531921 w 561506"/>
                  <a:gd name="connsiteY39" fmla="*/ 5082917 h 5880798"/>
                  <a:gd name="connsiteX40" fmla="*/ 265961 w 561506"/>
                  <a:gd name="connsiteY40" fmla="*/ 5053332 h 5880798"/>
                  <a:gd name="connsiteX41" fmla="*/ 295547 w 561506"/>
                  <a:gd name="connsiteY41" fmla="*/ 5053332 h 5880798"/>
                  <a:gd name="connsiteX42" fmla="*/ 295547 w 561506"/>
                  <a:gd name="connsiteY42" fmla="*/ 5082917 h 5880798"/>
                  <a:gd name="connsiteX43" fmla="*/ 265961 w 561506"/>
                  <a:gd name="connsiteY43" fmla="*/ 5082917 h 5880798"/>
                  <a:gd name="connsiteX44" fmla="*/ 0 w 561506"/>
                  <a:gd name="connsiteY44" fmla="*/ 5053332 h 5880798"/>
                  <a:gd name="connsiteX45" fmla="*/ 29585 w 561506"/>
                  <a:gd name="connsiteY45" fmla="*/ 5053332 h 5880798"/>
                  <a:gd name="connsiteX46" fmla="*/ 29585 w 561506"/>
                  <a:gd name="connsiteY46" fmla="*/ 5082917 h 5880798"/>
                  <a:gd name="connsiteX47" fmla="*/ 0 w 561506"/>
                  <a:gd name="connsiteY47" fmla="*/ 5082917 h 5880798"/>
                  <a:gd name="connsiteX48" fmla="*/ 531921 w 561506"/>
                  <a:gd name="connsiteY48" fmla="*/ 4787372 h 5880798"/>
                  <a:gd name="connsiteX49" fmla="*/ 561506 w 561506"/>
                  <a:gd name="connsiteY49" fmla="*/ 4787372 h 5880798"/>
                  <a:gd name="connsiteX50" fmla="*/ 561506 w 561506"/>
                  <a:gd name="connsiteY50" fmla="*/ 4816958 h 5880798"/>
                  <a:gd name="connsiteX51" fmla="*/ 531921 w 561506"/>
                  <a:gd name="connsiteY51" fmla="*/ 4816958 h 5880798"/>
                  <a:gd name="connsiteX52" fmla="*/ 265961 w 561506"/>
                  <a:gd name="connsiteY52" fmla="*/ 4787372 h 5880798"/>
                  <a:gd name="connsiteX53" fmla="*/ 295547 w 561506"/>
                  <a:gd name="connsiteY53" fmla="*/ 4787372 h 5880798"/>
                  <a:gd name="connsiteX54" fmla="*/ 295547 w 561506"/>
                  <a:gd name="connsiteY54" fmla="*/ 4816958 h 5880798"/>
                  <a:gd name="connsiteX55" fmla="*/ 265961 w 561506"/>
                  <a:gd name="connsiteY55" fmla="*/ 4816958 h 5880798"/>
                  <a:gd name="connsiteX56" fmla="*/ 0 w 561506"/>
                  <a:gd name="connsiteY56" fmla="*/ 4787372 h 5880798"/>
                  <a:gd name="connsiteX57" fmla="*/ 29585 w 561506"/>
                  <a:gd name="connsiteY57" fmla="*/ 4787372 h 5880798"/>
                  <a:gd name="connsiteX58" fmla="*/ 29585 w 561506"/>
                  <a:gd name="connsiteY58" fmla="*/ 4816958 h 5880798"/>
                  <a:gd name="connsiteX59" fmla="*/ 0 w 561506"/>
                  <a:gd name="connsiteY59" fmla="*/ 4816958 h 5880798"/>
                  <a:gd name="connsiteX60" fmla="*/ 531921 w 561506"/>
                  <a:gd name="connsiteY60" fmla="*/ 4521412 h 5880798"/>
                  <a:gd name="connsiteX61" fmla="*/ 561506 w 561506"/>
                  <a:gd name="connsiteY61" fmla="*/ 4521412 h 5880798"/>
                  <a:gd name="connsiteX62" fmla="*/ 561506 w 561506"/>
                  <a:gd name="connsiteY62" fmla="*/ 4550997 h 5880798"/>
                  <a:gd name="connsiteX63" fmla="*/ 531921 w 561506"/>
                  <a:gd name="connsiteY63" fmla="*/ 4550997 h 5880798"/>
                  <a:gd name="connsiteX64" fmla="*/ 265961 w 561506"/>
                  <a:gd name="connsiteY64" fmla="*/ 4521412 h 5880798"/>
                  <a:gd name="connsiteX65" fmla="*/ 295547 w 561506"/>
                  <a:gd name="connsiteY65" fmla="*/ 4521412 h 5880798"/>
                  <a:gd name="connsiteX66" fmla="*/ 295547 w 561506"/>
                  <a:gd name="connsiteY66" fmla="*/ 4550997 h 5880798"/>
                  <a:gd name="connsiteX67" fmla="*/ 265961 w 561506"/>
                  <a:gd name="connsiteY67" fmla="*/ 4550997 h 5880798"/>
                  <a:gd name="connsiteX68" fmla="*/ 0 w 561506"/>
                  <a:gd name="connsiteY68" fmla="*/ 4521412 h 5880798"/>
                  <a:gd name="connsiteX69" fmla="*/ 29585 w 561506"/>
                  <a:gd name="connsiteY69" fmla="*/ 4521412 h 5880798"/>
                  <a:gd name="connsiteX70" fmla="*/ 29585 w 561506"/>
                  <a:gd name="connsiteY70" fmla="*/ 4550997 h 5880798"/>
                  <a:gd name="connsiteX71" fmla="*/ 0 w 561506"/>
                  <a:gd name="connsiteY71" fmla="*/ 4550997 h 5880798"/>
                  <a:gd name="connsiteX72" fmla="*/ 531921 w 561506"/>
                  <a:gd name="connsiteY72" fmla="*/ 4255451 h 5880798"/>
                  <a:gd name="connsiteX73" fmla="*/ 561506 w 561506"/>
                  <a:gd name="connsiteY73" fmla="*/ 4255451 h 5880798"/>
                  <a:gd name="connsiteX74" fmla="*/ 561506 w 561506"/>
                  <a:gd name="connsiteY74" fmla="*/ 4285036 h 5880798"/>
                  <a:gd name="connsiteX75" fmla="*/ 531921 w 561506"/>
                  <a:gd name="connsiteY75" fmla="*/ 4285036 h 5880798"/>
                  <a:gd name="connsiteX76" fmla="*/ 265961 w 561506"/>
                  <a:gd name="connsiteY76" fmla="*/ 4255451 h 5880798"/>
                  <a:gd name="connsiteX77" fmla="*/ 295547 w 561506"/>
                  <a:gd name="connsiteY77" fmla="*/ 4255451 h 5880798"/>
                  <a:gd name="connsiteX78" fmla="*/ 295547 w 561506"/>
                  <a:gd name="connsiteY78" fmla="*/ 4285036 h 5880798"/>
                  <a:gd name="connsiteX79" fmla="*/ 265961 w 561506"/>
                  <a:gd name="connsiteY79" fmla="*/ 4285036 h 5880798"/>
                  <a:gd name="connsiteX80" fmla="*/ 0 w 561506"/>
                  <a:gd name="connsiteY80" fmla="*/ 4255451 h 5880798"/>
                  <a:gd name="connsiteX81" fmla="*/ 29585 w 561506"/>
                  <a:gd name="connsiteY81" fmla="*/ 4255451 h 5880798"/>
                  <a:gd name="connsiteX82" fmla="*/ 29585 w 561506"/>
                  <a:gd name="connsiteY82" fmla="*/ 4285036 h 5880798"/>
                  <a:gd name="connsiteX83" fmla="*/ 0 w 561506"/>
                  <a:gd name="connsiteY83" fmla="*/ 4285036 h 5880798"/>
                  <a:gd name="connsiteX84" fmla="*/ 531921 w 561506"/>
                  <a:gd name="connsiteY84" fmla="*/ 3989491 h 5880798"/>
                  <a:gd name="connsiteX85" fmla="*/ 561506 w 561506"/>
                  <a:gd name="connsiteY85" fmla="*/ 3989491 h 5880798"/>
                  <a:gd name="connsiteX86" fmla="*/ 561506 w 561506"/>
                  <a:gd name="connsiteY86" fmla="*/ 4019077 h 5880798"/>
                  <a:gd name="connsiteX87" fmla="*/ 531921 w 561506"/>
                  <a:gd name="connsiteY87" fmla="*/ 4019077 h 5880798"/>
                  <a:gd name="connsiteX88" fmla="*/ 265961 w 561506"/>
                  <a:gd name="connsiteY88" fmla="*/ 3989491 h 5880798"/>
                  <a:gd name="connsiteX89" fmla="*/ 295547 w 561506"/>
                  <a:gd name="connsiteY89" fmla="*/ 3989491 h 5880798"/>
                  <a:gd name="connsiteX90" fmla="*/ 295547 w 561506"/>
                  <a:gd name="connsiteY90" fmla="*/ 4019077 h 5880798"/>
                  <a:gd name="connsiteX91" fmla="*/ 265961 w 561506"/>
                  <a:gd name="connsiteY91" fmla="*/ 4019077 h 5880798"/>
                  <a:gd name="connsiteX92" fmla="*/ 0 w 561506"/>
                  <a:gd name="connsiteY92" fmla="*/ 3989491 h 5880798"/>
                  <a:gd name="connsiteX93" fmla="*/ 29585 w 561506"/>
                  <a:gd name="connsiteY93" fmla="*/ 3989491 h 5880798"/>
                  <a:gd name="connsiteX94" fmla="*/ 29585 w 561506"/>
                  <a:gd name="connsiteY94" fmla="*/ 4019077 h 5880798"/>
                  <a:gd name="connsiteX95" fmla="*/ 0 w 561506"/>
                  <a:gd name="connsiteY95" fmla="*/ 4019077 h 5880798"/>
                  <a:gd name="connsiteX96" fmla="*/ 531921 w 561506"/>
                  <a:gd name="connsiteY96" fmla="*/ 3723530 h 5880798"/>
                  <a:gd name="connsiteX97" fmla="*/ 561506 w 561506"/>
                  <a:gd name="connsiteY97" fmla="*/ 3723530 h 5880798"/>
                  <a:gd name="connsiteX98" fmla="*/ 561506 w 561506"/>
                  <a:gd name="connsiteY98" fmla="*/ 3753115 h 5880798"/>
                  <a:gd name="connsiteX99" fmla="*/ 531921 w 561506"/>
                  <a:gd name="connsiteY99" fmla="*/ 3753115 h 5880798"/>
                  <a:gd name="connsiteX100" fmla="*/ 265961 w 561506"/>
                  <a:gd name="connsiteY100" fmla="*/ 3723530 h 5880798"/>
                  <a:gd name="connsiteX101" fmla="*/ 295547 w 561506"/>
                  <a:gd name="connsiteY101" fmla="*/ 3723530 h 5880798"/>
                  <a:gd name="connsiteX102" fmla="*/ 295547 w 561506"/>
                  <a:gd name="connsiteY102" fmla="*/ 3753115 h 5880798"/>
                  <a:gd name="connsiteX103" fmla="*/ 265961 w 561506"/>
                  <a:gd name="connsiteY103" fmla="*/ 3753115 h 5880798"/>
                  <a:gd name="connsiteX104" fmla="*/ 0 w 561506"/>
                  <a:gd name="connsiteY104" fmla="*/ 3723530 h 5880798"/>
                  <a:gd name="connsiteX105" fmla="*/ 29585 w 561506"/>
                  <a:gd name="connsiteY105" fmla="*/ 3723530 h 5880798"/>
                  <a:gd name="connsiteX106" fmla="*/ 29585 w 561506"/>
                  <a:gd name="connsiteY106" fmla="*/ 3753115 h 5880798"/>
                  <a:gd name="connsiteX107" fmla="*/ 0 w 561506"/>
                  <a:gd name="connsiteY107" fmla="*/ 3753115 h 5880798"/>
                  <a:gd name="connsiteX108" fmla="*/ 531921 w 561506"/>
                  <a:gd name="connsiteY108" fmla="*/ 3457570 h 5880798"/>
                  <a:gd name="connsiteX109" fmla="*/ 561506 w 561506"/>
                  <a:gd name="connsiteY109" fmla="*/ 3457570 h 5880798"/>
                  <a:gd name="connsiteX110" fmla="*/ 561506 w 561506"/>
                  <a:gd name="connsiteY110" fmla="*/ 3487156 h 5880798"/>
                  <a:gd name="connsiteX111" fmla="*/ 531921 w 561506"/>
                  <a:gd name="connsiteY111" fmla="*/ 3487156 h 5880798"/>
                  <a:gd name="connsiteX112" fmla="*/ 265961 w 561506"/>
                  <a:gd name="connsiteY112" fmla="*/ 3457570 h 5880798"/>
                  <a:gd name="connsiteX113" fmla="*/ 295547 w 561506"/>
                  <a:gd name="connsiteY113" fmla="*/ 3457570 h 5880798"/>
                  <a:gd name="connsiteX114" fmla="*/ 295547 w 561506"/>
                  <a:gd name="connsiteY114" fmla="*/ 3487156 h 5880798"/>
                  <a:gd name="connsiteX115" fmla="*/ 265961 w 561506"/>
                  <a:gd name="connsiteY115" fmla="*/ 3487156 h 5880798"/>
                  <a:gd name="connsiteX116" fmla="*/ 0 w 561506"/>
                  <a:gd name="connsiteY116" fmla="*/ 3457570 h 5880798"/>
                  <a:gd name="connsiteX117" fmla="*/ 29585 w 561506"/>
                  <a:gd name="connsiteY117" fmla="*/ 3457570 h 5880798"/>
                  <a:gd name="connsiteX118" fmla="*/ 29585 w 561506"/>
                  <a:gd name="connsiteY118" fmla="*/ 3487156 h 5880798"/>
                  <a:gd name="connsiteX119" fmla="*/ 0 w 561506"/>
                  <a:gd name="connsiteY119" fmla="*/ 3487156 h 5880798"/>
                  <a:gd name="connsiteX120" fmla="*/ 531921 w 561506"/>
                  <a:gd name="connsiteY120" fmla="*/ 3191618 h 5880798"/>
                  <a:gd name="connsiteX121" fmla="*/ 561506 w 561506"/>
                  <a:gd name="connsiteY121" fmla="*/ 3191618 h 5880798"/>
                  <a:gd name="connsiteX122" fmla="*/ 561506 w 561506"/>
                  <a:gd name="connsiteY122" fmla="*/ 3221195 h 5880798"/>
                  <a:gd name="connsiteX123" fmla="*/ 531921 w 561506"/>
                  <a:gd name="connsiteY123" fmla="*/ 3221195 h 5880798"/>
                  <a:gd name="connsiteX124" fmla="*/ 265961 w 561506"/>
                  <a:gd name="connsiteY124" fmla="*/ 3191618 h 5880798"/>
                  <a:gd name="connsiteX125" fmla="*/ 295547 w 561506"/>
                  <a:gd name="connsiteY125" fmla="*/ 3191618 h 5880798"/>
                  <a:gd name="connsiteX126" fmla="*/ 295547 w 561506"/>
                  <a:gd name="connsiteY126" fmla="*/ 3221195 h 5880798"/>
                  <a:gd name="connsiteX127" fmla="*/ 265961 w 561506"/>
                  <a:gd name="connsiteY127" fmla="*/ 3221195 h 5880798"/>
                  <a:gd name="connsiteX128" fmla="*/ 0 w 561506"/>
                  <a:gd name="connsiteY128" fmla="*/ 3191617 h 5880798"/>
                  <a:gd name="connsiteX129" fmla="*/ 29585 w 561506"/>
                  <a:gd name="connsiteY129" fmla="*/ 3191617 h 5880798"/>
                  <a:gd name="connsiteX130" fmla="*/ 29585 w 561506"/>
                  <a:gd name="connsiteY130" fmla="*/ 3221195 h 5880798"/>
                  <a:gd name="connsiteX131" fmla="*/ 0 w 561506"/>
                  <a:gd name="connsiteY131" fmla="*/ 3221195 h 5880798"/>
                  <a:gd name="connsiteX132" fmla="*/ 531921 w 561506"/>
                  <a:gd name="connsiteY132" fmla="*/ 2925660 h 5880798"/>
                  <a:gd name="connsiteX133" fmla="*/ 561506 w 561506"/>
                  <a:gd name="connsiteY133" fmla="*/ 2925660 h 5880798"/>
                  <a:gd name="connsiteX134" fmla="*/ 561506 w 561506"/>
                  <a:gd name="connsiteY134" fmla="*/ 2955246 h 5880798"/>
                  <a:gd name="connsiteX135" fmla="*/ 531921 w 561506"/>
                  <a:gd name="connsiteY135" fmla="*/ 2955246 h 5880798"/>
                  <a:gd name="connsiteX136" fmla="*/ 265961 w 561506"/>
                  <a:gd name="connsiteY136" fmla="*/ 2925659 h 5880798"/>
                  <a:gd name="connsiteX137" fmla="*/ 295547 w 561506"/>
                  <a:gd name="connsiteY137" fmla="*/ 2925659 h 5880798"/>
                  <a:gd name="connsiteX138" fmla="*/ 295547 w 561506"/>
                  <a:gd name="connsiteY138" fmla="*/ 2955245 h 5880798"/>
                  <a:gd name="connsiteX139" fmla="*/ 265961 w 561506"/>
                  <a:gd name="connsiteY139" fmla="*/ 2955245 h 5880798"/>
                  <a:gd name="connsiteX140" fmla="*/ 0 w 561506"/>
                  <a:gd name="connsiteY140" fmla="*/ 2925658 h 5880798"/>
                  <a:gd name="connsiteX141" fmla="*/ 29585 w 561506"/>
                  <a:gd name="connsiteY141" fmla="*/ 2925658 h 5880798"/>
                  <a:gd name="connsiteX142" fmla="*/ 29585 w 561506"/>
                  <a:gd name="connsiteY142" fmla="*/ 2955244 h 5880798"/>
                  <a:gd name="connsiteX143" fmla="*/ 0 w 561506"/>
                  <a:gd name="connsiteY143" fmla="*/ 2955244 h 5880798"/>
                  <a:gd name="connsiteX144" fmla="*/ 531921 w 561506"/>
                  <a:gd name="connsiteY144" fmla="*/ 2659620 h 5880798"/>
                  <a:gd name="connsiteX145" fmla="*/ 561506 w 561506"/>
                  <a:gd name="connsiteY145" fmla="*/ 2659620 h 5880798"/>
                  <a:gd name="connsiteX146" fmla="*/ 561506 w 561506"/>
                  <a:gd name="connsiteY146" fmla="*/ 2689204 h 5880798"/>
                  <a:gd name="connsiteX147" fmla="*/ 531921 w 561506"/>
                  <a:gd name="connsiteY147" fmla="*/ 2689204 h 5880798"/>
                  <a:gd name="connsiteX148" fmla="*/ 265961 w 561506"/>
                  <a:gd name="connsiteY148" fmla="*/ 2659616 h 5880798"/>
                  <a:gd name="connsiteX149" fmla="*/ 295547 w 561506"/>
                  <a:gd name="connsiteY149" fmla="*/ 2659616 h 5880798"/>
                  <a:gd name="connsiteX150" fmla="*/ 295547 w 561506"/>
                  <a:gd name="connsiteY150" fmla="*/ 2689201 h 5880798"/>
                  <a:gd name="connsiteX151" fmla="*/ 265961 w 561506"/>
                  <a:gd name="connsiteY151" fmla="*/ 2689201 h 5880798"/>
                  <a:gd name="connsiteX152" fmla="*/ 0 w 561506"/>
                  <a:gd name="connsiteY152" fmla="*/ 2659613 h 5880798"/>
                  <a:gd name="connsiteX153" fmla="*/ 29585 w 561506"/>
                  <a:gd name="connsiteY153" fmla="*/ 2659613 h 5880798"/>
                  <a:gd name="connsiteX154" fmla="*/ 29585 w 561506"/>
                  <a:gd name="connsiteY154" fmla="*/ 2689198 h 5880798"/>
                  <a:gd name="connsiteX155" fmla="*/ 0 w 561506"/>
                  <a:gd name="connsiteY155" fmla="*/ 2689198 h 5880798"/>
                  <a:gd name="connsiteX156" fmla="*/ 531921 w 561506"/>
                  <a:gd name="connsiteY156" fmla="*/ 2393661 h 5880798"/>
                  <a:gd name="connsiteX157" fmla="*/ 561506 w 561506"/>
                  <a:gd name="connsiteY157" fmla="*/ 2393661 h 5880798"/>
                  <a:gd name="connsiteX158" fmla="*/ 561506 w 561506"/>
                  <a:gd name="connsiteY158" fmla="*/ 2423260 h 5880798"/>
                  <a:gd name="connsiteX159" fmla="*/ 531921 w 561506"/>
                  <a:gd name="connsiteY159" fmla="*/ 2423260 h 5880798"/>
                  <a:gd name="connsiteX160" fmla="*/ 265961 w 561506"/>
                  <a:gd name="connsiteY160" fmla="*/ 2393658 h 5880798"/>
                  <a:gd name="connsiteX161" fmla="*/ 295547 w 561506"/>
                  <a:gd name="connsiteY161" fmla="*/ 2393658 h 5880798"/>
                  <a:gd name="connsiteX162" fmla="*/ 295547 w 561506"/>
                  <a:gd name="connsiteY162" fmla="*/ 2423257 h 5880798"/>
                  <a:gd name="connsiteX163" fmla="*/ 265961 w 561506"/>
                  <a:gd name="connsiteY163" fmla="*/ 2423257 h 5880798"/>
                  <a:gd name="connsiteX164" fmla="*/ 0 w 561506"/>
                  <a:gd name="connsiteY164" fmla="*/ 2393655 h 5880798"/>
                  <a:gd name="connsiteX165" fmla="*/ 29585 w 561506"/>
                  <a:gd name="connsiteY165" fmla="*/ 2393655 h 5880798"/>
                  <a:gd name="connsiteX166" fmla="*/ 29585 w 561506"/>
                  <a:gd name="connsiteY166" fmla="*/ 2423251 h 5880798"/>
                  <a:gd name="connsiteX167" fmla="*/ 0 w 561506"/>
                  <a:gd name="connsiteY167" fmla="*/ 2423251 h 5880798"/>
                  <a:gd name="connsiteX168" fmla="*/ 531921 w 561506"/>
                  <a:gd name="connsiteY168" fmla="*/ 2127694 h 5880798"/>
                  <a:gd name="connsiteX169" fmla="*/ 561506 w 561506"/>
                  <a:gd name="connsiteY169" fmla="*/ 2127694 h 5880798"/>
                  <a:gd name="connsiteX170" fmla="*/ 561506 w 561506"/>
                  <a:gd name="connsiteY170" fmla="*/ 2157283 h 5880798"/>
                  <a:gd name="connsiteX171" fmla="*/ 531921 w 561506"/>
                  <a:gd name="connsiteY171" fmla="*/ 2157283 h 5880798"/>
                  <a:gd name="connsiteX172" fmla="*/ 265961 w 561506"/>
                  <a:gd name="connsiteY172" fmla="*/ 2127693 h 5880798"/>
                  <a:gd name="connsiteX173" fmla="*/ 295547 w 561506"/>
                  <a:gd name="connsiteY173" fmla="*/ 2127693 h 5880798"/>
                  <a:gd name="connsiteX174" fmla="*/ 295547 w 561506"/>
                  <a:gd name="connsiteY174" fmla="*/ 2157282 h 5880798"/>
                  <a:gd name="connsiteX175" fmla="*/ 265961 w 561506"/>
                  <a:gd name="connsiteY175" fmla="*/ 2157282 h 5880798"/>
                  <a:gd name="connsiteX176" fmla="*/ 0 w 561506"/>
                  <a:gd name="connsiteY176" fmla="*/ 2127689 h 5880798"/>
                  <a:gd name="connsiteX177" fmla="*/ 29585 w 561506"/>
                  <a:gd name="connsiteY177" fmla="*/ 2127689 h 5880798"/>
                  <a:gd name="connsiteX178" fmla="*/ 29585 w 561506"/>
                  <a:gd name="connsiteY178" fmla="*/ 2157278 h 5880798"/>
                  <a:gd name="connsiteX179" fmla="*/ 0 w 561506"/>
                  <a:gd name="connsiteY179" fmla="*/ 2157278 h 5880798"/>
                  <a:gd name="connsiteX180" fmla="*/ 531921 w 561506"/>
                  <a:gd name="connsiteY180" fmla="*/ 1861731 h 5880798"/>
                  <a:gd name="connsiteX181" fmla="*/ 561506 w 561506"/>
                  <a:gd name="connsiteY181" fmla="*/ 1861731 h 5880798"/>
                  <a:gd name="connsiteX182" fmla="*/ 561506 w 561506"/>
                  <a:gd name="connsiteY182" fmla="*/ 1891308 h 5880798"/>
                  <a:gd name="connsiteX183" fmla="*/ 531921 w 561506"/>
                  <a:gd name="connsiteY183" fmla="*/ 1891308 h 5880798"/>
                  <a:gd name="connsiteX184" fmla="*/ 265961 w 561506"/>
                  <a:gd name="connsiteY184" fmla="*/ 1861728 h 5880798"/>
                  <a:gd name="connsiteX185" fmla="*/ 295547 w 561506"/>
                  <a:gd name="connsiteY185" fmla="*/ 1861728 h 5880798"/>
                  <a:gd name="connsiteX186" fmla="*/ 295547 w 561506"/>
                  <a:gd name="connsiteY186" fmla="*/ 1891306 h 5880798"/>
                  <a:gd name="connsiteX187" fmla="*/ 265961 w 561506"/>
                  <a:gd name="connsiteY187" fmla="*/ 1891306 h 5880798"/>
                  <a:gd name="connsiteX188" fmla="*/ 0 w 561506"/>
                  <a:gd name="connsiteY188" fmla="*/ 1861726 h 5880798"/>
                  <a:gd name="connsiteX189" fmla="*/ 29585 w 561506"/>
                  <a:gd name="connsiteY189" fmla="*/ 1861726 h 5880798"/>
                  <a:gd name="connsiteX190" fmla="*/ 29585 w 561506"/>
                  <a:gd name="connsiteY190" fmla="*/ 1891304 h 5880798"/>
                  <a:gd name="connsiteX191" fmla="*/ 0 w 561506"/>
                  <a:gd name="connsiteY191" fmla="*/ 1891304 h 5880798"/>
                  <a:gd name="connsiteX192" fmla="*/ 531921 w 561506"/>
                  <a:gd name="connsiteY192" fmla="*/ 1595769 h 5880798"/>
                  <a:gd name="connsiteX193" fmla="*/ 561506 w 561506"/>
                  <a:gd name="connsiteY193" fmla="*/ 1595769 h 5880798"/>
                  <a:gd name="connsiteX194" fmla="*/ 561506 w 561506"/>
                  <a:gd name="connsiteY194" fmla="*/ 1625355 h 5880798"/>
                  <a:gd name="connsiteX195" fmla="*/ 531921 w 561506"/>
                  <a:gd name="connsiteY195" fmla="*/ 1625355 h 5880798"/>
                  <a:gd name="connsiteX196" fmla="*/ 265961 w 561506"/>
                  <a:gd name="connsiteY196" fmla="*/ 1595766 h 5880798"/>
                  <a:gd name="connsiteX197" fmla="*/ 295547 w 561506"/>
                  <a:gd name="connsiteY197" fmla="*/ 1595766 h 5880798"/>
                  <a:gd name="connsiteX198" fmla="*/ 295547 w 561506"/>
                  <a:gd name="connsiteY198" fmla="*/ 1625352 h 5880798"/>
                  <a:gd name="connsiteX199" fmla="*/ 265961 w 561506"/>
                  <a:gd name="connsiteY199" fmla="*/ 1625352 h 5880798"/>
                  <a:gd name="connsiteX200" fmla="*/ 0 w 561506"/>
                  <a:gd name="connsiteY200" fmla="*/ 1595764 h 5880798"/>
                  <a:gd name="connsiteX201" fmla="*/ 29585 w 561506"/>
                  <a:gd name="connsiteY201" fmla="*/ 1595764 h 5880798"/>
                  <a:gd name="connsiteX202" fmla="*/ 29585 w 561506"/>
                  <a:gd name="connsiteY202" fmla="*/ 1625350 h 5880798"/>
                  <a:gd name="connsiteX203" fmla="*/ 0 w 561506"/>
                  <a:gd name="connsiteY203" fmla="*/ 1625350 h 5880798"/>
                  <a:gd name="connsiteX204" fmla="*/ 531921 w 561506"/>
                  <a:gd name="connsiteY204" fmla="*/ 1329811 h 5880798"/>
                  <a:gd name="connsiteX205" fmla="*/ 561506 w 561506"/>
                  <a:gd name="connsiteY205" fmla="*/ 1329811 h 5880798"/>
                  <a:gd name="connsiteX206" fmla="*/ 561506 w 561506"/>
                  <a:gd name="connsiteY206" fmla="*/ 1359396 h 5880798"/>
                  <a:gd name="connsiteX207" fmla="*/ 531921 w 561506"/>
                  <a:gd name="connsiteY207" fmla="*/ 1359396 h 5880798"/>
                  <a:gd name="connsiteX208" fmla="*/ 265961 w 561506"/>
                  <a:gd name="connsiteY208" fmla="*/ 1329809 h 5880798"/>
                  <a:gd name="connsiteX209" fmla="*/ 295547 w 561506"/>
                  <a:gd name="connsiteY209" fmla="*/ 1329809 h 5880798"/>
                  <a:gd name="connsiteX210" fmla="*/ 295547 w 561506"/>
                  <a:gd name="connsiteY210" fmla="*/ 1359393 h 5880798"/>
                  <a:gd name="connsiteX211" fmla="*/ 265961 w 561506"/>
                  <a:gd name="connsiteY211" fmla="*/ 1359393 h 5880798"/>
                  <a:gd name="connsiteX212" fmla="*/ 0 w 561506"/>
                  <a:gd name="connsiteY212" fmla="*/ 1329806 h 5880798"/>
                  <a:gd name="connsiteX213" fmla="*/ 29585 w 561506"/>
                  <a:gd name="connsiteY213" fmla="*/ 1329806 h 5880798"/>
                  <a:gd name="connsiteX214" fmla="*/ 29585 w 561506"/>
                  <a:gd name="connsiteY214" fmla="*/ 1359391 h 5880798"/>
                  <a:gd name="connsiteX215" fmla="*/ 0 w 561506"/>
                  <a:gd name="connsiteY215" fmla="*/ 1359391 h 5880798"/>
                  <a:gd name="connsiteX216" fmla="*/ 531921 w 561506"/>
                  <a:gd name="connsiteY216" fmla="*/ 1063855 h 5880798"/>
                  <a:gd name="connsiteX217" fmla="*/ 561506 w 561506"/>
                  <a:gd name="connsiteY217" fmla="*/ 1063855 h 5880798"/>
                  <a:gd name="connsiteX218" fmla="*/ 561506 w 561506"/>
                  <a:gd name="connsiteY218" fmla="*/ 1093441 h 5880798"/>
                  <a:gd name="connsiteX219" fmla="*/ 531921 w 561506"/>
                  <a:gd name="connsiteY219" fmla="*/ 1093441 h 5880798"/>
                  <a:gd name="connsiteX220" fmla="*/ 265961 w 561506"/>
                  <a:gd name="connsiteY220" fmla="*/ 1063852 h 5880798"/>
                  <a:gd name="connsiteX221" fmla="*/ 295547 w 561506"/>
                  <a:gd name="connsiteY221" fmla="*/ 1063852 h 5880798"/>
                  <a:gd name="connsiteX222" fmla="*/ 295547 w 561506"/>
                  <a:gd name="connsiteY222" fmla="*/ 1093438 h 5880798"/>
                  <a:gd name="connsiteX223" fmla="*/ 265961 w 561506"/>
                  <a:gd name="connsiteY223" fmla="*/ 1093438 h 5880798"/>
                  <a:gd name="connsiteX224" fmla="*/ 0 w 561506"/>
                  <a:gd name="connsiteY224" fmla="*/ 1063849 h 5880798"/>
                  <a:gd name="connsiteX225" fmla="*/ 29585 w 561506"/>
                  <a:gd name="connsiteY225" fmla="*/ 1063849 h 5880798"/>
                  <a:gd name="connsiteX226" fmla="*/ 29585 w 561506"/>
                  <a:gd name="connsiteY226" fmla="*/ 1093435 h 5880798"/>
                  <a:gd name="connsiteX227" fmla="*/ 0 w 561506"/>
                  <a:gd name="connsiteY227" fmla="*/ 1093435 h 5880798"/>
                  <a:gd name="connsiteX228" fmla="*/ 531921 w 561506"/>
                  <a:gd name="connsiteY228" fmla="*/ 797884 h 5880798"/>
                  <a:gd name="connsiteX229" fmla="*/ 561506 w 561506"/>
                  <a:gd name="connsiteY229" fmla="*/ 797884 h 5880798"/>
                  <a:gd name="connsiteX230" fmla="*/ 561506 w 561506"/>
                  <a:gd name="connsiteY230" fmla="*/ 827470 h 5880798"/>
                  <a:gd name="connsiteX231" fmla="*/ 531921 w 561506"/>
                  <a:gd name="connsiteY231" fmla="*/ 827470 h 5880798"/>
                  <a:gd name="connsiteX232" fmla="*/ 265961 w 561506"/>
                  <a:gd name="connsiteY232" fmla="*/ 797882 h 5880798"/>
                  <a:gd name="connsiteX233" fmla="*/ 295547 w 561506"/>
                  <a:gd name="connsiteY233" fmla="*/ 797882 h 5880798"/>
                  <a:gd name="connsiteX234" fmla="*/ 295547 w 561506"/>
                  <a:gd name="connsiteY234" fmla="*/ 827468 h 5880798"/>
                  <a:gd name="connsiteX235" fmla="*/ 265961 w 561506"/>
                  <a:gd name="connsiteY235" fmla="*/ 827468 h 5880798"/>
                  <a:gd name="connsiteX236" fmla="*/ 0 w 561506"/>
                  <a:gd name="connsiteY236" fmla="*/ 797879 h 5880798"/>
                  <a:gd name="connsiteX237" fmla="*/ 29585 w 561506"/>
                  <a:gd name="connsiteY237" fmla="*/ 797879 h 5880798"/>
                  <a:gd name="connsiteX238" fmla="*/ 29585 w 561506"/>
                  <a:gd name="connsiteY238" fmla="*/ 827465 h 5880798"/>
                  <a:gd name="connsiteX239" fmla="*/ 0 w 561506"/>
                  <a:gd name="connsiteY239" fmla="*/ 827465 h 5880798"/>
                  <a:gd name="connsiteX240" fmla="*/ 531921 w 561506"/>
                  <a:gd name="connsiteY240" fmla="*/ 531924 h 5880798"/>
                  <a:gd name="connsiteX241" fmla="*/ 561506 w 561506"/>
                  <a:gd name="connsiteY241" fmla="*/ 531924 h 5880798"/>
                  <a:gd name="connsiteX242" fmla="*/ 561506 w 561506"/>
                  <a:gd name="connsiteY242" fmla="*/ 561509 h 5880798"/>
                  <a:gd name="connsiteX243" fmla="*/ 531921 w 561506"/>
                  <a:gd name="connsiteY243" fmla="*/ 561509 h 5880798"/>
                  <a:gd name="connsiteX244" fmla="*/ 265961 w 561506"/>
                  <a:gd name="connsiteY244" fmla="*/ 531922 h 5880798"/>
                  <a:gd name="connsiteX245" fmla="*/ 295547 w 561506"/>
                  <a:gd name="connsiteY245" fmla="*/ 531922 h 5880798"/>
                  <a:gd name="connsiteX246" fmla="*/ 295547 w 561506"/>
                  <a:gd name="connsiteY246" fmla="*/ 561507 h 5880798"/>
                  <a:gd name="connsiteX247" fmla="*/ 265961 w 561506"/>
                  <a:gd name="connsiteY247" fmla="*/ 561507 h 5880798"/>
                  <a:gd name="connsiteX248" fmla="*/ 0 w 561506"/>
                  <a:gd name="connsiteY248" fmla="*/ 531920 h 5880798"/>
                  <a:gd name="connsiteX249" fmla="*/ 29585 w 561506"/>
                  <a:gd name="connsiteY249" fmla="*/ 531920 h 5880798"/>
                  <a:gd name="connsiteX250" fmla="*/ 29585 w 561506"/>
                  <a:gd name="connsiteY250" fmla="*/ 561505 h 5880798"/>
                  <a:gd name="connsiteX251" fmla="*/ 0 w 561506"/>
                  <a:gd name="connsiteY251" fmla="*/ 561505 h 5880798"/>
                  <a:gd name="connsiteX252" fmla="*/ 531921 w 561506"/>
                  <a:gd name="connsiteY252" fmla="*/ 265964 h 5880798"/>
                  <a:gd name="connsiteX253" fmla="*/ 561506 w 561506"/>
                  <a:gd name="connsiteY253" fmla="*/ 265964 h 5880798"/>
                  <a:gd name="connsiteX254" fmla="*/ 561506 w 561506"/>
                  <a:gd name="connsiteY254" fmla="*/ 295550 h 5880798"/>
                  <a:gd name="connsiteX255" fmla="*/ 531921 w 561506"/>
                  <a:gd name="connsiteY255" fmla="*/ 295550 h 5880798"/>
                  <a:gd name="connsiteX256" fmla="*/ 265961 w 561506"/>
                  <a:gd name="connsiteY256" fmla="*/ 265962 h 5880798"/>
                  <a:gd name="connsiteX257" fmla="*/ 295547 w 561506"/>
                  <a:gd name="connsiteY257" fmla="*/ 265962 h 5880798"/>
                  <a:gd name="connsiteX258" fmla="*/ 295547 w 561506"/>
                  <a:gd name="connsiteY258" fmla="*/ 295548 h 5880798"/>
                  <a:gd name="connsiteX259" fmla="*/ 265961 w 561506"/>
                  <a:gd name="connsiteY259" fmla="*/ 295548 h 5880798"/>
                  <a:gd name="connsiteX260" fmla="*/ 0 w 561506"/>
                  <a:gd name="connsiteY260" fmla="*/ 265960 h 5880798"/>
                  <a:gd name="connsiteX261" fmla="*/ 29585 w 561506"/>
                  <a:gd name="connsiteY261" fmla="*/ 265960 h 5880798"/>
                  <a:gd name="connsiteX262" fmla="*/ 29585 w 561506"/>
                  <a:gd name="connsiteY262" fmla="*/ 295546 h 5880798"/>
                  <a:gd name="connsiteX263" fmla="*/ 0 w 561506"/>
                  <a:gd name="connsiteY263" fmla="*/ 295546 h 5880798"/>
                  <a:gd name="connsiteX264" fmla="*/ 531921 w 561506"/>
                  <a:gd name="connsiteY264" fmla="*/ 5 h 5880798"/>
                  <a:gd name="connsiteX265" fmla="*/ 561506 w 561506"/>
                  <a:gd name="connsiteY265" fmla="*/ 5 h 5880798"/>
                  <a:gd name="connsiteX266" fmla="*/ 561506 w 561506"/>
                  <a:gd name="connsiteY266" fmla="*/ 29591 h 5880798"/>
                  <a:gd name="connsiteX267" fmla="*/ 531921 w 561506"/>
                  <a:gd name="connsiteY267" fmla="*/ 29591 h 5880798"/>
                  <a:gd name="connsiteX268" fmla="*/ 265961 w 561506"/>
                  <a:gd name="connsiteY268" fmla="*/ 3 h 5880798"/>
                  <a:gd name="connsiteX269" fmla="*/ 295547 w 561506"/>
                  <a:gd name="connsiteY269" fmla="*/ 3 h 5880798"/>
                  <a:gd name="connsiteX270" fmla="*/ 295547 w 561506"/>
                  <a:gd name="connsiteY270" fmla="*/ 29589 h 5880798"/>
                  <a:gd name="connsiteX271" fmla="*/ 265961 w 561506"/>
                  <a:gd name="connsiteY271" fmla="*/ 29589 h 5880798"/>
                  <a:gd name="connsiteX272" fmla="*/ 0 w 561506"/>
                  <a:gd name="connsiteY272" fmla="*/ 0 h 5880798"/>
                  <a:gd name="connsiteX273" fmla="*/ 29585 w 561506"/>
                  <a:gd name="connsiteY273" fmla="*/ 0 h 5880798"/>
                  <a:gd name="connsiteX274" fmla="*/ 29585 w 561506"/>
                  <a:gd name="connsiteY274" fmla="*/ 29586 h 5880798"/>
                  <a:gd name="connsiteX275" fmla="*/ 0 w 561506"/>
                  <a:gd name="connsiteY275" fmla="*/ 29586 h 58807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</a:cxnLst>
                <a:rect l="l" t="t" r="r" b="b"/>
                <a:pathLst>
                  <a:path w="561506" h="5880798">
                    <a:moveTo>
                      <a:pt x="531921" y="5851213"/>
                    </a:moveTo>
                    <a:lnTo>
                      <a:pt x="561506" y="5851213"/>
                    </a:lnTo>
                    <a:lnTo>
                      <a:pt x="561506" y="5880798"/>
                    </a:lnTo>
                    <a:lnTo>
                      <a:pt x="531921" y="5880798"/>
                    </a:lnTo>
                    <a:close/>
                    <a:moveTo>
                      <a:pt x="265961" y="5851213"/>
                    </a:moveTo>
                    <a:lnTo>
                      <a:pt x="295547" y="5851213"/>
                    </a:lnTo>
                    <a:lnTo>
                      <a:pt x="295547" y="5880798"/>
                    </a:lnTo>
                    <a:lnTo>
                      <a:pt x="265961" y="5880798"/>
                    </a:lnTo>
                    <a:close/>
                    <a:moveTo>
                      <a:pt x="0" y="5851213"/>
                    </a:moveTo>
                    <a:lnTo>
                      <a:pt x="29585" y="5851213"/>
                    </a:lnTo>
                    <a:lnTo>
                      <a:pt x="29585" y="5880798"/>
                    </a:lnTo>
                    <a:lnTo>
                      <a:pt x="0" y="5880798"/>
                    </a:lnTo>
                    <a:close/>
                    <a:moveTo>
                      <a:pt x="531921" y="5585253"/>
                    </a:moveTo>
                    <a:lnTo>
                      <a:pt x="561506" y="5585253"/>
                    </a:lnTo>
                    <a:lnTo>
                      <a:pt x="561506" y="5614838"/>
                    </a:lnTo>
                    <a:lnTo>
                      <a:pt x="531921" y="5614838"/>
                    </a:lnTo>
                    <a:close/>
                    <a:moveTo>
                      <a:pt x="265961" y="5585253"/>
                    </a:moveTo>
                    <a:lnTo>
                      <a:pt x="295547" y="5585253"/>
                    </a:lnTo>
                    <a:lnTo>
                      <a:pt x="295547" y="5614838"/>
                    </a:lnTo>
                    <a:lnTo>
                      <a:pt x="265961" y="5614838"/>
                    </a:lnTo>
                    <a:close/>
                    <a:moveTo>
                      <a:pt x="0" y="5585253"/>
                    </a:moveTo>
                    <a:lnTo>
                      <a:pt x="29585" y="5585253"/>
                    </a:lnTo>
                    <a:lnTo>
                      <a:pt x="29585" y="5614838"/>
                    </a:lnTo>
                    <a:lnTo>
                      <a:pt x="0" y="5614838"/>
                    </a:lnTo>
                    <a:close/>
                    <a:moveTo>
                      <a:pt x="531921" y="5319293"/>
                    </a:moveTo>
                    <a:lnTo>
                      <a:pt x="561506" y="5319293"/>
                    </a:lnTo>
                    <a:lnTo>
                      <a:pt x="561506" y="5348879"/>
                    </a:lnTo>
                    <a:lnTo>
                      <a:pt x="531921" y="5348879"/>
                    </a:lnTo>
                    <a:close/>
                    <a:moveTo>
                      <a:pt x="265961" y="5319293"/>
                    </a:moveTo>
                    <a:lnTo>
                      <a:pt x="295547" y="5319293"/>
                    </a:lnTo>
                    <a:lnTo>
                      <a:pt x="295547" y="5348879"/>
                    </a:lnTo>
                    <a:lnTo>
                      <a:pt x="265961" y="5348879"/>
                    </a:lnTo>
                    <a:close/>
                    <a:moveTo>
                      <a:pt x="0" y="5319293"/>
                    </a:moveTo>
                    <a:lnTo>
                      <a:pt x="29585" y="5319293"/>
                    </a:lnTo>
                    <a:lnTo>
                      <a:pt x="29585" y="5348879"/>
                    </a:lnTo>
                    <a:lnTo>
                      <a:pt x="0" y="5348879"/>
                    </a:lnTo>
                    <a:close/>
                    <a:moveTo>
                      <a:pt x="531921" y="5053332"/>
                    </a:moveTo>
                    <a:lnTo>
                      <a:pt x="561506" y="5053332"/>
                    </a:lnTo>
                    <a:lnTo>
                      <a:pt x="561506" y="5082917"/>
                    </a:lnTo>
                    <a:lnTo>
                      <a:pt x="531921" y="5082917"/>
                    </a:lnTo>
                    <a:close/>
                    <a:moveTo>
                      <a:pt x="265961" y="5053332"/>
                    </a:moveTo>
                    <a:lnTo>
                      <a:pt x="295547" y="5053332"/>
                    </a:lnTo>
                    <a:lnTo>
                      <a:pt x="295547" y="5082917"/>
                    </a:lnTo>
                    <a:lnTo>
                      <a:pt x="265961" y="5082917"/>
                    </a:lnTo>
                    <a:close/>
                    <a:moveTo>
                      <a:pt x="0" y="5053332"/>
                    </a:moveTo>
                    <a:lnTo>
                      <a:pt x="29585" y="5053332"/>
                    </a:lnTo>
                    <a:lnTo>
                      <a:pt x="29585" y="5082917"/>
                    </a:lnTo>
                    <a:lnTo>
                      <a:pt x="0" y="5082917"/>
                    </a:lnTo>
                    <a:close/>
                    <a:moveTo>
                      <a:pt x="531921" y="4787372"/>
                    </a:moveTo>
                    <a:lnTo>
                      <a:pt x="561506" y="4787372"/>
                    </a:lnTo>
                    <a:lnTo>
                      <a:pt x="561506" y="4816958"/>
                    </a:lnTo>
                    <a:lnTo>
                      <a:pt x="531921" y="4816958"/>
                    </a:lnTo>
                    <a:close/>
                    <a:moveTo>
                      <a:pt x="265961" y="4787372"/>
                    </a:moveTo>
                    <a:lnTo>
                      <a:pt x="295547" y="4787372"/>
                    </a:lnTo>
                    <a:lnTo>
                      <a:pt x="295547" y="4816958"/>
                    </a:lnTo>
                    <a:lnTo>
                      <a:pt x="265961" y="4816958"/>
                    </a:lnTo>
                    <a:close/>
                    <a:moveTo>
                      <a:pt x="0" y="4787372"/>
                    </a:moveTo>
                    <a:lnTo>
                      <a:pt x="29585" y="4787372"/>
                    </a:lnTo>
                    <a:lnTo>
                      <a:pt x="29585" y="4816958"/>
                    </a:lnTo>
                    <a:lnTo>
                      <a:pt x="0" y="4816958"/>
                    </a:lnTo>
                    <a:close/>
                    <a:moveTo>
                      <a:pt x="531921" y="4521412"/>
                    </a:moveTo>
                    <a:lnTo>
                      <a:pt x="561506" y="4521412"/>
                    </a:lnTo>
                    <a:lnTo>
                      <a:pt x="561506" y="4550997"/>
                    </a:lnTo>
                    <a:lnTo>
                      <a:pt x="531921" y="4550997"/>
                    </a:lnTo>
                    <a:close/>
                    <a:moveTo>
                      <a:pt x="265961" y="4521412"/>
                    </a:moveTo>
                    <a:lnTo>
                      <a:pt x="295547" y="4521412"/>
                    </a:lnTo>
                    <a:lnTo>
                      <a:pt x="295547" y="4550997"/>
                    </a:lnTo>
                    <a:lnTo>
                      <a:pt x="265961" y="4550997"/>
                    </a:lnTo>
                    <a:close/>
                    <a:moveTo>
                      <a:pt x="0" y="4521412"/>
                    </a:moveTo>
                    <a:lnTo>
                      <a:pt x="29585" y="4521412"/>
                    </a:lnTo>
                    <a:lnTo>
                      <a:pt x="29585" y="4550997"/>
                    </a:lnTo>
                    <a:lnTo>
                      <a:pt x="0" y="4550997"/>
                    </a:lnTo>
                    <a:close/>
                    <a:moveTo>
                      <a:pt x="531921" y="4255451"/>
                    </a:moveTo>
                    <a:lnTo>
                      <a:pt x="561506" y="4255451"/>
                    </a:lnTo>
                    <a:lnTo>
                      <a:pt x="561506" y="4285036"/>
                    </a:lnTo>
                    <a:lnTo>
                      <a:pt x="531921" y="4285036"/>
                    </a:lnTo>
                    <a:close/>
                    <a:moveTo>
                      <a:pt x="265961" y="4255451"/>
                    </a:moveTo>
                    <a:lnTo>
                      <a:pt x="295547" y="4255451"/>
                    </a:lnTo>
                    <a:lnTo>
                      <a:pt x="295547" y="4285036"/>
                    </a:lnTo>
                    <a:lnTo>
                      <a:pt x="265961" y="4285036"/>
                    </a:lnTo>
                    <a:close/>
                    <a:moveTo>
                      <a:pt x="0" y="4255451"/>
                    </a:moveTo>
                    <a:lnTo>
                      <a:pt x="29585" y="4255451"/>
                    </a:lnTo>
                    <a:lnTo>
                      <a:pt x="29585" y="4285036"/>
                    </a:lnTo>
                    <a:lnTo>
                      <a:pt x="0" y="4285036"/>
                    </a:lnTo>
                    <a:close/>
                    <a:moveTo>
                      <a:pt x="531921" y="3989491"/>
                    </a:moveTo>
                    <a:lnTo>
                      <a:pt x="561506" y="3989491"/>
                    </a:lnTo>
                    <a:lnTo>
                      <a:pt x="561506" y="4019077"/>
                    </a:lnTo>
                    <a:lnTo>
                      <a:pt x="531921" y="4019077"/>
                    </a:lnTo>
                    <a:close/>
                    <a:moveTo>
                      <a:pt x="265961" y="3989491"/>
                    </a:moveTo>
                    <a:lnTo>
                      <a:pt x="295547" y="3989491"/>
                    </a:lnTo>
                    <a:lnTo>
                      <a:pt x="295547" y="4019077"/>
                    </a:lnTo>
                    <a:lnTo>
                      <a:pt x="265961" y="4019077"/>
                    </a:lnTo>
                    <a:close/>
                    <a:moveTo>
                      <a:pt x="0" y="3989491"/>
                    </a:moveTo>
                    <a:lnTo>
                      <a:pt x="29585" y="3989491"/>
                    </a:lnTo>
                    <a:lnTo>
                      <a:pt x="29585" y="4019077"/>
                    </a:lnTo>
                    <a:lnTo>
                      <a:pt x="0" y="4019077"/>
                    </a:lnTo>
                    <a:close/>
                    <a:moveTo>
                      <a:pt x="531921" y="3723530"/>
                    </a:moveTo>
                    <a:lnTo>
                      <a:pt x="561506" y="3723530"/>
                    </a:lnTo>
                    <a:lnTo>
                      <a:pt x="561506" y="3753115"/>
                    </a:lnTo>
                    <a:lnTo>
                      <a:pt x="531921" y="3753115"/>
                    </a:lnTo>
                    <a:close/>
                    <a:moveTo>
                      <a:pt x="265961" y="3723530"/>
                    </a:moveTo>
                    <a:lnTo>
                      <a:pt x="295547" y="3723530"/>
                    </a:lnTo>
                    <a:lnTo>
                      <a:pt x="295547" y="3753115"/>
                    </a:lnTo>
                    <a:lnTo>
                      <a:pt x="265961" y="3753115"/>
                    </a:lnTo>
                    <a:close/>
                    <a:moveTo>
                      <a:pt x="0" y="3723530"/>
                    </a:moveTo>
                    <a:lnTo>
                      <a:pt x="29585" y="3723530"/>
                    </a:lnTo>
                    <a:lnTo>
                      <a:pt x="29585" y="3753115"/>
                    </a:lnTo>
                    <a:lnTo>
                      <a:pt x="0" y="3753115"/>
                    </a:lnTo>
                    <a:close/>
                    <a:moveTo>
                      <a:pt x="531921" y="3457570"/>
                    </a:moveTo>
                    <a:lnTo>
                      <a:pt x="561506" y="3457570"/>
                    </a:lnTo>
                    <a:lnTo>
                      <a:pt x="561506" y="3487156"/>
                    </a:lnTo>
                    <a:lnTo>
                      <a:pt x="531921" y="3487156"/>
                    </a:lnTo>
                    <a:close/>
                    <a:moveTo>
                      <a:pt x="265961" y="3457570"/>
                    </a:moveTo>
                    <a:lnTo>
                      <a:pt x="295547" y="3457570"/>
                    </a:lnTo>
                    <a:lnTo>
                      <a:pt x="295547" y="3487156"/>
                    </a:lnTo>
                    <a:lnTo>
                      <a:pt x="265961" y="3487156"/>
                    </a:lnTo>
                    <a:close/>
                    <a:moveTo>
                      <a:pt x="0" y="3457570"/>
                    </a:moveTo>
                    <a:lnTo>
                      <a:pt x="29585" y="3457570"/>
                    </a:lnTo>
                    <a:lnTo>
                      <a:pt x="29585" y="3487156"/>
                    </a:lnTo>
                    <a:lnTo>
                      <a:pt x="0" y="3487156"/>
                    </a:lnTo>
                    <a:close/>
                    <a:moveTo>
                      <a:pt x="531921" y="3191618"/>
                    </a:moveTo>
                    <a:lnTo>
                      <a:pt x="561506" y="3191618"/>
                    </a:lnTo>
                    <a:lnTo>
                      <a:pt x="561506" y="3221195"/>
                    </a:lnTo>
                    <a:lnTo>
                      <a:pt x="531921" y="3221195"/>
                    </a:lnTo>
                    <a:close/>
                    <a:moveTo>
                      <a:pt x="265961" y="3191618"/>
                    </a:moveTo>
                    <a:lnTo>
                      <a:pt x="295547" y="3191618"/>
                    </a:lnTo>
                    <a:lnTo>
                      <a:pt x="295547" y="3221195"/>
                    </a:lnTo>
                    <a:lnTo>
                      <a:pt x="265961" y="3221195"/>
                    </a:lnTo>
                    <a:close/>
                    <a:moveTo>
                      <a:pt x="0" y="3191617"/>
                    </a:moveTo>
                    <a:lnTo>
                      <a:pt x="29585" y="3191617"/>
                    </a:lnTo>
                    <a:lnTo>
                      <a:pt x="29585" y="3221195"/>
                    </a:lnTo>
                    <a:lnTo>
                      <a:pt x="0" y="3221195"/>
                    </a:lnTo>
                    <a:close/>
                    <a:moveTo>
                      <a:pt x="531921" y="2925660"/>
                    </a:moveTo>
                    <a:lnTo>
                      <a:pt x="561506" y="2925660"/>
                    </a:lnTo>
                    <a:lnTo>
                      <a:pt x="561506" y="2955246"/>
                    </a:lnTo>
                    <a:lnTo>
                      <a:pt x="531921" y="2955246"/>
                    </a:lnTo>
                    <a:close/>
                    <a:moveTo>
                      <a:pt x="265961" y="2925659"/>
                    </a:moveTo>
                    <a:lnTo>
                      <a:pt x="295547" y="2925659"/>
                    </a:lnTo>
                    <a:lnTo>
                      <a:pt x="295547" y="2955245"/>
                    </a:lnTo>
                    <a:lnTo>
                      <a:pt x="265961" y="2955245"/>
                    </a:lnTo>
                    <a:close/>
                    <a:moveTo>
                      <a:pt x="0" y="2925658"/>
                    </a:moveTo>
                    <a:lnTo>
                      <a:pt x="29585" y="2925658"/>
                    </a:lnTo>
                    <a:lnTo>
                      <a:pt x="29585" y="2955244"/>
                    </a:lnTo>
                    <a:lnTo>
                      <a:pt x="0" y="2955244"/>
                    </a:lnTo>
                    <a:close/>
                    <a:moveTo>
                      <a:pt x="531921" y="2659620"/>
                    </a:moveTo>
                    <a:lnTo>
                      <a:pt x="561506" y="2659620"/>
                    </a:lnTo>
                    <a:lnTo>
                      <a:pt x="561506" y="2689204"/>
                    </a:lnTo>
                    <a:lnTo>
                      <a:pt x="531921" y="2689204"/>
                    </a:lnTo>
                    <a:close/>
                    <a:moveTo>
                      <a:pt x="265961" y="2659616"/>
                    </a:moveTo>
                    <a:lnTo>
                      <a:pt x="295547" y="2659616"/>
                    </a:lnTo>
                    <a:lnTo>
                      <a:pt x="295547" y="2689201"/>
                    </a:lnTo>
                    <a:lnTo>
                      <a:pt x="265961" y="2689201"/>
                    </a:lnTo>
                    <a:close/>
                    <a:moveTo>
                      <a:pt x="0" y="2659613"/>
                    </a:moveTo>
                    <a:lnTo>
                      <a:pt x="29585" y="2659613"/>
                    </a:lnTo>
                    <a:lnTo>
                      <a:pt x="29585" y="2689198"/>
                    </a:lnTo>
                    <a:lnTo>
                      <a:pt x="0" y="2689198"/>
                    </a:lnTo>
                    <a:close/>
                    <a:moveTo>
                      <a:pt x="531921" y="2393661"/>
                    </a:moveTo>
                    <a:lnTo>
                      <a:pt x="561506" y="2393661"/>
                    </a:lnTo>
                    <a:lnTo>
                      <a:pt x="561506" y="2423260"/>
                    </a:lnTo>
                    <a:lnTo>
                      <a:pt x="531921" y="2423260"/>
                    </a:lnTo>
                    <a:close/>
                    <a:moveTo>
                      <a:pt x="265961" y="2393658"/>
                    </a:moveTo>
                    <a:lnTo>
                      <a:pt x="295547" y="2393658"/>
                    </a:lnTo>
                    <a:lnTo>
                      <a:pt x="295547" y="2423257"/>
                    </a:lnTo>
                    <a:lnTo>
                      <a:pt x="265961" y="2423257"/>
                    </a:lnTo>
                    <a:close/>
                    <a:moveTo>
                      <a:pt x="0" y="2393655"/>
                    </a:moveTo>
                    <a:lnTo>
                      <a:pt x="29585" y="2393655"/>
                    </a:lnTo>
                    <a:lnTo>
                      <a:pt x="29585" y="2423251"/>
                    </a:lnTo>
                    <a:lnTo>
                      <a:pt x="0" y="2423251"/>
                    </a:lnTo>
                    <a:close/>
                    <a:moveTo>
                      <a:pt x="531921" y="2127694"/>
                    </a:moveTo>
                    <a:lnTo>
                      <a:pt x="561506" y="2127694"/>
                    </a:lnTo>
                    <a:lnTo>
                      <a:pt x="561506" y="2157283"/>
                    </a:lnTo>
                    <a:lnTo>
                      <a:pt x="531921" y="2157283"/>
                    </a:lnTo>
                    <a:close/>
                    <a:moveTo>
                      <a:pt x="265961" y="2127693"/>
                    </a:moveTo>
                    <a:lnTo>
                      <a:pt x="295547" y="2127693"/>
                    </a:lnTo>
                    <a:lnTo>
                      <a:pt x="295547" y="2157282"/>
                    </a:lnTo>
                    <a:lnTo>
                      <a:pt x="265961" y="2157282"/>
                    </a:lnTo>
                    <a:close/>
                    <a:moveTo>
                      <a:pt x="0" y="2127689"/>
                    </a:moveTo>
                    <a:lnTo>
                      <a:pt x="29585" y="2127689"/>
                    </a:lnTo>
                    <a:lnTo>
                      <a:pt x="29585" y="2157278"/>
                    </a:lnTo>
                    <a:lnTo>
                      <a:pt x="0" y="2157278"/>
                    </a:lnTo>
                    <a:close/>
                    <a:moveTo>
                      <a:pt x="531921" y="1861731"/>
                    </a:moveTo>
                    <a:lnTo>
                      <a:pt x="561506" y="1861731"/>
                    </a:lnTo>
                    <a:lnTo>
                      <a:pt x="561506" y="1891308"/>
                    </a:lnTo>
                    <a:lnTo>
                      <a:pt x="531921" y="1891308"/>
                    </a:lnTo>
                    <a:close/>
                    <a:moveTo>
                      <a:pt x="265961" y="1861728"/>
                    </a:moveTo>
                    <a:lnTo>
                      <a:pt x="295547" y="1861728"/>
                    </a:lnTo>
                    <a:lnTo>
                      <a:pt x="295547" y="1891306"/>
                    </a:lnTo>
                    <a:lnTo>
                      <a:pt x="265961" y="1891306"/>
                    </a:lnTo>
                    <a:close/>
                    <a:moveTo>
                      <a:pt x="0" y="1861726"/>
                    </a:moveTo>
                    <a:lnTo>
                      <a:pt x="29585" y="1861726"/>
                    </a:lnTo>
                    <a:lnTo>
                      <a:pt x="29585" y="1891304"/>
                    </a:lnTo>
                    <a:lnTo>
                      <a:pt x="0" y="1891304"/>
                    </a:lnTo>
                    <a:close/>
                    <a:moveTo>
                      <a:pt x="531921" y="1595769"/>
                    </a:moveTo>
                    <a:lnTo>
                      <a:pt x="561506" y="1595769"/>
                    </a:lnTo>
                    <a:lnTo>
                      <a:pt x="561506" y="1625355"/>
                    </a:lnTo>
                    <a:lnTo>
                      <a:pt x="531921" y="1625355"/>
                    </a:lnTo>
                    <a:close/>
                    <a:moveTo>
                      <a:pt x="265961" y="1595766"/>
                    </a:moveTo>
                    <a:lnTo>
                      <a:pt x="295547" y="1595766"/>
                    </a:lnTo>
                    <a:lnTo>
                      <a:pt x="295547" y="1625352"/>
                    </a:lnTo>
                    <a:lnTo>
                      <a:pt x="265961" y="1625352"/>
                    </a:lnTo>
                    <a:close/>
                    <a:moveTo>
                      <a:pt x="0" y="1595764"/>
                    </a:moveTo>
                    <a:lnTo>
                      <a:pt x="29585" y="1595764"/>
                    </a:lnTo>
                    <a:lnTo>
                      <a:pt x="29585" y="1625350"/>
                    </a:lnTo>
                    <a:lnTo>
                      <a:pt x="0" y="1625350"/>
                    </a:lnTo>
                    <a:close/>
                    <a:moveTo>
                      <a:pt x="531921" y="1329811"/>
                    </a:moveTo>
                    <a:lnTo>
                      <a:pt x="561506" y="1329811"/>
                    </a:lnTo>
                    <a:lnTo>
                      <a:pt x="561506" y="1359396"/>
                    </a:lnTo>
                    <a:lnTo>
                      <a:pt x="531921" y="1359396"/>
                    </a:lnTo>
                    <a:close/>
                    <a:moveTo>
                      <a:pt x="265961" y="1329809"/>
                    </a:moveTo>
                    <a:lnTo>
                      <a:pt x="295547" y="1329809"/>
                    </a:lnTo>
                    <a:lnTo>
                      <a:pt x="295547" y="1359393"/>
                    </a:lnTo>
                    <a:lnTo>
                      <a:pt x="265961" y="1359393"/>
                    </a:lnTo>
                    <a:close/>
                    <a:moveTo>
                      <a:pt x="0" y="1329806"/>
                    </a:moveTo>
                    <a:lnTo>
                      <a:pt x="29585" y="1329806"/>
                    </a:lnTo>
                    <a:lnTo>
                      <a:pt x="29585" y="1359391"/>
                    </a:lnTo>
                    <a:lnTo>
                      <a:pt x="0" y="1359391"/>
                    </a:lnTo>
                    <a:close/>
                    <a:moveTo>
                      <a:pt x="531921" y="1063855"/>
                    </a:moveTo>
                    <a:lnTo>
                      <a:pt x="561506" y="1063855"/>
                    </a:lnTo>
                    <a:lnTo>
                      <a:pt x="561506" y="1093441"/>
                    </a:lnTo>
                    <a:lnTo>
                      <a:pt x="531921" y="1093441"/>
                    </a:lnTo>
                    <a:close/>
                    <a:moveTo>
                      <a:pt x="265961" y="1063852"/>
                    </a:moveTo>
                    <a:lnTo>
                      <a:pt x="295547" y="1063852"/>
                    </a:lnTo>
                    <a:lnTo>
                      <a:pt x="295547" y="1093438"/>
                    </a:lnTo>
                    <a:lnTo>
                      <a:pt x="265961" y="1093438"/>
                    </a:lnTo>
                    <a:close/>
                    <a:moveTo>
                      <a:pt x="0" y="1063849"/>
                    </a:moveTo>
                    <a:lnTo>
                      <a:pt x="29585" y="1063849"/>
                    </a:lnTo>
                    <a:lnTo>
                      <a:pt x="29585" y="1093435"/>
                    </a:lnTo>
                    <a:lnTo>
                      <a:pt x="0" y="1093435"/>
                    </a:lnTo>
                    <a:close/>
                    <a:moveTo>
                      <a:pt x="531921" y="797884"/>
                    </a:moveTo>
                    <a:lnTo>
                      <a:pt x="561506" y="797884"/>
                    </a:lnTo>
                    <a:lnTo>
                      <a:pt x="561506" y="827470"/>
                    </a:lnTo>
                    <a:lnTo>
                      <a:pt x="531921" y="827470"/>
                    </a:lnTo>
                    <a:close/>
                    <a:moveTo>
                      <a:pt x="265961" y="797882"/>
                    </a:moveTo>
                    <a:lnTo>
                      <a:pt x="295547" y="797882"/>
                    </a:lnTo>
                    <a:lnTo>
                      <a:pt x="295547" y="827468"/>
                    </a:lnTo>
                    <a:lnTo>
                      <a:pt x="265961" y="827468"/>
                    </a:lnTo>
                    <a:close/>
                    <a:moveTo>
                      <a:pt x="0" y="797879"/>
                    </a:moveTo>
                    <a:lnTo>
                      <a:pt x="29585" y="797879"/>
                    </a:lnTo>
                    <a:lnTo>
                      <a:pt x="29585" y="827465"/>
                    </a:lnTo>
                    <a:lnTo>
                      <a:pt x="0" y="827465"/>
                    </a:lnTo>
                    <a:close/>
                    <a:moveTo>
                      <a:pt x="531921" y="531924"/>
                    </a:moveTo>
                    <a:lnTo>
                      <a:pt x="561506" y="531924"/>
                    </a:lnTo>
                    <a:lnTo>
                      <a:pt x="561506" y="561509"/>
                    </a:lnTo>
                    <a:lnTo>
                      <a:pt x="531921" y="561509"/>
                    </a:lnTo>
                    <a:close/>
                    <a:moveTo>
                      <a:pt x="265961" y="531922"/>
                    </a:moveTo>
                    <a:lnTo>
                      <a:pt x="295547" y="531922"/>
                    </a:lnTo>
                    <a:lnTo>
                      <a:pt x="295547" y="561507"/>
                    </a:lnTo>
                    <a:lnTo>
                      <a:pt x="265961" y="561507"/>
                    </a:lnTo>
                    <a:close/>
                    <a:moveTo>
                      <a:pt x="0" y="531920"/>
                    </a:moveTo>
                    <a:lnTo>
                      <a:pt x="29585" y="531920"/>
                    </a:lnTo>
                    <a:lnTo>
                      <a:pt x="29585" y="561505"/>
                    </a:lnTo>
                    <a:lnTo>
                      <a:pt x="0" y="561505"/>
                    </a:lnTo>
                    <a:close/>
                    <a:moveTo>
                      <a:pt x="531921" y="265964"/>
                    </a:moveTo>
                    <a:lnTo>
                      <a:pt x="561506" y="265964"/>
                    </a:lnTo>
                    <a:lnTo>
                      <a:pt x="561506" y="295550"/>
                    </a:lnTo>
                    <a:lnTo>
                      <a:pt x="531921" y="295550"/>
                    </a:lnTo>
                    <a:close/>
                    <a:moveTo>
                      <a:pt x="265961" y="265962"/>
                    </a:moveTo>
                    <a:lnTo>
                      <a:pt x="295547" y="265962"/>
                    </a:lnTo>
                    <a:lnTo>
                      <a:pt x="295547" y="295548"/>
                    </a:lnTo>
                    <a:lnTo>
                      <a:pt x="265961" y="295548"/>
                    </a:lnTo>
                    <a:close/>
                    <a:moveTo>
                      <a:pt x="0" y="265960"/>
                    </a:moveTo>
                    <a:lnTo>
                      <a:pt x="29585" y="265960"/>
                    </a:lnTo>
                    <a:lnTo>
                      <a:pt x="29585" y="295546"/>
                    </a:lnTo>
                    <a:lnTo>
                      <a:pt x="0" y="295546"/>
                    </a:lnTo>
                    <a:close/>
                    <a:moveTo>
                      <a:pt x="531921" y="5"/>
                    </a:moveTo>
                    <a:lnTo>
                      <a:pt x="561506" y="5"/>
                    </a:lnTo>
                    <a:lnTo>
                      <a:pt x="561506" y="29591"/>
                    </a:lnTo>
                    <a:lnTo>
                      <a:pt x="531921" y="29591"/>
                    </a:lnTo>
                    <a:close/>
                    <a:moveTo>
                      <a:pt x="265961" y="3"/>
                    </a:moveTo>
                    <a:lnTo>
                      <a:pt x="295547" y="3"/>
                    </a:lnTo>
                    <a:lnTo>
                      <a:pt x="295547" y="29589"/>
                    </a:lnTo>
                    <a:lnTo>
                      <a:pt x="265961" y="29589"/>
                    </a:lnTo>
                    <a:close/>
                    <a:moveTo>
                      <a:pt x="0" y="0"/>
                    </a:moveTo>
                    <a:lnTo>
                      <a:pt x="29585" y="0"/>
                    </a:lnTo>
                    <a:lnTo>
                      <a:pt x="29585" y="29586"/>
                    </a:lnTo>
                    <a:lnTo>
                      <a:pt x="0" y="29586"/>
                    </a:lnTo>
                    <a:close/>
                  </a:path>
                </a:pathLst>
              </a:custGeom>
              <a:solidFill>
                <a:schemeClr val="tx2">
                  <a:alpha val="20000"/>
                </a:schemeClr>
              </a:solidFill>
              <a:ln w="10294" cap="flat">
                <a:noFill/>
                <a:prstDash val="solid"/>
                <a:miter/>
              </a:ln>
            </p:spPr>
            <p:txBody>
              <a:bodyPr wrap="square" rtlCol="0" anchor="ctr">
                <a:noAutofit/>
              </a:bodyPr>
              <a:lstStyle/>
              <a:p>
                <a:endParaRPr lang="en-US"/>
              </a:p>
            </p:txBody>
          </p:sp>
        </p:grp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E617A4DF-071D-428E-8CFC-46648A6F0207}"/>
                </a:ext>
              </a:extLst>
            </p:cNvPr>
            <p:cNvSpPr/>
            <p:nvPr userDrawn="1"/>
          </p:nvSpPr>
          <p:spPr>
            <a:xfrm>
              <a:off x="11620604" y="258374"/>
              <a:ext cx="318688" cy="6341252"/>
            </a:xfrm>
            <a:custGeom>
              <a:avLst/>
              <a:gdLst>
                <a:gd name="connsiteX0" fmla="*/ 286785 w 318688"/>
                <a:gd name="connsiteY0" fmla="*/ 6309351 h 6341252"/>
                <a:gd name="connsiteX1" fmla="*/ 318688 w 318688"/>
                <a:gd name="connsiteY1" fmla="*/ 6309351 h 6341252"/>
                <a:gd name="connsiteX2" fmla="*/ 318688 w 318688"/>
                <a:gd name="connsiteY2" fmla="*/ 6341252 h 6341252"/>
                <a:gd name="connsiteX3" fmla="*/ 286785 w 318688"/>
                <a:gd name="connsiteY3" fmla="*/ 6341252 h 6341252"/>
                <a:gd name="connsiteX4" fmla="*/ 0 w 318688"/>
                <a:gd name="connsiteY4" fmla="*/ 6309351 h 6341252"/>
                <a:gd name="connsiteX5" fmla="*/ 31901 w 318688"/>
                <a:gd name="connsiteY5" fmla="*/ 6309351 h 6341252"/>
                <a:gd name="connsiteX6" fmla="*/ 31901 w 318688"/>
                <a:gd name="connsiteY6" fmla="*/ 6341252 h 6341252"/>
                <a:gd name="connsiteX7" fmla="*/ 0 w 318688"/>
                <a:gd name="connsiteY7" fmla="*/ 6341252 h 6341252"/>
                <a:gd name="connsiteX8" fmla="*/ 286785 w 318688"/>
                <a:gd name="connsiteY8" fmla="*/ 6022567 h 6341252"/>
                <a:gd name="connsiteX9" fmla="*/ 318688 w 318688"/>
                <a:gd name="connsiteY9" fmla="*/ 6022567 h 6341252"/>
                <a:gd name="connsiteX10" fmla="*/ 318688 w 318688"/>
                <a:gd name="connsiteY10" fmla="*/ 6054468 h 6341252"/>
                <a:gd name="connsiteX11" fmla="*/ 286785 w 318688"/>
                <a:gd name="connsiteY11" fmla="*/ 6054468 h 6341252"/>
                <a:gd name="connsiteX12" fmla="*/ 0 w 318688"/>
                <a:gd name="connsiteY12" fmla="*/ 6022567 h 6341252"/>
                <a:gd name="connsiteX13" fmla="*/ 31901 w 318688"/>
                <a:gd name="connsiteY13" fmla="*/ 6022567 h 6341252"/>
                <a:gd name="connsiteX14" fmla="*/ 31901 w 318688"/>
                <a:gd name="connsiteY14" fmla="*/ 6054468 h 6341252"/>
                <a:gd name="connsiteX15" fmla="*/ 0 w 318688"/>
                <a:gd name="connsiteY15" fmla="*/ 6054468 h 6341252"/>
                <a:gd name="connsiteX16" fmla="*/ 286785 w 318688"/>
                <a:gd name="connsiteY16" fmla="*/ 5735783 h 6341252"/>
                <a:gd name="connsiteX17" fmla="*/ 318688 w 318688"/>
                <a:gd name="connsiteY17" fmla="*/ 5735783 h 6341252"/>
                <a:gd name="connsiteX18" fmla="*/ 318688 w 318688"/>
                <a:gd name="connsiteY18" fmla="*/ 5767685 h 6341252"/>
                <a:gd name="connsiteX19" fmla="*/ 286785 w 318688"/>
                <a:gd name="connsiteY19" fmla="*/ 5767685 h 6341252"/>
                <a:gd name="connsiteX20" fmla="*/ 0 w 318688"/>
                <a:gd name="connsiteY20" fmla="*/ 5735783 h 6341252"/>
                <a:gd name="connsiteX21" fmla="*/ 31901 w 318688"/>
                <a:gd name="connsiteY21" fmla="*/ 5735783 h 6341252"/>
                <a:gd name="connsiteX22" fmla="*/ 31901 w 318688"/>
                <a:gd name="connsiteY22" fmla="*/ 5767685 h 6341252"/>
                <a:gd name="connsiteX23" fmla="*/ 0 w 318688"/>
                <a:gd name="connsiteY23" fmla="*/ 5767685 h 6341252"/>
                <a:gd name="connsiteX24" fmla="*/ 286785 w 318688"/>
                <a:gd name="connsiteY24" fmla="*/ 5448997 h 6341252"/>
                <a:gd name="connsiteX25" fmla="*/ 318688 w 318688"/>
                <a:gd name="connsiteY25" fmla="*/ 5448997 h 6341252"/>
                <a:gd name="connsiteX26" fmla="*/ 318688 w 318688"/>
                <a:gd name="connsiteY26" fmla="*/ 5480899 h 6341252"/>
                <a:gd name="connsiteX27" fmla="*/ 286785 w 318688"/>
                <a:gd name="connsiteY27" fmla="*/ 5480899 h 6341252"/>
                <a:gd name="connsiteX28" fmla="*/ 0 w 318688"/>
                <a:gd name="connsiteY28" fmla="*/ 5448997 h 6341252"/>
                <a:gd name="connsiteX29" fmla="*/ 31901 w 318688"/>
                <a:gd name="connsiteY29" fmla="*/ 5448997 h 6341252"/>
                <a:gd name="connsiteX30" fmla="*/ 31901 w 318688"/>
                <a:gd name="connsiteY30" fmla="*/ 5480899 h 6341252"/>
                <a:gd name="connsiteX31" fmla="*/ 0 w 318688"/>
                <a:gd name="connsiteY31" fmla="*/ 5480899 h 6341252"/>
                <a:gd name="connsiteX32" fmla="*/ 286785 w 318688"/>
                <a:gd name="connsiteY32" fmla="*/ 5162213 h 6341252"/>
                <a:gd name="connsiteX33" fmla="*/ 318688 w 318688"/>
                <a:gd name="connsiteY33" fmla="*/ 5162213 h 6341252"/>
                <a:gd name="connsiteX34" fmla="*/ 318688 w 318688"/>
                <a:gd name="connsiteY34" fmla="*/ 5194116 h 6341252"/>
                <a:gd name="connsiteX35" fmla="*/ 286785 w 318688"/>
                <a:gd name="connsiteY35" fmla="*/ 5194116 h 6341252"/>
                <a:gd name="connsiteX36" fmla="*/ 0 w 318688"/>
                <a:gd name="connsiteY36" fmla="*/ 5162213 h 6341252"/>
                <a:gd name="connsiteX37" fmla="*/ 31901 w 318688"/>
                <a:gd name="connsiteY37" fmla="*/ 5162213 h 6341252"/>
                <a:gd name="connsiteX38" fmla="*/ 31901 w 318688"/>
                <a:gd name="connsiteY38" fmla="*/ 5194116 h 6341252"/>
                <a:gd name="connsiteX39" fmla="*/ 0 w 318688"/>
                <a:gd name="connsiteY39" fmla="*/ 5194116 h 6341252"/>
                <a:gd name="connsiteX40" fmla="*/ 286785 w 318688"/>
                <a:gd name="connsiteY40" fmla="*/ 4875429 h 6341252"/>
                <a:gd name="connsiteX41" fmla="*/ 318688 w 318688"/>
                <a:gd name="connsiteY41" fmla="*/ 4875429 h 6341252"/>
                <a:gd name="connsiteX42" fmla="*/ 318688 w 318688"/>
                <a:gd name="connsiteY42" fmla="*/ 4907331 h 6341252"/>
                <a:gd name="connsiteX43" fmla="*/ 286785 w 318688"/>
                <a:gd name="connsiteY43" fmla="*/ 4907331 h 6341252"/>
                <a:gd name="connsiteX44" fmla="*/ 0 w 318688"/>
                <a:gd name="connsiteY44" fmla="*/ 4875429 h 6341252"/>
                <a:gd name="connsiteX45" fmla="*/ 31901 w 318688"/>
                <a:gd name="connsiteY45" fmla="*/ 4875429 h 6341252"/>
                <a:gd name="connsiteX46" fmla="*/ 31901 w 318688"/>
                <a:gd name="connsiteY46" fmla="*/ 4907331 h 6341252"/>
                <a:gd name="connsiteX47" fmla="*/ 0 w 318688"/>
                <a:gd name="connsiteY47" fmla="*/ 4907331 h 6341252"/>
                <a:gd name="connsiteX48" fmla="*/ 286785 w 318688"/>
                <a:gd name="connsiteY48" fmla="*/ 4588644 h 6341252"/>
                <a:gd name="connsiteX49" fmla="*/ 318688 w 318688"/>
                <a:gd name="connsiteY49" fmla="*/ 4588644 h 6341252"/>
                <a:gd name="connsiteX50" fmla="*/ 318688 w 318688"/>
                <a:gd name="connsiteY50" fmla="*/ 4620545 h 6341252"/>
                <a:gd name="connsiteX51" fmla="*/ 286785 w 318688"/>
                <a:gd name="connsiteY51" fmla="*/ 4620545 h 6341252"/>
                <a:gd name="connsiteX52" fmla="*/ 0 w 318688"/>
                <a:gd name="connsiteY52" fmla="*/ 4588644 h 6341252"/>
                <a:gd name="connsiteX53" fmla="*/ 31901 w 318688"/>
                <a:gd name="connsiteY53" fmla="*/ 4588644 h 6341252"/>
                <a:gd name="connsiteX54" fmla="*/ 31901 w 318688"/>
                <a:gd name="connsiteY54" fmla="*/ 4620545 h 6341252"/>
                <a:gd name="connsiteX55" fmla="*/ 0 w 318688"/>
                <a:gd name="connsiteY55" fmla="*/ 4620545 h 6341252"/>
                <a:gd name="connsiteX56" fmla="*/ 286785 w 318688"/>
                <a:gd name="connsiteY56" fmla="*/ 4301860 h 6341252"/>
                <a:gd name="connsiteX57" fmla="*/ 318688 w 318688"/>
                <a:gd name="connsiteY57" fmla="*/ 4301860 h 6341252"/>
                <a:gd name="connsiteX58" fmla="*/ 318688 w 318688"/>
                <a:gd name="connsiteY58" fmla="*/ 4333762 h 6341252"/>
                <a:gd name="connsiteX59" fmla="*/ 286785 w 318688"/>
                <a:gd name="connsiteY59" fmla="*/ 4333762 h 6341252"/>
                <a:gd name="connsiteX60" fmla="*/ 0 w 318688"/>
                <a:gd name="connsiteY60" fmla="*/ 4301860 h 6341252"/>
                <a:gd name="connsiteX61" fmla="*/ 31901 w 318688"/>
                <a:gd name="connsiteY61" fmla="*/ 4301860 h 6341252"/>
                <a:gd name="connsiteX62" fmla="*/ 31901 w 318688"/>
                <a:gd name="connsiteY62" fmla="*/ 4333762 h 6341252"/>
                <a:gd name="connsiteX63" fmla="*/ 0 w 318688"/>
                <a:gd name="connsiteY63" fmla="*/ 4333762 h 6341252"/>
                <a:gd name="connsiteX64" fmla="*/ 286785 w 318688"/>
                <a:gd name="connsiteY64" fmla="*/ 4015075 h 6341252"/>
                <a:gd name="connsiteX65" fmla="*/ 318688 w 318688"/>
                <a:gd name="connsiteY65" fmla="*/ 4015075 h 6341252"/>
                <a:gd name="connsiteX66" fmla="*/ 318688 w 318688"/>
                <a:gd name="connsiteY66" fmla="*/ 4046976 h 6341252"/>
                <a:gd name="connsiteX67" fmla="*/ 286785 w 318688"/>
                <a:gd name="connsiteY67" fmla="*/ 4046976 h 6341252"/>
                <a:gd name="connsiteX68" fmla="*/ 0 w 318688"/>
                <a:gd name="connsiteY68" fmla="*/ 4015075 h 6341252"/>
                <a:gd name="connsiteX69" fmla="*/ 31901 w 318688"/>
                <a:gd name="connsiteY69" fmla="*/ 4015075 h 6341252"/>
                <a:gd name="connsiteX70" fmla="*/ 31901 w 318688"/>
                <a:gd name="connsiteY70" fmla="*/ 4046976 h 6341252"/>
                <a:gd name="connsiteX71" fmla="*/ 0 w 318688"/>
                <a:gd name="connsiteY71" fmla="*/ 4046976 h 6341252"/>
                <a:gd name="connsiteX72" fmla="*/ 286785 w 318688"/>
                <a:gd name="connsiteY72" fmla="*/ 3728291 h 6341252"/>
                <a:gd name="connsiteX73" fmla="*/ 318688 w 318688"/>
                <a:gd name="connsiteY73" fmla="*/ 3728291 h 6341252"/>
                <a:gd name="connsiteX74" fmla="*/ 318688 w 318688"/>
                <a:gd name="connsiteY74" fmla="*/ 3760193 h 6341252"/>
                <a:gd name="connsiteX75" fmla="*/ 286785 w 318688"/>
                <a:gd name="connsiteY75" fmla="*/ 3760193 h 6341252"/>
                <a:gd name="connsiteX76" fmla="*/ 0 w 318688"/>
                <a:gd name="connsiteY76" fmla="*/ 3728291 h 6341252"/>
                <a:gd name="connsiteX77" fmla="*/ 31901 w 318688"/>
                <a:gd name="connsiteY77" fmla="*/ 3728291 h 6341252"/>
                <a:gd name="connsiteX78" fmla="*/ 31901 w 318688"/>
                <a:gd name="connsiteY78" fmla="*/ 3760193 h 6341252"/>
                <a:gd name="connsiteX79" fmla="*/ 0 w 318688"/>
                <a:gd name="connsiteY79" fmla="*/ 3760193 h 6341252"/>
                <a:gd name="connsiteX80" fmla="*/ 286785 w 318688"/>
                <a:gd name="connsiteY80" fmla="*/ 3441515 h 6341252"/>
                <a:gd name="connsiteX81" fmla="*/ 318688 w 318688"/>
                <a:gd name="connsiteY81" fmla="*/ 3441515 h 6341252"/>
                <a:gd name="connsiteX82" fmla="*/ 318688 w 318688"/>
                <a:gd name="connsiteY82" fmla="*/ 3473408 h 6341252"/>
                <a:gd name="connsiteX83" fmla="*/ 286785 w 318688"/>
                <a:gd name="connsiteY83" fmla="*/ 3473408 h 6341252"/>
                <a:gd name="connsiteX84" fmla="*/ 0 w 318688"/>
                <a:gd name="connsiteY84" fmla="*/ 3441514 h 6341252"/>
                <a:gd name="connsiteX85" fmla="*/ 31901 w 318688"/>
                <a:gd name="connsiteY85" fmla="*/ 3441514 h 6341252"/>
                <a:gd name="connsiteX86" fmla="*/ 31901 w 318688"/>
                <a:gd name="connsiteY86" fmla="*/ 3473408 h 6341252"/>
                <a:gd name="connsiteX87" fmla="*/ 0 w 318688"/>
                <a:gd name="connsiteY87" fmla="*/ 3473408 h 6341252"/>
                <a:gd name="connsiteX88" fmla="*/ 286785 w 318688"/>
                <a:gd name="connsiteY88" fmla="*/ 3154732 h 6341252"/>
                <a:gd name="connsiteX89" fmla="*/ 318688 w 318688"/>
                <a:gd name="connsiteY89" fmla="*/ 3154732 h 6341252"/>
                <a:gd name="connsiteX90" fmla="*/ 318688 w 318688"/>
                <a:gd name="connsiteY90" fmla="*/ 3186635 h 6341252"/>
                <a:gd name="connsiteX91" fmla="*/ 286785 w 318688"/>
                <a:gd name="connsiteY91" fmla="*/ 3186635 h 6341252"/>
                <a:gd name="connsiteX92" fmla="*/ 0 w 318688"/>
                <a:gd name="connsiteY92" fmla="*/ 3154731 h 6341252"/>
                <a:gd name="connsiteX93" fmla="*/ 31901 w 318688"/>
                <a:gd name="connsiteY93" fmla="*/ 3154731 h 6341252"/>
                <a:gd name="connsiteX94" fmla="*/ 31901 w 318688"/>
                <a:gd name="connsiteY94" fmla="*/ 3186634 h 6341252"/>
                <a:gd name="connsiteX95" fmla="*/ 0 w 318688"/>
                <a:gd name="connsiteY95" fmla="*/ 3186634 h 6341252"/>
                <a:gd name="connsiteX96" fmla="*/ 286785 w 318688"/>
                <a:gd name="connsiteY96" fmla="*/ 2867859 h 6341252"/>
                <a:gd name="connsiteX97" fmla="*/ 318688 w 318688"/>
                <a:gd name="connsiteY97" fmla="*/ 2867859 h 6341252"/>
                <a:gd name="connsiteX98" fmla="*/ 318688 w 318688"/>
                <a:gd name="connsiteY98" fmla="*/ 2899760 h 6341252"/>
                <a:gd name="connsiteX99" fmla="*/ 286785 w 318688"/>
                <a:gd name="connsiteY99" fmla="*/ 2899760 h 6341252"/>
                <a:gd name="connsiteX100" fmla="*/ 0 w 318688"/>
                <a:gd name="connsiteY100" fmla="*/ 2867855 h 6341252"/>
                <a:gd name="connsiteX101" fmla="*/ 31901 w 318688"/>
                <a:gd name="connsiteY101" fmla="*/ 2867855 h 6341252"/>
                <a:gd name="connsiteX102" fmla="*/ 31901 w 318688"/>
                <a:gd name="connsiteY102" fmla="*/ 2899757 h 6341252"/>
                <a:gd name="connsiteX103" fmla="*/ 0 w 318688"/>
                <a:gd name="connsiteY103" fmla="*/ 2899757 h 6341252"/>
                <a:gd name="connsiteX104" fmla="*/ 286785 w 318688"/>
                <a:gd name="connsiteY104" fmla="*/ 2581076 h 6341252"/>
                <a:gd name="connsiteX105" fmla="*/ 318688 w 318688"/>
                <a:gd name="connsiteY105" fmla="*/ 2581076 h 6341252"/>
                <a:gd name="connsiteX106" fmla="*/ 318688 w 318688"/>
                <a:gd name="connsiteY106" fmla="*/ 2612993 h 6341252"/>
                <a:gd name="connsiteX107" fmla="*/ 286785 w 318688"/>
                <a:gd name="connsiteY107" fmla="*/ 2612993 h 6341252"/>
                <a:gd name="connsiteX108" fmla="*/ 0 w 318688"/>
                <a:gd name="connsiteY108" fmla="*/ 2581073 h 6341252"/>
                <a:gd name="connsiteX109" fmla="*/ 31901 w 318688"/>
                <a:gd name="connsiteY109" fmla="*/ 2581073 h 6341252"/>
                <a:gd name="connsiteX110" fmla="*/ 31901 w 318688"/>
                <a:gd name="connsiteY110" fmla="*/ 2612987 h 6341252"/>
                <a:gd name="connsiteX111" fmla="*/ 0 w 318688"/>
                <a:gd name="connsiteY111" fmla="*/ 2612987 h 6341252"/>
                <a:gd name="connsiteX112" fmla="*/ 286785 w 318688"/>
                <a:gd name="connsiteY112" fmla="*/ 2294287 h 6341252"/>
                <a:gd name="connsiteX113" fmla="*/ 318688 w 318688"/>
                <a:gd name="connsiteY113" fmla="*/ 2294287 h 6341252"/>
                <a:gd name="connsiteX114" fmla="*/ 318688 w 318688"/>
                <a:gd name="connsiteY114" fmla="*/ 2326193 h 6341252"/>
                <a:gd name="connsiteX115" fmla="*/ 286785 w 318688"/>
                <a:gd name="connsiteY115" fmla="*/ 2326193 h 6341252"/>
                <a:gd name="connsiteX116" fmla="*/ 0 w 318688"/>
                <a:gd name="connsiteY116" fmla="*/ 2294283 h 6341252"/>
                <a:gd name="connsiteX117" fmla="*/ 31901 w 318688"/>
                <a:gd name="connsiteY117" fmla="*/ 2294283 h 6341252"/>
                <a:gd name="connsiteX118" fmla="*/ 31901 w 318688"/>
                <a:gd name="connsiteY118" fmla="*/ 2326188 h 6341252"/>
                <a:gd name="connsiteX119" fmla="*/ 0 w 318688"/>
                <a:gd name="connsiteY119" fmla="*/ 2326188 h 6341252"/>
                <a:gd name="connsiteX120" fmla="*/ 286785 w 318688"/>
                <a:gd name="connsiteY120" fmla="*/ 2007498 h 6341252"/>
                <a:gd name="connsiteX121" fmla="*/ 318688 w 318688"/>
                <a:gd name="connsiteY121" fmla="*/ 2007498 h 6341252"/>
                <a:gd name="connsiteX122" fmla="*/ 318688 w 318688"/>
                <a:gd name="connsiteY122" fmla="*/ 2039391 h 6341252"/>
                <a:gd name="connsiteX123" fmla="*/ 286785 w 318688"/>
                <a:gd name="connsiteY123" fmla="*/ 2039391 h 6341252"/>
                <a:gd name="connsiteX124" fmla="*/ 0 w 318688"/>
                <a:gd name="connsiteY124" fmla="*/ 2007496 h 6341252"/>
                <a:gd name="connsiteX125" fmla="*/ 31901 w 318688"/>
                <a:gd name="connsiteY125" fmla="*/ 2007496 h 6341252"/>
                <a:gd name="connsiteX126" fmla="*/ 31901 w 318688"/>
                <a:gd name="connsiteY126" fmla="*/ 2039389 h 6341252"/>
                <a:gd name="connsiteX127" fmla="*/ 0 w 318688"/>
                <a:gd name="connsiteY127" fmla="*/ 2039389 h 6341252"/>
                <a:gd name="connsiteX128" fmla="*/ 286785 w 318688"/>
                <a:gd name="connsiteY128" fmla="*/ 1720711 h 6341252"/>
                <a:gd name="connsiteX129" fmla="*/ 318688 w 318688"/>
                <a:gd name="connsiteY129" fmla="*/ 1720711 h 6341252"/>
                <a:gd name="connsiteX130" fmla="*/ 318688 w 318688"/>
                <a:gd name="connsiteY130" fmla="*/ 1752614 h 6341252"/>
                <a:gd name="connsiteX131" fmla="*/ 286785 w 318688"/>
                <a:gd name="connsiteY131" fmla="*/ 1752614 h 6341252"/>
                <a:gd name="connsiteX132" fmla="*/ 0 w 318688"/>
                <a:gd name="connsiteY132" fmla="*/ 1720709 h 6341252"/>
                <a:gd name="connsiteX133" fmla="*/ 31901 w 318688"/>
                <a:gd name="connsiteY133" fmla="*/ 1720709 h 6341252"/>
                <a:gd name="connsiteX134" fmla="*/ 31901 w 318688"/>
                <a:gd name="connsiteY134" fmla="*/ 1752612 h 6341252"/>
                <a:gd name="connsiteX135" fmla="*/ 0 w 318688"/>
                <a:gd name="connsiteY135" fmla="*/ 1752612 h 6341252"/>
                <a:gd name="connsiteX136" fmla="*/ 286785 w 318688"/>
                <a:gd name="connsiteY136" fmla="*/ 1433930 h 6341252"/>
                <a:gd name="connsiteX137" fmla="*/ 318688 w 318688"/>
                <a:gd name="connsiteY137" fmla="*/ 1433930 h 6341252"/>
                <a:gd name="connsiteX138" fmla="*/ 318688 w 318688"/>
                <a:gd name="connsiteY138" fmla="*/ 1465831 h 6341252"/>
                <a:gd name="connsiteX139" fmla="*/ 286785 w 318688"/>
                <a:gd name="connsiteY139" fmla="*/ 1465831 h 6341252"/>
                <a:gd name="connsiteX140" fmla="*/ 0 w 318688"/>
                <a:gd name="connsiteY140" fmla="*/ 1433927 h 6341252"/>
                <a:gd name="connsiteX141" fmla="*/ 31901 w 318688"/>
                <a:gd name="connsiteY141" fmla="*/ 1433927 h 6341252"/>
                <a:gd name="connsiteX142" fmla="*/ 31901 w 318688"/>
                <a:gd name="connsiteY142" fmla="*/ 1465828 h 6341252"/>
                <a:gd name="connsiteX143" fmla="*/ 0 w 318688"/>
                <a:gd name="connsiteY143" fmla="*/ 1465828 h 6341252"/>
                <a:gd name="connsiteX144" fmla="*/ 286785 w 318688"/>
                <a:gd name="connsiteY144" fmla="*/ 1147150 h 6341252"/>
                <a:gd name="connsiteX145" fmla="*/ 318688 w 318688"/>
                <a:gd name="connsiteY145" fmla="*/ 1147150 h 6341252"/>
                <a:gd name="connsiteX146" fmla="*/ 318688 w 318688"/>
                <a:gd name="connsiteY146" fmla="*/ 1179052 h 6341252"/>
                <a:gd name="connsiteX147" fmla="*/ 286785 w 318688"/>
                <a:gd name="connsiteY147" fmla="*/ 1179052 h 6341252"/>
                <a:gd name="connsiteX148" fmla="*/ 0 w 318688"/>
                <a:gd name="connsiteY148" fmla="*/ 1147146 h 6341252"/>
                <a:gd name="connsiteX149" fmla="*/ 31901 w 318688"/>
                <a:gd name="connsiteY149" fmla="*/ 1147146 h 6341252"/>
                <a:gd name="connsiteX150" fmla="*/ 31901 w 318688"/>
                <a:gd name="connsiteY150" fmla="*/ 1179049 h 6341252"/>
                <a:gd name="connsiteX151" fmla="*/ 0 w 318688"/>
                <a:gd name="connsiteY151" fmla="*/ 1179049 h 6341252"/>
                <a:gd name="connsiteX152" fmla="*/ 286785 w 318688"/>
                <a:gd name="connsiteY152" fmla="*/ 860355 h 6341252"/>
                <a:gd name="connsiteX153" fmla="*/ 318688 w 318688"/>
                <a:gd name="connsiteY153" fmla="*/ 860355 h 6341252"/>
                <a:gd name="connsiteX154" fmla="*/ 318688 w 318688"/>
                <a:gd name="connsiteY154" fmla="*/ 892257 h 6341252"/>
                <a:gd name="connsiteX155" fmla="*/ 286785 w 318688"/>
                <a:gd name="connsiteY155" fmla="*/ 892257 h 6341252"/>
                <a:gd name="connsiteX156" fmla="*/ 0 w 318688"/>
                <a:gd name="connsiteY156" fmla="*/ 860351 h 6341252"/>
                <a:gd name="connsiteX157" fmla="*/ 31901 w 318688"/>
                <a:gd name="connsiteY157" fmla="*/ 860351 h 6341252"/>
                <a:gd name="connsiteX158" fmla="*/ 31901 w 318688"/>
                <a:gd name="connsiteY158" fmla="*/ 892254 h 6341252"/>
                <a:gd name="connsiteX159" fmla="*/ 0 w 318688"/>
                <a:gd name="connsiteY159" fmla="*/ 892254 h 6341252"/>
                <a:gd name="connsiteX160" fmla="*/ 286785 w 318688"/>
                <a:gd name="connsiteY160" fmla="*/ 573571 h 6341252"/>
                <a:gd name="connsiteX161" fmla="*/ 318688 w 318688"/>
                <a:gd name="connsiteY161" fmla="*/ 573571 h 6341252"/>
                <a:gd name="connsiteX162" fmla="*/ 318688 w 318688"/>
                <a:gd name="connsiteY162" fmla="*/ 605472 h 6341252"/>
                <a:gd name="connsiteX163" fmla="*/ 286785 w 318688"/>
                <a:gd name="connsiteY163" fmla="*/ 605472 h 6341252"/>
                <a:gd name="connsiteX164" fmla="*/ 0 w 318688"/>
                <a:gd name="connsiteY164" fmla="*/ 573568 h 6341252"/>
                <a:gd name="connsiteX165" fmla="*/ 31901 w 318688"/>
                <a:gd name="connsiteY165" fmla="*/ 573568 h 6341252"/>
                <a:gd name="connsiteX166" fmla="*/ 31901 w 318688"/>
                <a:gd name="connsiteY166" fmla="*/ 605470 h 6341252"/>
                <a:gd name="connsiteX167" fmla="*/ 0 w 318688"/>
                <a:gd name="connsiteY167" fmla="*/ 605470 h 6341252"/>
                <a:gd name="connsiteX168" fmla="*/ 286785 w 318688"/>
                <a:gd name="connsiteY168" fmla="*/ 286786 h 6341252"/>
                <a:gd name="connsiteX169" fmla="*/ 318688 w 318688"/>
                <a:gd name="connsiteY169" fmla="*/ 286786 h 6341252"/>
                <a:gd name="connsiteX170" fmla="*/ 318688 w 318688"/>
                <a:gd name="connsiteY170" fmla="*/ 318689 h 6341252"/>
                <a:gd name="connsiteX171" fmla="*/ 286785 w 318688"/>
                <a:gd name="connsiteY171" fmla="*/ 318689 h 6341252"/>
                <a:gd name="connsiteX172" fmla="*/ 0 w 318688"/>
                <a:gd name="connsiteY172" fmla="*/ 286784 h 6341252"/>
                <a:gd name="connsiteX173" fmla="*/ 31901 w 318688"/>
                <a:gd name="connsiteY173" fmla="*/ 286784 h 6341252"/>
                <a:gd name="connsiteX174" fmla="*/ 31901 w 318688"/>
                <a:gd name="connsiteY174" fmla="*/ 318687 h 6341252"/>
                <a:gd name="connsiteX175" fmla="*/ 0 w 318688"/>
                <a:gd name="connsiteY175" fmla="*/ 318687 h 6341252"/>
                <a:gd name="connsiteX176" fmla="*/ 286785 w 318688"/>
                <a:gd name="connsiteY176" fmla="*/ 3 h 6341252"/>
                <a:gd name="connsiteX177" fmla="*/ 318688 w 318688"/>
                <a:gd name="connsiteY177" fmla="*/ 3 h 6341252"/>
                <a:gd name="connsiteX178" fmla="*/ 318688 w 318688"/>
                <a:gd name="connsiteY178" fmla="*/ 31906 h 6341252"/>
                <a:gd name="connsiteX179" fmla="*/ 286785 w 318688"/>
                <a:gd name="connsiteY179" fmla="*/ 31906 h 6341252"/>
                <a:gd name="connsiteX180" fmla="*/ 0 w 318688"/>
                <a:gd name="connsiteY180" fmla="*/ 0 h 6341252"/>
                <a:gd name="connsiteX181" fmla="*/ 31901 w 318688"/>
                <a:gd name="connsiteY181" fmla="*/ 0 h 6341252"/>
                <a:gd name="connsiteX182" fmla="*/ 31901 w 318688"/>
                <a:gd name="connsiteY182" fmla="*/ 31903 h 6341252"/>
                <a:gd name="connsiteX183" fmla="*/ 0 w 318688"/>
                <a:gd name="connsiteY183" fmla="*/ 31903 h 6341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318688" h="6341252">
                  <a:moveTo>
                    <a:pt x="286785" y="6309351"/>
                  </a:moveTo>
                  <a:lnTo>
                    <a:pt x="318688" y="6309351"/>
                  </a:lnTo>
                  <a:lnTo>
                    <a:pt x="318688" y="6341252"/>
                  </a:lnTo>
                  <a:lnTo>
                    <a:pt x="286785" y="6341252"/>
                  </a:lnTo>
                  <a:close/>
                  <a:moveTo>
                    <a:pt x="0" y="6309351"/>
                  </a:moveTo>
                  <a:lnTo>
                    <a:pt x="31901" y="6309351"/>
                  </a:lnTo>
                  <a:lnTo>
                    <a:pt x="31901" y="6341252"/>
                  </a:lnTo>
                  <a:lnTo>
                    <a:pt x="0" y="6341252"/>
                  </a:lnTo>
                  <a:close/>
                  <a:moveTo>
                    <a:pt x="286785" y="6022567"/>
                  </a:moveTo>
                  <a:lnTo>
                    <a:pt x="318688" y="6022567"/>
                  </a:lnTo>
                  <a:lnTo>
                    <a:pt x="318688" y="6054468"/>
                  </a:lnTo>
                  <a:lnTo>
                    <a:pt x="286785" y="6054468"/>
                  </a:lnTo>
                  <a:close/>
                  <a:moveTo>
                    <a:pt x="0" y="6022567"/>
                  </a:moveTo>
                  <a:lnTo>
                    <a:pt x="31901" y="6022567"/>
                  </a:lnTo>
                  <a:lnTo>
                    <a:pt x="31901" y="6054468"/>
                  </a:lnTo>
                  <a:lnTo>
                    <a:pt x="0" y="6054468"/>
                  </a:lnTo>
                  <a:close/>
                  <a:moveTo>
                    <a:pt x="286785" y="5735783"/>
                  </a:moveTo>
                  <a:lnTo>
                    <a:pt x="318688" y="5735783"/>
                  </a:lnTo>
                  <a:lnTo>
                    <a:pt x="318688" y="5767685"/>
                  </a:lnTo>
                  <a:lnTo>
                    <a:pt x="286785" y="5767685"/>
                  </a:lnTo>
                  <a:close/>
                  <a:moveTo>
                    <a:pt x="0" y="5735783"/>
                  </a:moveTo>
                  <a:lnTo>
                    <a:pt x="31901" y="5735783"/>
                  </a:lnTo>
                  <a:lnTo>
                    <a:pt x="31901" y="5767685"/>
                  </a:lnTo>
                  <a:lnTo>
                    <a:pt x="0" y="5767685"/>
                  </a:lnTo>
                  <a:close/>
                  <a:moveTo>
                    <a:pt x="286785" y="5448997"/>
                  </a:moveTo>
                  <a:lnTo>
                    <a:pt x="318688" y="5448997"/>
                  </a:lnTo>
                  <a:lnTo>
                    <a:pt x="318688" y="5480899"/>
                  </a:lnTo>
                  <a:lnTo>
                    <a:pt x="286785" y="5480899"/>
                  </a:lnTo>
                  <a:close/>
                  <a:moveTo>
                    <a:pt x="0" y="5448997"/>
                  </a:moveTo>
                  <a:lnTo>
                    <a:pt x="31901" y="5448997"/>
                  </a:lnTo>
                  <a:lnTo>
                    <a:pt x="31901" y="5480899"/>
                  </a:lnTo>
                  <a:lnTo>
                    <a:pt x="0" y="5480899"/>
                  </a:lnTo>
                  <a:close/>
                  <a:moveTo>
                    <a:pt x="286785" y="5162213"/>
                  </a:moveTo>
                  <a:lnTo>
                    <a:pt x="318688" y="5162213"/>
                  </a:lnTo>
                  <a:lnTo>
                    <a:pt x="318688" y="5194116"/>
                  </a:lnTo>
                  <a:lnTo>
                    <a:pt x="286785" y="5194116"/>
                  </a:lnTo>
                  <a:close/>
                  <a:moveTo>
                    <a:pt x="0" y="5162213"/>
                  </a:moveTo>
                  <a:lnTo>
                    <a:pt x="31901" y="5162213"/>
                  </a:lnTo>
                  <a:lnTo>
                    <a:pt x="31901" y="5194116"/>
                  </a:lnTo>
                  <a:lnTo>
                    <a:pt x="0" y="5194116"/>
                  </a:lnTo>
                  <a:close/>
                  <a:moveTo>
                    <a:pt x="286785" y="4875429"/>
                  </a:moveTo>
                  <a:lnTo>
                    <a:pt x="318688" y="4875429"/>
                  </a:lnTo>
                  <a:lnTo>
                    <a:pt x="318688" y="4907331"/>
                  </a:lnTo>
                  <a:lnTo>
                    <a:pt x="286785" y="4907331"/>
                  </a:lnTo>
                  <a:close/>
                  <a:moveTo>
                    <a:pt x="0" y="4875429"/>
                  </a:moveTo>
                  <a:lnTo>
                    <a:pt x="31901" y="4875429"/>
                  </a:lnTo>
                  <a:lnTo>
                    <a:pt x="31901" y="4907331"/>
                  </a:lnTo>
                  <a:lnTo>
                    <a:pt x="0" y="4907331"/>
                  </a:lnTo>
                  <a:close/>
                  <a:moveTo>
                    <a:pt x="286785" y="4588644"/>
                  </a:moveTo>
                  <a:lnTo>
                    <a:pt x="318688" y="4588644"/>
                  </a:lnTo>
                  <a:lnTo>
                    <a:pt x="318688" y="4620545"/>
                  </a:lnTo>
                  <a:lnTo>
                    <a:pt x="286785" y="4620545"/>
                  </a:lnTo>
                  <a:close/>
                  <a:moveTo>
                    <a:pt x="0" y="4588644"/>
                  </a:moveTo>
                  <a:lnTo>
                    <a:pt x="31901" y="4588644"/>
                  </a:lnTo>
                  <a:lnTo>
                    <a:pt x="31901" y="4620545"/>
                  </a:lnTo>
                  <a:lnTo>
                    <a:pt x="0" y="4620545"/>
                  </a:lnTo>
                  <a:close/>
                  <a:moveTo>
                    <a:pt x="286785" y="4301860"/>
                  </a:moveTo>
                  <a:lnTo>
                    <a:pt x="318688" y="4301860"/>
                  </a:lnTo>
                  <a:lnTo>
                    <a:pt x="318688" y="4333762"/>
                  </a:lnTo>
                  <a:lnTo>
                    <a:pt x="286785" y="4333762"/>
                  </a:lnTo>
                  <a:close/>
                  <a:moveTo>
                    <a:pt x="0" y="4301860"/>
                  </a:moveTo>
                  <a:lnTo>
                    <a:pt x="31901" y="4301860"/>
                  </a:lnTo>
                  <a:lnTo>
                    <a:pt x="31901" y="4333762"/>
                  </a:lnTo>
                  <a:lnTo>
                    <a:pt x="0" y="4333762"/>
                  </a:lnTo>
                  <a:close/>
                  <a:moveTo>
                    <a:pt x="286785" y="4015075"/>
                  </a:moveTo>
                  <a:lnTo>
                    <a:pt x="318688" y="4015075"/>
                  </a:lnTo>
                  <a:lnTo>
                    <a:pt x="318688" y="4046976"/>
                  </a:lnTo>
                  <a:lnTo>
                    <a:pt x="286785" y="4046976"/>
                  </a:lnTo>
                  <a:close/>
                  <a:moveTo>
                    <a:pt x="0" y="4015075"/>
                  </a:moveTo>
                  <a:lnTo>
                    <a:pt x="31901" y="4015075"/>
                  </a:lnTo>
                  <a:lnTo>
                    <a:pt x="31901" y="4046976"/>
                  </a:lnTo>
                  <a:lnTo>
                    <a:pt x="0" y="4046976"/>
                  </a:lnTo>
                  <a:close/>
                  <a:moveTo>
                    <a:pt x="286785" y="3728291"/>
                  </a:moveTo>
                  <a:lnTo>
                    <a:pt x="318688" y="3728291"/>
                  </a:lnTo>
                  <a:lnTo>
                    <a:pt x="318688" y="3760193"/>
                  </a:lnTo>
                  <a:lnTo>
                    <a:pt x="286785" y="3760193"/>
                  </a:lnTo>
                  <a:close/>
                  <a:moveTo>
                    <a:pt x="0" y="3728291"/>
                  </a:moveTo>
                  <a:lnTo>
                    <a:pt x="31901" y="3728291"/>
                  </a:lnTo>
                  <a:lnTo>
                    <a:pt x="31901" y="3760193"/>
                  </a:lnTo>
                  <a:lnTo>
                    <a:pt x="0" y="3760193"/>
                  </a:lnTo>
                  <a:close/>
                  <a:moveTo>
                    <a:pt x="286785" y="3441515"/>
                  </a:moveTo>
                  <a:lnTo>
                    <a:pt x="318688" y="3441515"/>
                  </a:lnTo>
                  <a:lnTo>
                    <a:pt x="318688" y="3473408"/>
                  </a:lnTo>
                  <a:lnTo>
                    <a:pt x="286785" y="3473408"/>
                  </a:lnTo>
                  <a:close/>
                  <a:moveTo>
                    <a:pt x="0" y="3441514"/>
                  </a:moveTo>
                  <a:lnTo>
                    <a:pt x="31901" y="3441514"/>
                  </a:lnTo>
                  <a:lnTo>
                    <a:pt x="31901" y="3473408"/>
                  </a:lnTo>
                  <a:lnTo>
                    <a:pt x="0" y="3473408"/>
                  </a:lnTo>
                  <a:close/>
                  <a:moveTo>
                    <a:pt x="286785" y="3154732"/>
                  </a:moveTo>
                  <a:lnTo>
                    <a:pt x="318688" y="3154732"/>
                  </a:lnTo>
                  <a:lnTo>
                    <a:pt x="318688" y="3186635"/>
                  </a:lnTo>
                  <a:lnTo>
                    <a:pt x="286785" y="3186635"/>
                  </a:lnTo>
                  <a:close/>
                  <a:moveTo>
                    <a:pt x="0" y="3154731"/>
                  </a:moveTo>
                  <a:lnTo>
                    <a:pt x="31901" y="3154731"/>
                  </a:lnTo>
                  <a:lnTo>
                    <a:pt x="31901" y="3186634"/>
                  </a:lnTo>
                  <a:lnTo>
                    <a:pt x="0" y="3186634"/>
                  </a:lnTo>
                  <a:close/>
                  <a:moveTo>
                    <a:pt x="286785" y="2867859"/>
                  </a:moveTo>
                  <a:lnTo>
                    <a:pt x="318688" y="2867859"/>
                  </a:lnTo>
                  <a:lnTo>
                    <a:pt x="318688" y="2899760"/>
                  </a:lnTo>
                  <a:lnTo>
                    <a:pt x="286785" y="2899760"/>
                  </a:lnTo>
                  <a:close/>
                  <a:moveTo>
                    <a:pt x="0" y="2867855"/>
                  </a:moveTo>
                  <a:lnTo>
                    <a:pt x="31901" y="2867855"/>
                  </a:lnTo>
                  <a:lnTo>
                    <a:pt x="31901" y="2899757"/>
                  </a:lnTo>
                  <a:lnTo>
                    <a:pt x="0" y="2899757"/>
                  </a:lnTo>
                  <a:close/>
                  <a:moveTo>
                    <a:pt x="286785" y="2581076"/>
                  </a:moveTo>
                  <a:lnTo>
                    <a:pt x="318688" y="2581076"/>
                  </a:lnTo>
                  <a:lnTo>
                    <a:pt x="318688" y="2612993"/>
                  </a:lnTo>
                  <a:lnTo>
                    <a:pt x="286785" y="2612993"/>
                  </a:lnTo>
                  <a:close/>
                  <a:moveTo>
                    <a:pt x="0" y="2581073"/>
                  </a:moveTo>
                  <a:lnTo>
                    <a:pt x="31901" y="2581073"/>
                  </a:lnTo>
                  <a:lnTo>
                    <a:pt x="31901" y="2612987"/>
                  </a:lnTo>
                  <a:lnTo>
                    <a:pt x="0" y="2612987"/>
                  </a:lnTo>
                  <a:close/>
                  <a:moveTo>
                    <a:pt x="286785" y="2294287"/>
                  </a:moveTo>
                  <a:lnTo>
                    <a:pt x="318688" y="2294287"/>
                  </a:lnTo>
                  <a:lnTo>
                    <a:pt x="318688" y="2326193"/>
                  </a:lnTo>
                  <a:lnTo>
                    <a:pt x="286785" y="2326193"/>
                  </a:lnTo>
                  <a:close/>
                  <a:moveTo>
                    <a:pt x="0" y="2294283"/>
                  </a:moveTo>
                  <a:lnTo>
                    <a:pt x="31901" y="2294283"/>
                  </a:lnTo>
                  <a:lnTo>
                    <a:pt x="31901" y="2326188"/>
                  </a:lnTo>
                  <a:lnTo>
                    <a:pt x="0" y="2326188"/>
                  </a:lnTo>
                  <a:close/>
                  <a:moveTo>
                    <a:pt x="286785" y="2007498"/>
                  </a:moveTo>
                  <a:lnTo>
                    <a:pt x="318688" y="2007498"/>
                  </a:lnTo>
                  <a:lnTo>
                    <a:pt x="318688" y="2039391"/>
                  </a:lnTo>
                  <a:lnTo>
                    <a:pt x="286785" y="2039391"/>
                  </a:lnTo>
                  <a:close/>
                  <a:moveTo>
                    <a:pt x="0" y="2007496"/>
                  </a:moveTo>
                  <a:lnTo>
                    <a:pt x="31901" y="2007496"/>
                  </a:lnTo>
                  <a:lnTo>
                    <a:pt x="31901" y="2039389"/>
                  </a:lnTo>
                  <a:lnTo>
                    <a:pt x="0" y="2039389"/>
                  </a:lnTo>
                  <a:close/>
                  <a:moveTo>
                    <a:pt x="286785" y="1720711"/>
                  </a:moveTo>
                  <a:lnTo>
                    <a:pt x="318688" y="1720711"/>
                  </a:lnTo>
                  <a:lnTo>
                    <a:pt x="318688" y="1752614"/>
                  </a:lnTo>
                  <a:lnTo>
                    <a:pt x="286785" y="1752614"/>
                  </a:lnTo>
                  <a:close/>
                  <a:moveTo>
                    <a:pt x="0" y="1720709"/>
                  </a:moveTo>
                  <a:lnTo>
                    <a:pt x="31901" y="1720709"/>
                  </a:lnTo>
                  <a:lnTo>
                    <a:pt x="31901" y="1752612"/>
                  </a:lnTo>
                  <a:lnTo>
                    <a:pt x="0" y="1752612"/>
                  </a:lnTo>
                  <a:close/>
                  <a:moveTo>
                    <a:pt x="286785" y="1433930"/>
                  </a:moveTo>
                  <a:lnTo>
                    <a:pt x="318688" y="1433930"/>
                  </a:lnTo>
                  <a:lnTo>
                    <a:pt x="318688" y="1465831"/>
                  </a:lnTo>
                  <a:lnTo>
                    <a:pt x="286785" y="1465831"/>
                  </a:lnTo>
                  <a:close/>
                  <a:moveTo>
                    <a:pt x="0" y="1433927"/>
                  </a:moveTo>
                  <a:lnTo>
                    <a:pt x="31901" y="1433927"/>
                  </a:lnTo>
                  <a:lnTo>
                    <a:pt x="31901" y="1465828"/>
                  </a:lnTo>
                  <a:lnTo>
                    <a:pt x="0" y="1465828"/>
                  </a:lnTo>
                  <a:close/>
                  <a:moveTo>
                    <a:pt x="286785" y="1147150"/>
                  </a:moveTo>
                  <a:lnTo>
                    <a:pt x="318688" y="1147150"/>
                  </a:lnTo>
                  <a:lnTo>
                    <a:pt x="318688" y="1179052"/>
                  </a:lnTo>
                  <a:lnTo>
                    <a:pt x="286785" y="1179052"/>
                  </a:lnTo>
                  <a:close/>
                  <a:moveTo>
                    <a:pt x="0" y="1147146"/>
                  </a:moveTo>
                  <a:lnTo>
                    <a:pt x="31901" y="1147146"/>
                  </a:lnTo>
                  <a:lnTo>
                    <a:pt x="31901" y="1179049"/>
                  </a:lnTo>
                  <a:lnTo>
                    <a:pt x="0" y="1179049"/>
                  </a:lnTo>
                  <a:close/>
                  <a:moveTo>
                    <a:pt x="286785" y="860355"/>
                  </a:moveTo>
                  <a:lnTo>
                    <a:pt x="318688" y="860355"/>
                  </a:lnTo>
                  <a:lnTo>
                    <a:pt x="318688" y="892257"/>
                  </a:lnTo>
                  <a:lnTo>
                    <a:pt x="286785" y="892257"/>
                  </a:lnTo>
                  <a:close/>
                  <a:moveTo>
                    <a:pt x="0" y="860351"/>
                  </a:moveTo>
                  <a:lnTo>
                    <a:pt x="31901" y="860351"/>
                  </a:lnTo>
                  <a:lnTo>
                    <a:pt x="31901" y="892254"/>
                  </a:lnTo>
                  <a:lnTo>
                    <a:pt x="0" y="892254"/>
                  </a:lnTo>
                  <a:close/>
                  <a:moveTo>
                    <a:pt x="286785" y="573571"/>
                  </a:moveTo>
                  <a:lnTo>
                    <a:pt x="318688" y="573571"/>
                  </a:lnTo>
                  <a:lnTo>
                    <a:pt x="318688" y="605472"/>
                  </a:lnTo>
                  <a:lnTo>
                    <a:pt x="286785" y="605472"/>
                  </a:lnTo>
                  <a:close/>
                  <a:moveTo>
                    <a:pt x="0" y="573568"/>
                  </a:moveTo>
                  <a:lnTo>
                    <a:pt x="31901" y="573568"/>
                  </a:lnTo>
                  <a:lnTo>
                    <a:pt x="31901" y="605470"/>
                  </a:lnTo>
                  <a:lnTo>
                    <a:pt x="0" y="605470"/>
                  </a:lnTo>
                  <a:close/>
                  <a:moveTo>
                    <a:pt x="286785" y="286786"/>
                  </a:moveTo>
                  <a:lnTo>
                    <a:pt x="318688" y="286786"/>
                  </a:lnTo>
                  <a:lnTo>
                    <a:pt x="318688" y="318689"/>
                  </a:lnTo>
                  <a:lnTo>
                    <a:pt x="286785" y="318689"/>
                  </a:lnTo>
                  <a:close/>
                  <a:moveTo>
                    <a:pt x="0" y="286784"/>
                  </a:moveTo>
                  <a:lnTo>
                    <a:pt x="31901" y="286784"/>
                  </a:lnTo>
                  <a:lnTo>
                    <a:pt x="31901" y="318687"/>
                  </a:lnTo>
                  <a:lnTo>
                    <a:pt x="0" y="318687"/>
                  </a:lnTo>
                  <a:close/>
                  <a:moveTo>
                    <a:pt x="286785" y="3"/>
                  </a:moveTo>
                  <a:lnTo>
                    <a:pt x="318688" y="3"/>
                  </a:lnTo>
                  <a:lnTo>
                    <a:pt x="318688" y="31906"/>
                  </a:lnTo>
                  <a:lnTo>
                    <a:pt x="286785" y="31906"/>
                  </a:lnTo>
                  <a:close/>
                  <a:moveTo>
                    <a:pt x="0" y="0"/>
                  </a:moveTo>
                  <a:lnTo>
                    <a:pt x="31901" y="0"/>
                  </a:lnTo>
                  <a:lnTo>
                    <a:pt x="31901" y="31903"/>
                  </a:lnTo>
                  <a:lnTo>
                    <a:pt x="0" y="31903"/>
                  </a:ln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 w="10294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</p:grpSp>
      <p:pic>
        <p:nvPicPr>
          <p:cNvPr id="43" name="Picture 42">
            <a:extLst>
              <a:ext uri="{FF2B5EF4-FFF2-40B4-BE49-F238E27FC236}">
                <a16:creationId xmlns:a16="http://schemas.microsoft.com/office/drawing/2014/main" id="{F9271E5E-DB33-4CAF-8A70-DD6F64B8766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31878" y="6081015"/>
            <a:ext cx="2444830" cy="560909"/>
          </a:xfrm>
          <a:prstGeom prst="rect">
            <a:avLst/>
          </a:prstGeom>
        </p:spPr>
      </p:pic>
      <p:sp>
        <p:nvSpPr>
          <p:cNvPr id="9" name="Subtitle 2">
            <a:extLst>
              <a:ext uri="{FF2B5EF4-FFF2-40B4-BE49-F238E27FC236}">
                <a16:creationId xmlns:a16="http://schemas.microsoft.com/office/drawing/2014/main" id="{1D10F107-20C2-48E3-8C9A-AB0E6DD442F1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382971" y="2540122"/>
            <a:ext cx="7648381" cy="1510886"/>
          </a:xfr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400" b="1" i="0" spc="-100">
                <a:solidFill>
                  <a:schemeClr val="accent1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subtitle sty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63DA92BA-61CE-4443-9F3F-21C22E266D3A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86020" y="1859652"/>
            <a:ext cx="7648381" cy="510040"/>
          </a:xfrm>
        </p:spPr>
        <p:txBody>
          <a:bodyPr anchor="ctr" anchorCtr="0"/>
          <a:lstStyle>
            <a:lvl1pPr>
              <a:defRPr sz="4400" b="1" spc="-100" baseline="0"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Insert Section #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A33EBDBD-EE0D-4A4D-9B38-7F857B2C1E6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382971" y="359268"/>
            <a:ext cx="7657943" cy="1329953"/>
          </a:xfr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100000"/>
              </a:lnSpc>
              <a:defRPr sz="4400" b="1" i="0" spc="-100">
                <a:solidFill>
                  <a:schemeClr val="tx2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20" name="Freeform: Shape 83">
            <a:extLst>
              <a:ext uri="{FF2B5EF4-FFF2-40B4-BE49-F238E27FC236}">
                <a16:creationId xmlns:a16="http://schemas.microsoft.com/office/drawing/2014/main" id="{F05596E1-7FE6-4BB0-BB11-FC47E5FF65BF}"/>
              </a:ext>
            </a:extLst>
          </p:cNvPr>
          <p:cNvSpPr txBox="1">
            <a:spLocks/>
          </p:cNvSpPr>
          <p:nvPr userDrawn="1"/>
        </p:nvSpPr>
        <p:spPr>
          <a:xfrm>
            <a:off x="7749245" y="4156010"/>
            <a:ext cx="574904" cy="1714179"/>
          </a:xfrm>
          <a:custGeom>
            <a:avLst/>
            <a:gdLst>
              <a:gd name="connsiteX0" fmla="*/ 0 w 530877"/>
              <a:gd name="connsiteY0" fmla="*/ 0 h 1012276"/>
              <a:gd name="connsiteX1" fmla="*/ 530877 w 530877"/>
              <a:gd name="connsiteY1" fmla="*/ 0 h 1012276"/>
              <a:gd name="connsiteX2" fmla="*/ 530877 w 530877"/>
              <a:gd name="connsiteY2" fmla="*/ 1012276 h 1012276"/>
              <a:gd name="connsiteX3" fmla="*/ 0 w 530877"/>
              <a:gd name="connsiteY3" fmla="*/ 1012276 h 10122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0877" h="1012276">
                <a:moveTo>
                  <a:pt x="0" y="0"/>
                </a:moveTo>
                <a:lnTo>
                  <a:pt x="530877" y="0"/>
                </a:lnTo>
                <a:lnTo>
                  <a:pt x="530877" y="1012276"/>
                </a:lnTo>
                <a:lnTo>
                  <a:pt x="0" y="1012276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20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22" name="Text Placeholder 49">
            <a:extLst>
              <a:ext uri="{FF2B5EF4-FFF2-40B4-BE49-F238E27FC236}">
                <a16:creationId xmlns:a16="http://schemas.microsoft.com/office/drawing/2014/main" id="{C876EBD3-018B-46D6-8C3B-B7B3FA122BE1}"/>
              </a:ext>
            </a:extLst>
          </p:cNvPr>
          <p:cNvSpPr txBox="1">
            <a:spLocks/>
          </p:cNvSpPr>
          <p:nvPr userDrawn="1"/>
        </p:nvSpPr>
        <p:spPr>
          <a:xfrm rot="5400000">
            <a:off x="6616655" y="5596105"/>
            <a:ext cx="546640" cy="546635"/>
          </a:xfrm>
          <a:custGeom>
            <a:avLst/>
            <a:gdLst>
              <a:gd name="connsiteX0" fmla="*/ 265718 w 531436"/>
              <a:gd name="connsiteY0" fmla="*/ 0 h 531432"/>
              <a:gd name="connsiteX1" fmla="*/ 531436 w 531436"/>
              <a:gd name="connsiteY1" fmla="*/ 265716 h 531432"/>
              <a:gd name="connsiteX2" fmla="*/ 265718 w 531436"/>
              <a:gd name="connsiteY2" fmla="*/ 531432 h 531432"/>
              <a:gd name="connsiteX3" fmla="*/ 0 w 531436"/>
              <a:gd name="connsiteY3" fmla="*/ 265716 h 531432"/>
              <a:gd name="connsiteX4" fmla="*/ 265718 w 531436"/>
              <a:gd name="connsiteY4" fmla="*/ 0 h 531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1436" h="531432">
                <a:moveTo>
                  <a:pt x="265718" y="0"/>
                </a:moveTo>
                <a:cubicBezTo>
                  <a:pt x="412470" y="0"/>
                  <a:pt x="531436" y="118965"/>
                  <a:pt x="531436" y="265716"/>
                </a:cubicBezTo>
                <a:cubicBezTo>
                  <a:pt x="531436" y="412467"/>
                  <a:pt x="412470" y="531432"/>
                  <a:pt x="265718" y="531432"/>
                </a:cubicBezTo>
                <a:cubicBezTo>
                  <a:pt x="118966" y="531432"/>
                  <a:pt x="0" y="412467"/>
                  <a:pt x="0" y="265716"/>
                </a:cubicBezTo>
                <a:cubicBezTo>
                  <a:pt x="0" y="118965"/>
                  <a:pt x="118966" y="0"/>
                  <a:pt x="265718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20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29" name="Freeform: Shape 83">
            <a:extLst>
              <a:ext uri="{FF2B5EF4-FFF2-40B4-BE49-F238E27FC236}">
                <a16:creationId xmlns:a16="http://schemas.microsoft.com/office/drawing/2014/main" id="{746EFE52-6B31-424B-954D-38ECEE5E8891}"/>
              </a:ext>
            </a:extLst>
          </p:cNvPr>
          <p:cNvSpPr txBox="1">
            <a:spLocks/>
          </p:cNvSpPr>
          <p:nvPr userDrawn="1"/>
        </p:nvSpPr>
        <p:spPr>
          <a:xfrm rot="5400000">
            <a:off x="11336871" y="4289436"/>
            <a:ext cx="574904" cy="300173"/>
          </a:xfrm>
          <a:custGeom>
            <a:avLst/>
            <a:gdLst>
              <a:gd name="connsiteX0" fmla="*/ 0 w 530877"/>
              <a:gd name="connsiteY0" fmla="*/ 0 h 1012276"/>
              <a:gd name="connsiteX1" fmla="*/ 530877 w 530877"/>
              <a:gd name="connsiteY1" fmla="*/ 0 h 1012276"/>
              <a:gd name="connsiteX2" fmla="*/ 530877 w 530877"/>
              <a:gd name="connsiteY2" fmla="*/ 1012276 h 1012276"/>
              <a:gd name="connsiteX3" fmla="*/ 0 w 530877"/>
              <a:gd name="connsiteY3" fmla="*/ 1012276 h 10122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0877" h="1012276">
                <a:moveTo>
                  <a:pt x="0" y="0"/>
                </a:moveTo>
                <a:lnTo>
                  <a:pt x="530877" y="0"/>
                </a:lnTo>
                <a:lnTo>
                  <a:pt x="530877" y="1012276"/>
                </a:lnTo>
                <a:lnTo>
                  <a:pt x="0" y="1012276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20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06130633-8398-4340-A091-16D418D4BA0E}"/>
              </a:ext>
            </a:extLst>
          </p:cNvPr>
          <p:cNvSpPr txBox="1">
            <a:spLocks/>
          </p:cNvSpPr>
          <p:nvPr userDrawn="1"/>
        </p:nvSpPr>
        <p:spPr>
          <a:xfrm rot="8100000" flipH="1" flipV="1">
            <a:off x="5225788" y="4234665"/>
            <a:ext cx="1592914" cy="795094"/>
          </a:xfrm>
          <a:custGeom>
            <a:avLst/>
            <a:gdLst>
              <a:gd name="connsiteX0" fmla="*/ 6166943 w 6166943"/>
              <a:gd name="connsiteY0" fmla="*/ 1970146 h 3078196"/>
              <a:gd name="connsiteX1" fmla="*/ 4655668 w 6166943"/>
              <a:gd name="connsiteY1" fmla="*/ 458871 h 3078196"/>
              <a:gd name="connsiteX2" fmla="*/ 4492661 w 6166943"/>
              <a:gd name="connsiteY2" fmla="*/ 580765 h 3078196"/>
              <a:gd name="connsiteX3" fmla="*/ 3297075 w 6166943"/>
              <a:gd name="connsiteY3" fmla="*/ 945968 h 3078196"/>
              <a:gd name="connsiteX4" fmla="*/ 1523897 w 6166943"/>
              <a:gd name="connsiteY4" fmla="*/ 3175 h 3078196"/>
              <a:gd name="connsiteX5" fmla="*/ 1521968 w 6166943"/>
              <a:gd name="connsiteY5" fmla="*/ 0 h 3078196"/>
              <a:gd name="connsiteX6" fmla="*/ 0 w 6166943"/>
              <a:gd name="connsiteY6" fmla="*/ 1521969 h 3078196"/>
              <a:gd name="connsiteX7" fmla="*/ 1668 w 6166943"/>
              <a:gd name="connsiteY7" fmla="*/ 1524092 h 3078196"/>
              <a:gd name="connsiteX8" fmla="*/ 3297075 w 6166943"/>
              <a:gd name="connsiteY8" fmla="*/ 3078196 h 3078196"/>
              <a:gd name="connsiteX9" fmla="*/ 6013576 w 6166943"/>
              <a:gd name="connsiteY9" fmla="*/ 2102997 h 30781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166943" h="3078196">
                <a:moveTo>
                  <a:pt x="6166943" y="1970146"/>
                </a:moveTo>
                <a:lnTo>
                  <a:pt x="4655668" y="458871"/>
                </a:lnTo>
                <a:lnTo>
                  <a:pt x="4492661" y="580765"/>
                </a:lnTo>
                <a:cubicBezTo>
                  <a:pt x="4151374" y="811334"/>
                  <a:pt x="3739947" y="945968"/>
                  <a:pt x="3297075" y="945968"/>
                </a:cubicBezTo>
                <a:cubicBezTo>
                  <a:pt x="2558955" y="945968"/>
                  <a:pt x="1908180" y="571989"/>
                  <a:pt x="1523897" y="3175"/>
                </a:cubicBezTo>
                <a:lnTo>
                  <a:pt x="1521968" y="0"/>
                </a:lnTo>
                <a:lnTo>
                  <a:pt x="0" y="1521969"/>
                </a:lnTo>
                <a:lnTo>
                  <a:pt x="1668" y="1524092"/>
                </a:lnTo>
                <a:cubicBezTo>
                  <a:pt x="784959" y="2473222"/>
                  <a:pt x="1970367" y="3078196"/>
                  <a:pt x="3297075" y="3078196"/>
                </a:cubicBezTo>
                <a:cubicBezTo>
                  <a:pt x="4328957" y="3078196"/>
                  <a:pt x="5275363" y="2712224"/>
                  <a:pt x="6013576" y="2102997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20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21" name="Text Placeholder 49">
            <a:extLst>
              <a:ext uri="{FF2B5EF4-FFF2-40B4-BE49-F238E27FC236}">
                <a16:creationId xmlns:a16="http://schemas.microsoft.com/office/drawing/2014/main" id="{A0F317CE-035E-44FD-A5F6-9E40D83A2190}"/>
              </a:ext>
            </a:extLst>
          </p:cNvPr>
          <p:cNvSpPr txBox="1">
            <a:spLocks/>
          </p:cNvSpPr>
          <p:nvPr userDrawn="1"/>
        </p:nvSpPr>
        <p:spPr>
          <a:xfrm rot="5400000">
            <a:off x="9197702" y="4167949"/>
            <a:ext cx="546640" cy="546635"/>
          </a:xfrm>
          <a:custGeom>
            <a:avLst/>
            <a:gdLst>
              <a:gd name="connsiteX0" fmla="*/ 265718 w 531436"/>
              <a:gd name="connsiteY0" fmla="*/ 0 h 531432"/>
              <a:gd name="connsiteX1" fmla="*/ 531436 w 531436"/>
              <a:gd name="connsiteY1" fmla="*/ 265716 h 531432"/>
              <a:gd name="connsiteX2" fmla="*/ 265718 w 531436"/>
              <a:gd name="connsiteY2" fmla="*/ 531432 h 531432"/>
              <a:gd name="connsiteX3" fmla="*/ 0 w 531436"/>
              <a:gd name="connsiteY3" fmla="*/ 265716 h 531432"/>
              <a:gd name="connsiteX4" fmla="*/ 265718 w 531436"/>
              <a:gd name="connsiteY4" fmla="*/ 0 h 531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1436" h="531432">
                <a:moveTo>
                  <a:pt x="265718" y="0"/>
                </a:moveTo>
                <a:cubicBezTo>
                  <a:pt x="412470" y="0"/>
                  <a:pt x="531436" y="118965"/>
                  <a:pt x="531436" y="265716"/>
                </a:cubicBezTo>
                <a:cubicBezTo>
                  <a:pt x="531436" y="412467"/>
                  <a:pt x="412470" y="531432"/>
                  <a:pt x="265718" y="531432"/>
                </a:cubicBezTo>
                <a:cubicBezTo>
                  <a:pt x="118966" y="531432"/>
                  <a:pt x="0" y="412467"/>
                  <a:pt x="0" y="265716"/>
                </a:cubicBezTo>
                <a:cubicBezTo>
                  <a:pt x="0" y="118965"/>
                  <a:pt x="118966" y="0"/>
                  <a:pt x="265718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20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19" name="Text Placeholder 83">
            <a:extLst>
              <a:ext uri="{FF2B5EF4-FFF2-40B4-BE49-F238E27FC236}">
                <a16:creationId xmlns:a16="http://schemas.microsoft.com/office/drawing/2014/main" id="{65E572D2-FB5D-4AE4-ADCA-539A3B5D2872}"/>
              </a:ext>
            </a:extLst>
          </p:cNvPr>
          <p:cNvSpPr txBox="1">
            <a:spLocks/>
          </p:cNvSpPr>
          <p:nvPr userDrawn="1"/>
        </p:nvSpPr>
        <p:spPr>
          <a:xfrm flipV="1">
            <a:off x="9211399" y="5037808"/>
            <a:ext cx="2253832" cy="1126916"/>
          </a:xfrm>
          <a:custGeom>
            <a:avLst/>
            <a:gdLst>
              <a:gd name="connsiteX0" fmla="*/ 0 w 2125980"/>
              <a:gd name="connsiteY0" fmla="*/ 0 h 1062991"/>
              <a:gd name="connsiteX1" fmla="*/ 530729 w 2125980"/>
              <a:gd name="connsiteY1" fmla="*/ 0 h 1062991"/>
              <a:gd name="connsiteX2" fmla="*/ 1062990 w 2125980"/>
              <a:gd name="connsiteY2" fmla="*/ 532261 h 1062991"/>
              <a:gd name="connsiteX3" fmla="*/ 1595250 w 2125980"/>
              <a:gd name="connsiteY3" fmla="*/ 0 h 1062991"/>
              <a:gd name="connsiteX4" fmla="*/ 2125980 w 2125980"/>
              <a:gd name="connsiteY4" fmla="*/ 0 h 1062991"/>
              <a:gd name="connsiteX5" fmla="*/ 1062990 w 2125980"/>
              <a:gd name="connsiteY5" fmla="*/ 1062991 h 1062991"/>
              <a:gd name="connsiteX6" fmla="*/ 0 w 2125980"/>
              <a:gd name="connsiteY6" fmla="*/ 0 h 10629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125980" h="1062991">
                <a:moveTo>
                  <a:pt x="0" y="0"/>
                </a:moveTo>
                <a:lnTo>
                  <a:pt x="530729" y="0"/>
                </a:lnTo>
                <a:cubicBezTo>
                  <a:pt x="530729" y="293959"/>
                  <a:pt x="769031" y="532261"/>
                  <a:pt x="1062990" y="532261"/>
                </a:cubicBezTo>
                <a:cubicBezTo>
                  <a:pt x="1356949" y="532261"/>
                  <a:pt x="1595250" y="293959"/>
                  <a:pt x="1595250" y="0"/>
                </a:cubicBezTo>
                <a:lnTo>
                  <a:pt x="2125980" y="0"/>
                </a:lnTo>
                <a:cubicBezTo>
                  <a:pt x="2125980" y="587074"/>
                  <a:pt x="1650063" y="1062991"/>
                  <a:pt x="1062990" y="1062991"/>
                </a:cubicBezTo>
                <a:cubicBezTo>
                  <a:pt x="475916" y="1062991"/>
                  <a:pt x="0" y="587074"/>
                  <a:pt x="0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20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6662140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stimon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6BFDB5A-EF29-4DE8-B046-D2ED5D80D7D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9413" y="1611085"/>
            <a:ext cx="11430000" cy="3932238"/>
          </a:xfrm>
        </p:spPr>
        <p:txBody>
          <a:bodyPr anchor="ctr" anchorCtr="0"/>
          <a:lstStyle>
            <a:lvl1pPr>
              <a:defRPr sz="3200"/>
            </a:lvl1pPr>
            <a:lvl2pPr marL="0" indent="0" algn="r">
              <a:spcBef>
                <a:spcPts val="1200"/>
              </a:spcBef>
              <a:buNone/>
              <a:defRPr sz="1800"/>
            </a:lvl2pPr>
            <a:lvl3pPr marL="174625" indent="0" algn="r">
              <a:buNone/>
              <a:defRPr sz="1600"/>
            </a:lvl3pPr>
          </a:lstStyle>
          <a:p>
            <a:pPr lvl="0"/>
            <a:r>
              <a:rPr lang="en-US" dirty="0"/>
              <a:t>“Quote text goes here”</a:t>
            </a:r>
          </a:p>
          <a:p>
            <a:pPr lvl="1"/>
            <a:r>
              <a:rPr lang="en-US" dirty="0"/>
              <a:t>Author Name goes here</a:t>
            </a:r>
          </a:p>
          <a:p>
            <a:pPr lvl="2"/>
            <a:r>
              <a:rPr lang="en-US" dirty="0"/>
              <a:t>Author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5226254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Quote Testimoni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6BFDB5A-EF29-4DE8-B046-D2ED5D80D7D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9413" y="1625600"/>
            <a:ext cx="5376860" cy="3932238"/>
          </a:xfrm>
        </p:spPr>
        <p:txBody>
          <a:bodyPr anchor="ctr" anchorCtr="0"/>
          <a:lstStyle>
            <a:lvl1pPr>
              <a:defRPr sz="3200"/>
            </a:lvl1pPr>
            <a:lvl2pPr marL="0" indent="0" algn="r">
              <a:spcBef>
                <a:spcPts val="1200"/>
              </a:spcBef>
              <a:buNone/>
              <a:defRPr sz="1800"/>
            </a:lvl2pPr>
            <a:lvl3pPr marL="174625" indent="0" algn="r">
              <a:buNone/>
              <a:defRPr sz="1600"/>
            </a:lvl3pPr>
          </a:lstStyle>
          <a:p>
            <a:pPr lvl="0"/>
            <a:r>
              <a:rPr lang="en-US" dirty="0"/>
              <a:t>“Quote text goes here”</a:t>
            </a:r>
          </a:p>
          <a:p>
            <a:pPr lvl="1"/>
            <a:r>
              <a:rPr lang="en-US" dirty="0"/>
              <a:t>Author Name goes here</a:t>
            </a:r>
          </a:p>
          <a:p>
            <a:pPr lvl="2"/>
            <a:r>
              <a:rPr lang="en-US" dirty="0"/>
              <a:t>Author Title goes here</a:t>
            </a:r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B02B4AF2-3D2F-4674-99A2-58ABCF020A7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32554" y="1625600"/>
            <a:ext cx="5376860" cy="3932238"/>
          </a:xfrm>
        </p:spPr>
        <p:txBody>
          <a:bodyPr anchor="ctr" anchorCtr="0"/>
          <a:lstStyle>
            <a:lvl1pPr>
              <a:defRPr sz="3200"/>
            </a:lvl1pPr>
            <a:lvl2pPr marL="0" indent="0" algn="r">
              <a:spcBef>
                <a:spcPts val="1200"/>
              </a:spcBef>
              <a:buNone/>
              <a:defRPr sz="1800"/>
            </a:lvl2pPr>
            <a:lvl3pPr marL="174625" indent="0" algn="r">
              <a:buNone/>
              <a:defRPr sz="1600"/>
            </a:lvl3pPr>
          </a:lstStyle>
          <a:p>
            <a:pPr lvl="0"/>
            <a:r>
              <a:rPr lang="en-US" dirty="0"/>
              <a:t>“Quote text goes here”</a:t>
            </a:r>
          </a:p>
          <a:p>
            <a:pPr lvl="1"/>
            <a:r>
              <a:rPr lang="en-US" dirty="0"/>
              <a:t>Author Name goes here</a:t>
            </a:r>
          </a:p>
          <a:p>
            <a:pPr lvl="2"/>
            <a:r>
              <a:rPr lang="en-US" dirty="0"/>
              <a:t>Author Title goes her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D6D1AC86-28F2-46B3-8E9D-1D3BF1F6A8AC}"/>
              </a:ext>
            </a:extLst>
          </p:cNvPr>
          <p:cNvCxnSpPr/>
          <p:nvPr userDrawn="1"/>
        </p:nvCxnSpPr>
        <p:spPr>
          <a:xfrm>
            <a:off x="6094413" y="1625600"/>
            <a:ext cx="0" cy="3932238"/>
          </a:xfrm>
          <a:prstGeom prst="line">
            <a:avLst/>
          </a:prstGeom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28756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47DB4F7A-04F5-492B-9F9C-9DCDBC31468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1001" y="2565127"/>
            <a:ext cx="3631905" cy="220105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lIns="182880" tIns="182880" rIns="182880" bIns="18288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0904ADFB-3D8E-464B-AEAF-259637858CA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80246" y="2565127"/>
            <a:ext cx="3629920" cy="220105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lIns="182880" tIns="182880" rIns="182880" bIns="18288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3E25379D-0A79-4138-A194-901F857CFE3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77507" y="2565127"/>
            <a:ext cx="3631907" cy="2201057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lIns="182880" tIns="182880" rIns="182880" bIns="18288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4F1F6B98-0C45-4BAB-86B0-EDAB9CA7B9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81576464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47DB4F7A-04F5-492B-9F9C-9DCDBC31468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1001" y="2523099"/>
            <a:ext cx="2721380" cy="2322912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lIns="182880" tIns="182880" rIns="182880" bIns="18288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0904ADFB-3D8E-464B-AEAF-259637858CA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283841" y="2523099"/>
            <a:ext cx="2719892" cy="2322913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lIns="182880" tIns="182880" rIns="182880" bIns="18288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3E25379D-0A79-4138-A194-901F857CFE3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185193" y="2523099"/>
            <a:ext cx="2721381" cy="2322912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lIns="182880" tIns="182880" rIns="182880" bIns="18288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289AA023-A46F-450A-80A8-C6F3EBE56BA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088033" y="2523099"/>
            <a:ext cx="2721381" cy="2322912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lIns="182880" tIns="182880" rIns="182880" bIns="18288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F5953F7-BCD8-4688-B34C-D81CB08F82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88513732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nn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27D3642F-C8EF-48BF-929A-740A77E433EC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7193142" y="1627356"/>
            <a:ext cx="4283708" cy="4283708"/>
          </a:xfrm>
          <a:prstGeom prst="ellipse">
            <a:avLst/>
          </a:prstGeom>
          <a:solidFill>
            <a:schemeClr val="accent3">
              <a:alpha val="75000"/>
            </a:schemeClr>
          </a:solidFill>
        </p:spPr>
        <p:txBody>
          <a:bodyPr wrap="square"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</a:t>
            </a:r>
            <a:br>
              <a:rPr lang="en-US" dirty="0"/>
            </a:br>
            <a:r>
              <a:rPr lang="en-US" dirty="0"/>
              <a:t>add text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F8E06C46-246C-4AC7-8CAA-09BB96286D58}"/>
              </a:ext>
            </a:extLst>
          </p:cNvPr>
          <p:cNvSpPr>
            <a:spLocks noGrp="1" noChangeAspect="1"/>
          </p:cNvSpPr>
          <p:nvPr>
            <p:ph type="body" sz="quarter" idx="12" hasCustomPrompt="1"/>
          </p:nvPr>
        </p:nvSpPr>
        <p:spPr>
          <a:xfrm>
            <a:off x="3912696" y="1627356"/>
            <a:ext cx="4283708" cy="4283708"/>
          </a:xfrm>
          <a:prstGeom prst="ellipse">
            <a:avLst/>
          </a:prstGeom>
          <a:solidFill>
            <a:schemeClr val="accent1">
              <a:alpha val="75000"/>
            </a:schemeClr>
          </a:solidFill>
        </p:spPr>
        <p:txBody>
          <a:bodyPr wrap="square"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</a:t>
            </a:r>
            <a:br>
              <a:rPr lang="en-US" dirty="0"/>
            </a:br>
            <a:r>
              <a:rPr lang="en-US" dirty="0"/>
              <a:t>add text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19B353F2-F330-43C5-9393-227A937D64FA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632250" y="1627356"/>
            <a:ext cx="4283708" cy="4283708"/>
          </a:xfrm>
          <a:prstGeom prst="ellipse">
            <a:avLst/>
          </a:prstGeom>
          <a:solidFill>
            <a:schemeClr val="accent2">
              <a:alpha val="75000"/>
            </a:schemeClr>
          </a:solidFill>
        </p:spPr>
        <p:txBody>
          <a:bodyPr wrap="square"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</a:t>
            </a:r>
            <a:br>
              <a:rPr lang="en-US" dirty="0"/>
            </a:br>
            <a:r>
              <a:rPr lang="en-US" dirty="0"/>
              <a:t>add tex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4CB85A-A53D-46E7-AA71-5EF760D39C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782647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5">
            <a:extLst>
              <a:ext uri="{FF2B5EF4-FFF2-40B4-BE49-F238E27FC236}">
                <a16:creationId xmlns:a16="http://schemas.microsoft.com/office/drawing/2014/main" id="{E1B3FAEE-4E78-46C7-9DB6-5C22BB3E16F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381001" y="1171575"/>
            <a:ext cx="3642338" cy="2407920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19" name="Picture Placeholder 5">
            <a:extLst>
              <a:ext uri="{FF2B5EF4-FFF2-40B4-BE49-F238E27FC236}">
                <a16:creationId xmlns:a16="http://schemas.microsoft.com/office/drawing/2014/main" id="{539C5952-9101-40EA-8EFD-F1D60A1A9A08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4272451" y="1171575"/>
            <a:ext cx="3642338" cy="2407920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20" name="Picture Placeholder 5">
            <a:extLst>
              <a:ext uri="{FF2B5EF4-FFF2-40B4-BE49-F238E27FC236}">
                <a16:creationId xmlns:a16="http://schemas.microsoft.com/office/drawing/2014/main" id="{6493EF8F-CCE9-4B2B-A7E6-77DBCC02838A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8163901" y="1171575"/>
            <a:ext cx="3642338" cy="2407920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27" name="Picture Placeholder 5">
            <a:extLst>
              <a:ext uri="{FF2B5EF4-FFF2-40B4-BE49-F238E27FC236}">
                <a16:creationId xmlns:a16="http://schemas.microsoft.com/office/drawing/2014/main" id="{4D42B27E-18C9-491F-981A-22AFA3A63254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381001" y="3803650"/>
            <a:ext cx="3642338" cy="2407920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28" name="Picture Placeholder 5">
            <a:extLst>
              <a:ext uri="{FF2B5EF4-FFF2-40B4-BE49-F238E27FC236}">
                <a16:creationId xmlns:a16="http://schemas.microsoft.com/office/drawing/2014/main" id="{1BCAF74B-6018-4C57-A90E-AB54A58B1470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4272451" y="3803650"/>
            <a:ext cx="3642338" cy="2407920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29" name="Picture Placeholder 5">
            <a:extLst>
              <a:ext uri="{FF2B5EF4-FFF2-40B4-BE49-F238E27FC236}">
                <a16:creationId xmlns:a16="http://schemas.microsoft.com/office/drawing/2014/main" id="{61217ED4-3DF8-4495-9467-ABDA716D4CF1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8163901" y="3803650"/>
            <a:ext cx="3642338" cy="2407920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144A2ED-0415-4F97-8542-3AEA900903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2971213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able Placeholder 5">
            <a:extLst>
              <a:ext uri="{FF2B5EF4-FFF2-40B4-BE49-F238E27FC236}">
                <a16:creationId xmlns:a16="http://schemas.microsoft.com/office/drawing/2014/main" id="{05CE8878-73D0-49A2-BE7D-7B98477652C3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381001" y="1322388"/>
            <a:ext cx="11426823" cy="4887912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D06F8458-66E1-4B4A-BC40-DD2CDA42EB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015611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image" Target="../media/image2.sv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slideLayout" Target="../slideLayouts/slideLayout52.xml"/><Relationship Id="rId3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6.xml"/><Relationship Id="rId12" Type="http://schemas.openxmlformats.org/officeDocument/2006/relationships/slideLayout" Target="../slideLayouts/slideLayout51.xml"/><Relationship Id="rId2" Type="http://schemas.openxmlformats.org/officeDocument/2006/relationships/slideLayout" Target="../slideLayouts/slideLayout41.xml"/><Relationship Id="rId16" Type="http://schemas.openxmlformats.org/officeDocument/2006/relationships/image" Target="../media/image2.svg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5" Type="http://schemas.openxmlformats.org/officeDocument/2006/relationships/slideLayout" Target="../slideLayouts/slideLayout44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49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.xml"/><Relationship Id="rId13" Type="http://schemas.openxmlformats.org/officeDocument/2006/relationships/image" Target="../media/image2.svg"/><Relationship Id="rId3" Type="http://schemas.openxmlformats.org/officeDocument/2006/relationships/slideLayout" Target="../slideLayouts/slideLayout55.xml"/><Relationship Id="rId7" Type="http://schemas.openxmlformats.org/officeDocument/2006/relationships/slideLayout" Target="../slideLayouts/slideLayout59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54.xml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62.xml"/><Relationship Id="rId4" Type="http://schemas.openxmlformats.org/officeDocument/2006/relationships/slideLayout" Target="../slideLayouts/slideLayout56.xml"/><Relationship Id="rId9" Type="http://schemas.openxmlformats.org/officeDocument/2006/relationships/slideLayout" Target="../slideLayouts/slideLayout6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0.xml"/><Relationship Id="rId13" Type="http://schemas.openxmlformats.org/officeDocument/2006/relationships/slideLayout" Target="../slideLayouts/slideLayout75.xml"/><Relationship Id="rId3" Type="http://schemas.openxmlformats.org/officeDocument/2006/relationships/slideLayout" Target="../slideLayouts/slideLayout65.xml"/><Relationship Id="rId7" Type="http://schemas.openxmlformats.org/officeDocument/2006/relationships/slideLayout" Target="../slideLayouts/slideLayout69.xml"/><Relationship Id="rId12" Type="http://schemas.openxmlformats.org/officeDocument/2006/relationships/slideLayout" Target="../slideLayouts/slideLayout74.xml"/><Relationship Id="rId2" Type="http://schemas.openxmlformats.org/officeDocument/2006/relationships/slideLayout" Target="../slideLayouts/slideLayout64.xml"/><Relationship Id="rId16" Type="http://schemas.openxmlformats.org/officeDocument/2006/relationships/image" Target="../media/image2.svg"/><Relationship Id="rId1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8.xml"/><Relationship Id="rId11" Type="http://schemas.openxmlformats.org/officeDocument/2006/relationships/slideLayout" Target="../slideLayouts/slideLayout73.xml"/><Relationship Id="rId5" Type="http://schemas.openxmlformats.org/officeDocument/2006/relationships/slideLayout" Target="../slideLayouts/slideLayout67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72.xml"/><Relationship Id="rId4" Type="http://schemas.openxmlformats.org/officeDocument/2006/relationships/slideLayout" Target="../slideLayouts/slideLayout66.xml"/><Relationship Id="rId9" Type="http://schemas.openxmlformats.org/officeDocument/2006/relationships/slideLayout" Target="../slideLayouts/slideLayout71.xml"/><Relationship Id="rId1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78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77.xml"/><Relationship Id="rId1" Type="http://schemas.openxmlformats.org/officeDocument/2006/relationships/slideLayout" Target="../slideLayouts/slideLayout76.xml"/><Relationship Id="rId6" Type="http://schemas.openxmlformats.org/officeDocument/2006/relationships/theme" Target="../theme/theme5.xml"/><Relationship Id="rId5" Type="http://schemas.openxmlformats.org/officeDocument/2006/relationships/slideLayout" Target="../slideLayouts/slideLayout80.xml"/><Relationship Id="rId4" Type="http://schemas.openxmlformats.org/officeDocument/2006/relationships/slideLayout" Target="../slideLayouts/slideLayout79.xml"/><Relationship Id="rId9" Type="http://schemas.openxmlformats.org/officeDocument/2006/relationships/image" Target="../media/image13.emf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3.xml"/><Relationship Id="rId18" Type="http://schemas.openxmlformats.org/officeDocument/2006/relationships/slideLayout" Target="../slideLayouts/slideLayout98.xml"/><Relationship Id="rId26" Type="http://schemas.openxmlformats.org/officeDocument/2006/relationships/slideLayout" Target="../slideLayouts/slideLayout106.xml"/><Relationship Id="rId39" Type="http://schemas.openxmlformats.org/officeDocument/2006/relationships/theme" Target="../theme/theme6.xml"/><Relationship Id="rId21" Type="http://schemas.openxmlformats.org/officeDocument/2006/relationships/slideLayout" Target="../slideLayouts/slideLayout101.xml"/><Relationship Id="rId34" Type="http://schemas.openxmlformats.org/officeDocument/2006/relationships/slideLayout" Target="../slideLayouts/slideLayout114.xml"/><Relationship Id="rId7" Type="http://schemas.openxmlformats.org/officeDocument/2006/relationships/slideLayout" Target="../slideLayouts/slideLayout87.xml"/><Relationship Id="rId2" Type="http://schemas.openxmlformats.org/officeDocument/2006/relationships/slideLayout" Target="../slideLayouts/slideLayout82.xml"/><Relationship Id="rId16" Type="http://schemas.openxmlformats.org/officeDocument/2006/relationships/slideLayout" Target="../slideLayouts/slideLayout96.xml"/><Relationship Id="rId20" Type="http://schemas.openxmlformats.org/officeDocument/2006/relationships/slideLayout" Target="../slideLayouts/slideLayout100.xml"/><Relationship Id="rId29" Type="http://schemas.openxmlformats.org/officeDocument/2006/relationships/slideLayout" Target="../slideLayouts/slideLayout109.xml"/><Relationship Id="rId41" Type="http://schemas.openxmlformats.org/officeDocument/2006/relationships/image" Target="../media/image2.svg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slideLayout" Target="../slideLayouts/slideLayout91.xml"/><Relationship Id="rId24" Type="http://schemas.openxmlformats.org/officeDocument/2006/relationships/slideLayout" Target="../slideLayouts/slideLayout104.xml"/><Relationship Id="rId32" Type="http://schemas.openxmlformats.org/officeDocument/2006/relationships/slideLayout" Target="../slideLayouts/slideLayout112.xml"/><Relationship Id="rId37" Type="http://schemas.openxmlformats.org/officeDocument/2006/relationships/slideLayout" Target="../slideLayouts/slideLayout117.xml"/><Relationship Id="rId40" Type="http://schemas.openxmlformats.org/officeDocument/2006/relationships/image" Target="../media/image1.png"/><Relationship Id="rId5" Type="http://schemas.openxmlformats.org/officeDocument/2006/relationships/slideLayout" Target="../slideLayouts/slideLayout85.xml"/><Relationship Id="rId15" Type="http://schemas.openxmlformats.org/officeDocument/2006/relationships/slideLayout" Target="../slideLayouts/slideLayout95.xml"/><Relationship Id="rId23" Type="http://schemas.openxmlformats.org/officeDocument/2006/relationships/slideLayout" Target="../slideLayouts/slideLayout103.xml"/><Relationship Id="rId28" Type="http://schemas.openxmlformats.org/officeDocument/2006/relationships/slideLayout" Target="../slideLayouts/slideLayout108.xml"/><Relationship Id="rId36" Type="http://schemas.openxmlformats.org/officeDocument/2006/relationships/slideLayout" Target="../slideLayouts/slideLayout116.xml"/><Relationship Id="rId10" Type="http://schemas.openxmlformats.org/officeDocument/2006/relationships/slideLayout" Target="../slideLayouts/slideLayout90.xml"/><Relationship Id="rId19" Type="http://schemas.openxmlformats.org/officeDocument/2006/relationships/slideLayout" Target="../slideLayouts/slideLayout99.xml"/><Relationship Id="rId31" Type="http://schemas.openxmlformats.org/officeDocument/2006/relationships/slideLayout" Target="../slideLayouts/slideLayout111.xml"/><Relationship Id="rId4" Type="http://schemas.openxmlformats.org/officeDocument/2006/relationships/slideLayout" Target="../slideLayouts/slideLayout84.xml"/><Relationship Id="rId9" Type="http://schemas.openxmlformats.org/officeDocument/2006/relationships/slideLayout" Target="../slideLayouts/slideLayout89.xml"/><Relationship Id="rId14" Type="http://schemas.openxmlformats.org/officeDocument/2006/relationships/slideLayout" Target="../slideLayouts/slideLayout94.xml"/><Relationship Id="rId22" Type="http://schemas.openxmlformats.org/officeDocument/2006/relationships/slideLayout" Target="../slideLayouts/slideLayout102.xml"/><Relationship Id="rId27" Type="http://schemas.openxmlformats.org/officeDocument/2006/relationships/slideLayout" Target="../slideLayouts/slideLayout107.xml"/><Relationship Id="rId30" Type="http://schemas.openxmlformats.org/officeDocument/2006/relationships/slideLayout" Target="../slideLayouts/slideLayout110.xml"/><Relationship Id="rId35" Type="http://schemas.openxmlformats.org/officeDocument/2006/relationships/slideLayout" Target="../slideLayouts/slideLayout115.xml"/><Relationship Id="rId8" Type="http://schemas.openxmlformats.org/officeDocument/2006/relationships/slideLayout" Target="../slideLayouts/slideLayout88.xml"/><Relationship Id="rId3" Type="http://schemas.openxmlformats.org/officeDocument/2006/relationships/slideLayout" Target="../slideLayouts/slideLayout83.xml"/><Relationship Id="rId12" Type="http://schemas.openxmlformats.org/officeDocument/2006/relationships/slideLayout" Target="../slideLayouts/slideLayout92.xml"/><Relationship Id="rId17" Type="http://schemas.openxmlformats.org/officeDocument/2006/relationships/slideLayout" Target="../slideLayouts/slideLayout97.xml"/><Relationship Id="rId25" Type="http://schemas.openxmlformats.org/officeDocument/2006/relationships/slideLayout" Target="../slideLayouts/slideLayout105.xml"/><Relationship Id="rId33" Type="http://schemas.openxmlformats.org/officeDocument/2006/relationships/slideLayout" Target="../slideLayouts/slideLayout113.xml"/><Relationship Id="rId38" Type="http://schemas.openxmlformats.org/officeDocument/2006/relationships/slideLayout" Target="../slideLayouts/slideLayout1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1" y="357721"/>
            <a:ext cx="6608941" cy="69002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001" y="1322024"/>
            <a:ext cx="11426823" cy="48882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E6E6F30-DD8E-6F7B-B351-EB0284B4574F}"/>
              </a:ext>
            </a:extLst>
          </p:cNvPr>
          <p:cNvSpPr txBox="1"/>
          <p:nvPr userDrawn="1"/>
        </p:nvSpPr>
        <p:spPr>
          <a:xfrm>
            <a:off x="11454739" y="6472935"/>
            <a:ext cx="353085" cy="12242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algn="r" defTabSz="457200" rtl="0" eaLnBrk="1" latinLnBrk="0" hangingPunct="1"/>
            <a:fld id="{CDB435D5-777C-4922-976B-8C95AF7AC8DD}" type="slidenum">
              <a:rPr lang="en-US" sz="700" b="1" i="0" kern="1200" smtClean="0">
                <a:solidFill>
                  <a:schemeClr val="tx1"/>
                </a:solidFill>
                <a:latin typeface="Arial"/>
                <a:ea typeface="+mn-ea"/>
                <a:cs typeface="Arial"/>
              </a:rPr>
              <a:pPr marL="0" algn="r" defTabSz="457200" rtl="0" eaLnBrk="1" latinLnBrk="0" hangingPunct="1"/>
              <a:t>‹#›</a:t>
            </a:fld>
            <a:endParaRPr lang="en-US" sz="700" b="1" i="0" kern="1200" err="1">
              <a:solidFill>
                <a:schemeClr val="tx1"/>
              </a:solidFill>
              <a:latin typeface="Arial"/>
              <a:ea typeface="+mn-ea"/>
              <a:cs typeface="Arial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0A990492-A8E7-C0BC-61E2-D5A1DA46BF77}"/>
              </a:ext>
            </a:extLst>
          </p:cNvPr>
          <p:cNvSpPr/>
          <p:nvPr userDrawn="1"/>
        </p:nvSpPr>
        <p:spPr>
          <a:xfrm>
            <a:off x="-1" y="6812281"/>
            <a:ext cx="12188826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Freeform: Shape 41">
            <a:extLst>
              <a:ext uri="{FF2B5EF4-FFF2-40B4-BE49-F238E27FC236}">
                <a16:creationId xmlns:a16="http://schemas.microsoft.com/office/drawing/2014/main" id="{C3DCD0F2-5292-28A2-26FE-D31FBD7CE064}"/>
              </a:ext>
            </a:extLst>
          </p:cNvPr>
          <p:cNvSpPr txBox="1">
            <a:spLocks/>
          </p:cNvSpPr>
          <p:nvPr userDrawn="1"/>
        </p:nvSpPr>
        <p:spPr>
          <a:xfrm rot="16200000">
            <a:off x="9347536" y="515572"/>
            <a:ext cx="520273" cy="520269"/>
          </a:xfrm>
          <a:custGeom>
            <a:avLst/>
            <a:gdLst>
              <a:gd name="connsiteX0" fmla="*/ 265718 w 531436"/>
              <a:gd name="connsiteY0" fmla="*/ 0 h 531432"/>
              <a:gd name="connsiteX1" fmla="*/ 531436 w 531436"/>
              <a:gd name="connsiteY1" fmla="*/ 265716 h 531432"/>
              <a:gd name="connsiteX2" fmla="*/ 265718 w 531436"/>
              <a:gd name="connsiteY2" fmla="*/ 531432 h 531432"/>
              <a:gd name="connsiteX3" fmla="*/ 0 w 531436"/>
              <a:gd name="connsiteY3" fmla="*/ 265716 h 531432"/>
              <a:gd name="connsiteX4" fmla="*/ 265718 w 531436"/>
              <a:gd name="connsiteY4" fmla="*/ 0 h 531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1436" h="531432">
                <a:moveTo>
                  <a:pt x="265718" y="0"/>
                </a:moveTo>
                <a:cubicBezTo>
                  <a:pt x="412470" y="0"/>
                  <a:pt x="531436" y="118965"/>
                  <a:pt x="531436" y="265716"/>
                </a:cubicBezTo>
                <a:cubicBezTo>
                  <a:pt x="531436" y="412467"/>
                  <a:pt x="412470" y="531432"/>
                  <a:pt x="265718" y="531432"/>
                </a:cubicBezTo>
                <a:cubicBezTo>
                  <a:pt x="118966" y="531432"/>
                  <a:pt x="0" y="412467"/>
                  <a:pt x="0" y="265716"/>
                </a:cubicBezTo>
                <a:cubicBezTo>
                  <a:pt x="0" y="118965"/>
                  <a:pt x="118966" y="0"/>
                  <a:pt x="265718" y="0"/>
                </a:cubicBezTo>
                <a:close/>
              </a:path>
            </a:pathLst>
          </a:custGeom>
          <a:solidFill>
            <a:schemeClr val="bg2">
              <a:alpha val="50000"/>
            </a:schemeClr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14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8D4BE23-3107-374E-96E0-86539A167D24}"/>
              </a:ext>
            </a:extLst>
          </p:cNvPr>
          <p:cNvSpPr txBox="1">
            <a:spLocks/>
          </p:cNvSpPr>
          <p:nvPr userDrawn="1"/>
        </p:nvSpPr>
        <p:spPr>
          <a:xfrm>
            <a:off x="7040088" y="0"/>
            <a:ext cx="2010727" cy="783591"/>
          </a:xfrm>
          <a:custGeom>
            <a:avLst/>
            <a:gdLst>
              <a:gd name="connsiteX0" fmla="*/ 0 w 2010727"/>
              <a:gd name="connsiteY0" fmla="*/ 0 h 783591"/>
              <a:gd name="connsiteX1" fmla="*/ 554656 w 2010727"/>
              <a:gd name="connsiteY1" fmla="*/ 0 h 783591"/>
              <a:gd name="connsiteX2" fmla="*/ 572969 w 2010727"/>
              <a:gd name="connsiteY2" fmla="*/ 33738 h 783591"/>
              <a:gd name="connsiteX3" fmla="*/ 1005363 w 2010727"/>
              <a:gd name="connsiteY3" fmla="*/ 263640 h 783591"/>
              <a:gd name="connsiteX4" fmla="*/ 1437757 w 2010727"/>
              <a:gd name="connsiteY4" fmla="*/ 33738 h 783591"/>
              <a:gd name="connsiteX5" fmla="*/ 1456070 w 2010727"/>
              <a:gd name="connsiteY5" fmla="*/ 0 h 783591"/>
              <a:gd name="connsiteX6" fmla="*/ 2010727 w 2010727"/>
              <a:gd name="connsiteY6" fmla="*/ 0 h 783591"/>
              <a:gd name="connsiteX7" fmla="*/ 1964925 w 2010727"/>
              <a:gd name="connsiteY7" fmla="*/ 147550 h 783591"/>
              <a:gd name="connsiteX8" fmla="*/ 1005363 w 2010727"/>
              <a:gd name="connsiteY8" fmla="*/ 783591 h 783591"/>
              <a:gd name="connsiteX9" fmla="*/ 45802 w 2010727"/>
              <a:gd name="connsiteY9" fmla="*/ 147550 h 783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010727" h="783591">
                <a:moveTo>
                  <a:pt x="0" y="0"/>
                </a:moveTo>
                <a:lnTo>
                  <a:pt x="554656" y="0"/>
                </a:lnTo>
                <a:lnTo>
                  <a:pt x="572969" y="33738"/>
                </a:lnTo>
                <a:cubicBezTo>
                  <a:pt x="666677" y="172444"/>
                  <a:pt x="825370" y="263640"/>
                  <a:pt x="1005363" y="263640"/>
                </a:cubicBezTo>
                <a:cubicBezTo>
                  <a:pt x="1185356" y="263640"/>
                  <a:pt x="1344049" y="172444"/>
                  <a:pt x="1437757" y="33738"/>
                </a:cubicBezTo>
                <a:lnTo>
                  <a:pt x="1456070" y="0"/>
                </a:lnTo>
                <a:lnTo>
                  <a:pt x="2010727" y="0"/>
                </a:lnTo>
                <a:lnTo>
                  <a:pt x="1964925" y="147550"/>
                </a:lnTo>
                <a:cubicBezTo>
                  <a:pt x="1806831" y="521325"/>
                  <a:pt x="1436725" y="783591"/>
                  <a:pt x="1005363" y="783591"/>
                </a:cubicBezTo>
                <a:cubicBezTo>
                  <a:pt x="574001" y="783591"/>
                  <a:pt x="203895" y="521325"/>
                  <a:pt x="45802" y="147550"/>
                </a:cubicBezTo>
                <a:close/>
              </a:path>
            </a:pathLst>
          </a:custGeom>
          <a:solidFill>
            <a:schemeClr val="bg2">
              <a:alpha val="50000"/>
            </a:schemeClr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20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A4CCAF4B-2B4B-00E9-617C-58268D3D85F3}"/>
              </a:ext>
            </a:extLst>
          </p:cNvPr>
          <p:cNvGrpSpPr/>
          <p:nvPr userDrawn="1"/>
        </p:nvGrpSpPr>
        <p:grpSpPr>
          <a:xfrm>
            <a:off x="6989946" y="244608"/>
            <a:ext cx="4971452" cy="549346"/>
            <a:chOff x="6989946" y="244608"/>
            <a:chExt cx="4971452" cy="549346"/>
          </a:xfrm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E28E15AB-CDDB-F39D-902D-E5979E7C4CDA}"/>
                </a:ext>
              </a:extLst>
            </p:cNvPr>
            <p:cNvSpPr/>
            <p:nvPr userDrawn="1"/>
          </p:nvSpPr>
          <p:spPr>
            <a:xfrm rot="5400000">
              <a:off x="7380249" y="-145695"/>
              <a:ext cx="549346" cy="1329951"/>
            </a:xfrm>
            <a:custGeom>
              <a:avLst/>
              <a:gdLst>
                <a:gd name="connsiteX0" fmla="*/ 520400 w 549346"/>
                <a:gd name="connsiteY0" fmla="*/ 28950 h 1329951"/>
                <a:gd name="connsiteX1" fmla="*/ 520400 w 549346"/>
                <a:gd name="connsiteY1" fmla="*/ 5 h 1329951"/>
                <a:gd name="connsiteX2" fmla="*/ 549346 w 549346"/>
                <a:gd name="connsiteY2" fmla="*/ 5 h 1329951"/>
                <a:gd name="connsiteX3" fmla="*/ 549346 w 549346"/>
                <a:gd name="connsiteY3" fmla="*/ 28950 h 1329951"/>
                <a:gd name="connsiteX4" fmla="*/ 520400 w 549346"/>
                <a:gd name="connsiteY4" fmla="*/ 289149 h 1329951"/>
                <a:gd name="connsiteX5" fmla="*/ 520400 w 549346"/>
                <a:gd name="connsiteY5" fmla="*/ 260205 h 1329951"/>
                <a:gd name="connsiteX6" fmla="*/ 549346 w 549346"/>
                <a:gd name="connsiteY6" fmla="*/ 260205 h 1329951"/>
                <a:gd name="connsiteX7" fmla="*/ 549346 w 549346"/>
                <a:gd name="connsiteY7" fmla="*/ 289149 h 1329951"/>
                <a:gd name="connsiteX8" fmla="*/ 520400 w 549346"/>
                <a:gd name="connsiteY8" fmla="*/ 549350 h 1329951"/>
                <a:gd name="connsiteX9" fmla="*/ 520400 w 549346"/>
                <a:gd name="connsiteY9" fmla="*/ 520405 h 1329951"/>
                <a:gd name="connsiteX10" fmla="*/ 549346 w 549346"/>
                <a:gd name="connsiteY10" fmla="*/ 520405 h 1329951"/>
                <a:gd name="connsiteX11" fmla="*/ 549346 w 549346"/>
                <a:gd name="connsiteY11" fmla="*/ 549350 h 1329951"/>
                <a:gd name="connsiteX12" fmla="*/ 520400 w 549346"/>
                <a:gd name="connsiteY12" fmla="*/ 809553 h 1329951"/>
                <a:gd name="connsiteX13" fmla="*/ 520400 w 549346"/>
                <a:gd name="connsiteY13" fmla="*/ 780608 h 1329951"/>
                <a:gd name="connsiteX14" fmla="*/ 549346 w 549346"/>
                <a:gd name="connsiteY14" fmla="*/ 780608 h 1329951"/>
                <a:gd name="connsiteX15" fmla="*/ 549346 w 549346"/>
                <a:gd name="connsiteY15" fmla="*/ 809553 h 1329951"/>
                <a:gd name="connsiteX16" fmla="*/ 520400 w 549346"/>
                <a:gd name="connsiteY16" fmla="*/ 1069751 h 1329951"/>
                <a:gd name="connsiteX17" fmla="*/ 520400 w 549346"/>
                <a:gd name="connsiteY17" fmla="*/ 1040807 h 1329951"/>
                <a:gd name="connsiteX18" fmla="*/ 549346 w 549346"/>
                <a:gd name="connsiteY18" fmla="*/ 1040807 h 1329951"/>
                <a:gd name="connsiteX19" fmla="*/ 549346 w 549346"/>
                <a:gd name="connsiteY19" fmla="*/ 1069751 h 1329951"/>
                <a:gd name="connsiteX20" fmla="*/ 520400 w 549346"/>
                <a:gd name="connsiteY20" fmla="*/ 1329951 h 1329951"/>
                <a:gd name="connsiteX21" fmla="*/ 520400 w 549346"/>
                <a:gd name="connsiteY21" fmla="*/ 1301007 h 1329951"/>
                <a:gd name="connsiteX22" fmla="*/ 549346 w 549346"/>
                <a:gd name="connsiteY22" fmla="*/ 1301007 h 1329951"/>
                <a:gd name="connsiteX23" fmla="*/ 549346 w 549346"/>
                <a:gd name="connsiteY23" fmla="*/ 1329951 h 1329951"/>
                <a:gd name="connsiteX24" fmla="*/ 260201 w 549346"/>
                <a:gd name="connsiteY24" fmla="*/ 28947 h 1329951"/>
                <a:gd name="connsiteX25" fmla="*/ 260201 w 549346"/>
                <a:gd name="connsiteY25" fmla="*/ 2 h 1329951"/>
                <a:gd name="connsiteX26" fmla="*/ 289145 w 549346"/>
                <a:gd name="connsiteY26" fmla="*/ 2 h 1329951"/>
                <a:gd name="connsiteX27" fmla="*/ 289145 w 549346"/>
                <a:gd name="connsiteY27" fmla="*/ 28947 h 1329951"/>
                <a:gd name="connsiteX28" fmla="*/ 260201 w 549346"/>
                <a:gd name="connsiteY28" fmla="*/ 289147 h 1329951"/>
                <a:gd name="connsiteX29" fmla="*/ 260201 w 549346"/>
                <a:gd name="connsiteY29" fmla="*/ 260203 h 1329951"/>
                <a:gd name="connsiteX30" fmla="*/ 289145 w 549346"/>
                <a:gd name="connsiteY30" fmla="*/ 260203 h 1329951"/>
                <a:gd name="connsiteX31" fmla="*/ 289145 w 549346"/>
                <a:gd name="connsiteY31" fmla="*/ 289147 h 1329951"/>
                <a:gd name="connsiteX32" fmla="*/ 260201 w 549346"/>
                <a:gd name="connsiteY32" fmla="*/ 549348 h 1329951"/>
                <a:gd name="connsiteX33" fmla="*/ 260201 w 549346"/>
                <a:gd name="connsiteY33" fmla="*/ 520403 h 1329951"/>
                <a:gd name="connsiteX34" fmla="*/ 289145 w 549346"/>
                <a:gd name="connsiteY34" fmla="*/ 520403 h 1329951"/>
                <a:gd name="connsiteX35" fmla="*/ 289145 w 549346"/>
                <a:gd name="connsiteY35" fmla="*/ 549348 h 1329951"/>
                <a:gd name="connsiteX36" fmla="*/ 260201 w 549346"/>
                <a:gd name="connsiteY36" fmla="*/ 809551 h 1329951"/>
                <a:gd name="connsiteX37" fmla="*/ 260201 w 549346"/>
                <a:gd name="connsiteY37" fmla="*/ 780605 h 1329951"/>
                <a:gd name="connsiteX38" fmla="*/ 289145 w 549346"/>
                <a:gd name="connsiteY38" fmla="*/ 780605 h 1329951"/>
                <a:gd name="connsiteX39" fmla="*/ 289145 w 549346"/>
                <a:gd name="connsiteY39" fmla="*/ 809551 h 1329951"/>
                <a:gd name="connsiteX40" fmla="*/ 260201 w 549346"/>
                <a:gd name="connsiteY40" fmla="*/ 1069748 h 1329951"/>
                <a:gd name="connsiteX41" fmla="*/ 260201 w 549346"/>
                <a:gd name="connsiteY41" fmla="*/ 1040804 h 1329951"/>
                <a:gd name="connsiteX42" fmla="*/ 289145 w 549346"/>
                <a:gd name="connsiteY42" fmla="*/ 1040804 h 1329951"/>
                <a:gd name="connsiteX43" fmla="*/ 289145 w 549346"/>
                <a:gd name="connsiteY43" fmla="*/ 1069748 h 1329951"/>
                <a:gd name="connsiteX44" fmla="*/ 260201 w 549346"/>
                <a:gd name="connsiteY44" fmla="*/ 1329948 h 1329951"/>
                <a:gd name="connsiteX45" fmla="*/ 260201 w 549346"/>
                <a:gd name="connsiteY45" fmla="*/ 1301004 h 1329951"/>
                <a:gd name="connsiteX46" fmla="*/ 289145 w 549346"/>
                <a:gd name="connsiteY46" fmla="*/ 1301004 h 1329951"/>
                <a:gd name="connsiteX47" fmla="*/ 289145 w 549346"/>
                <a:gd name="connsiteY47" fmla="*/ 1329948 h 1329951"/>
                <a:gd name="connsiteX48" fmla="*/ 0 w 549346"/>
                <a:gd name="connsiteY48" fmla="*/ 28945 h 1329951"/>
                <a:gd name="connsiteX49" fmla="*/ 0 w 549346"/>
                <a:gd name="connsiteY49" fmla="*/ 0 h 1329951"/>
                <a:gd name="connsiteX50" fmla="*/ 28944 w 549346"/>
                <a:gd name="connsiteY50" fmla="*/ 0 h 1329951"/>
                <a:gd name="connsiteX51" fmla="*/ 28944 w 549346"/>
                <a:gd name="connsiteY51" fmla="*/ 28945 h 1329951"/>
                <a:gd name="connsiteX52" fmla="*/ 0 w 549346"/>
                <a:gd name="connsiteY52" fmla="*/ 289145 h 1329951"/>
                <a:gd name="connsiteX53" fmla="*/ 0 w 549346"/>
                <a:gd name="connsiteY53" fmla="*/ 260201 h 1329951"/>
                <a:gd name="connsiteX54" fmla="*/ 28944 w 549346"/>
                <a:gd name="connsiteY54" fmla="*/ 260201 h 1329951"/>
                <a:gd name="connsiteX55" fmla="*/ 28944 w 549346"/>
                <a:gd name="connsiteY55" fmla="*/ 289145 h 1329951"/>
                <a:gd name="connsiteX56" fmla="*/ 0 w 549346"/>
                <a:gd name="connsiteY56" fmla="*/ 549346 h 1329951"/>
                <a:gd name="connsiteX57" fmla="*/ 0 w 549346"/>
                <a:gd name="connsiteY57" fmla="*/ 520401 h 1329951"/>
                <a:gd name="connsiteX58" fmla="*/ 28944 w 549346"/>
                <a:gd name="connsiteY58" fmla="*/ 520401 h 1329951"/>
                <a:gd name="connsiteX59" fmla="*/ 28944 w 549346"/>
                <a:gd name="connsiteY59" fmla="*/ 549346 h 1329951"/>
                <a:gd name="connsiteX60" fmla="*/ 0 w 549346"/>
                <a:gd name="connsiteY60" fmla="*/ 809547 h 1329951"/>
                <a:gd name="connsiteX61" fmla="*/ 0 w 549346"/>
                <a:gd name="connsiteY61" fmla="*/ 780602 h 1329951"/>
                <a:gd name="connsiteX62" fmla="*/ 28944 w 549346"/>
                <a:gd name="connsiteY62" fmla="*/ 780602 h 1329951"/>
                <a:gd name="connsiteX63" fmla="*/ 28944 w 549346"/>
                <a:gd name="connsiteY63" fmla="*/ 809547 h 1329951"/>
                <a:gd name="connsiteX64" fmla="*/ 0 w 549346"/>
                <a:gd name="connsiteY64" fmla="*/ 1069746 h 1329951"/>
                <a:gd name="connsiteX65" fmla="*/ 0 w 549346"/>
                <a:gd name="connsiteY65" fmla="*/ 1040802 h 1329951"/>
                <a:gd name="connsiteX66" fmla="*/ 28944 w 549346"/>
                <a:gd name="connsiteY66" fmla="*/ 1040802 h 1329951"/>
                <a:gd name="connsiteX67" fmla="*/ 28944 w 549346"/>
                <a:gd name="connsiteY67" fmla="*/ 1069746 h 1329951"/>
                <a:gd name="connsiteX68" fmla="*/ 0 w 549346"/>
                <a:gd name="connsiteY68" fmla="*/ 1329946 h 1329951"/>
                <a:gd name="connsiteX69" fmla="*/ 0 w 549346"/>
                <a:gd name="connsiteY69" fmla="*/ 1301002 h 1329951"/>
                <a:gd name="connsiteX70" fmla="*/ 28944 w 549346"/>
                <a:gd name="connsiteY70" fmla="*/ 1301002 h 1329951"/>
                <a:gd name="connsiteX71" fmla="*/ 28944 w 549346"/>
                <a:gd name="connsiteY71" fmla="*/ 1329946 h 1329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</a:cxnLst>
              <a:rect l="l" t="t" r="r" b="b"/>
              <a:pathLst>
                <a:path w="549346" h="1329951">
                  <a:moveTo>
                    <a:pt x="520400" y="28950"/>
                  </a:moveTo>
                  <a:lnTo>
                    <a:pt x="520400" y="5"/>
                  </a:lnTo>
                  <a:lnTo>
                    <a:pt x="549346" y="5"/>
                  </a:lnTo>
                  <a:lnTo>
                    <a:pt x="549346" y="28950"/>
                  </a:lnTo>
                  <a:close/>
                  <a:moveTo>
                    <a:pt x="520400" y="289149"/>
                  </a:moveTo>
                  <a:lnTo>
                    <a:pt x="520400" y="260205"/>
                  </a:lnTo>
                  <a:lnTo>
                    <a:pt x="549346" y="260205"/>
                  </a:lnTo>
                  <a:lnTo>
                    <a:pt x="549346" y="289149"/>
                  </a:lnTo>
                  <a:close/>
                  <a:moveTo>
                    <a:pt x="520400" y="549350"/>
                  </a:moveTo>
                  <a:lnTo>
                    <a:pt x="520400" y="520405"/>
                  </a:lnTo>
                  <a:lnTo>
                    <a:pt x="549346" y="520405"/>
                  </a:lnTo>
                  <a:lnTo>
                    <a:pt x="549346" y="549350"/>
                  </a:lnTo>
                  <a:close/>
                  <a:moveTo>
                    <a:pt x="520400" y="809553"/>
                  </a:moveTo>
                  <a:lnTo>
                    <a:pt x="520400" y="780608"/>
                  </a:lnTo>
                  <a:lnTo>
                    <a:pt x="549346" y="780608"/>
                  </a:lnTo>
                  <a:lnTo>
                    <a:pt x="549346" y="809553"/>
                  </a:lnTo>
                  <a:close/>
                  <a:moveTo>
                    <a:pt x="520400" y="1069751"/>
                  </a:moveTo>
                  <a:lnTo>
                    <a:pt x="520400" y="1040807"/>
                  </a:lnTo>
                  <a:lnTo>
                    <a:pt x="549346" y="1040807"/>
                  </a:lnTo>
                  <a:lnTo>
                    <a:pt x="549346" y="1069751"/>
                  </a:lnTo>
                  <a:close/>
                  <a:moveTo>
                    <a:pt x="520400" y="1329951"/>
                  </a:moveTo>
                  <a:lnTo>
                    <a:pt x="520400" y="1301007"/>
                  </a:lnTo>
                  <a:lnTo>
                    <a:pt x="549346" y="1301007"/>
                  </a:lnTo>
                  <a:lnTo>
                    <a:pt x="549346" y="1329951"/>
                  </a:lnTo>
                  <a:close/>
                  <a:moveTo>
                    <a:pt x="260201" y="28947"/>
                  </a:moveTo>
                  <a:lnTo>
                    <a:pt x="260201" y="2"/>
                  </a:lnTo>
                  <a:lnTo>
                    <a:pt x="289145" y="2"/>
                  </a:lnTo>
                  <a:lnTo>
                    <a:pt x="289145" y="28947"/>
                  </a:lnTo>
                  <a:close/>
                  <a:moveTo>
                    <a:pt x="260201" y="289147"/>
                  </a:moveTo>
                  <a:lnTo>
                    <a:pt x="260201" y="260203"/>
                  </a:lnTo>
                  <a:lnTo>
                    <a:pt x="289145" y="260203"/>
                  </a:lnTo>
                  <a:lnTo>
                    <a:pt x="289145" y="289147"/>
                  </a:lnTo>
                  <a:close/>
                  <a:moveTo>
                    <a:pt x="260201" y="549348"/>
                  </a:moveTo>
                  <a:lnTo>
                    <a:pt x="260201" y="520403"/>
                  </a:lnTo>
                  <a:lnTo>
                    <a:pt x="289145" y="520403"/>
                  </a:lnTo>
                  <a:lnTo>
                    <a:pt x="289145" y="549348"/>
                  </a:lnTo>
                  <a:close/>
                  <a:moveTo>
                    <a:pt x="260201" y="809551"/>
                  </a:moveTo>
                  <a:lnTo>
                    <a:pt x="260201" y="780605"/>
                  </a:lnTo>
                  <a:lnTo>
                    <a:pt x="289145" y="780605"/>
                  </a:lnTo>
                  <a:lnTo>
                    <a:pt x="289145" y="809551"/>
                  </a:lnTo>
                  <a:close/>
                  <a:moveTo>
                    <a:pt x="260201" y="1069748"/>
                  </a:moveTo>
                  <a:lnTo>
                    <a:pt x="260201" y="1040804"/>
                  </a:lnTo>
                  <a:lnTo>
                    <a:pt x="289145" y="1040804"/>
                  </a:lnTo>
                  <a:lnTo>
                    <a:pt x="289145" y="1069748"/>
                  </a:lnTo>
                  <a:close/>
                  <a:moveTo>
                    <a:pt x="260201" y="1329948"/>
                  </a:moveTo>
                  <a:lnTo>
                    <a:pt x="260201" y="1301004"/>
                  </a:lnTo>
                  <a:lnTo>
                    <a:pt x="289145" y="1301004"/>
                  </a:lnTo>
                  <a:lnTo>
                    <a:pt x="289145" y="1329948"/>
                  </a:lnTo>
                  <a:close/>
                  <a:moveTo>
                    <a:pt x="0" y="28945"/>
                  </a:moveTo>
                  <a:lnTo>
                    <a:pt x="0" y="0"/>
                  </a:lnTo>
                  <a:lnTo>
                    <a:pt x="28944" y="0"/>
                  </a:lnTo>
                  <a:lnTo>
                    <a:pt x="28944" y="28945"/>
                  </a:lnTo>
                  <a:close/>
                  <a:moveTo>
                    <a:pt x="0" y="289145"/>
                  </a:moveTo>
                  <a:lnTo>
                    <a:pt x="0" y="260201"/>
                  </a:lnTo>
                  <a:lnTo>
                    <a:pt x="28944" y="260201"/>
                  </a:lnTo>
                  <a:lnTo>
                    <a:pt x="28944" y="289145"/>
                  </a:lnTo>
                  <a:close/>
                  <a:moveTo>
                    <a:pt x="0" y="549346"/>
                  </a:moveTo>
                  <a:lnTo>
                    <a:pt x="0" y="520401"/>
                  </a:lnTo>
                  <a:lnTo>
                    <a:pt x="28944" y="520401"/>
                  </a:lnTo>
                  <a:lnTo>
                    <a:pt x="28944" y="549346"/>
                  </a:lnTo>
                  <a:close/>
                  <a:moveTo>
                    <a:pt x="0" y="809547"/>
                  </a:moveTo>
                  <a:lnTo>
                    <a:pt x="0" y="780602"/>
                  </a:lnTo>
                  <a:lnTo>
                    <a:pt x="28944" y="780602"/>
                  </a:lnTo>
                  <a:lnTo>
                    <a:pt x="28944" y="809547"/>
                  </a:lnTo>
                  <a:close/>
                  <a:moveTo>
                    <a:pt x="0" y="1069746"/>
                  </a:moveTo>
                  <a:lnTo>
                    <a:pt x="0" y="1040802"/>
                  </a:lnTo>
                  <a:lnTo>
                    <a:pt x="28944" y="1040802"/>
                  </a:lnTo>
                  <a:lnTo>
                    <a:pt x="28944" y="1069746"/>
                  </a:lnTo>
                  <a:close/>
                  <a:moveTo>
                    <a:pt x="0" y="1329946"/>
                  </a:moveTo>
                  <a:lnTo>
                    <a:pt x="0" y="1301002"/>
                  </a:lnTo>
                  <a:lnTo>
                    <a:pt x="28944" y="1301002"/>
                  </a:lnTo>
                  <a:lnTo>
                    <a:pt x="28944" y="1329946"/>
                  </a:ln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 w="10294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E10CBB02-3AB5-CEB3-C676-CD188EEC0BFB}"/>
                </a:ext>
              </a:extLst>
            </p:cNvPr>
            <p:cNvGrpSpPr/>
            <p:nvPr userDrawn="1"/>
          </p:nvGrpSpPr>
          <p:grpSpPr>
            <a:xfrm>
              <a:off x="8550712" y="244608"/>
              <a:ext cx="3410686" cy="549346"/>
              <a:chOff x="8550712" y="244608"/>
              <a:chExt cx="3410686" cy="549346"/>
            </a:xfrm>
          </p:grpSpPr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B1531FD9-E150-5AC7-9841-AA36F23AAA5A}"/>
                  </a:ext>
                </a:extLst>
              </p:cNvPr>
              <p:cNvSpPr/>
              <p:nvPr userDrawn="1"/>
            </p:nvSpPr>
            <p:spPr>
              <a:xfrm rot="5400000">
                <a:off x="11021749" y="-145696"/>
                <a:ext cx="549346" cy="1329953"/>
              </a:xfrm>
              <a:custGeom>
                <a:avLst/>
                <a:gdLst>
                  <a:gd name="connsiteX0" fmla="*/ 520400 w 549346"/>
                  <a:gd name="connsiteY0" fmla="*/ 28951 h 1329953"/>
                  <a:gd name="connsiteX1" fmla="*/ 520400 w 549346"/>
                  <a:gd name="connsiteY1" fmla="*/ 7 h 1329953"/>
                  <a:gd name="connsiteX2" fmla="*/ 549346 w 549346"/>
                  <a:gd name="connsiteY2" fmla="*/ 7 h 1329953"/>
                  <a:gd name="connsiteX3" fmla="*/ 549346 w 549346"/>
                  <a:gd name="connsiteY3" fmla="*/ 28951 h 1329953"/>
                  <a:gd name="connsiteX4" fmla="*/ 520400 w 549346"/>
                  <a:gd name="connsiteY4" fmla="*/ 289151 h 1329953"/>
                  <a:gd name="connsiteX5" fmla="*/ 520400 w 549346"/>
                  <a:gd name="connsiteY5" fmla="*/ 260207 h 1329953"/>
                  <a:gd name="connsiteX6" fmla="*/ 549346 w 549346"/>
                  <a:gd name="connsiteY6" fmla="*/ 260207 h 1329953"/>
                  <a:gd name="connsiteX7" fmla="*/ 549346 w 549346"/>
                  <a:gd name="connsiteY7" fmla="*/ 289151 h 1329953"/>
                  <a:gd name="connsiteX8" fmla="*/ 520400 w 549346"/>
                  <a:gd name="connsiteY8" fmla="*/ 549351 h 1329953"/>
                  <a:gd name="connsiteX9" fmla="*/ 520400 w 549346"/>
                  <a:gd name="connsiteY9" fmla="*/ 520407 h 1329953"/>
                  <a:gd name="connsiteX10" fmla="*/ 549346 w 549346"/>
                  <a:gd name="connsiteY10" fmla="*/ 520407 h 1329953"/>
                  <a:gd name="connsiteX11" fmla="*/ 549346 w 549346"/>
                  <a:gd name="connsiteY11" fmla="*/ 549351 h 1329953"/>
                  <a:gd name="connsiteX12" fmla="*/ 520400 w 549346"/>
                  <a:gd name="connsiteY12" fmla="*/ 809555 h 1329953"/>
                  <a:gd name="connsiteX13" fmla="*/ 520400 w 549346"/>
                  <a:gd name="connsiteY13" fmla="*/ 780609 h 1329953"/>
                  <a:gd name="connsiteX14" fmla="*/ 549346 w 549346"/>
                  <a:gd name="connsiteY14" fmla="*/ 780609 h 1329953"/>
                  <a:gd name="connsiteX15" fmla="*/ 549346 w 549346"/>
                  <a:gd name="connsiteY15" fmla="*/ 809555 h 1329953"/>
                  <a:gd name="connsiteX16" fmla="*/ 520400 w 549346"/>
                  <a:gd name="connsiteY16" fmla="*/ 1069753 h 1329953"/>
                  <a:gd name="connsiteX17" fmla="*/ 520400 w 549346"/>
                  <a:gd name="connsiteY17" fmla="*/ 1040809 h 1329953"/>
                  <a:gd name="connsiteX18" fmla="*/ 549346 w 549346"/>
                  <a:gd name="connsiteY18" fmla="*/ 1040809 h 1329953"/>
                  <a:gd name="connsiteX19" fmla="*/ 549346 w 549346"/>
                  <a:gd name="connsiteY19" fmla="*/ 1069753 h 1329953"/>
                  <a:gd name="connsiteX20" fmla="*/ 520400 w 549346"/>
                  <a:gd name="connsiteY20" fmla="*/ 1329953 h 1329953"/>
                  <a:gd name="connsiteX21" fmla="*/ 520400 w 549346"/>
                  <a:gd name="connsiteY21" fmla="*/ 1301009 h 1329953"/>
                  <a:gd name="connsiteX22" fmla="*/ 549346 w 549346"/>
                  <a:gd name="connsiteY22" fmla="*/ 1301009 h 1329953"/>
                  <a:gd name="connsiteX23" fmla="*/ 549346 w 549346"/>
                  <a:gd name="connsiteY23" fmla="*/ 1329953 h 1329953"/>
                  <a:gd name="connsiteX24" fmla="*/ 260201 w 549346"/>
                  <a:gd name="connsiteY24" fmla="*/ 28949 h 1329953"/>
                  <a:gd name="connsiteX25" fmla="*/ 260201 w 549346"/>
                  <a:gd name="connsiteY25" fmla="*/ 3 h 1329953"/>
                  <a:gd name="connsiteX26" fmla="*/ 289145 w 549346"/>
                  <a:gd name="connsiteY26" fmla="*/ 3 h 1329953"/>
                  <a:gd name="connsiteX27" fmla="*/ 289145 w 549346"/>
                  <a:gd name="connsiteY27" fmla="*/ 28949 h 1329953"/>
                  <a:gd name="connsiteX28" fmla="*/ 0 w 549346"/>
                  <a:gd name="connsiteY28" fmla="*/ 28947 h 1329953"/>
                  <a:gd name="connsiteX29" fmla="*/ 0 w 549346"/>
                  <a:gd name="connsiteY29" fmla="*/ 0 h 1329953"/>
                  <a:gd name="connsiteX30" fmla="*/ 28944 w 549346"/>
                  <a:gd name="connsiteY30" fmla="*/ 0 h 1329953"/>
                  <a:gd name="connsiteX31" fmla="*/ 28944 w 549346"/>
                  <a:gd name="connsiteY31" fmla="*/ 28947 h 1329953"/>
                  <a:gd name="connsiteX32" fmla="*/ 0 w 549346"/>
                  <a:gd name="connsiteY32" fmla="*/ 289147 h 1329953"/>
                  <a:gd name="connsiteX33" fmla="*/ 0 w 549346"/>
                  <a:gd name="connsiteY33" fmla="*/ 260203 h 1329953"/>
                  <a:gd name="connsiteX34" fmla="*/ 28944 w 549346"/>
                  <a:gd name="connsiteY34" fmla="*/ 260203 h 1329953"/>
                  <a:gd name="connsiteX35" fmla="*/ 28944 w 549346"/>
                  <a:gd name="connsiteY35" fmla="*/ 289147 h 1329953"/>
                  <a:gd name="connsiteX36" fmla="*/ 0 w 549346"/>
                  <a:gd name="connsiteY36" fmla="*/ 549347 h 1329953"/>
                  <a:gd name="connsiteX37" fmla="*/ 0 w 549346"/>
                  <a:gd name="connsiteY37" fmla="*/ 520403 h 1329953"/>
                  <a:gd name="connsiteX38" fmla="*/ 28944 w 549346"/>
                  <a:gd name="connsiteY38" fmla="*/ 520403 h 1329953"/>
                  <a:gd name="connsiteX39" fmla="*/ 28944 w 549346"/>
                  <a:gd name="connsiteY39" fmla="*/ 549347 h 1329953"/>
                  <a:gd name="connsiteX40" fmla="*/ 0 w 549346"/>
                  <a:gd name="connsiteY40" fmla="*/ 809549 h 1329953"/>
                  <a:gd name="connsiteX41" fmla="*/ 0 w 549346"/>
                  <a:gd name="connsiteY41" fmla="*/ 780603 h 1329953"/>
                  <a:gd name="connsiteX42" fmla="*/ 28944 w 549346"/>
                  <a:gd name="connsiteY42" fmla="*/ 780603 h 1329953"/>
                  <a:gd name="connsiteX43" fmla="*/ 28944 w 549346"/>
                  <a:gd name="connsiteY43" fmla="*/ 809549 h 1329953"/>
                  <a:gd name="connsiteX44" fmla="*/ 0 w 549346"/>
                  <a:gd name="connsiteY44" fmla="*/ 1069747 h 1329953"/>
                  <a:gd name="connsiteX45" fmla="*/ 0 w 549346"/>
                  <a:gd name="connsiteY45" fmla="*/ 1040803 h 1329953"/>
                  <a:gd name="connsiteX46" fmla="*/ 28944 w 549346"/>
                  <a:gd name="connsiteY46" fmla="*/ 1040803 h 1329953"/>
                  <a:gd name="connsiteX47" fmla="*/ 28944 w 549346"/>
                  <a:gd name="connsiteY47" fmla="*/ 1069747 h 1329953"/>
                  <a:gd name="connsiteX48" fmla="*/ 0 w 549346"/>
                  <a:gd name="connsiteY48" fmla="*/ 1329947 h 1329953"/>
                  <a:gd name="connsiteX49" fmla="*/ 0 w 549346"/>
                  <a:gd name="connsiteY49" fmla="*/ 1301003 h 1329953"/>
                  <a:gd name="connsiteX50" fmla="*/ 28944 w 549346"/>
                  <a:gd name="connsiteY50" fmla="*/ 1301003 h 1329953"/>
                  <a:gd name="connsiteX51" fmla="*/ 28944 w 549346"/>
                  <a:gd name="connsiteY51" fmla="*/ 1329947 h 13299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549346" h="1329953">
                    <a:moveTo>
                      <a:pt x="520400" y="28951"/>
                    </a:moveTo>
                    <a:lnTo>
                      <a:pt x="520400" y="7"/>
                    </a:lnTo>
                    <a:lnTo>
                      <a:pt x="549346" y="7"/>
                    </a:lnTo>
                    <a:lnTo>
                      <a:pt x="549346" y="28951"/>
                    </a:lnTo>
                    <a:close/>
                    <a:moveTo>
                      <a:pt x="520400" y="289151"/>
                    </a:moveTo>
                    <a:lnTo>
                      <a:pt x="520400" y="260207"/>
                    </a:lnTo>
                    <a:lnTo>
                      <a:pt x="549346" y="260207"/>
                    </a:lnTo>
                    <a:lnTo>
                      <a:pt x="549346" y="289151"/>
                    </a:lnTo>
                    <a:close/>
                    <a:moveTo>
                      <a:pt x="520400" y="549351"/>
                    </a:moveTo>
                    <a:lnTo>
                      <a:pt x="520400" y="520407"/>
                    </a:lnTo>
                    <a:lnTo>
                      <a:pt x="549346" y="520407"/>
                    </a:lnTo>
                    <a:lnTo>
                      <a:pt x="549346" y="549351"/>
                    </a:lnTo>
                    <a:close/>
                    <a:moveTo>
                      <a:pt x="520400" y="809555"/>
                    </a:moveTo>
                    <a:lnTo>
                      <a:pt x="520400" y="780609"/>
                    </a:lnTo>
                    <a:lnTo>
                      <a:pt x="549346" y="780609"/>
                    </a:lnTo>
                    <a:lnTo>
                      <a:pt x="549346" y="809555"/>
                    </a:lnTo>
                    <a:close/>
                    <a:moveTo>
                      <a:pt x="520400" y="1069753"/>
                    </a:moveTo>
                    <a:lnTo>
                      <a:pt x="520400" y="1040809"/>
                    </a:lnTo>
                    <a:lnTo>
                      <a:pt x="549346" y="1040809"/>
                    </a:lnTo>
                    <a:lnTo>
                      <a:pt x="549346" y="1069753"/>
                    </a:lnTo>
                    <a:close/>
                    <a:moveTo>
                      <a:pt x="520400" y="1329953"/>
                    </a:moveTo>
                    <a:lnTo>
                      <a:pt x="520400" y="1301009"/>
                    </a:lnTo>
                    <a:lnTo>
                      <a:pt x="549346" y="1301009"/>
                    </a:lnTo>
                    <a:lnTo>
                      <a:pt x="549346" y="1329953"/>
                    </a:lnTo>
                    <a:close/>
                    <a:moveTo>
                      <a:pt x="260201" y="28949"/>
                    </a:moveTo>
                    <a:lnTo>
                      <a:pt x="260201" y="3"/>
                    </a:lnTo>
                    <a:lnTo>
                      <a:pt x="289145" y="3"/>
                    </a:lnTo>
                    <a:lnTo>
                      <a:pt x="289145" y="28949"/>
                    </a:lnTo>
                    <a:close/>
                    <a:moveTo>
                      <a:pt x="0" y="28947"/>
                    </a:moveTo>
                    <a:lnTo>
                      <a:pt x="0" y="0"/>
                    </a:lnTo>
                    <a:lnTo>
                      <a:pt x="28944" y="0"/>
                    </a:lnTo>
                    <a:lnTo>
                      <a:pt x="28944" y="28947"/>
                    </a:lnTo>
                    <a:close/>
                    <a:moveTo>
                      <a:pt x="0" y="289147"/>
                    </a:moveTo>
                    <a:lnTo>
                      <a:pt x="0" y="260203"/>
                    </a:lnTo>
                    <a:lnTo>
                      <a:pt x="28944" y="260203"/>
                    </a:lnTo>
                    <a:lnTo>
                      <a:pt x="28944" y="289147"/>
                    </a:lnTo>
                    <a:close/>
                    <a:moveTo>
                      <a:pt x="0" y="549347"/>
                    </a:moveTo>
                    <a:lnTo>
                      <a:pt x="0" y="520403"/>
                    </a:lnTo>
                    <a:lnTo>
                      <a:pt x="28944" y="520403"/>
                    </a:lnTo>
                    <a:lnTo>
                      <a:pt x="28944" y="549347"/>
                    </a:lnTo>
                    <a:close/>
                    <a:moveTo>
                      <a:pt x="0" y="809549"/>
                    </a:moveTo>
                    <a:lnTo>
                      <a:pt x="0" y="780603"/>
                    </a:lnTo>
                    <a:lnTo>
                      <a:pt x="28944" y="780603"/>
                    </a:lnTo>
                    <a:lnTo>
                      <a:pt x="28944" y="809549"/>
                    </a:lnTo>
                    <a:close/>
                    <a:moveTo>
                      <a:pt x="0" y="1069747"/>
                    </a:moveTo>
                    <a:lnTo>
                      <a:pt x="0" y="1040803"/>
                    </a:lnTo>
                    <a:lnTo>
                      <a:pt x="28944" y="1040803"/>
                    </a:lnTo>
                    <a:lnTo>
                      <a:pt x="28944" y="1069747"/>
                    </a:lnTo>
                    <a:close/>
                    <a:moveTo>
                      <a:pt x="0" y="1329947"/>
                    </a:moveTo>
                    <a:lnTo>
                      <a:pt x="0" y="1301003"/>
                    </a:lnTo>
                    <a:lnTo>
                      <a:pt x="28944" y="1301003"/>
                    </a:lnTo>
                    <a:lnTo>
                      <a:pt x="28944" y="1329947"/>
                    </a:lnTo>
                    <a:close/>
                  </a:path>
                </a:pathLst>
              </a:custGeom>
              <a:solidFill>
                <a:schemeClr val="tx2">
                  <a:alpha val="20000"/>
                </a:schemeClr>
              </a:solidFill>
              <a:ln w="10294" cap="flat">
                <a:noFill/>
                <a:prstDash val="solid"/>
                <a:miter/>
              </a:ln>
            </p:spPr>
            <p:txBody>
              <a:bodyPr wrap="square" rtlCol="0" anchor="ctr"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B737093F-4048-B122-538B-66867BCFBEED}"/>
                  </a:ext>
                </a:extLst>
              </p:cNvPr>
              <p:cNvSpPr/>
              <p:nvPr userDrawn="1"/>
            </p:nvSpPr>
            <p:spPr>
              <a:xfrm rot="5400000">
                <a:off x="8941015" y="-145695"/>
                <a:ext cx="549346" cy="1329951"/>
              </a:xfrm>
              <a:custGeom>
                <a:avLst/>
                <a:gdLst>
                  <a:gd name="connsiteX0" fmla="*/ 520400 w 549346"/>
                  <a:gd name="connsiteY0" fmla="*/ 28950 h 1329951"/>
                  <a:gd name="connsiteX1" fmla="*/ 520400 w 549346"/>
                  <a:gd name="connsiteY1" fmla="*/ 5 h 1329951"/>
                  <a:gd name="connsiteX2" fmla="*/ 549346 w 549346"/>
                  <a:gd name="connsiteY2" fmla="*/ 5 h 1329951"/>
                  <a:gd name="connsiteX3" fmla="*/ 549346 w 549346"/>
                  <a:gd name="connsiteY3" fmla="*/ 28950 h 1329951"/>
                  <a:gd name="connsiteX4" fmla="*/ 520400 w 549346"/>
                  <a:gd name="connsiteY4" fmla="*/ 289149 h 1329951"/>
                  <a:gd name="connsiteX5" fmla="*/ 520400 w 549346"/>
                  <a:gd name="connsiteY5" fmla="*/ 260205 h 1329951"/>
                  <a:gd name="connsiteX6" fmla="*/ 549346 w 549346"/>
                  <a:gd name="connsiteY6" fmla="*/ 260205 h 1329951"/>
                  <a:gd name="connsiteX7" fmla="*/ 549346 w 549346"/>
                  <a:gd name="connsiteY7" fmla="*/ 289149 h 1329951"/>
                  <a:gd name="connsiteX8" fmla="*/ 520400 w 549346"/>
                  <a:gd name="connsiteY8" fmla="*/ 549350 h 1329951"/>
                  <a:gd name="connsiteX9" fmla="*/ 520400 w 549346"/>
                  <a:gd name="connsiteY9" fmla="*/ 520405 h 1329951"/>
                  <a:gd name="connsiteX10" fmla="*/ 549346 w 549346"/>
                  <a:gd name="connsiteY10" fmla="*/ 520405 h 1329951"/>
                  <a:gd name="connsiteX11" fmla="*/ 549346 w 549346"/>
                  <a:gd name="connsiteY11" fmla="*/ 549350 h 1329951"/>
                  <a:gd name="connsiteX12" fmla="*/ 520400 w 549346"/>
                  <a:gd name="connsiteY12" fmla="*/ 809553 h 1329951"/>
                  <a:gd name="connsiteX13" fmla="*/ 520400 w 549346"/>
                  <a:gd name="connsiteY13" fmla="*/ 780608 h 1329951"/>
                  <a:gd name="connsiteX14" fmla="*/ 549346 w 549346"/>
                  <a:gd name="connsiteY14" fmla="*/ 780608 h 1329951"/>
                  <a:gd name="connsiteX15" fmla="*/ 549346 w 549346"/>
                  <a:gd name="connsiteY15" fmla="*/ 809553 h 1329951"/>
                  <a:gd name="connsiteX16" fmla="*/ 520400 w 549346"/>
                  <a:gd name="connsiteY16" fmla="*/ 1069751 h 1329951"/>
                  <a:gd name="connsiteX17" fmla="*/ 520400 w 549346"/>
                  <a:gd name="connsiteY17" fmla="*/ 1040807 h 1329951"/>
                  <a:gd name="connsiteX18" fmla="*/ 549346 w 549346"/>
                  <a:gd name="connsiteY18" fmla="*/ 1040807 h 1329951"/>
                  <a:gd name="connsiteX19" fmla="*/ 549346 w 549346"/>
                  <a:gd name="connsiteY19" fmla="*/ 1069751 h 1329951"/>
                  <a:gd name="connsiteX20" fmla="*/ 520400 w 549346"/>
                  <a:gd name="connsiteY20" fmla="*/ 1329951 h 1329951"/>
                  <a:gd name="connsiteX21" fmla="*/ 520400 w 549346"/>
                  <a:gd name="connsiteY21" fmla="*/ 1301007 h 1329951"/>
                  <a:gd name="connsiteX22" fmla="*/ 549346 w 549346"/>
                  <a:gd name="connsiteY22" fmla="*/ 1301007 h 1329951"/>
                  <a:gd name="connsiteX23" fmla="*/ 549346 w 549346"/>
                  <a:gd name="connsiteY23" fmla="*/ 1329951 h 1329951"/>
                  <a:gd name="connsiteX24" fmla="*/ 260201 w 549346"/>
                  <a:gd name="connsiteY24" fmla="*/ 28947 h 1329951"/>
                  <a:gd name="connsiteX25" fmla="*/ 260201 w 549346"/>
                  <a:gd name="connsiteY25" fmla="*/ 2 h 1329951"/>
                  <a:gd name="connsiteX26" fmla="*/ 289145 w 549346"/>
                  <a:gd name="connsiteY26" fmla="*/ 2 h 1329951"/>
                  <a:gd name="connsiteX27" fmla="*/ 289145 w 549346"/>
                  <a:gd name="connsiteY27" fmla="*/ 28947 h 1329951"/>
                  <a:gd name="connsiteX28" fmla="*/ 260201 w 549346"/>
                  <a:gd name="connsiteY28" fmla="*/ 289147 h 1329951"/>
                  <a:gd name="connsiteX29" fmla="*/ 260201 w 549346"/>
                  <a:gd name="connsiteY29" fmla="*/ 260203 h 1329951"/>
                  <a:gd name="connsiteX30" fmla="*/ 289145 w 549346"/>
                  <a:gd name="connsiteY30" fmla="*/ 260203 h 1329951"/>
                  <a:gd name="connsiteX31" fmla="*/ 289145 w 549346"/>
                  <a:gd name="connsiteY31" fmla="*/ 289147 h 1329951"/>
                  <a:gd name="connsiteX32" fmla="*/ 260201 w 549346"/>
                  <a:gd name="connsiteY32" fmla="*/ 549348 h 1329951"/>
                  <a:gd name="connsiteX33" fmla="*/ 260201 w 549346"/>
                  <a:gd name="connsiteY33" fmla="*/ 520403 h 1329951"/>
                  <a:gd name="connsiteX34" fmla="*/ 289145 w 549346"/>
                  <a:gd name="connsiteY34" fmla="*/ 520403 h 1329951"/>
                  <a:gd name="connsiteX35" fmla="*/ 289145 w 549346"/>
                  <a:gd name="connsiteY35" fmla="*/ 549348 h 1329951"/>
                  <a:gd name="connsiteX36" fmla="*/ 260201 w 549346"/>
                  <a:gd name="connsiteY36" fmla="*/ 809551 h 1329951"/>
                  <a:gd name="connsiteX37" fmla="*/ 260201 w 549346"/>
                  <a:gd name="connsiteY37" fmla="*/ 780605 h 1329951"/>
                  <a:gd name="connsiteX38" fmla="*/ 289145 w 549346"/>
                  <a:gd name="connsiteY38" fmla="*/ 780605 h 1329951"/>
                  <a:gd name="connsiteX39" fmla="*/ 289145 w 549346"/>
                  <a:gd name="connsiteY39" fmla="*/ 809551 h 1329951"/>
                  <a:gd name="connsiteX40" fmla="*/ 260201 w 549346"/>
                  <a:gd name="connsiteY40" fmla="*/ 1069748 h 1329951"/>
                  <a:gd name="connsiteX41" fmla="*/ 260201 w 549346"/>
                  <a:gd name="connsiteY41" fmla="*/ 1040804 h 1329951"/>
                  <a:gd name="connsiteX42" fmla="*/ 289145 w 549346"/>
                  <a:gd name="connsiteY42" fmla="*/ 1040804 h 1329951"/>
                  <a:gd name="connsiteX43" fmla="*/ 289145 w 549346"/>
                  <a:gd name="connsiteY43" fmla="*/ 1069748 h 1329951"/>
                  <a:gd name="connsiteX44" fmla="*/ 260201 w 549346"/>
                  <a:gd name="connsiteY44" fmla="*/ 1329948 h 1329951"/>
                  <a:gd name="connsiteX45" fmla="*/ 260201 w 549346"/>
                  <a:gd name="connsiteY45" fmla="*/ 1301004 h 1329951"/>
                  <a:gd name="connsiteX46" fmla="*/ 289145 w 549346"/>
                  <a:gd name="connsiteY46" fmla="*/ 1301004 h 1329951"/>
                  <a:gd name="connsiteX47" fmla="*/ 289145 w 549346"/>
                  <a:gd name="connsiteY47" fmla="*/ 1329948 h 1329951"/>
                  <a:gd name="connsiteX48" fmla="*/ 0 w 549346"/>
                  <a:gd name="connsiteY48" fmla="*/ 28945 h 1329951"/>
                  <a:gd name="connsiteX49" fmla="*/ 0 w 549346"/>
                  <a:gd name="connsiteY49" fmla="*/ 0 h 1329951"/>
                  <a:gd name="connsiteX50" fmla="*/ 28944 w 549346"/>
                  <a:gd name="connsiteY50" fmla="*/ 0 h 1329951"/>
                  <a:gd name="connsiteX51" fmla="*/ 28944 w 549346"/>
                  <a:gd name="connsiteY51" fmla="*/ 28945 h 1329951"/>
                  <a:gd name="connsiteX52" fmla="*/ 0 w 549346"/>
                  <a:gd name="connsiteY52" fmla="*/ 289145 h 1329951"/>
                  <a:gd name="connsiteX53" fmla="*/ 0 w 549346"/>
                  <a:gd name="connsiteY53" fmla="*/ 260201 h 1329951"/>
                  <a:gd name="connsiteX54" fmla="*/ 28944 w 549346"/>
                  <a:gd name="connsiteY54" fmla="*/ 260201 h 1329951"/>
                  <a:gd name="connsiteX55" fmla="*/ 28944 w 549346"/>
                  <a:gd name="connsiteY55" fmla="*/ 289145 h 1329951"/>
                  <a:gd name="connsiteX56" fmla="*/ 0 w 549346"/>
                  <a:gd name="connsiteY56" fmla="*/ 549346 h 1329951"/>
                  <a:gd name="connsiteX57" fmla="*/ 0 w 549346"/>
                  <a:gd name="connsiteY57" fmla="*/ 520401 h 1329951"/>
                  <a:gd name="connsiteX58" fmla="*/ 28944 w 549346"/>
                  <a:gd name="connsiteY58" fmla="*/ 520401 h 1329951"/>
                  <a:gd name="connsiteX59" fmla="*/ 28944 w 549346"/>
                  <a:gd name="connsiteY59" fmla="*/ 549346 h 1329951"/>
                  <a:gd name="connsiteX60" fmla="*/ 0 w 549346"/>
                  <a:gd name="connsiteY60" fmla="*/ 809547 h 1329951"/>
                  <a:gd name="connsiteX61" fmla="*/ 0 w 549346"/>
                  <a:gd name="connsiteY61" fmla="*/ 780602 h 1329951"/>
                  <a:gd name="connsiteX62" fmla="*/ 28944 w 549346"/>
                  <a:gd name="connsiteY62" fmla="*/ 780602 h 1329951"/>
                  <a:gd name="connsiteX63" fmla="*/ 28944 w 549346"/>
                  <a:gd name="connsiteY63" fmla="*/ 809547 h 1329951"/>
                  <a:gd name="connsiteX64" fmla="*/ 0 w 549346"/>
                  <a:gd name="connsiteY64" fmla="*/ 1069746 h 1329951"/>
                  <a:gd name="connsiteX65" fmla="*/ 0 w 549346"/>
                  <a:gd name="connsiteY65" fmla="*/ 1040802 h 1329951"/>
                  <a:gd name="connsiteX66" fmla="*/ 28944 w 549346"/>
                  <a:gd name="connsiteY66" fmla="*/ 1040802 h 1329951"/>
                  <a:gd name="connsiteX67" fmla="*/ 28944 w 549346"/>
                  <a:gd name="connsiteY67" fmla="*/ 1069746 h 1329951"/>
                  <a:gd name="connsiteX68" fmla="*/ 0 w 549346"/>
                  <a:gd name="connsiteY68" fmla="*/ 1329946 h 1329951"/>
                  <a:gd name="connsiteX69" fmla="*/ 0 w 549346"/>
                  <a:gd name="connsiteY69" fmla="*/ 1301002 h 1329951"/>
                  <a:gd name="connsiteX70" fmla="*/ 28944 w 549346"/>
                  <a:gd name="connsiteY70" fmla="*/ 1301002 h 1329951"/>
                  <a:gd name="connsiteX71" fmla="*/ 28944 w 549346"/>
                  <a:gd name="connsiteY71" fmla="*/ 1329946 h 13299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</a:cxnLst>
                <a:rect l="l" t="t" r="r" b="b"/>
                <a:pathLst>
                  <a:path w="549346" h="1329951">
                    <a:moveTo>
                      <a:pt x="520400" y="28950"/>
                    </a:moveTo>
                    <a:lnTo>
                      <a:pt x="520400" y="5"/>
                    </a:lnTo>
                    <a:lnTo>
                      <a:pt x="549346" y="5"/>
                    </a:lnTo>
                    <a:lnTo>
                      <a:pt x="549346" y="28950"/>
                    </a:lnTo>
                    <a:close/>
                    <a:moveTo>
                      <a:pt x="520400" y="289149"/>
                    </a:moveTo>
                    <a:lnTo>
                      <a:pt x="520400" y="260205"/>
                    </a:lnTo>
                    <a:lnTo>
                      <a:pt x="549346" y="260205"/>
                    </a:lnTo>
                    <a:lnTo>
                      <a:pt x="549346" y="289149"/>
                    </a:lnTo>
                    <a:close/>
                    <a:moveTo>
                      <a:pt x="520400" y="549350"/>
                    </a:moveTo>
                    <a:lnTo>
                      <a:pt x="520400" y="520405"/>
                    </a:lnTo>
                    <a:lnTo>
                      <a:pt x="549346" y="520405"/>
                    </a:lnTo>
                    <a:lnTo>
                      <a:pt x="549346" y="549350"/>
                    </a:lnTo>
                    <a:close/>
                    <a:moveTo>
                      <a:pt x="520400" y="809553"/>
                    </a:moveTo>
                    <a:lnTo>
                      <a:pt x="520400" y="780608"/>
                    </a:lnTo>
                    <a:lnTo>
                      <a:pt x="549346" y="780608"/>
                    </a:lnTo>
                    <a:lnTo>
                      <a:pt x="549346" y="809553"/>
                    </a:lnTo>
                    <a:close/>
                    <a:moveTo>
                      <a:pt x="520400" y="1069751"/>
                    </a:moveTo>
                    <a:lnTo>
                      <a:pt x="520400" y="1040807"/>
                    </a:lnTo>
                    <a:lnTo>
                      <a:pt x="549346" y="1040807"/>
                    </a:lnTo>
                    <a:lnTo>
                      <a:pt x="549346" y="1069751"/>
                    </a:lnTo>
                    <a:close/>
                    <a:moveTo>
                      <a:pt x="520400" y="1329951"/>
                    </a:moveTo>
                    <a:lnTo>
                      <a:pt x="520400" y="1301007"/>
                    </a:lnTo>
                    <a:lnTo>
                      <a:pt x="549346" y="1301007"/>
                    </a:lnTo>
                    <a:lnTo>
                      <a:pt x="549346" y="1329951"/>
                    </a:lnTo>
                    <a:close/>
                    <a:moveTo>
                      <a:pt x="260201" y="28947"/>
                    </a:moveTo>
                    <a:lnTo>
                      <a:pt x="260201" y="2"/>
                    </a:lnTo>
                    <a:lnTo>
                      <a:pt x="289145" y="2"/>
                    </a:lnTo>
                    <a:lnTo>
                      <a:pt x="289145" y="28947"/>
                    </a:lnTo>
                    <a:close/>
                    <a:moveTo>
                      <a:pt x="260201" y="289147"/>
                    </a:moveTo>
                    <a:lnTo>
                      <a:pt x="260201" y="260203"/>
                    </a:lnTo>
                    <a:lnTo>
                      <a:pt x="289145" y="260203"/>
                    </a:lnTo>
                    <a:lnTo>
                      <a:pt x="289145" y="289147"/>
                    </a:lnTo>
                    <a:close/>
                    <a:moveTo>
                      <a:pt x="260201" y="549348"/>
                    </a:moveTo>
                    <a:lnTo>
                      <a:pt x="260201" y="520403"/>
                    </a:lnTo>
                    <a:lnTo>
                      <a:pt x="289145" y="520403"/>
                    </a:lnTo>
                    <a:lnTo>
                      <a:pt x="289145" y="549348"/>
                    </a:lnTo>
                    <a:close/>
                    <a:moveTo>
                      <a:pt x="260201" y="809551"/>
                    </a:moveTo>
                    <a:lnTo>
                      <a:pt x="260201" y="780605"/>
                    </a:lnTo>
                    <a:lnTo>
                      <a:pt x="289145" y="780605"/>
                    </a:lnTo>
                    <a:lnTo>
                      <a:pt x="289145" y="809551"/>
                    </a:lnTo>
                    <a:close/>
                    <a:moveTo>
                      <a:pt x="260201" y="1069748"/>
                    </a:moveTo>
                    <a:lnTo>
                      <a:pt x="260201" y="1040804"/>
                    </a:lnTo>
                    <a:lnTo>
                      <a:pt x="289145" y="1040804"/>
                    </a:lnTo>
                    <a:lnTo>
                      <a:pt x="289145" y="1069748"/>
                    </a:lnTo>
                    <a:close/>
                    <a:moveTo>
                      <a:pt x="260201" y="1329948"/>
                    </a:moveTo>
                    <a:lnTo>
                      <a:pt x="260201" y="1301004"/>
                    </a:lnTo>
                    <a:lnTo>
                      <a:pt x="289145" y="1301004"/>
                    </a:lnTo>
                    <a:lnTo>
                      <a:pt x="289145" y="1329948"/>
                    </a:lnTo>
                    <a:close/>
                    <a:moveTo>
                      <a:pt x="0" y="28945"/>
                    </a:moveTo>
                    <a:lnTo>
                      <a:pt x="0" y="0"/>
                    </a:lnTo>
                    <a:lnTo>
                      <a:pt x="28944" y="0"/>
                    </a:lnTo>
                    <a:lnTo>
                      <a:pt x="28944" y="28945"/>
                    </a:lnTo>
                    <a:close/>
                    <a:moveTo>
                      <a:pt x="0" y="289145"/>
                    </a:moveTo>
                    <a:lnTo>
                      <a:pt x="0" y="260201"/>
                    </a:lnTo>
                    <a:lnTo>
                      <a:pt x="28944" y="260201"/>
                    </a:lnTo>
                    <a:lnTo>
                      <a:pt x="28944" y="289145"/>
                    </a:lnTo>
                    <a:close/>
                    <a:moveTo>
                      <a:pt x="0" y="549346"/>
                    </a:moveTo>
                    <a:lnTo>
                      <a:pt x="0" y="520401"/>
                    </a:lnTo>
                    <a:lnTo>
                      <a:pt x="28944" y="520401"/>
                    </a:lnTo>
                    <a:lnTo>
                      <a:pt x="28944" y="549346"/>
                    </a:lnTo>
                    <a:close/>
                    <a:moveTo>
                      <a:pt x="0" y="809547"/>
                    </a:moveTo>
                    <a:lnTo>
                      <a:pt x="0" y="780602"/>
                    </a:lnTo>
                    <a:lnTo>
                      <a:pt x="28944" y="780602"/>
                    </a:lnTo>
                    <a:lnTo>
                      <a:pt x="28944" y="809547"/>
                    </a:lnTo>
                    <a:close/>
                    <a:moveTo>
                      <a:pt x="0" y="1069746"/>
                    </a:moveTo>
                    <a:lnTo>
                      <a:pt x="0" y="1040802"/>
                    </a:lnTo>
                    <a:lnTo>
                      <a:pt x="28944" y="1040802"/>
                    </a:lnTo>
                    <a:lnTo>
                      <a:pt x="28944" y="1069746"/>
                    </a:lnTo>
                    <a:close/>
                    <a:moveTo>
                      <a:pt x="0" y="1329946"/>
                    </a:moveTo>
                    <a:lnTo>
                      <a:pt x="0" y="1301002"/>
                    </a:lnTo>
                    <a:lnTo>
                      <a:pt x="28944" y="1301002"/>
                    </a:lnTo>
                    <a:lnTo>
                      <a:pt x="28944" y="1329946"/>
                    </a:lnTo>
                    <a:close/>
                  </a:path>
                </a:pathLst>
              </a:custGeom>
              <a:solidFill>
                <a:schemeClr val="tx2">
                  <a:alpha val="20000"/>
                </a:schemeClr>
              </a:solidFill>
              <a:ln w="10294" cap="flat">
                <a:noFill/>
                <a:prstDash val="solid"/>
                <a:miter/>
              </a:ln>
            </p:spPr>
            <p:txBody>
              <a:bodyPr wrap="square" rtlCol="0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51DC6CF9-3571-20B7-3C12-F61B50905FE7}"/>
                  </a:ext>
                </a:extLst>
              </p:cNvPr>
              <p:cNvSpPr/>
              <p:nvPr userDrawn="1"/>
            </p:nvSpPr>
            <p:spPr>
              <a:xfrm rot="5400000">
                <a:off x="9981382" y="374703"/>
                <a:ext cx="549346" cy="289155"/>
              </a:xfrm>
              <a:custGeom>
                <a:avLst/>
                <a:gdLst>
                  <a:gd name="connsiteX0" fmla="*/ 520400 w 549346"/>
                  <a:gd name="connsiteY0" fmla="*/ 28955 h 289155"/>
                  <a:gd name="connsiteX1" fmla="*/ 520400 w 549346"/>
                  <a:gd name="connsiteY1" fmla="*/ 11 h 289155"/>
                  <a:gd name="connsiteX2" fmla="*/ 549346 w 549346"/>
                  <a:gd name="connsiteY2" fmla="*/ 11 h 289155"/>
                  <a:gd name="connsiteX3" fmla="*/ 549346 w 549346"/>
                  <a:gd name="connsiteY3" fmla="*/ 28955 h 289155"/>
                  <a:gd name="connsiteX4" fmla="*/ 520400 w 549346"/>
                  <a:gd name="connsiteY4" fmla="*/ 289155 h 289155"/>
                  <a:gd name="connsiteX5" fmla="*/ 520400 w 549346"/>
                  <a:gd name="connsiteY5" fmla="*/ 260211 h 289155"/>
                  <a:gd name="connsiteX6" fmla="*/ 549346 w 549346"/>
                  <a:gd name="connsiteY6" fmla="*/ 260211 h 289155"/>
                  <a:gd name="connsiteX7" fmla="*/ 549346 w 549346"/>
                  <a:gd name="connsiteY7" fmla="*/ 289155 h 289155"/>
                  <a:gd name="connsiteX8" fmla="*/ 0 w 549346"/>
                  <a:gd name="connsiteY8" fmla="*/ 28951 h 289155"/>
                  <a:gd name="connsiteX9" fmla="*/ 0 w 549346"/>
                  <a:gd name="connsiteY9" fmla="*/ 0 h 289155"/>
                  <a:gd name="connsiteX10" fmla="*/ 28944 w 549346"/>
                  <a:gd name="connsiteY10" fmla="*/ 0 h 289155"/>
                  <a:gd name="connsiteX11" fmla="*/ 28944 w 549346"/>
                  <a:gd name="connsiteY11" fmla="*/ 28951 h 289155"/>
                  <a:gd name="connsiteX12" fmla="*/ 0 w 549346"/>
                  <a:gd name="connsiteY12" fmla="*/ 289151 h 289155"/>
                  <a:gd name="connsiteX13" fmla="*/ 0 w 549346"/>
                  <a:gd name="connsiteY13" fmla="*/ 260207 h 289155"/>
                  <a:gd name="connsiteX14" fmla="*/ 28944 w 549346"/>
                  <a:gd name="connsiteY14" fmla="*/ 260207 h 289155"/>
                  <a:gd name="connsiteX15" fmla="*/ 28944 w 549346"/>
                  <a:gd name="connsiteY15" fmla="*/ 289151 h 2891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49346" h="289155">
                    <a:moveTo>
                      <a:pt x="520400" y="28955"/>
                    </a:moveTo>
                    <a:lnTo>
                      <a:pt x="520400" y="11"/>
                    </a:lnTo>
                    <a:lnTo>
                      <a:pt x="549346" y="11"/>
                    </a:lnTo>
                    <a:lnTo>
                      <a:pt x="549346" y="28955"/>
                    </a:lnTo>
                    <a:close/>
                    <a:moveTo>
                      <a:pt x="520400" y="289155"/>
                    </a:moveTo>
                    <a:lnTo>
                      <a:pt x="520400" y="260211"/>
                    </a:lnTo>
                    <a:lnTo>
                      <a:pt x="549346" y="260211"/>
                    </a:lnTo>
                    <a:lnTo>
                      <a:pt x="549346" y="289155"/>
                    </a:lnTo>
                    <a:close/>
                    <a:moveTo>
                      <a:pt x="0" y="28951"/>
                    </a:moveTo>
                    <a:lnTo>
                      <a:pt x="0" y="0"/>
                    </a:lnTo>
                    <a:lnTo>
                      <a:pt x="28944" y="0"/>
                    </a:lnTo>
                    <a:lnTo>
                      <a:pt x="28944" y="28951"/>
                    </a:lnTo>
                    <a:close/>
                    <a:moveTo>
                      <a:pt x="0" y="289151"/>
                    </a:moveTo>
                    <a:lnTo>
                      <a:pt x="0" y="260207"/>
                    </a:lnTo>
                    <a:lnTo>
                      <a:pt x="28944" y="260207"/>
                    </a:lnTo>
                    <a:lnTo>
                      <a:pt x="28944" y="289151"/>
                    </a:lnTo>
                    <a:close/>
                  </a:path>
                </a:pathLst>
              </a:custGeom>
              <a:solidFill>
                <a:schemeClr val="tx2">
                  <a:alpha val="20000"/>
                </a:schemeClr>
              </a:solidFill>
              <a:ln w="10294" cap="flat">
                <a:noFill/>
                <a:prstDash val="solid"/>
                <a:miter/>
              </a:ln>
            </p:spPr>
            <p:txBody>
              <a:bodyPr wrap="square" rtlCol="0" anchor="ctr">
                <a:noAutofit/>
              </a:bodyPr>
              <a:lstStyle/>
              <a:p>
                <a:endParaRPr lang="en-US"/>
              </a:p>
            </p:txBody>
          </p:sp>
        </p:grpSp>
      </p:grpSp>
      <p:pic>
        <p:nvPicPr>
          <p:cNvPr id="7" name="Graphic 6">
            <a:extLst>
              <a:ext uri="{FF2B5EF4-FFF2-40B4-BE49-F238E27FC236}">
                <a16:creationId xmlns:a16="http://schemas.microsoft.com/office/drawing/2014/main" id="{B0AD5E12-DAD3-54C4-0CEC-E33842D2D696}"/>
              </a:ext>
            </a:extLst>
          </p:cNvPr>
          <p:cNvPicPr>
            <a:picLocks noChangeAspect="1"/>
          </p:cNvPicPr>
          <p:nvPr userDrawn="1"/>
        </p:nvPicPr>
        <p:blipFill>
          <a:blip r:embed="rId41">
            <a:extLst>
              <a:ext uri="{96DAC541-7B7A-43D3-8B79-37D633B846F1}">
                <asvg:svgBlip xmlns:asvg="http://schemas.microsoft.com/office/drawing/2016/SVG/main" r:embed="rId42"/>
              </a:ext>
            </a:extLst>
          </a:blip>
          <a:stretch>
            <a:fillRect/>
          </a:stretch>
        </p:blipFill>
        <p:spPr>
          <a:xfrm>
            <a:off x="10027238" y="349030"/>
            <a:ext cx="1780586" cy="3273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25965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4" r:id="rId1"/>
    <p:sldLayoutId id="2147483945" r:id="rId2"/>
    <p:sldLayoutId id="2147483946" r:id="rId3"/>
    <p:sldLayoutId id="2147483947" r:id="rId4"/>
    <p:sldLayoutId id="2147483948" r:id="rId5"/>
    <p:sldLayoutId id="2147483949" r:id="rId6"/>
    <p:sldLayoutId id="2147483950" r:id="rId7"/>
    <p:sldLayoutId id="2147483951" r:id="rId8"/>
    <p:sldLayoutId id="2147483952" r:id="rId9"/>
    <p:sldLayoutId id="2147483953" r:id="rId10"/>
    <p:sldLayoutId id="2147483954" r:id="rId11"/>
    <p:sldLayoutId id="2147483955" r:id="rId12"/>
    <p:sldLayoutId id="2147483956" r:id="rId13"/>
    <p:sldLayoutId id="2147483957" r:id="rId14"/>
    <p:sldLayoutId id="2147483958" r:id="rId15"/>
    <p:sldLayoutId id="2147483959" r:id="rId16"/>
    <p:sldLayoutId id="2147483960" r:id="rId17"/>
    <p:sldLayoutId id="2147484025" r:id="rId18"/>
    <p:sldLayoutId id="2147484026" r:id="rId19"/>
    <p:sldLayoutId id="2147483961" r:id="rId20"/>
    <p:sldLayoutId id="2147483962" r:id="rId21"/>
    <p:sldLayoutId id="2147483963" r:id="rId22"/>
    <p:sldLayoutId id="2147483964" r:id="rId23"/>
    <p:sldLayoutId id="2147483965" r:id="rId24"/>
    <p:sldLayoutId id="2147483966" r:id="rId25"/>
    <p:sldLayoutId id="2147483967" r:id="rId26"/>
    <p:sldLayoutId id="2147483968" r:id="rId27"/>
    <p:sldLayoutId id="2147483969" r:id="rId28"/>
    <p:sldLayoutId id="2147483970" r:id="rId29"/>
    <p:sldLayoutId id="2147483971" r:id="rId30"/>
    <p:sldLayoutId id="2147483972" r:id="rId31"/>
    <p:sldLayoutId id="2147483973" r:id="rId32"/>
    <p:sldLayoutId id="2147483974" r:id="rId33"/>
    <p:sldLayoutId id="2147483975" r:id="rId34"/>
    <p:sldLayoutId id="2147484022" r:id="rId35"/>
    <p:sldLayoutId id="2147483977" r:id="rId36"/>
    <p:sldLayoutId id="2147483978" r:id="rId37"/>
    <p:sldLayoutId id="2147483979" r:id="rId38"/>
    <p:sldLayoutId id="2147483980" r:id="rId39"/>
  </p:sldLayoutIdLst>
  <p:hf sldNum="0" hdr="0" dt="0"/>
  <p:txStyles>
    <p:titleStyle>
      <a:lvl1pPr algn="l" defTabSz="457200" rtl="0" eaLnBrk="1" latinLnBrk="0" hangingPunct="1">
        <a:lnSpc>
          <a:spcPct val="85000"/>
        </a:lnSpc>
        <a:spcBef>
          <a:spcPct val="0"/>
        </a:spcBef>
        <a:buNone/>
        <a:tabLst>
          <a:tab pos="2227263" algn="l"/>
        </a:tabLst>
        <a:defRPr sz="2800" b="1" i="0" kern="1200" spc="-50" baseline="0">
          <a:solidFill>
            <a:schemeClr val="tx1"/>
          </a:solidFill>
          <a:latin typeface="Arial" panose="020B0604020202020204" pitchFamily="34" charset="0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spcBef>
          <a:spcPts val="1000"/>
        </a:spcBef>
        <a:buFont typeface="Arial"/>
        <a:buNone/>
        <a:defRPr sz="2000" kern="1200">
          <a:solidFill>
            <a:schemeClr val="tx1"/>
          </a:solidFill>
          <a:latin typeface="Arial"/>
          <a:ea typeface="+mn-ea"/>
          <a:cs typeface="Arial"/>
        </a:defRPr>
      </a:lvl1pPr>
      <a:lvl2pPr marL="174625" indent="-174625" algn="l" defTabSz="457200" rtl="0" eaLnBrk="1" latinLnBrk="0" hangingPunct="1">
        <a:spcBef>
          <a:spcPts val="500"/>
        </a:spcBef>
        <a:buClr>
          <a:schemeClr val="tx1"/>
        </a:buClr>
        <a:buFont typeface="Arial"/>
        <a:buChar char="•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339725" indent="-165100" algn="l" defTabSz="457200" rtl="0" eaLnBrk="1" latinLnBrk="0" hangingPunct="1">
        <a:spcBef>
          <a:spcPts val="300"/>
        </a:spcBef>
        <a:buClr>
          <a:schemeClr val="tx1"/>
        </a:buClr>
        <a:buFont typeface="Lucida Grande"/>
        <a:buChar char="-"/>
        <a:defRPr sz="2000" kern="1200">
          <a:solidFill>
            <a:schemeClr val="tx1"/>
          </a:solidFill>
          <a:latin typeface="Arial"/>
          <a:ea typeface="+mn-ea"/>
          <a:cs typeface="Arial"/>
        </a:defRPr>
      </a:lvl3pPr>
      <a:lvl4pPr marL="512763" indent="-173038" algn="l" defTabSz="457200" rtl="0" eaLnBrk="1" latinLnBrk="0" hangingPunct="1">
        <a:spcBef>
          <a:spcPts val="200"/>
        </a:spcBef>
        <a:buClr>
          <a:schemeClr val="tx1"/>
        </a:buClr>
        <a:buFont typeface="Arial"/>
        <a:buChar char="•"/>
        <a:defRPr sz="2000" kern="1200">
          <a:solidFill>
            <a:schemeClr val="tx1"/>
          </a:solidFill>
          <a:latin typeface="Arial"/>
          <a:ea typeface="+mn-ea"/>
          <a:cs typeface="Arial"/>
        </a:defRPr>
      </a:lvl4pPr>
      <a:lvl5pPr marL="687388" indent="-174625" algn="l" defTabSz="457200" rtl="0" eaLnBrk="1" latinLnBrk="0" hangingPunct="1">
        <a:spcBef>
          <a:spcPts val="100"/>
        </a:spcBef>
        <a:buClr>
          <a:schemeClr val="tx1"/>
        </a:buClr>
        <a:buFont typeface="Lucida Grande"/>
        <a:buChar char="-"/>
        <a:defRPr sz="20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7439">
          <p15:clr>
            <a:srgbClr val="F26B43"/>
          </p15:clr>
        </p15:guide>
        <p15:guide id="6" orient="horz" pos="3912" userDrawn="1">
          <p15:clr>
            <a:srgbClr val="F26B43"/>
          </p15:clr>
        </p15:guide>
        <p15:guide id="7" pos="239" userDrawn="1">
          <p15:clr>
            <a:srgbClr val="F26B43"/>
          </p15:clr>
        </p15:guide>
        <p15:guide id="8" orient="horz" pos="648" userDrawn="1">
          <p15:clr>
            <a:srgbClr val="F26B43"/>
          </p15:clr>
        </p15:guide>
        <p15:guide id="9" orient="horz" pos="833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1" y="357721"/>
            <a:ext cx="6608941" cy="69002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001" y="1322388"/>
            <a:ext cx="11426823" cy="496182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3A5BB14-D036-4AC1-9435-9025BF12CBD4}"/>
              </a:ext>
            </a:extLst>
          </p:cNvPr>
          <p:cNvSpPr txBox="1"/>
          <p:nvPr/>
        </p:nvSpPr>
        <p:spPr>
          <a:xfrm>
            <a:off x="11454739" y="6472935"/>
            <a:ext cx="353085" cy="12242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algn="r" defTabSz="457200" rtl="0" eaLnBrk="1" latinLnBrk="0" hangingPunct="1"/>
            <a:fld id="{CDB435D5-777C-4922-976B-8C95AF7AC8DD}" type="slidenum">
              <a:rPr lang="en-US" sz="700" b="1" i="0" kern="1200" smtClean="0">
                <a:solidFill>
                  <a:schemeClr val="tx1"/>
                </a:solidFill>
                <a:latin typeface="Arial"/>
                <a:ea typeface="+mn-ea"/>
                <a:cs typeface="Arial"/>
              </a:rPr>
              <a:pPr marL="0" algn="r" defTabSz="457200" rtl="0" eaLnBrk="1" latinLnBrk="0" hangingPunct="1"/>
              <a:t>‹#›</a:t>
            </a:fld>
            <a:endParaRPr lang="en-US" sz="700" b="1" i="0" kern="1200" dirty="0">
              <a:solidFill>
                <a:schemeClr val="tx1"/>
              </a:solidFill>
              <a:latin typeface="Arial"/>
              <a:ea typeface="+mn-ea"/>
              <a:cs typeface="Arial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BAA1A17-E5C3-4173-84E8-4D5439A15A93}"/>
              </a:ext>
            </a:extLst>
          </p:cNvPr>
          <p:cNvSpPr/>
          <p:nvPr/>
        </p:nvSpPr>
        <p:spPr>
          <a:xfrm>
            <a:off x="-1" y="6812281"/>
            <a:ext cx="12188826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Freeform: Shape 41">
            <a:extLst>
              <a:ext uri="{FF2B5EF4-FFF2-40B4-BE49-F238E27FC236}">
                <a16:creationId xmlns:a16="http://schemas.microsoft.com/office/drawing/2014/main" id="{4A97655A-46C7-C27B-BD27-01E4D6892777}"/>
              </a:ext>
            </a:extLst>
          </p:cNvPr>
          <p:cNvSpPr txBox="1">
            <a:spLocks/>
          </p:cNvSpPr>
          <p:nvPr userDrawn="1"/>
        </p:nvSpPr>
        <p:spPr>
          <a:xfrm rot="16200000">
            <a:off x="9347536" y="515572"/>
            <a:ext cx="520273" cy="520269"/>
          </a:xfrm>
          <a:custGeom>
            <a:avLst/>
            <a:gdLst>
              <a:gd name="connsiteX0" fmla="*/ 265718 w 531436"/>
              <a:gd name="connsiteY0" fmla="*/ 0 h 531432"/>
              <a:gd name="connsiteX1" fmla="*/ 531436 w 531436"/>
              <a:gd name="connsiteY1" fmla="*/ 265716 h 531432"/>
              <a:gd name="connsiteX2" fmla="*/ 265718 w 531436"/>
              <a:gd name="connsiteY2" fmla="*/ 531432 h 531432"/>
              <a:gd name="connsiteX3" fmla="*/ 0 w 531436"/>
              <a:gd name="connsiteY3" fmla="*/ 265716 h 531432"/>
              <a:gd name="connsiteX4" fmla="*/ 265718 w 531436"/>
              <a:gd name="connsiteY4" fmla="*/ 0 h 531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1436" h="531432">
                <a:moveTo>
                  <a:pt x="265718" y="0"/>
                </a:moveTo>
                <a:cubicBezTo>
                  <a:pt x="412470" y="0"/>
                  <a:pt x="531436" y="118965"/>
                  <a:pt x="531436" y="265716"/>
                </a:cubicBezTo>
                <a:cubicBezTo>
                  <a:pt x="531436" y="412467"/>
                  <a:pt x="412470" y="531432"/>
                  <a:pt x="265718" y="531432"/>
                </a:cubicBezTo>
                <a:cubicBezTo>
                  <a:pt x="118966" y="531432"/>
                  <a:pt x="0" y="412467"/>
                  <a:pt x="0" y="265716"/>
                </a:cubicBezTo>
                <a:cubicBezTo>
                  <a:pt x="0" y="118965"/>
                  <a:pt x="118966" y="0"/>
                  <a:pt x="265718" y="0"/>
                </a:cubicBezTo>
                <a:close/>
              </a:path>
            </a:pathLst>
          </a:custGeom>
          <a:solidFill>
            <a:schemeClr val="bg2">
              <a:alpha val="50000"/>
            </a:schemeClr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14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2D69B45D-EE92-9A02-A3BC-B28ACA724BF2}"/>
              </a:ext>
            </a:extLst>
          </p:cNvPr>
          <p:cNvSpPr txBox="1">
            <a:spLocks/>
          </p:cNvSpPr>
          <p:nvPr userDrawn="1"/>
        </p:nvSpPr>
        <p:spPr>
          <a:xfrm>
            <a:off x="7040088" y="0"/>
            <a:ext cx="2010727" cy="783591"/>
          </a:xfrm>
          <a:custGeom>
            <a:avLst/>
            <a:gdLst>
              <a:gd name="connsiteX0" fmla="*/ 0 w 2010727"/>
              <a:gd name="connsiteY0" fmla="*/ 0 h 783591"/>
              <a:gd name="connsiteX1" fmla="*/ 554656 w 2010727"/>
              <a:gd name="connsiteY1" fmla="*/ 0 h 783591"/>
              <a:gd name="connsiteX2" fmla="*/ 572969 w 2010727"/>
              <a:gd name="connsiteY2" fmla="*/ 33738 h 783591"/>
              <a:gd name="connsiteX3" fmla="*/ 1005363 w 2010727"/>
              <a:gd name="connsiteY3" fmla="*/ 263640 h 783591"/>
              <a:gd name="connsiteX4" fmla="*/ 1437757 w 2010727"/>
              <a:gd name="connsiteY4" fmla="*/ 33738 h 783591"/>
              <a:gd name="connsiteX5" fmla="*/ 1456070 w 2010727"/>
              <a:gd name="connsiteY5" fmla="*/ 0 h 783591"/>
              <a:gd name="connsiteX6" fmla="*/ 2010727 w 2010727"/>
              <a:gd name="connsiteY6" fmla="*/ 0 h 783591"/>
              <a:gd name="connsiteX7" fmla="*/ 1964925 w 2010727"/>
              <a:gd name="connsiteY7" fmla="*/ 147550 h 783591"/>
              <a:gd name="connsiteX8" fmla="*/ 1005363 w 2010727"/>
              <a:gd name="connsiteY8" fmla="*/ 783591 h 783591"/>
              <a:gd name="connsiteX9" fmla="*/ 45802 w 2010727"/>
              <a:gd name="connsiteY9" fmla="*/ 147550 h 783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010727" h="783591">
                <a:moveTo>
                  <a:pt x="0" y="0"/>
                </a:moveTo>
                <a:lnTo>
                  <a:pt x="554656" y="0"/>
                </a:lnTo>
                <a:lnTo>
                  <a:pt x="572969" y="33738"/>
                </a:lnTo>
                <a:cubicBezTo>
                  <a:pt x="666677" y="172444"/>
                  <a:pt x="825370" y="263640"/>
                  <a:pt x="1005363" y="263640"/>
                </a:cubicBezTo>
                <a:cubicBezTo>
                  <a:pt x="1185356" y="263640"/>
                  <a:pt x="1344049" y="172444"/>
                  <a:pt x="1437757" y="33738"/>
                </a:cubicBezTo>
                <a:lnTo>
                  <a:pt x="1456070" y="0"/>
                </a:lnTo>
                <a:lnTo>
                  <a:pt x="2010727" y="0"/>
                </a:lnTo>
                <a:lnTo>
                  <a:pt x="1964925" y="147550"/>
                </a:lnTo>
                <a:cubicBezTo>
                  <a:pt x="1806831" y="521325"/>
                  <a:pt x="1436725" y="783591"/>
                  <a:pt x="1005363" y="783591"/>
                </a:cubicBezTo>
                <a:cubicBezTo>
                  <a:pt x="574001" y="783591"/>
                  <a:pt x="203895" y="521325"/>
                  <a:pt x="45802" y="147550"/>
                </a:cubicBezTo>
                <a:close/>
              </a:path>
            </a:pathLst>
          </a:custGeom>
          <a:solidFill>
            <a:schemeClr val="bg2">
              <a:alpha val="50000"/>
            </a:schemeClr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20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0B0701A5-38BC-3710-AA7D-5D0943A83D41}"/>
              </a:ext>
            </a:extLst>
          </p:cNvPr>
          <p:cNvGrpSpPr/>
          <p:nvPr userDrawn="1"/>
        </p:nvGrpSpPr>
        <p:grpSpPr>
          <a:xfrm>
            <a:off x="6989946" y="244608"/>
            <a:ext cx="4971452" cy="549346"/>
            <a:chOff x="6989946" y="244608"/>
            <a:chExt cx="4971452" cy="549346"/>
          </a:xfrm>
        </p:grpSpPr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FCCC4AC3-D5D2-45A0-F12C-7E98EFB348FC}"/>
                </a:ext>
              </a:extLst>
            </p:cNvPr>
            <p:cNvSpPr/>
            <p:nvPr userDrawn="1"/>
          </p:nvSpPr>
          <p:spPr>
            <a:xfrm rot="5400000">
              <a:off x="7380249" y="-145695"/>
              <a:ext cx="549346" cy="1329951"/>
            </a:xfrm>
            <a:custGeom>
              <a:avLst/>
              <a:gdLst>
                <a:gd name="connsiteX0" fmla="*/ 520400 w 549346"/>
                <a:gd name="connsiteY0" fmla="*/ 28950 h 1329951"/>
                <a:gd name="connsiteX1" fmla="*/ 520400 w 549346"/>
                <a:gd name="connsiteY1" fmla="*/ 5 h 1329951"/>
                <a:gd name="connsiteX2" fmla="*/ 549346 w 549346"/>
                <a:gd name="connsiteY2" fmla="*/ 5 h 1329951"/>
                <a:gd name="connsiteX3" fmla="*/ 549346 w 549346"/>
                <a:gd name="connsiteY3" fmla="*/ 28950 h 1329951"/>
                <a:gd name="connsiteX4" fmla="*/ 520400 w 549346"/>
                <a:gd name="connsiteY4" fmla="*/ 289149 h 1329951"/>
                <a:gd name="connsiteX5" fmla="*/ 520400 w 549346"/>
                <a:gd name="connsiteY5" fmla="*/ 260205 h 1329951"/>
                <a:gd name="connsiteX6" fmla="*/ 549346 w 549346"/>
                <a:gd name="connsiteY6" fmla="*/ 260205 h 1329951"/>
                <a:gd name="connsiteX7" fmla="*/ 549346 w 549346"/>
                <a:gd name="connsiteY7" fmla="*/ 289149 h 1329951"/>
                <a:gd name="connsiteX8" fmla="*/ 520400 w 549346"/>
                <a:gd name="connsiteY8" fmla="*/ 549350 h 1329951"/>
                <a:gd name="connsiteX9" fmla="*/ 520400 w 549346"/>
                <a:gd name="connsiteY9" fmla="*/ 520405 h 1329951"/>
                <a:gd name="connsiteX10" fmla="*/ 549346 w 549346"/>
                <a:gd name="connsiteY10" fmla="*/ 520405 h 1329951"/>
                <a:gd name="connsiteX11" fmla="*/ 549346 w 549346"/>
                <a:gd name="connsiteY11" fmla="*/ 549350 h 1329951"/>
                <a:gd name="connsiteX12" fmla="*/ 520400 w 549346"/>
                <a:gd name="connsiteY12" fmla="*/ 809553 h 1329951"/>
                <a:gd name="connsiteX13" fmla="*/ 520400 w 549346"/>
                <a:gd name="connsiteY13" fmla="*/ 780608 h 1329951"/>
                <a:gd name="connsiteX14" fmla="*/ 549346 w 549346"/>
                <a:gd name="connsiteY14" fmla="*/ 780608 h 1329951"/>
                <a:gd name="connsiteX15" fmla="*/ 549346 w 549346"/>
                <a:gd name="connsiteY15" fmla="*/ 809553 h 1329951"/>
                <a:gd name="connsiteX16" fmla="*/ 520400 w 549346"/>
                <a:gd name="connsiteY16" fmla="*/ 1069751 h 1329951"/>
                <a:gd name="connsiteX17" fmla="*/ 520400 w 549346"/>
                <a:gd name="connsiteY17" fmla="*/ 1040807 h 1329951"/>
                <a:gd name="connsiteX18" fmla="*/ 549346 w 549346"/>
                <a:gd name="connsiteY18" fmla="*/ 1040807 h 1329951"/>
                <a:gd name="connsiteX19" fmla="*/ 549346 w 549346"/>
                <a:gd name="connsiteY19" fmla="*/ 1069751 h 1329951"/>
                <a:gd name="connsiteX20" fmla="*/ 520400 w 549346"/>
                <a:gd name="connsiteY20" fmla="*/ 1329951 h 1329951"/>
                <a:gd name="connsiteX21" fmla="*/ 520400 w 549346"/>
                <a:gd name="connsiteY21" fmla="*/ 1301007 h 1329951"/>
                <a:gd name="connsiteX22" fmla="*/ 549346 w 549346"/>
                <a:gd name="connsiteY22" fmla="*/ 1301007 h 1329951"/>
                <a:gd name="connsiteX23" fmla="*/ 549346 w 549346"/>
                <a:gd name="connsiteY23" fmla="*/ 1329951 h 1329951"/>
                <a:gd name="connsiteX24" fmla="*/ 260201 w 549346"/>
                <a:gd name="connsiteY24" fmla="*/ 28947 h 1329951"/>
                <a:gd name="connsiteX25" fmla="*/ 260201 w 549346"/>
                <a:gd name="connsiteY25" fmla="*/ 2 h 1329951"/>
                <a:gd name="connsiteX26" fmla="*/ 289145 w 549346"/>
                <a:gd name="connsiteY26" fmla="*/ 2 h 1329951"/>
                <a:gd name="connsiteX27" fmla="*/ 289145 w 549346"/>
                <a:gd name="connsiteY27" fmla="*/ 28947 h 1329951"/>
                <a:gd name="connsiteX28" fmla="*/ 260201 w 549346"/>
                <a:gd name="connsiteY28" fmla="*/ 289147 h 1329951"/>
                <a:gd name="connsiteX29" fmla="*/ 260201 w 549346"/>
                <a:gd name="connsiteY29" fmla="*/ 260203 h 1329951"/>
                <a:gd name="connsiteX30" fmla="*/ 289145 w 549346"/>
                <a:gd name="connsiteY30" fmla="*/ 260203 h 1329951"/>
                <a:gd name="connsiteX31" fmla="*/ 289145 w 549346"/>
                <a:gd name="connsiteY31" fmla="*/ 289147 h 1329951"/>
                <a:gd name="connsiteX32" fmla="*/ 260201 w 549346"/>
                <a:gd name="connsiteY32" fmla="*/ 549348 h 1329951"/>
                <a:gd name="connsiteX33" fmla="*/ 260201 w 549346"/>
                <a:gd name="connsiteY33" fmla="*/ 520403 h 1329951"/>
                <a:gd name="connsiteX34" fmla="*/ 289145 w 549346"/>
                <a:gd name="connsiteY34" fmla="*/ 520403 h 1329951"/>
                <a:gd name="connsiteX35" fmla="*/ 289145 w 549346"/>
                <a:gd name="connsiteY35" fmla="*/ 549348 h 1329951"/>
                <a:gd name="connsiteX36" fmla="*/ 260201 w 549346"/>
                <a:gd name="connsiteY36" fmla="*/ 809551 h 1329951"/>
                <a:gd name="connsiteX37" fmla="*/ 260201 w 549346"/>
                <a:gd name="connsiteY37" fmla="*/ 780605 h 1329951"/>
                <a:gd name="connsiteX38" fmla="*/ 289145 w 549346"/>
                <a:gd name="connsiteY38" fmla="*/ 780605 h 1329951"/>
                <a:gd name="connsiteX39" fmla="*/ 289145 w 549346"/>
                <a:gd name="connsiteY39" fmla="*/ 809551 h 1329951"/>
                <a:gd name="connsiteX40" fmla="*/ 260201 w 549346"/>
                <a:gd name="connsiteY40" fmla="*/ 1069748 h 1329951"/>
                <a:gd name="connsiteX41" fmla="*/ 260201 w 549346"/>
                <a:gd name="connsiteY41" fmla="*/ 1040804 h 1329951"/>
                <a:gd name="connsiteX42" fmla="*/ 289145 w 549346"/>
                <a:gd name="connsiteY42" fmla="*/ 1040804 h 1329951"/>
                <a:gd name="connsiteX43" fmla="*/ 289145 w 549346"/>
                <a:gd name="connsiteY43" fmla="*/ 1069748 h 1329951"/>
                <a:gd name="connsiteX44" fmla="*/ 260201 w 549346"/>
                <a:gd name="connsiteY44" fmla="*/ 1329948 h 1329951"/>
                <a:gd name="connsiteX45" fmla="*/ 260201 w 549346"/>
                <a:gd name="connsiteY45" fmla="*/ 1301004 h 1329951"/>
                <a:gd name="connsiteX46" fmla="*/ 289145 w 549346"/>
                <a:gd name="connsiteY46" fmla="*/ 1301004 h 1329951"/>
                <a:gd name="connsiteX47" fmla="*/ 289145 w 549346"/>
                <a:gd name="connsiteY47" fmla="*/ 1329948 h 1329951"/>
                <a:gd name="connsiteX48" fmla="*/ 0 w 549346"/>
                <a:gd name="connsiteY48" fmla="*/ 28945 h 1329951"/>
                <a:gd name="connsiteX49" fmla="*/ 0 w 549346"/>
                <a:gd name="connsiteY49" fmla="*/ 0 h 1329951"/>
                <a:gd name="connsiteX50" fmla="*/ 28944 w 549346"/>
                <a:gd name="connsiteY50" fmla="*/ 0 h 1329951"/>
                <a:gd name="connsiteX51" fmla="*/ 28944 w 549346"/>
                <a:gd name="connsiteY51" fmla="*/ 28945 h 1329951"/>
                <a:gd name="connsiteX52" fmla="*/ 0 w 549346"/>
                <a:gd name="connsiteY52" fmla="*/ 289145 h 1329951"/>
                <a:gd name="connsiteX53" fmla="*/ 0 w 549346"/>
                <a:gd name="connsiteY53" fmla="*/ 260201 h 1329951"/>
                <a:gd name="connsiteX54" fmla="*/ 28944 w 549346"/>
                <a:gd name="connsiteY54" fmla="*/ 260201 h 1329951"/>
                <a:gd name="connsiteX55" fmla="*/ 28944 w 549346"/>
                <a:gd name="connsiteY55" fmla="*/ 289145 h 1329951"/>
                <a:gd name="connsiteX56" fmla="*/ 0 w 549346"/>
                <a:gd name="connsiteY56" fmla="*/ 549346 h 1329951"/>
                <a:gd name="connsiteX57" fmla="*/ 0 w 549346"/>
                <a:gd name="connsiteY57" fmla="*/ 520401 h 1329951"/>
                <a:gd name="connsiteX58" fmla="*/ 28944 w 549346"/>
                <a:gd name="connsiteY58" fmla="*/ 520401 h 1329951"/>
                <a:gd name="connsiteX59" fmla="*/ 28944 w 549346"/>
                <a:gd name="connsiteY59" fmla="*/ 549346 h 1329951"/>
                <a:gd name="connsiteX60" fmla="*/ 0 w 549346"/>
                <a:gd name="connsiteY60" fmla="*/ 809547 h 1329951"/>
                <a:gd name="connsiteX61" fmla="*/ 0 w 549346"/>
                <a:gd name="connsiteY61" fmla="*/ 780602 h 1329951"/>
                <a:gd name="connsiteX62" fmla="*/ 28944 w 549346"/>
                <a:gd name="connsiteY62" fmla="*/ 780602 h 1329951"/>
                <a:gd name="connsiteX63" fmla="*/ 28944 w 549346"/>
                <a:gd name="connsiteY63" fmla="*/ 809547 h 1329951"/>
                <a:gd name="connsiteX64" fmla="*/ 0 w 549346"/>
                <a:gd name="connsiteY64" fmla="*/ 1069746 h 1329951"/>
                <a:gd name="connsiteX65" fmla="*/ 0 w 549346"/>
                <a:gd name="connsiteY65" fmla="*/ 1040802 h 1329951"/>
                <a:gd name="connsiteX66" fmla="*/ 28944 w 549346"/>
                <a:gd name="connsiteY66" fmla="*/ 1040802 h 1329951"/>
                <a:gd name="connsiteX67" fmla="*/ 28944 w 549346"/>
                <a:gd name="connsiteY67" fmla="*/ 1069746 h 1329951"/>
                <a:gd name="connsiteX68" fmla="*/ 0 w 549346"/>
                <a:gd name="connsiteY68" fmla="*/ 1329946 h 1329951"/>
                <a:gd name="connsiteX69" fmla="*/ 0 w 549346"/>
                <a:gd name="connsiteY69" fmla="*/ 1301002 h 1329951"/>
                <a:gd name="connsiteX70" fmla="*/ 28944 w 549346"/>
                <a:gd name="connsiteY70" fmla="*/ 1301002 h 1329951"/>
                <a:gd name="connsiteX71" fmla="*/ 28944 w 549346"/>
                <a:gd name="connsiteY71" fmla="*/ 1329946 h 1329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</a:cxnLst>
              <a:rect l="l" t="t" r="r" b="b"/>
              <a:pathLst>
                <a:path w="549346" h="1329951">
                  <a:moveTo>
                    <a:pt x="520400" y="28950"/>
                  </a:moveTo>
                  <a:lnTo>
                    <a:pt x="520400" y="5"/>
                  </a:lnTo>
                  <a:lnTo>
                    <a:pt x="549346" y="5"/>
                  </a:lnTo>
                  <a:lnTo>
                    <a:pt x="549346" y="28950"/>
                  </a:lnTo>
                  <a:close/>
                  <a:moveTo>
                    <a:pt x="520400" y="289149"/>
                  </a:moveTo>
                  <a:lnTo>
                    <a:pt x="520400" y="260205"/>
                  </a:lnTo>
                  <a:lnTo>
                    <a:pt x="549346" y="260205"/>
                  </a:lnTo>
                  <a:lnTo>
                    <a:pt x="549346" y="289149"/>
                  </a:lnTo>
                  <a:close/>
                  <a:moveTo>
                    <a:pt x="520400" y="549350"/>
                  </a:moveTo>
                  <a:lnTo>
                    <a:pt x="520400" y="520405"/>
                  </a:lnTo>
                  <a:lnTo>
                    <a:pt x="549346" y="520405"/>
                  </a:lnTo>
                  <a:lnTo>
                    <a:pt x="549346" y="549350"/>
                  </a:lnTo>
                  <a:close/>
                  <a:moveTo>
                    <a:pt x="520400" y="809553"/>
                  </a:moveTo>
                  <a:lnTo>
                    <a:pt x="520400" y="780608"/>
                  </a:lnTo>
                  <a:lnTo>
                    <a:pt x="549346" y="780608"/>
                  </a:lnTo>
                  <a:lnTo>
                    <a:pt x="549346" y="809553"/>
                  </a:lnTo>
                  <a:close/>
                  <a:moveTo>
                    <a:pt x="520400" y="1069751"/>
                  </a:moveTo>
                  <a:lnTo>
                    <a:pt x="520400" y="1040807"/>
                  </a:lnTo>
                  <a:lnTo>
                    <a:pt x="549346" y="1040807"/>
                  </a:lnTo>
                  <a:lnTo>
                    <a:pt x="549346" y="1069751"/>
                  </a:lnTo>
                  <a:close/>
                  <a:moveTo>
                    <a:pt x="520400" y="1329951"/>
                  </a:moveTo>
                  <a:lnTo>
                    <a:pt x="520400" y="1301007"/>
                  </a:lnTo>
                  <a:lnTo>
                    <a:pt x="549346" y="1301007"/>
                  </a:lnTo>
                  <a:lnTo>
                    <a:pt x="549346" y="1329951"/>
                  </a:lnTo>
                  <a:close/>
                  <a:moveTo>
                    <a:pt x="260201" y="28947"/>
                  </a:moveTo>
                  <a:lnTo>
                    <a:pt x="260201" y="2"/>
                  </a:lnTo>
                  <a:lnTo>
                    <a:pt x="289145" y="2"/>
                  </a:lnTo>
                  <a:lnTo>
                    <a:pt x="289145" y="28947"/>
                  </a:lnTo>
                  <a:close/>
                  <a:moveTo>
                    <a:pt x="260201" y="289147"/>
                  </a:moveTo>
                  <a:lnTo>
                    <a:pt x="260201" y="260203"/>
                  </a:lnTo>
                  <a:lnTo>
                    <a:pt x="289145" y="260203"/>
                  </a:lnTo>
                  <a:lnTo>
                    <a:pt x="289145" y="289147"/>
                  </a:lnTo>
                  <a:close/>
                  <a:moveTo>
                    <a:pt x="260201" y="549348"/>
                  </a:moveTo>
                  <a:lnTo>
                    <a:pt x="260201" y="520403"/>
                  </a:lnTo>
                  <a:lnTo>
                    <a:pt x="289145" y="520403"/>
                  </a:lnTo>
                  <a:lnTo>
                    <a:pt x="289145" y="549348"/>
                  </a:lnTo>
                  <a:close/>
                  <a:moveTo>
                    <a:pt x="260201" y="809551"/>
                  </a:moveTo>
                  <a:lnTo>
                    <a:pt x="260201" y="780605"/>
                  </a:lnTo>
                  <a:lnTo>
                    <a:pt x="289145" y="780605"/>
                  </a:lnTo>
                  <a:lnTo>
                    <a:pt x="289145" y="809551"/>
                  </a:lnTo>
                  <a:close/>
                  <a:moveTo>
                    <a:pt x="260201" y="1069748"/>
                  </a:moveTo>
                  <a:lnTo>
                    <a:pt x="260201" y="1040804"/>
                  </a:lnTo>
                  <a:lnTo>
                    <a:pt x="289145" y="1040804"/>
                  </a:lnTo>
                  <a:lnTo>
                    <a:pt x="289145" y="1069748"/>
                  </a:lnTo>
                  <a:close/>
                  <a:moveTo>
                    <a:pt x="260201" y="1329948"/>
                  </a:moveTo>
                  <a:lnTo>
                    <a:pt x="260201" y="1301004"/>
                  </a:lnTo>
                  <a:lnTo>
                    <a:pt x="289145" y="1301004"/>
                  </a:lnTo>
                  <a:lnTo>
                    <a:pt x="289145" y="1329948"/>
                  </a:lnTo>
                  <a:close/>
                  <a:moveTo>
                    <a:pt x="0" y="28945"/>
                  </a:moveTo>
                  <a:lnTo>
                    <a:pt x="0" y="0"/>
                  </a:lnTo>
                  <a:lnTo>
                    <a:pt x="28944" y="0"/>
                  </a:lnTo>
                  <a:lnTo>
                    <a:pt x="28944" y="28945"/>
                  </a:lnTo>
                  <a:close/>
                  <a:moveTo>
                    <a:pt x="0" y="289145"/>
                  </a:moveTo>
                  <a:lnTo>
                    <a:pt x="0" y="260201"/>
                  </a:lnTo>
                  <a:lnTo>
                    <a:pt x="28944" y="260201"/>
                  </a:lnTo>
                  <a:lnTo>
                    <a:pt x="28944" y="289145"/>
                  </a:lnTo>
                  <a:close/>
                  <a:moveTo>
                    <a:pt x="0" y="549346"/>
                  </a:moveTo>
                  <a:lnTo>
                    <a:pt x="0" y="520401"/>
                  </a:lnTo>
                  <a:lnTo>
                    <a:pt x="28944" y="520401"/>
                  </a:lnTo>
                  <a:lnTo>
                    <a:pt x="28944" y="549346"/>
                  </a:lnTo>
                  <a:close/>
                  <a:moveTo>
                    <a:pt x="0" y="809547"/>
                  </a:moveTo>
                  <a:lnTo>
                    <a:pt x="0" y="780602"/>
                  </a:lnTo>
                  <a:lnTo>
                    <a:pt x="28944" y="780602"/>
                  </a:lnTo>
                  <a:lnTo>
                    <a:pt x="28944" y="809547"/>
                  </a:lnTo>
                  <a:close/>
                  <a:moveTo>
                    <a:pt x="0" y="1069746"/>
                  </a:moveTo>
                  <a:lnTo>
                    <a:pt x="0" y="1040802"/>
                  </a:lnTo>
                  <a:lnTo>
                    <a:pt x="28944" y="1040802"/>
                  </a:lnTo>
                  <a:lnTo>
                    <a:pt x="28944" y="1069746"/>
                  </a:lnTo>
                  <a:close/>
                  <a:moveTo>
                    <a:pt x="0" y="1329946"/>
                  </a:moveTo>
                  <a:lnTo>
                    <a:pt x="0" y="1301002"/>
                  </a:lnTo>
                  <a:lnTo>
                    <a:pt x="28944" y="1301002"/>
                  </a:lnTo>
                  <a:lnTo>
                    <a:pt x="28944" y="1329946"/>
                  </a:ln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 w="10294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CD1382E1-B8E0-EEF7-6F12-2396FDA21629}"/>
                </a:ext>
              </a:extLst>
            </p:cNvPr>
            <p:cNvGrpSpPr/>
            <p:nvPr userDrawn="1"/>
          </p:nvGrpSpPr>
          <p:grpSpPr>
            <a:xfrm>
              <a:off x="8550712" y="244608"/>
              <a:ext cx="3410686" cy="549346"/>
              <a:chOff x="8550712" y="244608"/>
              <a:chExt cx="3410686" cy="549346"/>
            </a:xfrm>
          </p:grpSpPr>
          <p:sp>
            <p:nvSpPr>
              <p:cNvPr id="49" name="Freeform: Shape 48">
                <a:extLst>
                  <a:ext uri="{FF2B5EF4-FFF2-40B4-BE49-F238E27FC236}">
                    <a16:creationId xmlns:a16="http://schemas.microsoft.com/office/drawing/2014/main" id="{87D242EC-35E7-73D6-2AFD-DC281C090E57}"/>
                  </a:ext>
                </a:extLst>
              </p:cNvPr>
              <p:cNvSpPr/>
              <p:nvPr userDrawn="1"/>
            </p:nvSpPr>
            <p:spPr>
              <a:xfrm rot="5400000">
                <a:off x="11021749" y="-145696"/>
                <a:ext cx="549346" cy="1329953"/>
              </a:xfrm>
              <a:custGeom>
                <a:avLst/>
                <a:gdLst>
                  <a:gd name="connsiteX0" fmla="*/ 520400 w 549346"/>
                  <a:gd name="connsiteY0" fmla="*/ 28951 h 1329953"/>
                  <a:gd name="connsiteX1" fmla="*/ 520400 w 549346"/>
                  <a:gd name="connsiteY1" fmla="*/ 7 h 1329953"/>
                  <a:gd name="connsiteX2" fmla="*/ 549346 w 549346"/>
                  <a:gd name="connsiteY2" fmla="*/ 7 h 1329953"/>
                  <a:gd name="connsiteX3" fmla="*/ 549346 w 549346"/>
                  <a:gd name="connsiteY3" fmla="*/ 28951 h 1329953"/>
                  <a:gd name="connsiteX4" fmla="*/ 520400 w 549346"/>
                  <a:gd name="connsiteY4" fmla="*/ 289151 h 1329953"/>
                  <a:gd name="connsiteX5" fmla="*/ 520400 w 549346"/>
                  <a:gd name="connsiteY5" fmla="*/ 260207 h 1329953"/>
                  <a:gd name="connsiteX6" fmla="*/ 549346 w 549346"/>
                  <a:gd name="connsiteY6" fmla="*/ 260207 h 1329953"/>
                  <a:gd name="connsiteX7" fmla="*/ 549346 w 549346"/>
                  <a:gd name="connsiteY7" fmla="*/ 289151 h 1329953"/>
                  <a:gd name="connsiteX8" fmla="*/ 520400 w 549346"/>
                  <a:gd name="connsiteY8" fmla="*/ 549351 h 1329953"/>
                  <a:gd name="connsiteX9" fmla="*/ 520400 w 549346"/>
                  <a:gd name="connsiteY9" fmla="*/ 520407 h 1329953"/>
                  <a:gd name="connsiteX10" fmla="*/ 549346 w 549346"/>
                  <a:gd name="connsiteY10" fmla="*/ 520407 h 1329953"/>
                  <a:gd name="connsiteX11" fmla="*/ 549346 w 549346"/>
                  <a:gd name="connsiteY11" fmla="*/ 549351 h 1329953"/>
                  <a:gd name="connsiteX12" fmla="*/ 520400 w 549346"/>
                  <a:gd name="connsiteY12" fmla="*/ 809555 h 1329953"/>
                  <a:gd name="connsiteX13" fmla="*/ 520400 w 549346"/>
                  <a:gd name="connsiteY13" fmla="*/ 780609 h 1329953"/>
                  <a:gd name="connsiteX14" fmla="*/ 549346 w 549346"/>
                  <a:gd name="connsiteY14" fmla="*/ 780609 h 1329953"/>
                  <a:gd name="connsiteX15" fmla="*/ 549346 w 549346"/>
                  <a:gd name="connsiteY15" fmla="*/ 809555 h 1329953"/>
                  <a:gd name="connsiteX16" fmla="*/ 520400 w 549346"/>
                  <a:gd name="connsiteY16" fmla="*/ 1069753 h 1329953"/>
                  <a:gd name="connsiteX17" fmla="*/ 520400 w 549346"/>
                  <a:gd name="connsiteY17" fmla="*/ 1040809 h 1329953"/>
                  <a:gd name="connsiteX18" fmla="*/ 549346 w 549346"/>
                  <a:gd name="connsiteY18" fmla="*/ 1040809 h 1329953"/>
                  <a:gd name="connsiteX19" fmla="*/ 549346 w 549346"/>
                  <a:gd name="connsiteY19" fmla="*/ 1069753 h 1329953"/>
                  <a:gd name="connsiteX20" fmla="*/ 520400 w 549346"/>
                  <a:gd name="connsiteY20" fmla="*/ 1329953 h 1329953"/>
                  <a:gd name="connsiteX21" fmla="*/ 520400 w 549346"/>
                  <a:gd name="connsiteY21" fmla="*/ 1301009 h 1329953"/>
                  <a:gd name="connsiteX22" fmla="*/ 549346 w 549346"/>
                  <a:gd name="connsiteY22" fmla="*/ 1301009 h 1329953"/>
                  <a:gd name="connsiteX23" fmla="*/ 549346 w 549346"/>
                  <a:gd name="connsiteY23" fmla="*/ 1329953 h 1329953"/>
                  <a:gd name="connsiteX24" fmla="*/ 260201 w 549346"/>
                  <a:gd name="connsiteY24" fmla="*/ 28949 h 1329953"/>
                  <a:gd name="connsiteX25" fmla="*/ 260201 w 549346"/>
                  <a:gd name="connsiteY25" fmla="*/ 3 h 1329953"/>
                  <a:gd name="connsiteX26" fmla="*/ 289145 w 549346"/>
                  <a:gd name="connsiteY26" fmla="*/ 3 h 1329953"/>
                  <a:gd name="connsiteX27" fmla="*/ 289145 w 549346"/>
                  <a:gd name="connsiteY27" fmla="*/ 28949 h 1329953"/>
                  <a:gd name="connsiteX28" fmla="*/ 0 w 549346"/>
                  <a:gd name="connsiteY28" fmla="*/ 28947 h 1329953"/>
                  <a:gd name="connsiteX29" fmla="*/ 0 w 549346"/>
                  <a:gd name="connsiteY29" fmla="*/ 0 h 1329953"/>
                  <a:gd name="connsiteX30" fmla="*/ 28944 w 549346"/>
                  <a:gd name="connsiteY30" fmla="*/ 0 h 1329953"/>
                  <a:gd name="connsiteX31" fmla="*/ 28944 w 549346"/>
                  <a:gd name="connsiteY31" fmla="*/ 28947 h 1329953"/>
                  <a:gd name="connsiteX32" fmla="*/ 0 w 549346"/>
                  <a:gd name="connsiteY32" fmla="*/ 289147 h 1329953"/>
                  <a:gd name="connsiteX33" fmla="*/ 0 w 549346"/>
                  <a:gd name="connsiteY33" fmla="*/ 260203 h 1329953"/>
                  <a:gd name="connsiteX34" fmla="*/ 28944 w 549346"/>
                  <a:gd name="connsiteY34" fmla="*/ 260203 h 1329953"/>
                  <a:gd name="connsiteX35" fmla="*/ 28944 w 549346"/>
                  <a:gd name="connsiteY35" fmla="*/ 289147 h 1329953"/>
                  <a:gd name="connsiteX36" fmla="*/ 0 w 549346"/>
                  <a:gd name="connsiteY36" fmla="*/ 549347 h 1329953"/>
                  <a:gd name="connsiteX37" fmla="*/ 0 w 549346"/>
                  <a:gd name="connsiteY37" fmla="*/ 520403 h 1329953"/>
                  <a:gd name="connsiteX38" fmla="*/ 28944 w 549346"/>
                  <a:gd name="connsiteY38" fmla="*/ 520403 h 1329953"/>
                  <a:gd name="connsiteX39" fmla="*/ 28944 w 549346"/>
                  <a:gd name="connsiteY39" fmla="*/ 549347 h 1329953"/>
                  <a:gd name="connsiteX40" fmla="*/ 0 w 549346"/>
                  <a:gd name="connsiteY40" fmla="*/ 809549 h 1329953"/>
                  <a:gd name="connsiteX41" fmla="*/ 0 w 549346"/>
                  <a:gd name="connsiteY41" fmla="*/ 780603 h 1329953"/>
                  <a:gd name="connsiteX42" fmla="*/ 28944 w 549346"/>
                  <a:gd name="connsiteY42" fmla="*/ 780603 h 1329953"/>
                  <a:gd name="connsiteX43" fmla="*/ 28944 w 549346"/>
                  <a:gd name="connsiteY43" fmla="*/ 809549 h 1329953"/>
                  <a:gd name="connsiteX44" fmla="*/ 0 w 549346"/>
                  <a:gd name="connsiteY44" fmla="*/ 1069747 h 1329953"/>
                  <a:gd name="connsiteX45" fmla="*/ 0 w 549346"/>
                  <a:gd name="connsiteY45" fmla="*/ 1040803 h 1329953"/>
                  <a:gd name="connsiteX46" fmla="*/ 28944 w 549346"/>
                  <a:gd name="connsiteY46" fmla="*/ 1040803 h 1329953"/>
                  <a:gd name="connsiteX47" fmla="*/ 28944 w 549346"/>
                  <a:gd name="connsiteY47" fmla="*/ 1069747 h 1329953"/>
                  <a:gd name="connsiteX48" fmla="*/ 0 w 549346"/>
                  <a:gd name="connsiteY48" fmla="*/ 1329947 h 1329953"/>
                  <a:gd name="connsiteX49" fmla="*/ 0 w 549346"/>
                  <a:gd name="connsiteY49" fmla="*/ 1301003 h 1329953"/>
                  <a:gd name="connsiteX50" fmla="*/ 28944 w 549346"/>
                  <a:gd name="connsiteY50" fmla="*/ 1301003 h 1329953"/>
                  <a:gd name="connsiteX51" fmla="*/ 28944 w 549346"/>
                  <a:gd name="connsiteY51" fmla="*/ 1329947 h 13299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549346" h="1329953">
                    <a:moveTo>
                      <a:pt x="520400" y="28951"/>
                    </a:moveTo>
                    <a:lnTo>
                      <a:pt x="520400" y="7"/>
                    </a:lnTo>
                    <a:lnTo>
                      <a:pt x="549346" y="7"/>
                    </a:lnTo>
                    <a:lnTo>
                      <a:pt x="549346" y="28951"/>
                    </a:lnTo>
                    <a:close/>
                    <a:moveTo>
                      <a:pt x="520400" y="289151"/>
                    </a:moveTo>
                    <a:lnTo>
                      <a:pt x="520400" y="260207"/>
                    </a:lnTo>
                    <a:lnTo>
                      <a:pt x="549346" y="260207"/>
                    </a:lnTo>
                    <a:lnTo>
                      <a:pt x="549346" y="289151"/>
                    </a:lnTo>
                    <a:close/>
                    <a:moveTo>
                      <a:pt x="520400" y="549351"/>
                    </a:moveTo>
                    <a:lnTo>
                      <a:pt x="520400" y="520407"/>
                    </a:lnTo>
                    <a:lnTo>
                      <a:pt x="549346" y="520407"/>
                    </a:lnTo>
                    <a:lnTo>
                      <a:pt x="549346" y="549351"/>
                    </a:lnTo>
                    <a:close/>
                    <a:moveTo>
                      <a:pt x="520400" y="809555"/>
                    </a:moveTo>
                    <a:lnTo>
                      <a:pt x="520400" y="780609"/>
                    </a:lnTo>
                    <a:lnTo>
                      <a:pt x="549346" y="780609"/>
                    </a:lnTo>
                    <a:lnTo>
                      <a:pt x="549346" y="809555"/>
                    </a:lnTo>
                    <a:close/>
                    <a:moveTo>
                      <a:pt x="520400" y="1069753"/>
                    </a:moveTo>
                    <a:lnTo>
                      <a:pt x="520400" y="1040809"/>
                    </a:lnTo>
                    <a:lnTo>
                      <a:pt x="549346" y="1040809"/>
                    </a:lnTo>
                    <a:lnTo>
                      <a:pt x="549346" y="1069753"/>
                    </a:lnTo>
                    <a:close/>
                    <a:moveTo>
                      <a:pt x="520400" y="1329953"/>
                    </a:moveTo>
                    <a:lnTo>
                      <a:pt x="520400" y="1301009"/>
                    </a:lnTo>
                    <a:lnTo>
                      <a:pt x="549346" y="1301009"/>
                    </a:lnTo>
                    <a:lnTo>
                      <a:pt x="549346" y="1329953"/>
                    </a:lnTo>
                    <a:close/>
                    <a:moveTo>
                      <a:pt x="260201" y="28949"/>
                    </a:moveTo>
                    <a:lnTo>
                      <a:pt x="260201" y="3"/>
                    </a:lnTo>
                    <a:lnTo>
                      <a:pt x="289145" y="3"/>
                    </a:lnTo>
                    <a:lnTo>
                      <a:pt x="289145" y="28949"/>
                    </a:lnTo>
                    <a:close/>
                    <a:moveTo>
                      <a:pt x="0" y="28947"/>
                    </a:moveTo>
                    <a:lnTo>
                      <a:pt x="0" y="0"/>
                    </a:lnTo>
                    <a:lnTo>
                      <a:pt x="28944" y="0"/>
                    </a:lnTo>
                    <a:lnTo>
                      <a:pt x="28944" y="28947"/>
                    </a:lnTo>
                    <a:close/>
                    <a:moveTo>
                      <a:pt x="0" y="289147"/>
                    </a:moveTo>
                    <a:lnTo>
                      <a:pt x="0" y="260203"/>
                    </a:lnTo>
                    <a:lnTo>
                      <a:pt x="28944" y="260203"/>
                    </a:lnTo>
                    <a:lnTo>
                      <a:pt x="28944" y="289147"/>
                    </a:lnTo>
                    <a:close/>
                    <a:moveTo>
                      <a:pt x="0" y="549347"/>
                    </a:moveTo>
                    <a:lnTo>
                      <a:pt x="0" y="520403"/>
                    </a:lnTo>
                    <a:lnTo>
                      <a:pt x="28944" y="520403"/>
                    </a:lnTo>
                    <a:lnTo>
                      <a:pt x="28944" y="549347"/>
                    </a:lnTo>
                    <a:close/>
                    <a:moveTo>
                      <a:pt x="0" y="809549"/>
                    </a:moveTo>
                    <a:lnTo>
                      <a:pt x="0" y="780603"/>
                    </a:lnTo>
                    <a:lnTo>
                      <a:pt x="28944" y="780603"/>
                    </a:lnTo>
                    <a:lnTo>
                      <a:pt x="28944" y="809549"/>
                    </a:lnTo>
                    <a:close/>
                    <a:moveTo>
                      <a:pt x="0" y="1069747"/>
                    </a:moveTo>
                    <a:lnTo>
                      <a:pt x="0" y="1040803"/>
                    </a:lnTo>
                    <a:lnTo>
                      <a:pt x="28944" y="1040803"/>
                    </a:lnTo>
                    <a:lnTo>
                      <a:pt x="28944" y="1069747"/>
                    </a:lnTo>
                    <a:close/>
                    <a:moveTo>
                      <a:pt x="0" y="1329947"/>
                    </a:moveTo>
                    <a:lnTo>
                      <a:pt x="0" y="1301003"/>
                    </a:lnTo>
                    <a:lnTo>
                      <a:pt x="28944" y="1301003"/>
                    </a:lnTo>
                    <a:lnTo>
                      <a:pt x="28944" y="1329947"/>
                    </a:lnTo>
                    <a:close/>
                  </a:path>
                </a:pathLst>
              </a:custGeom>
              <a:solidFill>
                <a:schemeClr val="tx2">
                  <a:alpha val="20000"/>
                </a:schemeClr>
              </a:solidFill>
              <a:ln w="10294" cap="flat">
                <a:noFill/>
                <a:prstDash val="solid"/>
                <a:miter/>
              </a:ln>
            </p:spPr>
            <p:txBody>
              <a:bodyPr wrap="square" rtlCol="0" anchor="ctr"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0" name="Freeform: Shape 49">
                <a:extLst>
                  <a:ext uri="{FF2B5EF4-FFF2-40B4-BE49-F238E27FC236}">
                    <a16:creationId xmlns:a16="http://schemas.microsoft.com/office/drawing/2014/main" id="{039C4BD2-097F-D64A-4C67-1E54E8D24AC5}"/>
                  </a:ext>
                </a:extLst>
              </p:cNvPr>
              <p:cNvSpPr/>
              <p:nvPr userDrawn="1"/>
            </p:nvSpPr>
            <p:spPr>
              <a:xfrm rot="5400000">
                <a:off x="8941015" y="-145695"/>
                <a:ext cx="549346" cy="1329951"/>
              </a:xfrm>
              <a:custGeom>
                <a:avLst/>
                <a:gdLst>
                  <a:gd name="connsiteX0" fmla="*/ 520400 w 549346"/>
                  <a:gd name="connsiteY0" fmla="*/ 28950 h 1329951"/>
                  <a:gd name="connsiteX1" fmla="*/ 520400 w 549346"/>
                  <a:gd name="connsiteY1" fmla="*/ 5 h 1329951"/>
                  <a:gd name="connsiteX2" fmla="*/ 549346 w 549346"/>
                  <a:gd name="connsiteY2" fmla="*/ 5 h 1329951"/>
                  <a:gd name="connsiteX3" fmla="*/ 549346 w 549346"/>
                  <a:gd name="connsiteY3" fmla="*/ 28950 h 1329951"/>
                  <a:gd name="connsiteX4" fmla="*/ 520400 w 549346"/>
                  <a:gd name="connsiteY4" fmla="*/ 289149 h 1329951"/>
                  <a:gd name="connsiteX5" fmla="*/ 520400 w 549346"/>
                  <a:gd name="connsiteY5" fmla="*/ 260205 h 1329951"/>
                  <a:gd name="connsiteX6" fmla="*/ 549346 w 549346"/>
                  <a:gd name="connsiteY6" fmla="*/ 260205 h 1329951"/>
                  <a:gd name="connsiteX7" fmla="*/ 549346 w 549346"/>
                  <a:gd name="connsiteY7" fmla="*/ 289149 h 1329951"/>
                  <a:gd name="connsiteX8" fmla="*/ 520400 w 549346"/>
                  <a:gd name="connsiteY8" fmla="*/ 549350 h 1329951"/>
                  <a:gd name="connsiteX9" fmla="*/ 520400 w 549346"/>
                  <a:gd name="connsiteY9" fmla="*/ 520405 h 1329951"/>
                  <a:gd name="connsiteX10" fmla="*/ 549346 w 549346"/>
                  <a:gd name="connsiteY10" fmla="*/ 520405 h 1329951"/>
                  <a:gd name="connsiteX11" fmla="*/ 549346 w 549346"/>
                  <a:gd name="connsiteY11" fmla="*/ 549350 h 1329951"/>
                  <a:gd name="connsiteX12" fmla="*/ 520400 w 549346"/>
                  <a:gd name="connsiteY12" fmla="*/ 809553 h 1329951"/>
                  <a:gd name="connsiteX13" fmla="*/ 520400 w 549346"/>
                  <a:gd name="connsiteY13" fmla="*/ 780608 h 1329951"/>
                  <a:gd name="connsiteX14" fmla="*/ 549346 w 549346"/>
                  <a:gd name="connsiteY14" fmla="*/ 780608 h 1329951"/>
                  <a:gd name="connsiteX15" fmla="*/ 549346 w 549346"/>
                  <a:gd name="connsiteY15" fmla="*/ 809553 h 1329951"/>
                  <a:gd name="connsiteX16" fmla="*/ 520400 w 549346"/>
                  <a:gd name="connsiteY16" fmla="*/ 1069751 h 1329951"/>
                  <a:gd name="connsiteX17" fmla="*/ 520400 w 549346"/>
                  <a:gd name="connsiteY17" fmla="*/ 1040807 h 1329951"/>
                  <a:gd name="connsiteX18" fmla="*/ 549346 w 549346"/>
                  <a:gd name="connsiteY18" fmla="*/ 1040807 h 1329951"/>
                  <a:gd name="connsiteX19" fmla="*/ 549346 w 549346"/>
                  <a:gd name="connsiteY19" fmla="*/ 1069751 h 1329951"/>
                  <a:gd name="connsiteX20" fmla="*/ 520400 w 549346"/>
                  <a:gd name="connsiteY20" fmla="*/ 1329951 h 1329951"/>
                  <a:gd name="connsiteX21" fmla="*/ 520400 w 549346"/>
                  <a:gd name="connsiteY21" fmla="*/ 1301007 h 1329951"/>
                  <a:gd name="connsiteX22" fmla="*/ 549346 w 549346"/>
                  <a:gd name="connsiteY22" fmla="*/ 1301007 h 1329951"/>
                  <a:gd name="connsiteX23" fmla="*/ 549346 w 549346"/>
                  <a:gd name="connsiteY23" fmla="*/ 1329951 h 1329951"/>
                  <a:gd name="connsiteX24" fmla="*/ 260201 w 549346"/>
                  <a:gd name="connsiteY24" fmla="*/ 28947 h 1329951"/>
                  <a:gd name="connsiteX25" fmla="*/ 260201 w 549346"/>
                  <a:gd name="connsiteY25" fmla="*/ 2 h 1329951"/>
                  <a:gd name="connsiteX26" fmla="*/ 289145 w 549346"/>
                  <a:gd name="connsiteY26" fmla="*/ 2 h 1329951"/>
                  <a:gd name="connsiteX27" fmla="*/ 289145 w 549346"/>
                  <a:gd name="connsiteY27" fmla="*/ 28947 h 1329951"/>
                  <a:gd name="connsiteX28" fmla="*/ 260201 w 549346"/>
                  <a:gd name="connsiteY28" fmla="*/ 289147 h 1329951"/>
                  <a:gd name="connsiteX29" fmla="*/ 260201 w 549346"/>
                  <a:gd name="connsiteY29" fmla="*/ 260203 h 1329951"/>
                  <a:gd name="connsiteX30" fmla="*/ 289145 w 549346"/>
                  <a:gd name="connsiteY30" fmla="*/ 260203 h 1329951"/>
                  <a:gd name="connsiteX31" fmla="*/ 289145 w 549346"/>
                  <a:gd name="connsiteY31" fmla="*/ 289147 h 1329951"/>
                  <a:gd name="connsiteX32" fmla="*/ 260201 w 549346"/>
                  <a:gd name="connsiteY32" fmla="*/ 549348 h 1329951"/>
                  <a:gd name="connsiteX33" fmla="*/ 260201 w 549346"/>
                  <a:gd name="connsiteY33" fmla="*/ 520403 h 1329951"/>
                  <a:gd name="connsiteX34" fmla="*/ 289145 w 549346"/>
                  <a:gd name="connsiteY34" fmla="*/ 520403 h 1329951"/>
                  <a:gd name="connsiteX35" fmla="*/ 289145 w 549346"/>
                  <a:gd name="connsiteY35" fmla="*/ 549348 h 1329951"/>
                  <a:gd name="connsiteX36" fmla="*/ 260201 w 549346"/>
                  <a:gd name="connsiteY36" fmla="*/ 809551 h 1329951"/>
                  <a:gd name="connsiteX37" fmla="*/ 260201 w 549346"/>
                  <a:gd name="connsiteY37" fmla="*/ 780605 h 1329951"/>
                  <a:gd name="connsiteX38" fmla="*/ 289145 w 549346"/>
                  <a:gd name="connsiteY38" fmla="*/ 780605 h 1329951"/>
                  <a:gd name="connsiteX39" fmla="*/ 289145 w 549346"/>
                  <a:gd name="connsiteY39" fmla="*/ 809551 h 1329951"/>
                  <a:gd name="connsiteX40" fmla="*/ 260201 w 549346"/>
                  <a:gd name="connsiteY40" fmla="*/ 1069748 h 1329951"/>
                  <a:gd name="connsiteX41" fmla="*/ 260201 w 549346"/>
                  <a:gd name="connsiteY41" fmla="*/ 1040804 h 1329951"/>
                  <a:gd name="connsiteX42" fmla="*/ 289145 w 549346"/>
                  <a:gd name="connsiteY42" fmla="*/ 1040804 h 1329951"/>
                  <a:gd name="connsiteX43" fmla="*/ 289145 w 549346"/>
                  <a:gd name="connsiteY43" fmla="*/ 1069748 h 1329951"/>
                  <a:gd name="connsiteX44" fmla="*/ 260201 w 549346"/>
                  <a:gd name="connsiteY44" fmla="*/ 1329948 h 1329951"/>
                  <a:gd name="connsiteX45" fmla="*/ 260201 w 549346"/>
                  <a:gd name="connsiteY45" fmla="*/ 1301004 h 1329951"/>
                  <a:gd name="connsiteX46" fmla="*/ 289145 w 549346"/>
                  <a:gd name="connsiteY46" fmla="*/ 1301004 h 1329951"/>
                  <a:gd name="connsiteX47" fmla="*/ 289145 w 549346"/>
                  <a:gd name="connsiteY47" fmla="*/ 1329948 h 1329951"/>
                  <a:gd name="connsiteX48" fmla="*/ 0 w 549346"/>
                  <a:gd name="connsiteY48" fmla="*/ 28945 h 1329951"/>
                  <a:gd name="connsiteX49" fmla="*/ 0 w 549346"/>
                  <a:gd name="connsiteY49" fmla="*/ 0 h 1329951"/>
                  <a:gd name="connsiteX50" fmla="*/ 28944 w 549346"/>
                  <a:gd name="connsiteY50" fmla="*/ 0 h 1329951"/>
                  <a:gd name="connsiteX51" fmla="*/ 28944 w 549346"/>
                  <a:gd name="connsiteY51" fmla="*/ 28945 h 1329951"/>
                  <a:gd name="connsiteX52" fmla="*/ 0 w 549346"/>
                  <a:gd name="connsiteY52" fmla="*/ 289145 h 1329951"/>
                  <a:gd name="connsiteX53" fmla="*/ 0 w 549346"/>
                  <a:gd name="connsiteY53" fmla="*/ 260201 h 1329951"/>
                  <a:gd name="connsiteX54" fmla="*/ 28944 w 549346"/>
                  <a:gd name="connsiteY54" fmla="*/ 260201 h 1329951"/>
                  <a:gd name="connsiteX55" fmla="*/ 28944 w 549346"/>
                  <a:gd name="connsiteY55" fmla="*/ 289145 h 1329951"/>
                  <a:gd name="connsiteX56" fmla="*/ 0 w 549346"/>
                  <a:gd name="connsiteY56" fmla="*/ 549346 h 1329951"/>
                  <a:gd name="connsiteX57" fmla="*/ 0 w 549346"/>
                  <a:gd name="connsiteY57" fmla="*/ 520401 h 1329951"/>
                  <a:gd name="connsiteX58" fmla="*/ 28944 w 549346"/>
                  <a:gd name="connsiteY58" fmla="*/ 520401 h 1329951"/>
                  <a:gd name="connsiteX59" fmla="*/ 28944 w 549346"/>
                  <a:gd name="connsiteY59" fmla="*/ 549346 h 1329951"/>
                  <a:gd name="connsiteX60" fmla="*/ 0 w 549346"/>
                  <a:gd name="connsiteY60" fmla="*/ 809547 h 1329951"/>
                  <a:gd name="connsiteX61" fmla="*/ 0 w 549346"/>
                  <a:gd name="connsiteY61" fmla="*/ 780602 h 1329951"/>
                  <a:gd name="connsiteX62" fmla="*/ 28944 w 549346"/>
                  <a:gd name="connsiteY62" fmla="*/ 780602 h 1329951"/>
                  <a:gd name="connsiteX63" fmla="*/ 28944 w 549346"/>
                  <a:gd name="connsiteY63" fmla="*/ 809547 h 1329951"/>
                  <a:gd name="connsiteX64" fmla="*/ 0 w 549346"/>
                  <a:gd name="connsiteY64" fmla="*/ 1069746 h 1329951"/>
                  <a:gd name="connsiteX65" fmla="*/ 0 w 549346"/>
                  <a:gd name="connsiteY65" fmla="*/ 1040802 h 1329951"/>
                  <a:gd name="connsiteX66" fmla="*/ 28944 w 549346"/>
                  <a:gd name="connsiteY66" fmla="*/ 1040802 h 1329951"/>
                  <a:gd name="connsiteX67" fmla="*/ 28944 w 549346"/>
                  <a:gd name="connsiteY67" fmla="*/ 1069746 h 1329951"/>
                  <a:gd name="connsiteX68" fmla="*/ 0 w 549346"/>
                  <a:gd name="connsiteY68" fmla="*/ 1329946 h 1329951"/>
                  <a:gd name="connsiteX69" fmla="*/ 0 w 549346"/>
                  <a:gd name="connsiteY69" fmla="*/ 1301002 h 1329951"/>
                  <a:gd name="connsiteX70" fmla="*/ 28944 w 549346"/>
                  <a:gd name="connsiteY70" fmla="*/ 1301002 h 1329951"/>
                  <a:gd name="connsiteX71" fmla="*/ 28944 w 549346"/>
                  <a:gd name="connsiteY71" fmla="*/ 1329946 h 13299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</a:cxnLst>
                <a:rect l="l" t="t" r="r" b="b"/>
                <a:pathLst>
                  <a:path w="549346" h="1329951">
                    <a:moveTo>
                      <a:pt x="520400" y="28950"/>
                    </a:moveTo>
                    <a:lnTo>
                      <a:pt x="520400" y="5"/>
                    </a:lnTo>
                    <a:lnTo>
                      <a:pt x="549346" y="5"/>
                    </a:lnTo>
                    <a:lnTo>
                      <a:pt x="549346" y="28950"/>
                    </a:lnTo>
                    <a:close/>
                    <a:moveTo>
                      <a:pt x="520400" y="289149"/>
                    </a:moveTo>
                    <a:lnTo>
                      <a:pt x="520400" y="260205"/>
                    </a:lnTo>
                    <a:lnTo>
                      <a:pt x="549346" y="260205"/>
                    </a:lnTo>
                    <a:lnTo>
                      <a:pt x="549346" y="289149"/>
                    </a:lnTo>
                    <a:close/>
                    <a:moveTo>
                      <a:pt x="520400" y="549350"/>
                    </a:moveTo>
                    <a:lnTo>
                      <a:pt x="520400" y="520405"/>
                    </a:lnTo>
                    <a:lnTo>
                      <a:pt x="549346" y="520405"/>
                    </a:lnTo>
                    <a:lnTo>
                      <a:pt x="549346" y="549350"/>
                    </a:lnTo>
                    <a:close/>
                    <a:moveTo>
                      <a:pt x="520400" y="809553"/>
                    </a:moveTo>
                    <a:lnTo>
                      <a:pt x="520400" y="780608"/>
                    </a:lnTo>
                    <a:lnTo>
                      <a:pt x="549346" y="780608"/>
                    </a:lnTo>
                    <a:lnTo>
                      <a:pt x="549346" y="809553"/>
                    </a:lnTo>
                    <a:close/>
                    <a:moveTo>
                      <a:pt x="520400" y="1069751"/>
                    </a:moveTo>
                    <a:lnTo>
                      <a:pt x="520400" y="1040807"/>
                    </a:lnTo>
                    <a:lnTo>
                      <a:pt x="549346" y="1040807"/>
                    </a:lnTo>
                    <a:lnTo>
                      <a:pt x="549346" y="1069751"/>
                    </a:lnTo>
                    <a:close/>
                    <a:moveTo>
                      <a:pt x="520400" y="1329951"/>
                    </a:moveTo>
                    <a:lnTo>
                      <a:pt x="520400" y="1301007"/>
                    </a:lnTo>
                    <a:lnTo>
                      <a:pt x="549346" y="1301007"/>
                    </a:lnTo>
                    <a:lnTo>
                      <a:pt x="549346" y="1329951"/>
                    </a:lnTo>
                    <a:close/>
                    <a:moveTo>
                      <a:pt x="260201" y="28947"/>
                    </a:moveTo>
                    <a:lnTo>
                      <a:pt x="260201" y="2"/>
                    </a:lnTo>
                    <a:lnTo>
                      <a:pt x="289145" y="2"/>
                    </a:lnTo>
                    <a:lnTo>
                      <a:pt x="289145" y="28947"/>
                    </a:lnTo>
                    <a:close/>
                    <a:moveTo>
                      <a:pt x="260201" y="289147"/>
                    </a:moveTo>
                    <a:lnTo>
                      <a:pt x="260201" y="260203"/>
                    </a:lnTo>
                    <a:lnTo>
                      <a:pt x="289145" y="260203"/>
                    </a:lnTo>
                    <a:lnTo>
                      <a:pt x="289145" y="289147"/>
                    </a:lnTo>
                    <a:close/>
                    <a:moveTo>
                      <a:pt x="260201" y="549348"/>
                    </a:moveTo>
                    <a:lnTo>
                      <a:pt x="260201" y="520403"/>
                    </a:lnTo>
                    <a:lnTo>
                      <a:pt x="289145" y="520403"/>
                    </a:lnTo>
                    <a:lnTo>
                      <a:pt x="289145" y="549348"/>
                    </a:lnTo>
                    <a:close/>
                    <a:moveTo>
                      <a:pt x="260201" y="809551"/>
                    </a:moveTo>
                    <a:lnTo>
                      <a:pt x="260201" y="780605"/>
                    </a:lnTo>
                    <a:lnTo>
                      <a:pt x="289145" y="780605"/>
                    </a:lnTo>
                    <a:lnTo>
                      <a:pt x="289145" y="809551"/>
                    </a:lnTo>
                    <a:close/>
                    <a:moveTo>
                      <a:pt x="260201" y="1069748"/>
                    </a:moveTo>
                    <a:lnTo>
                      <a:pt x="260201" y="1040804"/>
                    </a:lnTo>
                    <a:lnTo>
                      <a:pt x="289145" y="1040804"/>
                    </a:lnTo>
                    <a:lnTo>
                      <a:pt x="289145" y="1069748"/>
                    </a:lnTo>
                    <a:close/>
                    <a:moveTo>
                      <a:pt x="260201" y="1329948"/>
                    </a:moveTo>
                    <a:lnTo>
                      <a:pt x="260201" y="1301004"/>
                    </a:lnTo>
                    <a:lnTo>
                      <a:pt x="289145" y="1301004"/>
                    </a:lnTo>
                    <a:lnTo>
                      <a:pt x="289145" y="1329948"/>
                    </a:lnTo>
                    <a:close/>
                    <a:moveTo>
                      <a:pt x="0" y="28945"/>
                    </a:moveTo>
                    <a:lnTo>
                      <a:pt x="0" y="0"/>
                    </a:lnTo>
                    <a:lnTo>
                      <a:pt x="28944" y="0"/>
                    </a:lnTo>
                    <a:lnTo>
                      <a:pt x="28944" y="28945"/>
                    </a:lnTo>
                    <a:close/>
                    <a:moveTo>
                      <a:pt x="0" y="289145"/>
                    </a:moveTo>
                    <a:lnTo>
                      <a:pt x="0" y="260201"/>
                    </a:lnTo>
                    <a:lnTo>
                      <a:pt x="28944" y="260201"/>
                    </a:lnTo>
                    <a:lnTo>
                      <a:pt x="28944" y="289145"/>
                    </a:lnTo>
                    <a:close/>
                    <a:moveTo>
                      <a:pt x="0" y="549346"/>
                    </a:moveTo>
                    <a:lnTo>
                      <a:pt x="0" y="520401"/>
                    </a:lnTo>
                    <a:lnTo>
                      <a:pt x="28944" y="520401"/>
                    </a:lnTo>
                    <a:lnTo>
                      <a:pt x="28944" y="549346"/>
                    </a:lnTo>
                    <a:close/>
                    <a:moveTo>
                      <a:pt x="0" y="809547"/>
                    </a:moveTo>
                    <a:lnTo>
                      <a:pt x="0" y="780602"/>
                    </a:lnTo>
                    <a:lnTo>
                      <a:pt x="28944" y="780602"/>
                    </a:lnTo>
                    <a:lnTo>
                      <a:pt x="28944" y="809547"/>
                    </a:lnTo>
                    <a:close/>
                    <a:moveTo>
                      <a:pt x="0" y="1069746"/>
                    </a:moveTo>
                    <a:lnTo>
                      <a:pt x="0" y="1040802"/>
                    </a:lnTo>
                    <a:lnTo>
                      <a:pt x="28944" y="1040802"/>
                    </a:lnTo>
                    <a:lnTo>
                      <a:pt x="28944" y="1069746"/>
                    </a:lnTo>
                    <a:close/>
                    <a:moveTo>
                      <a:pt x="0" y="1329946"/>
                    </a:moveTo>
                    <a:lnTo>
                      <a:pt x="0" y="1301002"/>
                    </a:lnTo>
                    <a:lnTo>
                      <a:pt x="28944" y="1301002"/>
                    </a:lnTo>
                    <a:lnTo>
                      <a:pt x="28944" y="1329946"/>
                    </a:lnTo>
                    <a:close/>
                  </a:path>
                </a:pathLst>
              </a:custGeom>
              <a:solidFill>
                <a:schemeClr val="tx2">
                  <a:alpha val="20000"/>
                </a:schemeClr>
              </a:solidFill>
              <a:ln w="10294" cap="flat">
                <a:noFill/>
                <a:prstDash val="solid"/>
                <a:miter/>
              </a:ln>
            </p:spPr>
            <p:txBody>
              <a:bodyPr wrap="square" rtlCol="0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51" name="Freeform: Shape 50">
                <a:extLst>
                  <a:ext uri="{FF2B5EF4-FFF2-40B4-BE49-F238E27FC236}">
                    <a16:creationId xmlns:a16="http://schemas.microsoft.com/office/drawing/2014/main" id="{5B3711CC-BAE5-951C-D80C-623A5BB8E87D}"/>
                  </a:ext>
                </a:extLst>
              </p:cNvPr>
              <p:cNvSpPr/>
              <p:nvPr userDrawn="1"/>
            </p:nvSpPr>
            <p:spPr>
              <a:xfrm rot="5400000">
                <a:off x="9981382" y="374703"/>
                <a:ext cx="549346" cy="289155"/>
              </a:xfrm>
              <a:custGeom>
                <a:avLst/>
                <a:gdLst>
                  <a:gd name="connsiteX0" fmla="*/ 520400 w 549346"/>
                  <a:gd name="connsiteY0" fmla="*/ 28955 h 289155"/>
                  <a:gd name="connsiteX1" fmla="*/ 520400 w 549346"/>
                  <a:gd name="connsiteY1" fmla="*/ 11 h 289155"/>
                  <a:gd name="connsiteX2" fmla="*/ 549346 w 549346"/>
                  <a:gd name="connsiteY2" fmla="*/ 11 h 289155"/>
                  <a:gd name="connsiteX3" fmla="*/ 549346 w 549346"/>
                  <a:gd name="connsiteY3" fmla="*/ 28955 h 289155"/>
                  <a:gd name="connsiteX4" fmla="*/ 520400 w 549346"/>
                  <a:gd name="connsiteY4" fmla="*/ 289155 h 289155"/>
                  <a:gd name="connsiteX5" fmla="*/ 520400 w 549346"/>
                  <a:gd name="connsiteY5" fmla="*/ 260211 h 289155"/>
                  <a:gd name="connsiteX6" fmla="*/ 549346 w 549346"/>
                  <a:gd name="connsiteY6" fmla="*/ 260211 h 289155"/>
                  <a:gd name="connsiteX7" fmla="*/ 549346 w 549346"/>
                  <a:gd name="connsiteY7" fmla="*/ 289155 h 289155"/>
                  <a:gd name="connsiteX8" fmla="*/ 0 w 549346"/>
                  <a:gd name="connsiteY8" fmla="*/ 28951 h 289155"/>
                  <a:gd name="connsiteX9" fmla="*/ 0 w 549346"/>
                  <a:gd name="connsiteY9" fmla="*/ 0 h 289155"/>
                  <a:gd name="connsiteX10" fmla="*/ 28944 w 549346"/>
                  <a:gd name="connsiteY10" fmla="*/ 0 h 289155"/>
                  <a:gd name="connsiteX11" fmla="*/ 28944 w 549346"/>
                  <a:gd name="connsiteY11" fmla="*/ 28951 h 289155"/>
                  <a:gd name="connsiteX12" fmla="*/ 0 w 549346"/>
                  <a:gd name="connsiteY12" fmla="*/ 289151 h 289155"/>
                  <a:gd name="connsiteX13" fmla="*/ 0 w 549346"/>
                  <a:gd name="connsiteY13" fmla="*/ 260207 h 289155"/>
                  <a:gd name="connsiteX14" fmla="*/ 28944 w 549346"/>
                  <a:gd name="connsiteY14" fmla="*/ 260207 h 289155"/>
                  <a:gd name="connsiteX15" fmla="*/ 28944 w 549346"/>
                  <a:gd name="connsiteY15" fmla="*/ 289151 h 2891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49346" h="289155">
                    <a:moveTo>
                      <a:pt x="520400" y="28955"/>
                    </a:moveTo>
                    <a:lnTo>
                      <a:pt x="520400" y="11"/>
                    </a:lnTo>
                    <a:lnTo>
                      <a:pt x="549346" y="11"/>
                    </a:lnTo>
                    <a:lnTo>
                      <a:pt x="549346" y="28955"/>
                    </a:lnTo>
                    <a:close/>
                    <a:moveTo>
                      <a:pt x="520400" y="289155"/>
                    </a:moveTo>
                    <a:lnTo>
                      <a:pt x="520400" y="260211"/>
                    </a:lnTo>
                    <a:lnTo>
                      <a:pt x="549346" y="260211"/>
                    </a:lnTo>
                    <a:lnTo>
                      <a:pt x="549346" y="289155"/>
                    </a:lnTo>
                    <a:close/>
                    <a:moveTo>
                      <a:pt x="0" y="28951"/>
                    </a:moveTo>
                    <a:lnTo>
                      <a:pt x="0" y="0"/>
                    </a:lnTo>
                    <a:lnTo>
                      <a:pt x="28944" y="0"/>
                    </a:lnTo>
                    <a:lnTo>
                      <a:pt x="28944" y="28951"/>
                    </a:lnTo>
                    <a:close/>
                    <a:moveTo>
                      <a:pt x="0" y="289151"/>
                    </a:moveTo>
                    <a:lnTo>
                      <a:pt x="0" y="260207"/>
                    </a:lnTo>
                    <a:lnTo>
                      <a:pt x="28944" y="260207"/>
                    </a:lnTo>
                    <a:lnTo>
                      <a:pt x="28944" y="289151"/>
                    </a:lnTo>
                    <a:close/>
                  </a:path>
                </a:pathLst>
              </a:custGeom>
              <a:solidFill>
                <a:schemeClr val="tx2">
                  <a:alpha val="20000"/>
                </a:schemeClr>
              </a:solidFill>
              <a:ln w="10294" cap="flat">
                <a:noFill/>
                <a:prstDash val="solid"/>
                <a:miter/>
              </a:ln>
            </p:spPr>
            <p:txBody>
              <a:bodyPr wrap="square" rtlCol="0" anchor="ctr">
                <a:noAutofit/>
              </a:bodyPr>
              <a:lstStyle/>
              <a:p>
                <a:endParaRPr lang="en-US"/>
              </a:p>
            </p:txBody>
          </p:sp>
        </p:grpSp>
      </p:grpSp>
      <p:pic>
        <p:nvPicPr>
          <p:cNvPr id="7" name="Graphic 6">
            <a:extLst>
              <a:ext uri="{FF2B5EF4-FFF2-40B4-BE49-F238E27FC236}">
                <a16:creationId xmlns:a16="http://schemas.microsoft.com/office/drawing/2014/main" id="{43C5EB3F-4EE4-A417-731D-6FC47107164B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0027238" y="349030"/>
            <a:ext cx="1780586" cy="3273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33449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4" r:id="rId1"/>
    <p:sldLayoutId id="2147483985" r:id="rId2"/>
    <p:sldLayoutId id="2147483986" r:id="rId3"/>
    <p:sldLayoutId id="2147483987" r:id="rId4"/>
    <p:sldLayoutId id="2147483988" r:id="rId5"/>
    <p:sldLayoutId id="2147483989" r:id="rId6"/>
    <p:sldLayoutId id="2147483990" r:id="rId7"/>
    <p:sldLayoutId id="2147483991" r:id="rId8"/>
    <p:sldLayoutId id="2147483992" r:id="rId9"/>
    <p:sldLayoutId id="2147483993" r:id="rId10"/>
    <p:sldLayoutId id="2147483994" r:id="rId11"/>
    <p:sldLayoutId id="2147483995" r:id="rId12"/>
    <p:sldLayoutId id="2147483996" r:id="rId13"/>
  </p:sldLayoutIdLst>
  <p:hf sldNum="0" hdr="0" dt="0"/>
  <p:txStyles>
    <p:titleStyle>
      <a:lvl1pPr algn="l" defTabSz="457200" rtl="0" eaLnBrk="1" latinLnBrk="0" hangingPunct="1">
        <a:lnSpc>
          <a:spcPct val="85000"/>
        </a:lnSpc>
        <a:spcBef>
          <a:spcPct val="0"/>
        </a:spcBef>
        <a:buNone/>
        <a:tabLst>
          <a:tab pos="2227263" algn="l"/>
        </a:tabLst>
        <a:defRPr sz="2800" b="1" i="0" kern="1200" spc="-50" baseline="0">
          <a:solidFill>
            <a:schemeClr val="tx1"/>
          </a:solidFill>
          <a:latin typeface="Arial" panose="020B0604020202020204" pitchFamily="34" charset="0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spcBef>
          <a:spcPts val="1000"/>
        </a:spcBef>
        <a:buFont typeface="Arial"/>
        <a:buNone/>
        <a:defRPr sz="2000" kern="1200">
          <a:solidFill>
            <a:schemeClr val="tx1"/>
          </a:solidFill>
          <a:latin typeface="Arial"/>
          <a:ea typeface="+mn-ea"/>
          <a:cs typeface="Arial"/>
        </a:defRPr>
      </a:lvl1pPr>
      <a:lvl2pPr marL="174625" indent="-174625" algn="l" defTabSz="457200" rtl="0" eaLnBrk="1" latinLnBrk="0" hangingPunct="1">
        <a:spcBef>
          <a:spcPts val="500"/>
        </a:spcBef>
        <a:buClr>
          <a:schemeClr val="tx1"/>
        </a:buClr>
        <a:buFont typeface="Arial"/>
        <a:buChar char="•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339725" indent="-165100" algn="l" defTabSz="457200" rtl="0" eaLnBrk="1" latinLnBrk="0" hangingPunct="1">
        <a:spcBef>
          <a:spcPts val="300"/>
        </a:spcBef>
        <a:buClr>
          <a:schemeClr val="tx1"/>
        </a:buClr>
        <a:buFont typeface="Lucida Grande"/>
        <a:buChar char="-"/>
        <a:defRPr sz="2000" kern="1200">
          <a:solidFill>
            <a:schemeClr val="tx1"/>
          </a:solidFill>
          <a:latin typeface="Arial"/>
          <a:ea typeface="+mn-ea"/>
          <a:cs typeface="Arial"/>
        </a:defRPr>
      </a:lvl3pPr>
      <a:lvl4pPr marL="512763" indent="-173038" algn="l" defTabSz="457200" rtl="0" eaLnBrk="1" latinLnBrk="0" hangingPunct="1">
        <a:spcBef>
          <a:spcPts val="200"/>
        </a:spcBef>
        <a:buClr>
          <a:schemeClr val="tx1"/>
        </a:buClr>
        <a:buFont typeface="Arial"/>
        <a:buChar char="•"/>
        <a:defRPr sz="2000" kern="1200">
          <a:solidFill>
            <a:schemeClr val="tx1"/>
          </a:solidFill>
          <a:latin typeface="Arial"/>
          <a:ea typeface="+mn-ea"/>
          <a:cs typeface="Arial"/>
        </a:defRPr>
      </a:lvl4pPr>
      <a:lvl5pPr marL="687388" indent="-174625" algn="l" defTabSz="457200" rtl="0" eaLnBrk="1" latinLnBrk="0" hangingPunct="1">
        <a:spcBef>
          <a:spcPts val="100"/>
        </a:spcBef>
        <a:buClr>
          <a:schemeClr val="tx1"/>
        </a:buClr>
        <a:buFont typeface="Lucida Grande"/>
        <a:buChar char="-"/>
        <a:defRPr sz="20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12">
          <p15:clr>
            <a:srgbClr val="F26B43"/>
          </p15:clr>
        </p15:guide>
        <p15:guide id="2" pos="239">
          <p15:clr>
            <a:srgbClr val="F26B43"/>
          </p15:clr>
        </p15:guide>
        <p15:guide id="3" pos="7439">
          <p15:clr>
            <a:srgbClr val="F26B43"/>
          </p15:clr>
        </p15:guide>
        <p15:guide id="6" orient="horz" pos="660">
          <p15:clr>
            <a:srgbClr val="F26B43"/>
          </p15:clr>
        </p15:guide>
        <p15:guide id="7" orient="horz" pos="83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Box 23">
            <a:extLst>
              <a:ext uri="{FF2B5EF4-FFF2-40B4-BE49-F238E27FC236}">
                <a16:creationId xmlns:a16="http://schemas.microsoft.com/office/drawing/2014/main" id="{1E747280-CF02-4891-ACD6-EDDC8636A221}"/>
              </a:ext>
            </a:extLst>
          </p:cNvPr>
          <p:cNvSpPr txBox="1">
            <a:spLocks/>
          </p:cNvSpPr>
          <p:nvPr/>
        </p:nvSpPr>
        <p:spPr>
          <a:xfrm rot="16200000">
            <a:off x="-680738" y="4644269"/>
            <a:ext cx="2098011" cy="736533"/>
          </a:xfrm>
          <a:custGeom>
            <a:avLst/>
            <a:gdLst>
              <a:gd name="connsiteX0" fmla="*/ 1991636 w 1991636"/>
              <a:gd name="connsiteY0" fmla="*/ 1 h 736533"/>
              <a:gd name="connsiteX1" fmla="*/ 1990399 w 1991636"/>
              <a:gd name="connsiteY1" fmla="*/ 4813 h 736533"/>
              <a:gd name="connsiteX2" fmla="*/ 995818 w 1991636"/>
              <a:gd name="connsiteY2" fmla="*/ 736533 h 736533"/>
              <a:gd name="connsiteX3" fmla="*/ 1237 w 1991636"/>
              <a:gd name="connsiteY3" fmla="*/ 4813 h 736533"/>
              <a:gd name="connsiteX4" fmla="*/ 0 w 1991636"/>
              <a:gd name="connsiteY4" fmla="*/ 0 h 736533"/>
              <a:gd name="connsiteX5" fmla="*/ 574414 w 1991636"/>
              <a:gd name="connsiteY5" fmla="*/ 0 h 736533"/>
              <a:gd name="connsiteX6" fmla="*/ 627097 w 1991636"/>
              <a:gd name="connsiteY6" fmla="*/ 63853 h 736533"/>
              <a:gd name="connsiteX7" fmla="*/ 995818 w 1991636"/>
              <a:gd name="connsiteY7" fmla="*/ 216582 h 736533"/>
              <a:gd name="connsiteX8" fmla="*/ 1364539 w 1991636"/>
              <a:gd name="connsiteY8" fmla="*/ 63853 h 736533"/>
              <a:gd name="connsiteX9" fmla="*/ 1417221 w 1991636"/>
              <a:gd name="connsiteY9" fmla="*/ 1 h 7365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991636" h="736533">
                <a:moveTo>
                  <a:pt x="1991636" y="1"/>
                </a:moveTo>
                <a:lnTo>
                  <a:pt x="1990399" y="4813"/>
                </a:lnTo>
                <a:cubicBezTo>
                  <a:pt x="1858546" y="428735"/>
                  <a:pt x="1463127" y="736533"/>
                  <a:pt x="995818" y="736533"/>
                </a:cubicBezTo>
                <a:cubicBezTo>
                  <a:pt x="528509" y="736533"/>
                  <a:pt x="133091" y="428735"/>
                  <a:pt x="1237" y="4813"/>
                </a:cubicBezTo>
                <a:lnTo>
                  <a:pt x="0" y="0"/>
                </a:lnTo>
                <a:lnTo>
                  <a:pt x="574414" y="0"/>
                </a:lnTo>
                <a:lnTo>
                  <a:pt x="627097" y="63853"/>
                </a:lnTo>
                <a:cubicBezTo>
                  <a:pt x="721461" y="158217"/>
                  <a:pt x="851824" y="216582"/>
                  <a:pt x="995818" y="216582"/>
                </a:cubicBezTo>
                <a:cubicBezTo>
                  <a:pt x="1139812" y="216582"/>
                  <a:pt x="1270175" y="158217"/>
                  <a:pt x="1364539" y="63853"/>
                </a:cubicBezTo>
                <a:lnTo>
                  <a:pt x="1417221" y="1"/>
                </a:lnTo>
                <a:close/>
              </a:path>
            </a:pathLst>
          </a:custGeom>
          <a:solidFill>
            <a:schemeClr val="bg2">
              <a:alpha val="50000"/>
            </a:schemeClr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20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162049" y="351949"/>
            <a:ext cx="8655051" cy="6958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62050" y="1322024"/>
            <a:ext cx="10645774" cy="48501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3A5BB14-D036-4AC1-9435-9025BF12CBD4}"/>
              </a:ext>
            </a:extLst>
          </p:cNvPr>
          <p:cNvSpPr txBox="1"/>
          <p:nvPr/>
        </p:nvSpPr>
        <p:spPr>
          <a:xfrm>
            <a:off x="11454739" y="6472591"/>
            <a:ext cx="353085" cy="12242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algn="r" defTabSz="457200" rtl="0" eaLnBrk="1" latinLnBrk="0" hangingPunct="1"/>
            <a:fld id="{CDB435D5-777C-4922-976B-8C95AF7AC8DD}" type="slidenum">
              <a:rPr lang="en-US" sz="700" b="1" i="0" kern="1200" smtClean="0">
                <a:solidFill>
                  <a:schemeClr val="tx1"/>
                </a:solidFill>
                <a:latin typeface="Arial"/>
                <a:ea typeface="+mn-ea"/>
                <a:cs typeface="Arial"/>
              </a:rPr>
              <a:pPr marL="0" algn="r" defTabSz="457200" rtl="0" eaLnBrk="1" latinLnBrk="0" hangingPunct="1"/>
              <a:t>‹#›</a:t>
            </a:fld>
            <a:endParaRPr lang="en-US" sz="700" b="1" i="0" kern="1200" err="1">
              <a:solidFill>
                <a:schemeClr val="tx1"/>
              </a:solidFill>
              <a:latin typeface="Arial"/>
              <a:ea typeface="+mn-ea"/>
              <a:cs typeface="Arial"/>
            </a:endParaRPr>
          </a:p>
        </p:txBody>
      </p:sp>
      <p:sp>
        <p:nvSpPr>
          <p:cNvPr id="21" name="Freeform: Shape 41">
            <a:extLst>
              <a:ext uri="{FF2B5EF4-FFF2-40B4-BE49-F238E27FC236}">
                <a16:creationId xmlns:a16="http://schemas.microsoft.com/office/drawing/2014/main" id="{26D845CA-1A97-4A89-B7A6-6DBAEFC98612}"/>
              </a:ext>
            </a:extLst>
          </p:cNvPr>
          <p:cNvSpPr txBox="1">
            <a:spLocks/>
          </p:cNvSpPr>
          <p:nvPr/>
        </p:nvSpPr>
        <p:spPr>
          <a:xfrm>
            <a:off x="472426" y="3154973"/>
            <a:ext cx="531436" cy="531432"/>
          </a:xfrm>
          <a:custGeom>
            <a:avLst/>
            <a:gdLst>
              <a:gd name="connsiteX0" fmla="*/ 265718 w 531436"/>
              <a:gd name="connsiteY0" fmla="*/ 0 h 531432"/>
              <a:gd name="connsiteX1" fmla="*/ 531436 w 531436"/>
              <a:gd name="connsiteY1" fmla="*/ 265716 h 531432"/>
              <a:gd name="connsiteX2" fmla="*/ 265718 w 531436"/>
              <a:gd name="connsiteY2" fmla="*/ 531432 h 531432"/>
              <a:gd name="connsiteX3" fmla="*/ 0 w 531436"/>
              <a:gd name="connsiteY3" fmla="*/ 265716 h 531432"/>
              <a:gd name="connsiteX4" fmla="*/ 265718 w 531436"/>
              <a:gd name="connsiteY4" fmla="*/ 0 h 531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1436" h="531432">
                <a:moveTo>
                  <a:pt x="265718" y="0"/>
                </a:moveTo>
                <a:cubicBezTo>
                  <a:pt x="412470" y="0"/>
                  <a:pt x="531436" y="118965"/>
                  <a:pt x="531436" y="265716"/>
                </a:cubicBezTo>
                <a:cubicBezTo>
                  <a:pt x="531436" y="412467"/>
                  <a:pt x="412470" y="531432"/>
                  <a:pt x="265718" y="531432"/>
                </a:cubicBezTo>
                <a:cubicBezTo>
                  <a:pt x="118966" y="531432"/>
                  <a:pt x="0" y="412467"/>
                  <a:pt x="0" y="265716"/>
                </a:cubicBezTo>
                <a:cubicBezTo>
                  <a:pt x="0" y="118965"/>
                  <a:pt x="118966" y="0"/>
                  <a:pt x="265718" y="0"/>
                </a:cubicBezTo>
                <a:close/>
              </a:path>
            </a:pathLst>
          </a:custGeom>
          <a:solidFill>
            <a:schemeClr val="bg2">
              <a:alpha val="50000"/>
            </a:schemeClr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14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614087C-78B9-4829-AF3E-5CA06D282727}"/>
              </a:ext>
            </a:extLst>
          </p:cNvPr>
          <p:cNvSpPr/>
          <p:nvPr/>
        </p:nvSpPr>
        <p:spPr>
          <a:xfrm>
            <a:off x="-1" y="6812281"/>
            <a:ext cx="12188826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7095844D-7281-4E59-B89B-036E9FD4898D}"/>
              </a:ext>
            </a:extLst>
          </p:cNvPr>
          <p:cNvGrpSpPr/>
          <p:nvPr/>
        </p:nvGrpSpPr>
        <p:grpSpPr>
          <a:xfrm>
            <a:off x="190809" y="213306"/>
            <a:ext cx="564751" cy="6412339"/>
            <a:chOff x="190809" y="242905"/>
            <a:chExt cx="564751" cy="6412339"/>
          </a:xfrm>
        </p:grpSpPr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326330AD-C19C-435A-B603-513981A4B950}"/>
                </a:ext>
              </a:extLst>
            </p:cNvPr>
            <p:cNvSpPr/>
            <p:nvPr/>
          </p:nvSpPr>
          <p:spPr>
            <a:xfrm>
              <a:off x="190809" y="242905"/>
              <a:ext cx="561506" cy="5614838"/>
            </a:xfrm>
            <a:custGeom>
              <a:avLst/>
              <a:gdLst>
                <a:gd name="connsiteX0" fmla="*/ 531921 w 561506"/>
                <a:gd name="connsiteY0" fmla="*/ 5585253 h 5614838"/>
                <a:gd name="connsiteX1" fmla="*/ 561506 w 561506"/>
                <a:gd name="connsiteY1" fmla="*/ 5585253 h 5614838"/>
                <a:gd name="connsiteX2" fmla="*/ 561506 w 561506"/>
                <a:gd name="connsiteY2" fmla="*/ 5614838 h 5614838"/>
                <a:gd name="connsiteX3" fmla="*/ 531921 w 561506"/>
                <a:gd name="connsiteY3" fmla="*/ 5614838 h 5614838"/>
                <a:gd name="connsiteX4" fmla="*/ 265961 w 561506"/>
                <a:gd name="connsiteY4" fmla="*/ 5585253 h 5614838"/>
                <a:gd name="connsiteX5" fmla="*/ 295547 w 561506"/>
                <a:gd name="connsiteY5" fmla="*/ 5585253 h 5614838"/>
                <a:gd name="connsiteX6" fmla="*/ 295547 w 561506"/>
                <a:gd name="connsiteY6" fmla="*/ 5614838 h 5614838"/>
                <a:gd name="connsiteX7" fmla="*/ 265961 w 561506"/>
                <a:gd name="connsiteY7" fmla="*/ 5614838 h 5614838"/>
                <a:gd name="connsiteX8" fmla="*/ 0 w 561506"/>
                <a:gd name="connsiteY8" fmla="*/ 5585253 h 5614838"/>
                <a:gd name="connsiteX9" fmla="*/ 29585 w 561506"/>
                <a:gd name="connsiteY9" fmla="*/ 5585253 h 5614838"/>
                <a:gd name="connsiteX10" fmla="*/ 29585 w 561506"/>
                <a:gd name="connsiteY10" fmla="*/ 5614838 h 5614838"/>
                <a:gd name="connsiteX11" fmla="*/ 0 w 561506"/>
                <a:gd name="connsiteY11" fmla="*/ 5614838 h 5614838"/>
                <a:gd name="connsiteX12" fmla="*/ 531921 w 561506"/>
                <a:gd name="connsiteY12" fmla="*/ 5319293 h 5614838"/>
                <a:gd name="connsiteX13" fmla="*/ 561506 w 561506"/>
                <a:gd name="connsiteY13" fmla="*/ 5319293 h 5614838"/>
                <a:gd name="connsiteX14" fmla="*/ 561506 w 561506"/>
                <a:gd name="connsiteY14" fmla="*/ 5348879 h 5614838"/>
                <a:gd name="connsiteX15" fmla="*/ 531921 w 561506"/>
                <a:gd name="connsiteY15" fmla="*/ 5348879 h 5614838"/>
                <a:gd name="connsiteX16" fmla="*/ 265961 w 561506"/>
                <a:gd name="connsiteY16" fmla="*/ 5319293 h 5614838"/>
                <a:gd name="connsiteX17" fmla="*/ 295547 w 561506"/>
                <a:gd name="connsiteY17" fmla="*/ 5319293 h 5614838"/>
                <a:gd name="connsiteX18" fmla="*/ 295547 w 561506"/>
                <a:gd name="connsiteY18" fmla="*/ 5348879 h 5614838"/>
                <a:gd name="connsiteX19" fmla="*/ 265961 w 561506"/>
                <a:gd name="connsiteY19" fmla="*/ 5348879 h 5614838"/>
                <a:gd name="connsiteX20" fmla="*/ 0 w 561506"/>
                <a:gd name="connsiteY20" fmla="*/ 5319293 h 5614838"/>
                <a:gd name="connsiteX21" fmla="*/ 29585 w 561506"/>
                <a:gd name="connsiteY21" fmla="*/ 5319293 h 5614838"/>
                <a:gd name="connsiteX22" fmla="*/ 29585 w 561506"/>
                <a:gd name="connsiteY22" fmla="*/ 5348879 h 5614838"/>
                <a:gd name="connsiteX23" fmla="*/ 0 w 561506"/>
                <a:gd name="connsiteY23" fmla="*/ 5348879 h 5614838"/>
                <a:gd name="connsiteX24" fmla="*/ 531921 w 561506"/>
                <a:gd name="connsiteY24" fmla="*/ 5053332 h 5614838"/>
                <a:gd name="connsiteX25" fmla="*/ 561506 w 561506"/>
                <a:gd name="connsiteY25" fmla="*/ 5053332 h 5614838"/>
                <a:gd name="connsiteX26" fmla="*/ 561506 w 561506"/>
                <a:gd name="connsiteY26" fmla="*/ 5082917 h 5614838"/>
                <a:gd name="connsiteX27" fmla="*/ 531921 w 561506"/>
                <a:gd name="connsiteY27" fmla="*/ 5082917 h 5614838"/>
                <a:gd name="connsiteX28" fmla="*/ 265961 w 561506"/>
                <a:gd name="connsiteY28" fmla="*/ 5053332 h 5614838"/>
                <a:gd name="connsiteX29" fmla="*/ 295547 w 561506"/>
                <a:gd name="connsiteY29" fmla="*/ 5053332 h 5614838"/>
                <a:gd name="connsiteX30" fmla="*/ 295547 w 561506"/>
                <a:gd name="connsiteY30" fmla="*/ 5082917 h 5614838"/>
                <a:gd name="connsiteX31" fmla="*/ 265961 w 561506"/>
                <a:gd name="connsiteY31" fmla="*/ 5082917 h 5614838"/>
                <a:gd name="connsiteX32" fmla="*/ 0 w 561506"/>
                <a:gd name="connsiteY32" fmla="*/ 5053332 h 5614838"/>
                <a:gd name="connsiteX33" fmla="*/ 29585 w 561506"/>
                <a:gd name="connsiteY33" fmla="*/ 5053332 h 5614838"/>
                <a:gd name="connsiteX34" fmla="*/ 29585 w 561506"/>
                <a:gd name="connsiteY34" fmla="*/ 5082917 h 5614838"/>
                <a:gd name="connsiteX35" fmla="*/ 0 w 561506"/>
                <a:gd name="connsiteY35" fmla="*/ 5082917 h 5614838"/>
                <a:gd name="connsiteX36" fmla="*/ 531921 w 561506"/>
                <a:gd name="connsiteY36" fmla="*/ 4787372 h 5614838"/>
                <a:gd name="connsiteX37" fmla="*/ 561506 w 561506"/>
                <a:gd name="connsiteY37" fmla="*/ 4787372 h 5614838"/>
                <a:gd name="connsiteX38" fmla="*/ 561506 w 561506"/>
                <a:gd name="connsiteY38" fmla="*/ 4816958 h 5614838"/>
                <a:gd name="connsiteX39" fmla="*/ 531921 w 561506"/>
                <a:gd name="connsiteY39" fmla="*/ 4816958 h 5614838"/>
                <a:gd name="connsiteX40" fmla="*/ 265961 w 561506"/>
                <a:gd name="connsiteY40" fmla="*/ 4787372 h 5614838"/>
                <a:gd name="connsiteX41" fmla="*/ 295547 w 561506"/>
                <a:gd name="connsiteY41" fmla="*/ 4787372 h 5614838"/>
                <a:gd name="connsiteX42" fmla="*/ 295547 w 561506"/>
                <a:gd name="connsiteY42" fmla="*/ 4816958 h 5614838"/>
                <a:gd name="connsiteX43" fmla="*/ 265961 w 561506"/>
                <a:gd name="connsiteY43" fmla="*/ 4816958 h 5614838"/>
                <a:gd name="connsiteX44" fmla="*/ 0 w 561506"/>
                <a:gd name="connsiteY44" fmla="*/ 4787372 h 5614838"/>
                <a:gd name="connsiteX45" fmla="*/ 29585 w 561506"/>
                <a:gd name="connsiteY45" fmla="*/ 4787372 h 5614838"/>
                <a:gd name="connsiteX46" fmla="*/ 29585 w 561506"/>
                <a:gd name="connsiteY46" fmla="*/ 4816958 h 5614838"/>
                <a:gd name="connsiteX47" fmla="*/ 0 w 561506"/>
                <a:gd name="connsiteY47" fmla="*/ 4816958 h 5614838"/>
                <a:gd name="connsiteX48" fmla="*/ 531921 w 561506"/>
                <a:gd name="connsiteY48" fmla="*/ 4521412 h 5614838"/>
                <a:gd name="connsiteX49" fmla="*/ 561506 w 561506"/>
                <a:gd name="connsiteY49" fmla="*/ 4521412 h 5614838"/>
                <a:gd name="connsiteX50" fmla="*/ 561506 w 561506"/>
                <a:gd name="connsiteY50" fmla="*/ 4550997 h 5614838"/>
                <a:gd name="connsiteX51" fmla="*/ 531921 w 561506"/>
                <a:gd name="connsiteY51" fmla="*/ 4550997 h 5614838"/>
                <a:gd name="connsiteX52" fmla="*/ 265961 w 561506"/>
                <a:gd name="connsiteY52" fmla="*/ 4521412 h 5614838"/>
                <a:gd name="connsiteX53" fmla="*/ 295547 w 561506"/>
                <a:gd name="connsiteY53" fmla="*/ 4521412 h 5614838"/>
                <a:gd name="connsiteX54" fmla="*/ 295547 w 561506"/>
                <a:gd name="connsiteY54" fmla="*/ 4550997 h 5614838"/>
                <a:gd name="connsiteX55" fmla="*/ 265961 w 561506"/>
                <a:gd name="connsiteY55" fmla="*/ 4550997 h 5614838"/>
                <a:gd name="connsiteX56" fmla="*/ 0 w 561506"/>
                <a:gd name="connsiteY56" fmla="*/ 4521412 h 5614838"/>
                <a:gd name="connsiteX57" fmla="*/ 29585 w 561506"/>
                <a:gd name="connsiteY57" fmla="*/ 4521412 h 5614838"/>
                <a:gd name="connsiteX58" fmla="*/ 29585 w 561506"/>
                <a:gd name="connsiteY58" fmla="*/ 4550997 h 5614838"/>
                <a:gd name="connsiteX59" fmla="*/ 0 w 561506"/>
                <a:gd name="connsiteY59" fmla="*/ 4550997 h 5614838"/>
                <a:gd name="connsiteX60" fmla="*/ 531921 w 561506"/>
                <a:gd name="connsiteY60" fmla="*/ 4255451 h 5614838"/>
                <a:gd name="connsiteX61" fmla="*/ 561506 w 561506"/>
                <a:gd name="connsiteY61" fmla="*/ 4255451 h 5614838"/>
                <a:gd name="connsiteX62" fmla="*/ 561506 w 561506"/>
                <a:gd name="connsiteY62" fmla="*/ 4285036 h 5614838"/>
                <a:gd name="connsiteX63" fmla="*/ 531921 w 561506"/>
                <a:gd name="connsiteY63" fmla="*/ 4285036 h 5614838"/>
                <a:gd name="connsiteX64" fmla="*/ 265961 w 561506"/>
                <a:gd name="connsiteY64" fmla="*/ 4255451 h 5614838"/>
                <a:gd name="connsiteX65" fmla="*/ 295547 w 561506"/>
                <a:gd name="connsiteY65" fmla="*/ 4255451 h 5614838"/>
                <a:gd name="connsiteX66" fmla="*/ 295547 w 561506"/>
                <a:gd name="connsiteY66" fmla="*/ 4285036 h 5614838"/>
                <a:gd name="connsiteX67" fmla="*/ 265961 w 561506"/>
                <a:gd name="connsiteY67" fmla="*/ 4285036 h 5614838"/>
                <a:gd name="connsiteX68" fmla="*/ 0 w 561506"/>
                <a:gd name="connsiteY68" fmla="*/ 4255451 h 5614838"/>
                <a:gd name="connsiteX69" fmla="*/ 29585 w 561506"/>
                <a:gd name="connsiteY69" fmla="*/ 4255451 h 5614838"/>
                <a:gd name="connsiteX70" fmla="*/ 29585 w 561506"/>
                <a:gd name="connsiteY70" fmla="*/ 4285036 h 5614838"/>
                <a:gd name="connsiteX71" fmla="*/ 0 w 561506"/>
                <a:gd name="connsiteY71" fmla="*/ 4285036 h 5614838"/>
                <a:gd name="connsiteX72" fmla="*/ 531921 w 561506"/>
                <a:gd name="connsiteY72" fmla="*/ 3989491 h 5614838"/>
                <a:gd name="connsiteX73" fmla="*/ 561506 w 561506"/>
                <a:gd name="connsiteY73" fmla="*/ 3989491 h 5614838"/>
                <a:gd name="connsiteX74" fmla="*/ 561506 w 561506"/>
                <a:gd name="connsiteY74" fmla="*/ 4019077 h 5614838"/>
                <a:gd name="connsiteX75" fmla="*/ 531921 w 561506"/>
                <a:gd name="connsiteY75" fmla="*/ 4019077 h 5614838"/>
                <a:gd name="connsiteX76" fmla="*/ 265961 w 561506"/>
                <a:gd name="connsiteY76" fmla="*/ 3989491 h 5614838"/>
                <a:gd name="connsiteX77" fmla="*/ 295547 w 561506"/>
                <a:gd name="connsiteY77" fmla="*/ 3989491 h 5614838"/>
                <a:gd name="connsiteX78" fmla="*/ 295547 w 561506"/>
                <a:gd name="connsiteY78" fmla="*/ 4019077 h 5614838"/>
                <a:gd name="connsiteX79" fmla="*/ 265961 w 561506"/>
                <a:gd name="connsiteY79" fmla="*/ 4019077 h 5614838"/>
                <a:gd name="connsiteX80" fmla="*/ 0 w 561506"/>
                <a:gd name="connsiteY80" fmla="*/ 3989491 h 5614838"/>
                <a:gd name="connsiteX81" fmla="*/ 29585 w 561506"/>
                <a:gd name="connsiteY81" fmla="*/ 3989491 h 5614838"/>
                <a:gd name="connsiteX82" fmla="*/ 29585 w 561506"/>
                <a:gd name="connsiteY82" fmla="*/ 4019077 h 5614838"/>
                <a:gd name="connsiteX83" fmla="*/ 0 w 561506"/>
                <a:gd name="connsiteY83" fmla="*/ 4019077 h 5614838"/>
                <a:gd name="connsiteX84" fmla="*/ 531921 w 561506"/>
                <a:gd name="connsiteY84" fmla="*/ 3723530 h 5614838"/>
                <a:gd name="connsiteX85" fmla="*/ 561506 w 561506"/>
                <a:gd name="connsiteY85" fmla="*/ 3723530 h 5614838"/>
                <a:gd name="connsiteX86" fmla="*/ 561506 w 561506"/>
                <a:gd name="connsiteY86" fmla="*/ 3753115 h 5614838"/>
                <a:gd name="connsiteX87" fmla="*/ 531921 w 561506"/>
                <a:gd name="connsiteY87" fmla="*/ 3753115 h 5614838"/>
                <a:gd name="connsiteX88" fmla="*/ 265961 w 561506"/>
                <a:gd name="connsiteY88" fmla="*/ 3723530 h 5614838"/>
                <a:gd name="connsiteX89" fmla="*/ 295547 w 561506"/>
                <a:gd name="connsiteY89" fmla="*/ 3723530 h 5614838"/>
                <a:gd name="connsiteX90" fmla="*/ 295547 w 561506"/>
                <a:gd name="connsiteY90" fmla="*/ 3753115 h 5614838"/>
                <a:gd name="connsiteX91" fmla="*/ 265961 w 561506"/>
                <a:gd name="connsiteY91" fmla="*/ 3753115 h 5614838"/>
                <a:gd name="connsiteX92" fmla="*/ 0 w 561506"/>
                <a:gd name="connsiteY92" fmla="*/ 3723530 h 5614838"/>
                <a:gd name="connsiteX93" fmla="*/ 29585 w 561506"/>
                <a:gd name="connsiteY93" fmla="*/ 3723530 h 5614838"/>
                <a:gd name="connsiteX94" fmla="*/ 29585 w 561506"/>
                <a:gd name="connsiteY94" fmla="*/ 3753115 h 5614838"/>
                <a:gd name="connsiteX95" fmla="*/ 0 w 561506"/>
                <a:gd name="connsiteY95" fmla="*/ 3753115 h 5614838"/>
                <a:gd name="connsiteX96" fmla="*/ 531921 w 561506"/>
                <a:gd name="connsiteY96" fmla="*/ 3457570 h 5614838"/>
                <a:gd name="connsiteX97" fmla="*/ 561506 w 561506"/>
                <a:gd name="connsiteY97" fmla="*/ 3457570 h 5614838"/>
                <a:gd name="connsiteX98" fmla="*/ 561506 w 561506"/>
                <a:gd name="connsiteY98" fmla="*/ 3487156 h 5614838"/>
                <a:gd name="connsiteX99" fmla="*/ 531921 w 561506"/>
                <a:gd name="connsiteY99" fmla="*/ 3487156 h 5614838"/>
                <a:gd name="connsiteX100" fmla="*/ 265961 w 561506"/>
                <a:gd name="connsiteY100" fmla="*/ 3457570 h 5614838"/>
                <a:gd name="connsiteX101" fmla="*/ 295547 w 561506"/>
                <a:gd name="connsiteY101" fmla="*/ 3457570 h 5614838"/>
                <a:gd name="connsiteX102" fmla="*/ 295547 w 561506"/>
                <a:gd name="connsiteY102" fmla="*/ 3487156 h 5614838"/>
                <a:gd name="connsiteX103" fmla="*/ 265961 w 561506"/>
                <a:gd name="connsiteY103" fmla="*/ 3487156 h 5614838"/>
                <a:gd name="connsiteX104" fmla="*/ 0 w 561506"/>
                <a:gd name="connsiteY104" fmla="*/ 3457570 h 5614838"/>
                <a:gd name="connsiteX105" fmla="*/ 29585 w 561506"/>
                <a:gd name="connsiteY105" fmla="*/ 3457570 h 5614838"/>
                <a:gd name="connsiteX106" fmla="*/ 29585 w 561506"/>
                <a:gd name="connsiteY106" fmla="*/ 3487156 h 5614838"/>
                <a:gd name="connsiteX107" fmla="*/ 0 w 561506"/>
                <a:gd name="connsiteY107" fmla="*/ 3487156 h 5614838"/>
                <a:gd name="connsiteX108" fmla="*/ 531921 w 561506"/>
                <a:gd name="connsiteY108" fmla="*/ 3191618 h 5614838"/>
                <a:gd name="connsiteX109" fmla="*/ 561506 w 561506"/>
                <a:gd name="connsiteY109" fmla="*/ 3191618 h 5614838"/>
                <a:gd name="connsiteX110" fmla="*/ 561506 w 561506"/>
                <a:gd name="connsiteY110" fmla="*/ 3221195 h 5614838"/>
                <a:gd name="connsiteX111" fmla="*/ 531921 w 561506"/>
                <a:gd name="connsiteY111" fmla="*/ 3221195 h 5614838"/>
                <a:gd name="connsiteX112" fmla="*/ 265961 w 561506"/>
                <a:gd name="connsiteY112" fmla="*/ 3191618 h 5614838"/>
                <a:gd name="connsiteX113" fmla="*/ 295547 w 561506"/>
                <a:gd name="connsiteY113" fmla="*/ 3191618 h 5614838"/>
                <a:gd name="connsiteX114" fmla="*/ 295547 w 561506"/>
                <a:gd name="connsiteY114" fmla="*/ 3221195 h 5614838"/>
                <a:gd name="connsiteX115" fmla="*/ 265961 w 561506"/>
                <a:gd name="connsiteY115" fmla="*/ 3221195 h 5614838"/>
                <a:gd name="connsiteX116" fmla="*/ 0 w 561506"/>
                <a:gd name="connsiteY116" fmla="*/ 3191617 h 5614838"/>
                <a:gd name="connsiteX117" fmla="*/ 29585 w 561506"/>
                <a:gd name="connsiteY117" fmla="*/ 3191617 h 5614838"/>
                <a:gd name="connsiteX118" fmla="*/ 29585 w 561506"/>
                <a:gd name="connsiteY118" fmla="*/ 3221195 h 5614838"/>
                <a:gd name="connsiteX119" fmla="*/ 0 w 561506"/>
                <a:gd name="connsiteY119" fmla="*/ 3221195 h 5614838"/>
                <a:gd name="connsiteX120" fmla="*/ 531921 w 561506"/>
                <a:gd name="connsiteY120" fmla="*/ 2925660 h 5614838"/>
                <a:gd name="connsiteX121" fmla="*/ 561506 w 561506"/>
                <a:gd name="connsiteY121" fmla="*/ 2925660 h 5614838"/>
                <a:gd name="connsiteX122" fmla="*/ 561506 w 561506"/>
                <a:gd name="connsiteY122" fmla="*/ 2955246 h 5614838"/>
                <a:gd name="connsiteX123" fmla="*/ 531921 w 561506"/>
                <a:gd name="connsiteY123" fmla="*/ 2955246 h 5614838"/>
                <a:gd name="connsiteX124" fmla="*/ 265961 w 561506"/>
                <a:gd name="connsiteY124" fmla="*/ 2925659 h 5614838"/>
                <a:gd name="connsiteX125" fmla="*/ 295547 w 561506"/>
                <a:gd name="connsiteY125" fmla="*/ 2925659 h 5614838"/>
                <a:gd name="connsiteX126" fmla="*/ 295547 w 561506"/>
                <a:gd name="connsiteY126" fmla="*/ 2955245 h 5614838"/>
                <a:gd name="connsiteX127" fmla="*/ 265961 w 561506"/>
                <a:gd name="connsiteY127" fmla="*/ 2955245 h 5614838"/>
                <a:gd name="connsiteX128" fmla="*/ 0 w 561506"/>
                <a:gd name="connsiteY128" fmla="*/ 2925658 h 5614838"/>
                <a:gd name="connsiteX129" fmla="*/ 29585 w 561506"/>
                <a:gd name="connsiteY129" fmla="*/ 2925658 h 5614838"/>
                <a:gd name="connsiteX130" fmla="*/ 29585 w 561506"/>
                <a:gd name="connsiteY130" fmla="*/ 2955244 h 5614838"/>
                <a:gd name="connsiteX131" fmla="*/ 0 w 561506"/>
                <a:gd name="connsiteY131" fmla="*/ 2955244 h 5614838"/>
                <a:gd name="connsiteX132" fmla="*/ 531921 w 561506"/>
                <a:gd name="connsiteY132" fmla="*/ 2659620 h 5614838"/>
                <a:gd name="connsiteX133" fmla="*/ 561506 w 561506"/>
                <a:gd name="connsiteY133" fmla="*/ 2659620 h 5614838"/>
                <a:gd name="connsiteX134" fmla="*/ 561506 w 561506"/>
                <a:gd name="connsiteY134" fmla="*/ 2689204 h 5614838"/>
                <a:gd name="connsiteX135" fmla="*/ 531921 w 561506"/>
                <a:gd name="connsiteY135" fmla="*/ 2689204 h 5614838"/>
                <a:gd name="connsiteX136" fmla="*/ 265961 w 561506"/>
                <a:gd name="connsiteY136" fmla="*/ 2659616 h 5614838"/>
                <a:gd name="connsiteX137" fmla="*/ 295547 w 561506"/>
                <a:gd name="connsiteY137" fmla="*/ 2659616 h 5614838"/>
                <a:gd name="connsiteX138" fmla="*/ 295547 w 561506"/>
                <a:gd name="connsiteY138" fmla="*/ 2689201 h 5614838"/>
                <a:gd name="connsiteX139" fmla="*/ 265961 w 561506"/>
                <a:gd name="connsiteY139" fmla="*/ 2689201 h 5614838"/>
                <a:gd name="connsiteX140" fmla="*/ 0 w 561506"/>
                <a:gd name="connsiteY140" fmla="*/ 2659613 h 5614838"/>
                <a:gd name="connsiteX141" fmla="*/ 29585 w 561506"/>
                <a:gd name="connsiteY141" fmla="*/ 2659613 h 5614838"/>
                <a:gd name="connsiteX142" fmla="*/ 29585 w 561506"/>
                <a:gd name="connsiteY142" fmla="*/ 2689198 h 5614838"/>
                <a:gd name="connsiteX143" fmla="*/ 0 w 561506"/>
                <a:gd name="connsiteY143" fmla="*/ 2689198 h 5614838"/>
                <a:gd name="connsiteX144" fmla="*/ 531921 w 561506"/>
                <a:gd name="connsiteY144" fmla="*/ 2393661 h 5614838"/>
                <a:gd name="connsiteX145" fmla="*/ 561506 w 561506"/>
                <a:gd name="connsiteY145" fmla="*/ 2393661 h 5614838"/>
                <a:gd name="connsiteX146" fmla="*/ 561506 w 561506"/>
                <a:gd name="connsiteY146" fmla="*/ 2423260 h 5614838"/>
                <a:gd name="connsiteX147" fmla="*/ 531921 w 561506"/>
                <a:gd name="connsiteY147" fmla="*/ 2423260 h 5614838"/>
                <a:gd name="connsiteX148" fmla="*/ 265961 w 561506"/>
                <a:gd name="connsiteY148" fmla="*/ 2393658 h 5614838"/>
                <a:gd name="connsiteX149" fmla="*/ 295547 w 561506"/>
                <a:gd name="connsiteY149" fmla="*/ 2393658 h 5614838"/>
                <a:gd name="connsiteX150" fmla="*/ 295547 w 561506"/>
                <a:gd name="connsiteY150" fmla="*/ 2423257 h 5614838"/>
                <a:gd name="connsiteX151" fmla="*/ 265961 w 561506"/>
                <a:gd name="connsiteY151" fmla="*/ 2423257 h 5614838"/>
                <a:gd name="connsiteX152" fmla="*/ 0 w 561506"/>
                <a:gd name="connsiteY152" fmla="*/ 2393655 h 5614838"/>
                <a:gd name="connsiteX153" fmla="*/ 29585 w 561506"/>
                <a:gd name="connsiteY153" fmla="*/ 2393655 h 5614838"/>
                <a:gd name="connsiteX154" fmla="*/ 29585 w 561506"/>
                <a:gd name="connsiteY154" fmla="*/ 2423251 h 5614838"/>
                <a:gd name="connsiteX155" fmla="*/ 0 w 561506"/>
                <a:gd name="connsiteY155" fmla="*/ 2423251 h 5614838"/>
                <a:gd name="connsiteX156" fmla="*/ 531921 w 561506"/>
                <a:gd name="connsiteY156" fmla="*/ 2127694 h 5614838"/>
                <a:gd name="connsiteX157" fmla="*/ 561506 w 561506"/>
                <a:gd name="connsiteY157" fmla="*/ 2127694 h 5614838"/>
                <a:gd name="connsiteX158" fmla="*/ 561506 w 561506"/>
                <a:gd name="connsiteY158" fmla="*/ 2157283 h 5614838"/>
                <a:gd name="connsiteX159" fmla="*/ 531921 w 561506"/>
                <a:gd name="connsiteY159" fmla="*/ 2157283 h 5614838"/>
                <a:gd name="connsiteX160" fmla="*/ 265961 w 561506"/>
                <a:gd name="connsiteY160" fmla="*/ 2127693 h 5614838"/>
                <a:gd name="connsiteX161" fmla="*/ 295547 w 561506"/>
                <a:gd name="connsiteY161" fmla="*/ 2127693 h 5614838"/>
                <a:gd name="connsiteX162" fmla="*/ 295547 w 561506"/>
                <a:gd name="connsiteY162" fmla="*/ 2157282 h 5614838"/>
                <a:gd name="connsiteX163" fmla="*/ 265961 w 561506"/>
                <a:gd name="connsiteY163" fmla="*/ 2157282 h 5614838"/>
                <a:gd name="connsiteX164" fmla="*/ 0 w 561506"/>
                <a:gd name="connsiteY164" fmla="*/ 2127689 h 5614838"/>
                <a:gd name="connsiteX165" fmla="*/ 29585 w 561506"/>
                <a:gd name="connsiteY165" fmla="*/ 2127689 h 5614838"/>
                <a:gd name="connsiteX166" fmla="*/ 29585 w 561506"/>
                <a:gd name="connsiteY166" fmla="*/ 2157278 h 5614838"/>
                <a:gd name="connsiteX167" fmla="*/ 0 w 561506"/>
                <a:gd name="connsiteY167" fmla="*/ 2157278 h 5614838"/>
                <a:gd name="connsiteX168" fmla="*/ 531921 w 561506"/>
                <a:gd name="connsiteY168" fmla="*/ 1861731 h 5614838"/>
                <a:gd name="connsiteX169" fmla="*/ 561506 w 561506"/>
                <a:gd name="connsiteY169" fmla="*/ 1861731 h 5614838"/>
                <a:gd name="connsiteX170" fmla="*/ 561506 w 561506"/>
                <a:gd name="connsiteY170" fmla="*/ 1891308 h 5614838"/>
                <a:gd name="connsiteX171" fmla="*/ 531921 w 561506"/>
                <a:gd name="connsiteY171" fmla="*/ 1891308 h 5614838"/>
                <a:gd name="connsiteX172" fmla="*/ 265961 w 561506"/>
                <a:gd name="connsiteY172" fmla="*/ 1861728 h 5614838"/>
                <a:gd name="connsiteX173" fmla="*/ 295547 w 561506"/>
                <a:gd name="connsiteY173" fmla="*/ 1861728 h 5614838"/>
                <a:gd name="connsiteX174" fmla="*/ 295547 w 561506"/>
                <a:gd name="connsiteY174" fmla="*/ 1891306 h 5614838"/>
                <a:gd name="connsiteX175" fmla="*/ 265961 w 561506"/>
                <a:gd name="connsiteY175" fmla="*/ 1891306 h 5614838"/>
                <a:gd name="connsiteX176" fmla="*/ 0 w 561506"/>
                <a:gd name="connsiteY176" fmla="*/ 1861726 h 5614838"/>
                <a:gd name="connsiteX177" fmla="*/ 29585 w 561506"/>
                <a:gd name="connsiteY177" fmla="*/ 1861726 h 5614838"/>
                <a:gd name="connsiteX178" fmla="*/ 29585 w 561506"/>
                <a:gd name="connsiteY178" fmla="*/ 1891304 h 5614838"/>
                <a:gd name="connsiteX179" fmla="*/ 0 w 561506"/>
                <a:gd name="connsiteY179" fmla="*/ 1891304 h 5614838"/>
                <a:gd name="connsiteX180" fmla="*/ 531921 w 561506"/>
                <a:gd name="connsiteY180" fmla="*/ 1595769 h 5614838"/>
                <a:gd name="connsiteX181" fmla="*/ 561506 w 561506"/>
                <a:gd name="connsiteY181" fmla="*/ 1595769 h 5614838"/>
                <a:gd name="connsiteX182" fmla="*/ 561506 w 561506"/>
                <a:gd name="connsiteY182" fmla="*/ 1625355 h 5614838"/>
                <a:gd name="connsiteX183" fmla="*/ 531921 w 561506"/>
                <a:gd name="connsiteY183" fmla="*/ 1625355 h 5614838"/>
                <a:gd name="connsiteX184" fmla="*/ 265961 w 561506"/>
                <a:gd name="connsiteY184" fmla="*/ 1595766 h 5614838"/>
                <a:gd name="connsiteX185" fmla="*/ 295547 w 561506"/>
                <a:gd name="connsiteY185" fmla="*/ 1595766 h 5614838"/>
                <a:gd name="connsiteX186" fmla="*/ 295547 w 561506"/>
                <a:gd name="connsiteY186" fmla="*/ 1625352 h 5614838"/>
                <a:gd name="connsiteX187" fmla="*/ 265961 w 561506"/>
                <a:gd name="connsiteY187" fmla="*/ 1625352 h 5614838"/>
                <a:gd name="connsiteX188" fmla="*/ 0 w 561506"/>
                <a:gd name="connsiteY188" fmla="*/ 1595764 h 5614838"/>
                <a:gd name="connsiteX189" fmla="*/ 29585 w 561506"/>
                <a:gd name="connsiteY189" fmla="*/ 1595764 h 5614838"/>
                <a:gd name="connsiteX190" fmla="*/ 29585 w 561506"/>
                <a:gd name="connsiteY190" fmla="*/ 1625350 h 5614838"/>
                <a:gd name="connsiteX191" fmla="*/ 0 w 561506"/>
                <a:gd name="connsiteY191" fmla="*/ 1625350 h 5614838"/>
                <a:gd name="connsiteX192" fmla="*/ 531921 w 561506"/>
                <a:gd name="connsiteY192" fmla="*/ 1329811 h 5614838"/>
                <a:gd name="connsiteX193" fmla="*/ 561506 w 561506"/>
                <a:gd name="connsiteY193" fmla="*/ 1329811 h 5614838"/>
                <a:gd name="connsiteX194" fmla="*/ 561506 w 561506"/>
                <a:gd name="connsiteY194" fmla="*/ 1359396 h 5614838"/>
                <a:gd name="connsiteX195" fmla="*/ 531921 w 561506"/>
                <a:gd name="connsiteY195" fmla="*/ 1359396 h 5614838"/>
                <a:gd name="connsiteX196" fmla="*/ 265961 w 561506"/>
                <a:gd name="connsiteY196" fmla="*/ 1329809 h 5614838"/>
                <a:gd name="connsiteX197" fmla="*/ 295547 w 561506"/>
                <a:gd name="connsiteY197" fmla="*/ 1329809 h 5614838"/>
                <a:gd name="connsiteX198" fmla="*/ 295547 w 561506"/>
                <a:gd name="connsiteY198" fmla="*/ 1359393 h 5614838"/>
                <a:gd name="connsiteX199" fmla="*/ 265961 w 561506"/>
                <a:gd name="connsiteY199" fmla="*/ 1359393 h 5614838"/>
                <a:gd name="connsiteX200" fmla="*/ 0 w 561506"/>
                <a:gd name="connsiteY200" fmla="*/ 1329806 h 5614838"/>
                <a:gd name="connsiteX201" fmla="*/ 29585 w 561506"/>
                <a:gd name="connsiteY201" fmla="*/ 1329806 h 5614838"/>
                <a:gd name="connsiteX202" fmla="*/ 29585 w 561506"/>
                <a:gd name="connsiteY202" fmla="*/ 1359391 h 5614838"/>
                <a:gd name="connsiteX203" fmla="*/ 0 w 561506"/>
                <a:gd name="connsiteY203" fmla="*/ 1359391 h 5614838"/>
                <a:gd name="connsiteX204" fmla="*/ 531921 w 561506"/>
                <a:gd name="connsiteY204" fmla="*/ 1063855 h 5614838"/>
                <a:gd name="connsiteX205" fmla="*/ 561506 w 561506"/>
                <a:gd name="connsiteY205" fmla="*/ 1063855 h 5614838"/>
                <a:gd name="connsiteX206" fmla="*/ 561506 w 561506"/>
                <a:gd name="connsiteY206" fmla="*/ 1093441 h 5614838"/>
                <a:gd name="connsiteX207" fmla="*/ 531921 w 561506"/>
                <a:gd name="connsiteY207" fmla="*/ 1093441 h 5614838"/>
                <a:gd name="connsiteX208" fmla="*/ 265961 w 561506"/>
                <a:gd name="connsiteY208" fmla="*/ 1063852 h 5614838"/>
                <a:gd name="connsiteX209" fmla="*/ 295547 w 561506"/>
                <a:gd name="connsiteY209" fmla="*/ 1063852 h 5614838"/>
                <a:gd name="connsiteX210" fmla="*/ 295547 w 561506"/>
                <a:gd name="connsiteY210" fmla="*/ 1093438 h 5614838"/>
                <a:gd name="connsiteX211" fmla="*/ 265961 w 561506"/>
                <a:gd name="connsiteY211" fmla="*/ 1093438 h 5614838"/>
                <a:gd name="connsiteX212" fmla="*/ 0 w 561506"/>
                <a:gd name="connsiteY212" fmla="*/ 1063849 h 5614838"/>
                <a:gd name="connsiteX213" fmla="*/ 29585 w 561506"/>
                <a:gd name="connsiteY213" fmla="*/ 1063849 h 5614838"/>
                <a:gd name="connsiteX214" fmla="*/ 29585 w 561506"/>
                <a:gd name="connsiteY214" fmla="*/ 1093435 h 5614838"/>
                <a:gd name="connsiteX215" fmla="*/ 0 w 561506"/>
                <a:gd name="connsiteY215" fmla="*/ 1093435 h 5614838"/>
                <a:gd name="connsiteX216" fmla="*/ 531921 w 561506"/>
                <a:gd name="connsiteY216" fmla="*/ 797884 h 5614838"/>
                <a:gd name="connsiteX217" fmla="*/ 561506 w 561506"/>
                <a:gd name="connsiteY217" fmla="*/ 797884 h 5614838"/>
                <a:gd name="connsiteX218" fmla="*/ 561506 w 561506"/>
                <a:gd name="connsiteY218" fmla="*/ 827470 h 5614838"/>
                <a:gd name="connsiteX219" fmla="*/ 531921 w 561506"/>
                <a:gd name="connsiteY219" fmla="*/ 827470 h 5614838"/>
                <a:gd name="connsiteX220" fmla="*/ 265961 w 561506"/>
                <a:gd name="connsiteY220" fmla="*/ 797882 h 5614838"/>
                <a:gd name="connsiteX221" fmla="*/ 295547 w 561506"/>
                <a:gd name="connsiteY221" fmla="*/ 797882 h 5614838"/>
                <a:gd name="connsiteX222" fmla="*/ 295547 w 561506"/>
                <a:gd name="connsiteY222" fmla="*/ 827468 h 5614838"/>
                <a:gd name="connsiteX223" fmla="*/ 265961 w 561506"/>
                <a:gd name="connsiteY223" fmla="*/ 827468 h 5614838"/>
                <a:gd name="connsiteX224" fmla="*/ 0 w 561506"/>
                <a:gd name="connsiteY224" fmla="*/ 797879 h 5614838"/>
                <a:gd name="connsiteX225" fmla="*/ 29585 w 561506"/>
                <a:gd name="connsiteY225" fmla="*/ 797879 h 5614838"/>
                <a:gd name="connsiteX226" fmla="*/ 29585 w 561506"/>
                <a:gd name="connsiteY226" fmla="*/ 827465 h 5614838"/>
                <a:gd name="connsiteX227" fmla="*/ 0 w 561506"/>
                <a:gd name="connsiteY227" fmla="*/ 827465 h 5614838"/>
                <a:gd name="connsiteX228" fmla="*/ 531921 w 561506"/>
                <a:gd name="connsiteY228" fmla="*/ 531924 h 5614838"/>
                <a:gd name="connsiteX229" fmla="*/ 561506 w 561506"/>
                <a:gd name="connsiteY229" fmla="*/ 531924 h 5614838"/>
                <a:gd name="connsiteX230" fmla="*/ 561506 w 561506"/>
                <a:gd name="connsiteY230" fmla="*/ 561509 h 5614838"/>
                <a:gd name="connsiteX231" fmla="*/ 531921 w 561506"/>
                <a:gd name="connsiteY231" fmla="*/ 561509 h 5614838"/>
                <a:gd name="connsiteX232" fmla="*/ 265961 w 561506"/>
                <a:gd name="connsiteY232" fmla="*/ 531922 h 5614838"/>
                <a:gd name="connsiteX233" fmla="*/ 295547 w 561506"/>
                <a:gd name="connsiteY233" fmla="*/ 531922 h 5614838"/>
                <a:gd name="connsiteX234" fmla="*/ 295547 w 561506"/>
                <a:gd name="connsiteY234" fmla="*/ 561507 h 5614838"/>
                <a:gd name="connsiteX235" fmla="*/ 265961 w 561506"/>
                <a:gd name="connsiteY235" fmla="*/ 561507 h 5614838"/>
                <a:gd name="connsiteX236" fmla="*/ 0 w 561506"/>
                <a:gd name="connsiteY236" fmla="*/ 531920 h 5614838"/>
                <a:gd name="connsiteX237" fmla="*/ 29585 w 561506"/>
                <a:gd name="connsiteY237" fmla="*/ 531920 h 5614838"/>
                <a:gd name="connsiteX238" fmla="*/ 29585 w 561506"/>
                <a:gd name="connsiteY238" fmla="*/ 561505 h 5614838"/>
                <a:gd name="connsiteX239" fmla="*/ 0 w 561506"/>
                <a:gd name="connsiteY239" fmla="*/ 561505 h 5614838"/>
                <a:gd name="connsiteX240" fmla="*/ 531921 w 561506"/>
                <a:gd name="connsiteY240" fmla="*/ 265964 h 5614838"/>
                <a:gd name="connsiteX241" fmla="*/ 561506 w 561506"/>
                <a:gd name="connsiteY241" fmla="*/ 265964 h 5614838"/>
                <a:gd name="connsiteX242" fmla="*/ 561506 w 561506"/>
                <a:gd name="connsiteY242" fmla="*/ 295550 h 5614838"/>
                <a:gd name="connsiteX243" fmla="*/ 531921 w 561506"/>
                <a:gd name="connsiteY243" fmla="*/ 295550 h 5614838"/>
                <a:gd name="connsiteX244" fmla="*/ 265961 w 561506"/>
                <a:gd name="connsiteY244" fmla="*/ 265962 h 5614838"/>
                <a:gd name="connsiteX245" fmla="*/ 295547 w 561506"/>
                <a:gd name="connsiteY245" fmla="*/ 265962 h 5614838"/>
                <a:gd name="connsiteX246" fmla="*/ 295547 w 561506"/>
                <a:gd name="connsiteY246" fmla="*/ 295548 h 5614838"/>
                <a:gd name="connsiteX247" fmla="*/ 265961 w 561506"/>
                <a:gd name="connsiteY247" fmla="*/ 295548 h 5614838"/>
                <a:gd name="connsiteX248" fmla="*/ 0 w 561506"/>
                <a:gd name="connsiteY248" fmla="*/ 265960 h 5614838"/>
                <a:gd name="connsiteX249" fmla="*/ 29585 w 561506"/>
                <a:gd name="connsiteY249" fmla="*/ 265960 h 5614838"/>
                <a:gd name="connsiteX250" fmla="*/ 29585 w 561506"/>
                <a:gd name="connsiteY250" fmla="*/ 295546 h 5614838"/>
                <a:gd name="connsiteX251" fmla="*/ 0 w 561506"/>
                <a:gd name="connsiteY251" fmla="*/ 295546 h 5614838"/>
                <a:gd name="connsiteX252" fmla="*/ 531921 w 561506"/>
                <a:gd name="connsiteY252" fmla="*/ 5 h 5614838"/>
                <a:gd name="connsiteX253" fmla="*/ 561506 w 561506"/>
                <a:gd name="connsiteY253" fmla="*/ 5 h 5614838"/>
                <a:gd name="connsiteX254" fmla="*/ 561506 w 561506"/>
                <a:gd name="connsiteY254" fmla="*/ 29591 h 5614838"/>
                <a:gd name="connsiteX255" fmla="*/ 531921 w 561506"/>
                <a:gd name="connsiteY255" fmla="*/ 29591 h 5614838"/>
                <a:gd name="connsiteX256" fmla="*/ 265961 w 561506"/>
                <a:gd name="connsiteY256" fmla="*/ 3 h 5614838"/>
                <a:gd name="connsiteX257" fmla="*/ 295547 w 561506"/>
                <a:gd name="connsiteY257" fmla="*/ 3 h 5614838"/>
                <a:gd name="connsiteX258" fmla="*/ 295547 w 561506"/>
                <a:gd name="connsiteY258" fmla="*/ 29589 h 5614838"/>
                <a:gd name="connsiteX259" fmla="*/ 265961 w 561506"/>
                <a:gd name="connsiteY259" fmla="*/ 29589 h 5614838"/>
                <a:gd name="connsiteX260" fmla="*/ 0 w 561506"/>
                <a:gd name="connsiteY260" fmla="*/ 0 h 5614838"/>
                <a:gd name="connsiteX261" fmla="*/ 29585 w 561506"/>
                <a:gd name="connsiteY261" fmla="*/ 0 h 5614838"/>
                <a:gd name="connsiteX262" fmla="*/ 29585 w 561506"/>
                <a:gd name="connsiteY262" fmla="*/ 29586 h 5614838"/>
                <a:gd name="connsiteX263" fmla="*/ 0 w 561506"/>
                <a:gd name="connsiteY263" fmla="*/ 29586 h 5614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</a:cxnLst>
              <a:rect l="l" t="t" r="r" b="b"/>
              <a:pathLst>
                <a:path w="561506" h="5614838">
                  <a:moveTo>
                    <a:pt x="531921" y="5585253"/>
                  </a:moveTo>
                  <a:lnTo>
                    <a:pt x="561506" y="5585253"/>
                  </a:lnTo>
                  <a:lnTo>
                    <a:pt x="561506" y="5614838"/>
                  </a:lnTo>
                  <a:lnTo>
                    <a:pt x="531921" y="5614838"/>
                  </a:lnTo>
                  <a:close/>
                  <a:moveTo>
                    <a:pt x="265961" y="5585253"/>
                  </a:moveTo>
                  <a:lnTo>
                    <a:pt x="295547" y="5585253"/>
                  </a:lnTo>
                  <a:lnTo>
                    <a:pt x="295547" y="5614838"/>
                  </a:lnTo>
                  <a:lnTo>
                    <a:pt x="265961" y="5614838"/>
                  </a:lnTo>
                  <a:close/>
                  <a:moveTo>
                    <a:pt x="0" y="5585253"/>
                  </a:moveTo>
                  <a:lnTo>
                    <a:pt x="29585" y="5585253"/>
                  </a:lnTo>
                  <a:lnTo>
                    <a:pt x="29585" y="5614838"/>
                  </a:lnTo>
                  <a:lnTo>
                    <a:pt x="0" y="5614838"/>
                  </a:lnTo>
                  <a:close/>
                  <a:moveTo>
                    <a:pt x="531921" y="5319293"/>
                  </a:moveTo>
                  <a:lnTo>
                    <a:pt x="561506" y="5319293"/>
                  </a:lnTo>
                  <a:lnTo>
                    <a:pt x="561506" y="5348879"/>
                  </a:lnTo>
                  <a:lnTo>
                    <a:pt x="531921" y="5348879"/>
                  </a:lnTo>
                  <a:close/>
                  <a:moveTo>
                    <a:pt x="265961" y="5319293"/>
                  </a:moveTo>
                  <a:lnTo>
                    <a:pt x="295547" y="5319293"/>
                  </a:lnTo>
                  <a:lnTo>
                    <a:pt x="295547" y="5348879"/>
                  </a:lnTo>
                  <a:lnTo>
                    <a:pt x="265961" y="5348879"/>
                  </a:lnTo>
                  <a:close/>
                  <a:moveTo>
                    <a:pt x="0" y="5319293"/>
                  </a:moveTo>
                  <a:lnTo>
                    <a:pt x="29585" y="5319293"/>
                  </a:lnTo>
                  <a:lnTo>
                    <a:pt x="29585" y="5348879"/>
                  </a:lnTo>
                  <a:lnTo>
                    <a:pt x="0" y="5348879"/>
                  </a:lnTo>
                  <a:close/>
                  <a:moveTo>
                    <a:pt x="531921" y="5053332"/>
                  </a:moveTo>
                  <a:lnTo>
                    <a:pt x="561506" y="5053332"/>
                  </a:lnTo>
                  <a:lnTo>
                    <a:pt x="561506" y="5082917"/>
                  </a:lnTo>
                  <a:lnTo>
                    <a:pt x="531921" y="5082917"/>
                  </a:lnTo>
                  <a:close/>
                  <a:moveTo>
                    <a:pt x="265961" y="5053332"/>
                  </a:moveTo>
                  <a:lnTo>
                    <a:pt x="295547" y="5053332"/>
                  </a:lnTo>
                  <a:lnTo>
                    <a:pt x="295547" y="5082917"/>
                  </a:lnTo>
                  <a:lnTo>
                    <a:pt x="265961" y="5082917"/>
                  </a:lnTo>
                  <a:close/>
                  <a:moveTo>
                    <a:pt x="0" y="5053332"/>
                  </a:moveTo>
                  <a:lnTo>
                    <a:pt x="29585" y="5053332"/>
                  </a:lnTo>
                  <a:lnTo>
                    <a:pt x="29585" y="5082917"/>
                  </a:lnTo>
                  <a:lnTo>
                    <a:pt x="0" y="5082917"/>
                  </a:lnTo>
                  <a:close/>
                  <a:moveTo>
                    <a:pt x="531921" y="4787372"/>
                  </a:moveTo>
                  <a:lnTo>
                    <a:pt x="561506" y="4787372"/>
                  </a:lnTo>
                  <a:lnTo>
                    <a:pt x="561506" y="4816958"/>
                  </a:lnTo>
                  <a:lnTo>
                    <a:pt x="531921" y="4816958"/>
                  </a:lnTo>
                  <a:close/>
                  <a:moveTo>
                    <a:pt x="265961" y="4787372"/>
                  </a:moveTo>
                  <a:lnTo>
                    <a:pt x="295547" y="4787372"/>
                  </a:lnTo>
                  <a:lnTo>
                    <a:pt x="295547" y="4816958"/>
                  </a:lnTo>
                  <a:lnTo>
                    <a:pt x="265961" y="4816958"/>
                  </a:lnTo>
                  <a:close/>
                  <a:moveTo>
                    <a:pt x="0" y="4787372"/>
                  </a:moveTo>
                  <a:lnTo>
                    <a:pt x="29585" y="4787372"/>
                  </a:lnTo>
                  <a:lnTo>
                    <a:pt x="29585" y="4816958"/>
                  </a:lnTo>
                  <a:lnTo>
                    <a:pt x="0" y="4816958"/>
                  </a:lnTo>
                  <a:close/>
                  <a:moveTo>
                    <a:pt x="531921" y="4521412"/>
                  </a:moveTo>
                  <a:lnTo>
                    <a:pt x="561506" y="4521412"/>
                  </a:lnTo>
                  <a:lnTo>
                    <a:pt x="561506" y="4550997"/>
                  </a:lnTo>
                  <a:lnTo>
                    <a:pt x="531921" y="4550997"/>
                  </a:lnTo>
                  <a:close/>
                  <a:moveTo>
                    <a:pt x="265961" y="4521412"/>
                  </a:moveTo>
                  <a:lnTo>
                    <a:pt x="295547" y="4521412"/>
                  </a:lnTo>
                  <a:lnTo>
                    <a:pt x="295547" y="4550997"/>
                  </a:lnTo>
                  <a:lnTo>
                    <a:pt x="265961" y="4550997"/>
                  </a:lnTo>
                  <a:close/>
                  <a:moveTo>
                    <a:pt x="0" y="4521412"/>
                  </a:moveTo>
                  <a:lnTo>
                    <a:pt x="29585" y="4521412"/>
                  </a:lnTo>
                  <a:lnTo>
                    <a:pt x="29585" y="4550997"/>
                  </a:lnTo>
                  <a:lnTo>
                    <a:pt x="0" y="4550997"/>
                  </a:lnTo>
                  <a:close/>
                  <a:moveTo>
                    <a:pt x="531921" y="4255451"/>
                  </a:moveTo>
                  <a:lnTo>
                    <a:pt x="561506" y="4255451"/>
                  </a:lnTo>
                  <a:lnTo>
                    <a:pt x="561506" y="4285036"/>
                  </a:lnTo>
                  <a:lnTo>
                    <a:pt x="531921" y="4285036"/>
                  </a:lnTo>
                  <a:close/>
                  <a:moveTo>
                    <a:pt x="265961" y="4255451"/>
                  </a:moveTo>
                  <a:lnTo>
                    <a:pt x="295547" y="4255451"/>
                  </a:lnTo>
                  <a:lnTo>
                    <a:pt x="295547" y="4285036"/>
                  </a:lnTo>
                  <a:lnTo>
                    <a:pt x="265961" y="4285036"/>
                  </a:lnTo>
                  <a:close/>
                  <a:moveTo>
                    <a:pt x="0" y="4255451"/>
                  </a:moveTo>
                  <a:lnTo>
                    <a:pt x="29585" y="4255451"/>
                  </a:lnTo>
                  <a:lnTo>
                    <a:pt x="29585" y="4285036"/>
                  </a:lnTo>
                  <a:lnTo>
                    <a:pt x="0" y="4285036"/>
                  </a:lnTo>
                  <a:close/>
                  <a:moveTo>
                    <a:pt x="531921" y="3989491"/>
                  </a:moveTo>
                  <a:lnTo>
                    <a:pt x="561506" y="3989491"/>
                  </a:lnTo>
                  <a:lnTo>
                    <a:pt x="561506" y="4019077"/>
                  </a:lnTo>
                  <a:lnTo>
                    <a:pt x="531921" y="4019077"/>
                  </a:lnTo>
                  <a:close/>
                  <a:moveTo>
                    <a:pt x="265961" y="3989491"/>
                  </a:moveTo>
                  <a:lnTo>
                    <a:pt x="295547" y="3989491"/>
                  </a:lnTo>
                  <a:lnTo>
                    <a:pt x="295547" y="4019077"/>
                  </a:lnTo>
                  <a:lnTo>
                    <a:pt x="265961" y="4019077"/>
                  </a:lnTo>
                  <a:close/>
                  <a:moveTo>
                    <a:pt x="0" y="3989491"/>
                  </a:moveTo>
                  <a:lnTo>
                    <a:pt x="29585" y="3989491"/>
                  </a:lnTo>
                  <a:lnTo>
                    <a:pt x="29585" y="4019077"/>
                  </a:lnTo>
                  <a:lnTo>
                    <a:pt x="0" y="4019077"/>
                  </a:lnTo>
                  <a:close/>
                  <a:moveTo>
                    <a:pt x="531921" y="3723530"/>
                  </a:moveTo>
                  <a:lnTo>
                    <a:pt x="561506" y="3723530"/>
                  </a:lnTo>
                  <a:lnTo>
                    <a:pt x="561506" y="3753115"/>
                  </a:lnTo>
                  <a:lnTo>
                    <a:pt x="531921" y="3753115"/>
                  </a:lnTo>
                  <a:close/>
                  <a:moveTo>
                    <a:pt x="265961" y="3723530"/>
                  </a:moveTo>
                  <a:lnTo>
                    <a:pt x="295547" y="3723530"/>
                  </a:lnTo>
                  <a:lnTo>
                    <a:pt x="295547" y="3753115"/>
                  </a:lnTo>
                  <a:lnTo>
                    <a:pt x="265961" y="3753115"/>
                  </a:lnTo>
                  <a:close/>
                  <a:moveTo>
                    <a:pt x="0" y="3723530"/>
                  </a:moveTo>
                  <a:lnTo>
                    <a:pt x="29585" y="3723530"/>
                  </a:lnTo>
                  <a:lnTo>
                    <a:pt x="29585" y="3753115"/>
                  </a:lnTo>
                  <a:lnTo>
                    <a:pt x="0" y="3753115"/>
                  </a:lnTo>
                  <a:close/>
                  <a:moveTo>
                    <a:pt x="531921" y="3457570"/>
                  </a:moveTo>
                  <a:lnTo>
                    <a:pt x="561506" y="3457570"/>
                  </a:lnTo>
                  <a:lnTo>
                    <a:pt x="561506" y="3487156"/>
                  </a:lnTo>
                  <a:lnTo>
                    <a:pt x="531921" y="3487156"/>
                  </a:lnTo>
                  <a:close/>
                  <a:moveTo>
                    <a:pt x="265961" y="3457570"/>
                  </a:moveTo>
                  <a:lnTo>
                    <a:pt x="295547" y="3457570"/>
                  </a:lnTo>
                  <a:lnTo>
                    <a:pt x="295547" y="3487156"/>
                  </a:lnTo>
                  <a:lnTo>
                    <a:pt x="265961" y="3487156"/>
                  </a:lnTo>
                  <a:close/>
                  <a:moveTo>
                    <a:pt x="0" y="3457570"/>
                  </a:moveTo>
                  <a:lnTo>
                    <a:pt x="29585" y="3457570"/>
                  </a:lnTo>
                  <a:lnTo>
                    <a:pt x="29585" y="3487156"/>
                  </a:lnTo>
                  <a:lnTo>
                    <a:pt x="0" y="3487156"/>
                  </a:lnTo>
                  <a:close/>
                  <a:moveTo>
                    <a:pt x="531921" y="3191618"/>
                  </a:moveTo>
                  <a:lnTo>
                    <a:pt x="561506" y="3191618"/>
                  </a:lnTo>
                  <a:lnTo>
                    <a:pt x="561506" y="3221195"/>
                  </a:lnTo>
                  <a:lnTo>
                    <a:pt x="531921" y="3221195"/>
                  </a:lnTo>
                  <a:close/>
                  <a:moveTo>
                    <a:pt x="265961" y="3191618"/>
                  </a:moveTo>
                  <a:lnTo>
                    <a:pt x="295547" y="3191618"/>
                  </a:lnTo>
                  <a:lnTo>
                    <a:pt x="295547" y="3221195"/>
                  </a:lnTo>
                  <a:lnTo>
                    <a:pt x="265961" y="3221195"/>
                  </a:lnTo>
                  <a:close/>
                  <a:moveTo>
                    <a:pt x="0" y="3191617"/>
                  </a:moveTo>
                  <a:lnTo>
                    <a:pt x="29585" y="3191617"/>
                  </a:lnTo>
                  <a:lnTo>
                    <a:pt x="29585" y="3221195"/>
                  </a:lnTo>
                  <a:lnTo>
                    <a:pt x="0" y="3221195"/>
                  </a:lnTo>
                  <a:close/>
                  <a:moveTo>
                    <a:pt x="531921" y="2925660"/>
                  </a:moveTo>
                  <a:lnTo>
                    <a:pt x="561506" y="2925660"/>
                  </a:lnTo>
                  <a:lnTo>
                    <a:pt x="561506" y="2955246"/>
                  </a:lnTo>
                  <a:lnTo>
                    <a:pt x="531921" y="2955246"/>
                  </a:lnTo>
                  <a:close/>
                  <a:moveTo>
                    <a:pt x="265961" y="2925659"/>
                  </a:moveTo>
                  <a:lnTo>
                    <a:pt x="295547" y="2925659"/>
                  </a:lnTo>
                  <a:lnTo>
                    <a:pt x="295547" y="2955245"/>
                  </a:lnTo>
                  <a:lnTo>
                    <a:pt x="265961" y="2955245"/>
                  </a:lnTo>
                  <a:close/>
                  <a:moveTo>
                    <a:pt x="0" y="2925658"/>
                  </a:moveTo>
                  <a:lnTo>
                    <a:pt x="29585" y="2925658"/>
                  </a:lnTo>
                  <a:lnTo>
                    <a:pt x="29585" y="2955244"/>
                  </a:lnTo>
                  <a:lnTo>
                    <a:pt x="0" y="2955244"/>
                  </a:lnTo>
                  <a:close/>
                  <a:moveTo>
                    <a:pt x="531921" y="2659620"/>
                  </a:moveTo>
                  <a:lnTo>
                    <a:pt x="561506" y="2659620"/>
                  </a:lnTo>
                  <a:lnTo>
                    <a:pt x="561506" y="2689204"/>
                  </a:lnTo>
                  <a:lnTo>
                    <a:pt x="531921" y="2689204"/>
                  </a:lnTo>
                  <a:close/>
                  <a:moveTo>
                    <a:pt x="265961" y="2659616"/>
                  </a:moveTo>
                  <a:lnTo>
                    <a:pt x="295547" y="2659616"/>
                  </a:lnTo>
                  <a:lnTo>
                    <a:pt x="295547" y="2689201"/>
                  </a:lnTo>
                  <a:lnTo>
                    <a:pt x="265961" y="2689201"/>
                  </a:lnTo>
                  <a:close/>
                  <a:moveTo>
                    <a:pt x="0" y="2659613"/>
                  </a:moveTo>
                  <a:lnTo>
                    <a:pt x="29585" y="2659613"/>
                  </a:lnTo>
                  <a:lnTo>
                    <a:pt x="29585" y="2689198"/>
                  </a:lnTo>
                  <a:lnTo>
                    <a:pt x="0" y="2689198"/>
                  </a:lnTo>
                  <a:close/>
                  <a:moveTo>
                    <a:pt x="531921" y="2393661"/>
                  </a:moveTo>
                  <a:lnTo>
                    <a:pt x="561506" y="2393661"/>
                  </a:lnTo>
                  <a:lnTo>
                    <a:pt x="561506" y="2423260"/>
                  </a:lnTo>
                  <a:lnTo>
                    <a:pt x="531921" y="2423260"/>
                  </a:lnTo>
                  <a:close/>
                  <a:moveTo>
                    <a:pt x="265961" y="2393658"/>
                  </a:moveTo>
                  <a:lnTo>
                    <a:pt x="295547" y="2393658"/>
                  </a:lnTo>
                  <a:lnTo>
                    <a:pt x="295547" y="2423257"/>
                  </a:lnTo>
                  <a:lnTo>
                    <a:pt x="265961" y="2423257"/>
                  </a:lnTo>
                  <a:close/>
                  <a:moveTo>
                    <a:pt x="0" y="2393655"/>
                  </a:moveTo>
                  <a:lnTo>
                    <a:pt x="29585" y="2393655"/>
                  </a:lnTo>
                  <a:lnTo>
                    <a:pt x="29585" y="2423251"/>
                  </a:lnTo>
                  <a:lnTo>
                    <a:pt x="0" y="2423251"/>
                  </a:lnTo>
                  <a:close/>
                  <a:moveTo>
                    <a:pt x="531921" y="2127694"/>
                  </a:moveTo>
                  <a:lnTo>
                    <a:pt x="561506" y="2127694"/>
                  </a:lnTo>
                  <a:lnTo>
                    <a:pt x="561506" y="2157283"/>
                  </a:lnTo>
                  <a:lnTo>
                    <a:pt x="531921" y="2157283"/>
                  </a:lnTo>
                  <a:close/>
                  <a:moveTo>
                    <a:pt x="265961" y="2127693"/>
                  </a:moveTo>
                  <a:lnTo>
                    <a:pt x="295547" y="2127693"/>
                  </a:lnTo>
                  <a:lnTo>
                    <a:pt x="295547" y="2157282"/>
                  </a:lnTo>
                  <a:lnTo>
                    <a:pt x="265961" y="2157282"/>
                  </a:lnTo>
                  <a:close/>
                  <a:moveTo>
                    <a:pt x="0" y="2127689"/>
                  </a:moveTo>
                  <a:lnTo>
                    <a:pt x="29585" y="2127689"/>
                  </a:lnTo>
                  <a:lnTo>
                    <a:pt x="29585" y="2157278"/>
                  </a:lnTo>
                  <a:lnTo>
                    <a:pt x="0" y="2157278"/>
                  </a:lnTo>
                  <a:close/>
                  <a:moveTo>
                    <a:pt x="531921" y="1861731"/>
                  </a:moveTo>
                  <a:lnTo>
                    <a:pt x="561506" y="1861731"/>
                  </a:lnTo>
                  <a:lnTo>
                    <a:pt x="561506" y="1891308"/>
                  </a:lnTo>
                  <a:lnTo>
                    <a:pt x="531921" y="1891308"/>
                  </a:lnTo>
                  <a:close/>
                  <a:moveTo>
                    <a:pt x="265961" y="1861728"/>
                  </a:moveTo>
                  <a:lnTo>
                    <a:pt x="295547" y="1861728"/>
                  </a:lnTo>
                  <a:lnTo>
                    <a:pt x="295547" y="1891306"/>
                  </a:lnTo>
                  <a:lnTo>
                    <a:pt x="265961" y="1891306"/>
                  </a:lnTo>
                  <a:close/>
                  <a:moveTo>
                    <a:pt x="0" y="1861726"/>
                  </a:moveTo>
                  <a:lnTo>
                    <a:pt x="29585" y="1861726"/>
                  </a:lnTo>
                  <a:lnTo>
                    <a:pt x="29585" y="1891304"/>
                  </a:lnTo>
                  <a:lnTo>
                    <a:pt x="0" y="1891304"/>
                  </a:lnTo>
                  <a:close/>
                  <a:moveTo>
                    <a:pt x="531921" y="1595769"/>
                  </a:moveTo>
                  <a:lnTo>
                    <a:pt x="561506" y="1595769"/>
                  </a:lnTo>
                  <a:lnTo>
                    <a:pt x="561506" y="1625355"/>
                  </a:lnTo>
                  <a:lnTo>
                    <a:pt x="531921" y="1625355"/>
                  </a:lnTo>
                  <a:close/>
                  <a:moveTo>
                    <a:pt x="265961" y="1595766"/>
                  </a:moveTo>
                  <a:lnTo>
                    <a:pt x="295547" y="1595766"/>
                  </a:lnTo>
                  <a:lnTo>
                    <a:pt x="295547" y="1625352"/>
                  </a:lnTo>
                  <a:lnTo>
                    <a:pt x="265961" y="1625352"/>
                  </a:lnTo>
                  <a:close/>
                  <a:moveTo>
                    <a:pt x="0" y="1595764"/>
                  </a:moveTo>
                  <a:lnTo>
                    <a:pt x="29585" y="1595764"/>
                  </a:lnTo>
                  <a:lnTo>
                    <a:pt x="29585" y="1625350"/>
                  </a:lnTo>
                  <a:lnTo>
                    <a:pt x="0" y="1625350"/>
                  </a:lnTo>
                  <a:close/>
                  <a:moveTo>
                    <a:pt x="531921" y="1329811"/>
                  </a:moveTo>
                  <a:lnTo>
                    <a:pt x="561506" y="1329811"/>
                  </a:lnTo>
                  <a:lnTo>
                    <a:pt x="561506" y="1359396"/>
                  </a:lnTo>
                  <a:lnTo>
                    <a:pt x="531921" y="1359396"/>
                  </a:lnTo>
                  <a:close/>
                  <a:moveTo>
                    <a:pt x="265961" y="1329809"/>
                  </a:moveTo>
                  <a:lnTo>
                    <a:pt x="295547" y="1329809"/>
                  </a:lnTo>
                  <a:lnTo>
                    <a:pt x="295547" y="1359393"/>
                  </a:lnTo>
                  <a:lnTo>
                    <a:pt x="265961" y="1359393"/>
                  </a:lnTo>
                  <a:close/>
                  <a:moveTo>
                    <a:pt x="0" y="1329806"/>
                  </a:moveTo>
                  <a:lnTo>
                    <a:pt x="29585" y="1329806"/>
                  </a:lnTo>
                  <a:lnTo>
                    <a:pt x="29585" y="1359391"/>
                  </a:lnTo>
                  <a:lnTo>
                    <a:pt x="0" y="1359391"/>
                  </a:lnTo>
                  <a:close/>
                  <a:moveTo>
                    <a:pt x="531921" y="1063855"/>
                  </a:moveTo>
                  <a:lnTo>
                    <a:pt x="561506" y="1063855"/>
                  </a:lnTo>
                  <a:lnTo>
                    <a:pt x="561506" y="1093441"/>
                  </a:lnTo>
                  <a:lnTo>
                    <a:pt x="531921" y="1093441"/>
                  </a:lnTo>
                  <a:close/>
                  <a:moveTo>
                    <a:pt x="265961" y="1063852"/>
                  </a:moveTo>
                  <a:lnTo>
                    <a:pt x="295547" y="1063852"/>
                  </a:lnTo>
                  <a:lnTo>
                    <a:pt x="295547" y="1093438"/>
                  </a:lnTo>
                  <a:lnTo>
                    <a:pt x="265961" y="1093438"/>
                  </a:lnTo>
                  <a:close/>
                  <a:moveTo>
                    <a:pt x="0" y="1063849"/>
                  </a:moveTo>
                  <a:lnTo>
                    <a:pt x="29585" y="1063849"/>
                  </a:lnTo>
                  <a:lnTo>
                    <a:pt x="29585" y="1093435"/>
                  </a:lnTo>
                  <a:lnTo>
                    <a:pt x="0" y="1093435"/>
                  </a:lnTo>
                  <a:close/>
                  <a:moveTo>
                    <a:pt x="531921" y="797884"/>
                  </a:moveTo>
                  <a:lnTo>
                    <a:pt x="561506" y="797884"/>
                  </a:lnTo>
                  <a:lnTo>
                    <a:pt x="561506" y="827470"/>
                  </a:lnTo>
                  <a:lnTo>
                    <a:pt x="531921" y="827470"/>
                  </a:lnTo>
                  <a:close/>
                  <a:moveTo>
                    <a:pt x="265961" y="797882"/>
                  </a:moveTo>
                  <a:lnTo>
                    <a:pt x="295547" y="797882"/>
                  </a:lnTo>
                  <a:lnTo>
                    <a:pt x="295547" y="827468"/>
                  </a:lnTo>
                  <a:lnTo>
                    <a:pt x="265961" y="827468"/>
                  </a:lnTo>
                  <a:close/>
                  <a:moveTo>
                    <a:pt x="0" y="797879"/>
                  </a:moveTo>
                  <a:lnTo>
                    <a:pt x="29585" y="797879"/>
                  </a:lnTo>
                  <a:lnTo>
                    <a:pt x="29585" y="827465"/>
                  </a:lnTo>
                  <a:lnTo>
                    <a:pt x="0" y="827465"/>
                  </a:lnTo>
                  <a:close/>
                  <a:moveTo>
                    <a:pt x="531921" y="531924"/>
                  </a:moveTo>
                  <a:lnTo>
                    <a:pt x="561506" y="531924"/>
                  </a:lnTo>
                  <a:lnTo>
                    <a:pt x="561506" y="561509"/>
                  </a:lnTo>
                  <a:lnTo>
                    <a:pt x="531921" y="561509"/>
                  </a:lnTo>
                  <a:close/>
                  <a:moveTo>
                    <a:pt x="265961" y="531922"/>
                  </a:moveTo>
                  <a:lnTo>
                    <a:pt x="295547" y="531922"/>
                  </a:lnTo>
                  <a:lnTo>
                    <a:pt x="295547" y="561507"/>
                  </a:lnTo>
                  <a:lnTo>
                    <a:pt x="265961" y="561507"/>
                  </a:lnTo>
                  <a:close/>
                  <a:moveTo>
                    <a:pt x="0" y="531920"/>
                  </a:moveTo>
                  <a:lnTo>
                    <a:pt x="29585" y="531920"/>
                  </a:lnTo>
                  <a:lnTo>
                    <a:pt x="29585" y="561505"/>
                  </a:lnTo>
                  <a:lnTo>
                    <a:pt x="0" y="561505"/>
                  </a:lnTo>
                  <a:close/>
                  <a:moveTo>
                    <a:pt x="531921" y="265964"/>
                  </a:moveTo>
                  <a:lnTo>
                    <a:pt x="561506" y="265964"/>
                  </a:lnTo>
                  <a:lnTo>
                    <a:pt x="561506" y="295550"/>
                  </a:lnTo>
                  <a:lnTo>
                    <a:pt x="531921" y="295550"/>
                  </a:lnTo>
                  <a:close/>
                  <a:moveTo>
                    <a:pt x="265961" y="265962"/>
                  </a:moveTo>
                  <a:lnTo>
                    <a:pt x="295547" y="265962"/>
                  </a:lnTo>
                  <a:lnTo>
                    <a:pt x="295547" y="295548"/>
                  </a:lnTo>
                  <a:lnTo>
                    <a:pt x="265961" y="295548"/>
                  </a:lnTo>
                  <a:close/>
                  <a:moveTo>
                    <a:pt x="0" y="265960"/>
                  </a:moveTo>
                  <a:lnTo>
                    <a:pt x="29585" y="265960"/>
                  </a:lnTo>
                  <a:lnTo>
                    <a:pt x="29585" y="295546"/>
                  </a:lnTo>
                  <a:lnTo>
                    <a:pt x="0" y="295546"/>
                  </a:lnTo>
                  <a:close/>
                  <a:moveTo>
                    <a:pt x="531921" y="5"/>
                  </a:moveTo>
                  <a:lnTo>
                    <a:pt x="561506" y="5"/>
                  </a:lnTo>
                  <a:lnTo>
                    <a:pt x="561506" y="29591"/>
                  </a:lnTo>
                  <a:lnTo>
                    <a:pt x="531921" y="29591"/>
                  </a:lnTo>
                  <a:close/>
                  <a:moveTo>
                    <a:pt x="265961" y="3"/>
                  </a:moveTo>
                  <a:lnTo>
                    <a:pt x="295547" y="3"/>
                  </a:lnTo>
                  <a:lnTo>
                    <a:pt x="295547" y="29589"/>
                  </a:lnTo>
                  <a:lnTo>
                    <a:pt x="265961" y="29589"/>
                  </a:lnTo>
                  <a:close/>
                  <a:moveTo>
                    <a:pt x="0" y="0"/>
                  </a:moveTo>
                  <a:lnTo>
                    <a:pt x="29585" y="0"/>
                  </a:lnTo>
                  <a:lnTo>
                    <a:pt x="29585" y="29586"/>
                  </a:lnTo>
                  <a:lnTo>
                    <a:pt x="0" y="29586"/>
                  </a:ln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 w="10294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93EE63E7-BDEB-4C8D-842F-D4FFF2324725}"/>
                </a:ext>
              </a:extLst>
            </p:cNvPr>
            <p:cNvSpPr/>
            <p:nvPr/>
          </p:nvSpPr>
          <p:spPr>
            <a:xfrm>
              <a:off x="194054" y="6093735"/>
              <a:ext cx="561506" cy="561509"/>
            </a:xfrm>
            <a:custGeom>
              <a:avLst/>
              <a:gdLst>
                <a:gd name="connsiteX0" fmla="*/ 531921 w 561506"/>
                <a:gd name="connsiteY0" fmla="*/ 531924 h 561509"/>
                <a:gd name="connsiteX1" fmla="*/ 561506 w 561506"/>
                <a:gd name="connsiteY1" fmla="*/ 531924 h 561509"/>
                <a:gd name="connsiteX2" fmla="*/ 561506 w 561506"/>
                <a:gd name="connsiteY2" fmla="*/ 561509 h 561509"/>
                <a:gd name="connsiteX3" fmla="*/ 531921 w 561506"/>
                <a:gd name="connsiteY3" fmla="*/ 561509 h 561509"/>
                <a:gd name="connsiteX4" fmla="*/ 265961 w 561506"/>
                <a:gd name="connsiteY4" fmla="*/ 531922 h 561509"/>
                <a:gd name="connsiteX5" fmla="*/ 295547 w 561506"/>
                <a:gd name="connsiteY5" fmla="*/ 531922 h 561509"/>
                <a:gd name="connsiteX6" fmla="*/ 295547 w 561506"/>
                <a:gd name="connsiteY6" fmla="*/ 561507 h 561509"/>
                <a:gd name="connsiteX7" fmla="*/ 265961 w 561506"/>
                <a:gd name="connsiteY7" fmla="*/ 561507 h 561509"/>
                <a:gd name="connsiteX8" fmla="*/ 0 w 561506"/>
                <a:gd name="connsiteY8" fmla="*/ 531920 h 561509"/>
                <a:gd name="connsiteX9" fmla="*/ 29585 w 561506"/>
                <a:gd name="connsiteY9" fmla="*/ 531920 h 561509"/>
                <a:gd name="connsiteX10" fmla="*/ 29585 w 561506"/>
                <a:gd name="connsiteY10" fmla="*/ 561505 h 561509"/>
                <a:gd name="connsiteX11" fmla="*/ 0 w 561506"/>
                <a:gd name="connsiteY11" fmla="*/ 561505 h 561509"/>
                <a:gd name="connsiteX12" fmla="*/ 531921 w 561506"/>
                <a:gd name="connsiteY12" fmla="*/ 265964 h 561509"/>
                <a:gd name="connsiteX13" fmla="*/ 561506 w 561506"/>
                <a:gd name="connsiteY13" fmla="*/ 265964 h 561509"/>
                <a:gd name="connsiteX14" fmla="*/ 561506 w 561506"/>
                <a:gd name="connsiteY14" fmla="*/ 295550 h 561509"/>
                <a:gd name="connsiteX15" fmla="*/ 531921 w 561506"/>
                <a:gd name="connsiteY15" fmla="*/ 295550 h 561509"/>
                <a:gd name="connsiteX16" fmla="*/ 265961 w 561506"/>
                <a:gd name="connsiteY16" fmla="*/ 265962 h 561509"/>
                <a:gd name="connsiteX17" fmla="*/ 295547 w 561506"/>
                <a:gd name="connsiteY17" fmla="*/ 265962 h 561509"/>
                <a:gd name="connsiteX18" fmla="*/ 295547 w 561506"/>
                <a:gd name="connsiteY18" fmla="*/ 295548 h 561509"/>
                <a:gd name="connsiteX19" fmla="*/ 265961 w 561506"/>
                <a:gd name="connsiteY19" fmla="*/ 295548 h 561509"/>
                <a:gd name="connsiteX20" fmla="*/ 0 w 561506"/>
                <a:gd name="connsiteY20" fmla="*/ 265960 h 561509"/>
                <a:gd name="connsiteX21" fmla="*/ 29585 w 561506"/>
                <a:gd name="connsiteY21" fmla="*/ 265960 h 561509"/>
                <a:gd name="connsiteX22" fmla="*/ 29585 w 561506"/>
                <a:gd name="connsiteY22" fmla="*/ 295546 h 561509"/>
                <a:gd name="connsiteX23" fmla="*/ 0 w 561506"/>
                <a:gd name="connsiteY23" fmla="*/ 295546 h 561509"/>
                <a:gd name="connsiteX24" fmla="*/ 531921 w 561506"/>
                <a:gd name="connsiteY24" fmla="*/ 5 h 561509"/>
                <a:gd name="connsiteX25" fmla="*/ 561506 w 561506"/>
                <a:gd name="connsiteY25" fmla="*/ 5 h 561509"/>
                <a:gd name="connsiteX26" fmla="*/ 561506 w 561506"/>
                <a:gd name="connsiteY26" fmla="*/ 29591 h 561509"/>
                <a:gd name="connsiteX27" fmla="*/ 531921 w 561506"/>
                <a:gd name="connsiteY27" fmla="*/ 29591 h 561509"/>
                <a:gd name="connsiteX28" fmla="*/ 265961 w 561506"/>
                <a:gd name="connsiteY28" fmla="*/ 3 h 561509"/>
                <a:gd name="connsiteX29" fmla="*/ 295547 w 561506"/>
                <a:gd name="connsiteY29" fmla="*/ 3 h 561509"/>
                <a:gd name="connsiteX30" fmla="*/ 295547 w 561506"/>
                <a:gd name="connsiteY30" fmla="*/ 29589 h 561509"/>
                <a:gd name="connsiteX31" fmla="*/ 265961 w 561506"/>
                <a:gd name="connsiteY31" fmla="*/ 29589 h 561509"/>
                <a:gd name="connsiteX32" fmla="*/ 0 w 561506"/>
                <a:gd name="connsiteY32" fmla="*/ 0 h 561509"/>
                <a:gd name="connsiteX33" fmla="*/ 29585 w 561506"/>
                <a:gd name="connsiteY33" fmla="*/ 0 h 561509"/>
                <a:gd name="connsiteX34" fmla="*/ 29585 w 561506"/>
                <a:gd name="connsiteY34" fmla="*/ 29586 h 561509"/>
                <a:gd name="connsiteX35" fmla="*/ 0 w 561506"/>
                <a:gd name="connsiteY35" fmla="*/ 29586 h 561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561506" h="561509">
                  <a:moveTo>
                    <a:pt x="531921" y="531924"/>
                  </a:moveTo>
                  <a:lnTo>
                    <a:pt x="561506" y="531924"/>
                  </a:lnTo>
                  <a:lnTo>
                    <a:pt x="561506" y="561509"/>
                  </a:lnTo>
                  <a:lnTo>
                    <a:pt x="531921" y="561509"/>
                  </a:lnTo>
                  <a:close/>
                  <a:moveTo>
                    <a:pt x="265961" y="531922"/>
                  </a:moveTo>
                  <a:lnTo>
                    <a:pt x="295547" y="531922"/>
                  </a:lnTo>
                  <a:lnTo>
                    <a:pt x="295547" y="561507"/>
                  </a:lnTo>
                  <a:lnTo>
                    <a:pt x="265961" y="561507"/>
                  </a:lnTo>
                  <a:close/>
                  <a:moveTo>
                    <a:pt x="0" y="531920"/>
                  </a:moveTo>
                  <a:lnTo>
                    <a:pt x="29585" y="531920"/>
                  </a:lnTo>
                  <a:lnTo>
                    <a:pt x="29585" y="561505"/>
                  </a:lnTo>
                  <a:lnTo>
                    <a:pt x="0" y="561505"/>
                  </a:lnTo>
                  <a:close/>
                  <a:moveTo>
                    <a:pt x="531921" y="265964"/>
                  </a:moveTo>
                  <a:lnTo>
                    <a:pt x="561506" y="265964"/>
                  </a:lnTo>
                  <a:lnTo>
                    <a:pt x="561506" y="295550"/>
                  </a:lnTo>
                  <a:lnTo>
                    <a:pt x="531921" y="295550"/>
                  </a:lnTo>
                  <a:close/>
                  <a:moveTo>
                    <a:pt x="265961" y="265962"/>
                  </a:moveTo>
                  <a:lnTo>
                    <a:pt x="295547" y="265962"/>
                  </a:lnTo>
                  <a:lnTo>
                    <a:pt x="295547" y="295548"/>
                  </a:lnTo>
                  <a:lnTo>
                    <a:pt x="265961" y="295548"/>
                  </a:lnTo>
                  <a:close/>
                  <a:moveTo>
                    <a:pt x="0" y="265960"/>
                  </a:moveTo>
                  <a:lnTo>
                    <a:pt x="29585" y="265960"/>
                  </a:lnTo>
                  <a:lnTo>
                    <a:pt x="29585" y="295546"/>
                  </a:lnTo>
                  <a:lnTo>
                    <a:pt x="0" y="295546"/>
                  </a:lnTo>
                  <a:close/>
                  <a:moveTo>
                    <a:pt x="531921" y="5"/>
                  </a:moveTo>
                  <a:lnTo>
                    <a:pt x="561506" y="5"/>
                  </a:lnTo>
                  <a:lnTo>
                    <a:pt x="561506" y="29591"/>
                  </a:lnTo>
                  <a:lnTo>
                    <a:pt x="531921" y="29591"/>
                  </a:lnTo>
                  <a:close/>
                  <a:moveTo>
                    <a:pt x="265961" y="3"/>
                  </a:moveTo>
                  <a:lnTo>
                    <a:pt x="295547" y="3"/>
                  </a:lnTo>
                  <a:lnTo>
                    <a:pt x="295547" y="29589"/>
                  </a:lnTo>
                  <a:lnTo>
                    <a:pt x="265961" y="29589"/>
                  </a:lnTo>
                  <a:close/>
                  <a:moveTo>
                    <a:pt x="0" y="0"/>
                  </a:moveTo>
                  <a:lnTo>
                    <a:pt x="29585" y="0"/>
                  </a:lnTo>
                  <a:lnTo>
                    <a:pt x="29585" y="29586"/>
                  </a:lnTo>
                  <a:lnTo>
                    <a:pt x="0" y="29586"/>
                  </a:lnTo>
                  <a:close/>
                </a:path>
              </a:pathLst>
            </a:custGeom>
            <a:solidFill>
              <a:srgbClr val="DEDEDE"/>
            </a:solidFill>
            <a:ln w="10294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</p:grpSp>
      <p:pic>
        <p:nvPicPr>
          <p:cNvPr id="5" name="Graphic 4">
            <a:extLst>
              <a:ext uri="{FF2B5EF4-FFF2-40B4-BE49-F238E27FC236}">
                <a16:creationId xmlns:a16="http://schemas.microsoft.com/office/drawing/2014/main" id="{03255A7A-4B73-03D8-47D2-23F9414659DA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0027238" y="349030"/>
            <a:ext cx="1780586" cy="3273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66061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8" r:id="rId1"/>
    <p:sldLayoutId id="2147483999" r:id="rId2"/>
    <p:sldLayoutId id="2147484000" r:id="rId3"/>
    <p:sldLayoutId id="2147484001" r:id="rId4"/>
    <p:sldLayoutId id="2147484002" r:id="rId5"/>
    <p:sldLayoutId id="2147484003" r:id="rId6"/>
    <p:sldLayoutId id="2147484004" r:id="rId7"/>
    <p:sldLayoutId id="2147484005" r:id="rId8"/>
    <p:sldLayoutId id="2147484006" r:id="rId9"/>
    <p:sldLayoutId id="2147484007" r:id="rId10"/>
  </p:sldLayoutIdLst>
  <p:hf sldNum="0" hdr="0" dt="0"/>
  <p:txStyles>
    <p:titleStyle>
      <a:lvl1pPr algn="l" defTabSz="457200" rtl="0" eaLnBrk="1" latinLnBrk="0" hangingPunct="1">
        <a:lnSpc>
          <a:spcPct val="85000"/>
        </a:lnSpc>
        <a:spcBef>
          <a:spcPct val="0"/>
        </a:spcBef>
        <a:buNone/>
        <a:tabLst>
          <a:tab pos="2227263" algn="l"/>
        </a:tabLst>
        <a:defRPr sz="2800" b="1" i="0" kern="1200" spc="-50" baseline="0">
          <a:solidFill>
            <a:schemeClr val="tx1"/>
          </a:solidFill>
          <a:latin typeface="Arial" panose="020B0604020202020204" pitchFamily="34" charset="0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spcBef>
          <a:spcPts val="1000"/>
        </a:spcBef>
        <a:buFont typeface="Arial"/>
        <a:buNone/>
        <a:defRPr sz="2000" kern="1200">
          <a:solidFill>
            <a:schemeClr val="tx1"/>
          </a:solidFill>
          <a:latin typeface="Arial"/>
          <a:ea typeface="+mn-ea"/>
          <a:cs typeface="Arial"/>
        </a:defRPr>
      </a:lvl1pPr>
      <a:lvl2pPr marL="174625" indent="-174625" algn="l" defTabSz="457200" rtl="0" eaLnBrk="1" latinLnBrk="0" hangingPunct="1">
        <a:spcBef>
          <a:spcPts val="500"/>
        </a:spcBef>
        <a:buClr>
          <a:schemeClr val="tx1"/>
        </a:buClr>
        <a:buFont typeface="Arial"/>
        <a:buChar char="•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339725" indent="-165100" algn="l" defTabSz="457200" rtl="0" eaLnBrk="1" latinLnBrk="0" hangingPunct="1">
        <a:spcBef>
          <a:spcPts val="300"/>
        </a:spcBef>
        <a:buClr>
          <a:schemeClr val="tx1"/>
        </a:buClr>
        <a:buFont typeface="Lucida Grande"/>
        <a:buChar char="-"/>
        <a:defRPr sz="2000" kern="1200">
          <a:solidFill>
            <a:schemeClr val="tx1"/>
          </a:solidFill>
          <a:latin typeface="Arial"/>
          <a:ea typeface="+mn-ea"/>
          <a:cs typeface="Arial"/>
        </a:defRPr>
      </a:lvl3pPr>
      <a:lvl4pPr marL="512763" indent="-173038" algn="l" defTabSz="457200" rtl="0" eaLnBrk="1" latinLnBrk="0" hangingPunct="1">
        <a:spcBef>
          <a:spcPts val="200"/>
        </a:spcBef>
        <a:buClr>
          <a:schemeClr val="tx1"/>
        </a:buClr>
        <a:buFont typeface="Arial"/>
        <a:buChar char="•"/>
        <a:defRPr sz="2000" kern="1200">
          <a:solidFill>
            <a:schemeClr val="tx1"/>
          </a:solidFill>
          <a:latin typeface="Arial"/>
          <a:ea typeface="+mn-ea"/>
          <a:cs typeface="Arial"/>
        </a:defRPr>
      </a:lvl4pPr>
      <a:lvl5pPr marL="687388" indent="-174625" algn="l" defTabSz="457200" rtl="0" eaLnBrk="1" latinLnBrk="0" hangingPunct="1">
        <a:spcBef>
          <a:spcPts val="100"/>
        </a:spcBef>
        <a:buClr>
          <a:schemeClr val="tx1"/>
        </a:buClr>
        <a:buFont typeface="Lucida Grande"/>
        <a:buChar char="-"/>
        <a:defRPr sz="20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88">
          <p15:clr>
            <a:srgbClr val="F26B43"/>
          </p15:clr>
        </p15:guide>
        <p15:guide id="3" pos="7439">
          <p15:clr>
            <a:srgbClr val="F26B43"/>
          </p15:clr>
        </p15:guide>
        <p15:guide id="6" pos="732">
          <p15:clr>
            <a:srgbClr val="F26B43"/>
          </p15:clr>
        </p15:guide>
        <p15:guide id="7" orient="horz" pos="660">
          <p15:clr>
            <a:srgbClr val="F26B43"/>
          </p15:clr>
        </p15:guide>
        <p15:guide id="8" orient="horz" pos="83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160463" y="351949"/>
            <a:ext cx="8655051" cy="6958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3A5BB14-D036-4AC1-9435-9025BF12CBD4}"/>
              </a:ext>
            </a:extLst>
          </p:cNvPr>
          <p:cNvSpPr txBox="1"/>
          <p:nvPr/>
        </p:nvSpPr>
        <p:spPr>
          <a:xfrm>
            <a:off x="11454739" y="6472591"/>
            <a:ext cx="353085" cy="12242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algn="r" defTabSz="457200" rtl="0" eaLnBrk="1" latinLnBrk="0" hangingPunct="1"/>
            <a:fld id="{CDB435D5-777C-4922-976B-8C95AF7AC8DD}" type="slidenum">
              <a:rPr lang="en-US" sz="700" b="1" i="0" kern="1200" smtClean="0">
                <a:solidFill>
                  <a:schemeClr val="tx1"/>
                </a:solidFill>
                <a:latin typeface="Arial"/>
                <a:ea typeface="+mn-ea"/>
                <a:cs typeface="Arial"/>
              </a:rPr>
              <a:pPr marL="0" algn="r" defTabSz="457200" rtl="0" eaLnBrk="1" latinLnBrk="0" hangingPunct="1"/>
              <a:t>‹#›</a:t>
            </a:fld>
            <a:endParaRPr lang="en-US" sz="700" b="1" i="0" kern="1200" err="1">
              <a:solidFill>
                <a:schemeClr val="tx1"/>
              </a:solidFill>
              <a:latin typeface="Arial"/>
              <a:ea typeface="+mn-ea"/>
              <a:cs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E99B1F1-C330-4EEE-A7BE-FB650A807612}"/>
              </a:ext>
            </a:extLst>
          </p:cNvPr>
          <p:cNvSpPr txBox="1">
            <a:spLocks/>
          </p:cNvSpPr>
          <p:nvPr/>
        </p:nvSpPr>
        <p:spPr>
          <a:xfrm rot="16200000">
            <a:off x="-680738" y="4644269"/>
            <a:ext cx="2098011" cy="736533"/>
          </a:xfrm>
          <a:custGeom>
            <a:avLst/>
            <a:gdLst>
              <a:gd name="connsiteX0" fmla="*/ 1991636 w 1991636"/>
              <a:gd name="connsiteY0" fmla="*/ 1 h 736533"/>
              <a:gd name="connsiteX1" fmla="*/ 1990399 w 1991636"/>
              <a:gd name="connsiteY1" fmla="*/ 4813 h 736533"/>
              <a:gd name="connsiteX2" fmla="*/ 995818 w 1991636"/>
              <a:gd name="connsiteY2" fmla="*/ 736533 h 736533"/>
              <a:gd name="connsiteX3" fmla="*/ 1237 w 1991636"/>
              <a:gd name="connsiteY3" fmla="*/ 4813 h 736533"/>
              <a:gd name="connsiteX4" fmla="*/ 0 w 1991636"/>
              <a:gd name="connsiteY4" fmla="*/ 0 h 736533"/>
              <a:gd name="connsiteX5" fmla="*/ 574414 w 1991636"/>
              <a:gd name="connsiteY5" fmla="*/ 0 h 736533"/>
              <a:gd name="connsiteX6" fmla="*/ 627097 w 1991636"/>
              <a:gd name="connsiteY6" fmla="*/ 63853 h 736533"/>
              <a:gd name="connsiteX7" fmla="*/ 995818 w 1991636"/>
              <a:gd name="connsiteY7" fmla="*/ 216582 h 736533"/>
              <a:gd name="connsiteX8" fmla="*/ 1364539 w 1991636"/>
              <a:gd name="connsiteY8" fmla="*/ 63853 h 736533"/>
              <a:gd name="connsiteX9" fmla="*/ 1417221 w 1991636"/>
              <a:gd name="connsiteY9" fmla="*/ 1 h 7365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991636" h="736533">
                <a:moveTo>
                  <a:pt x="1991636" y="1"/>
                </a:moveTo>
                <a:lnTo>
                  <a:pt x="1990399" y="4813"/>
                </a:lnTo>
                <a:cubicBezTo>
                  <a:pt x="1858546" y="428735"/>
                  <a:pt x="1463127" y="736533"/>
                  <a:pt x="995818" y="736533"/>
                </a:cubicBezTo>
                <a:cubicBezTo>
                  <a:pt x="528509" y="736533"/>
                  <a:pt x="133091" y="428735"/>
                  <a:pt x="1237" y="4813"/>
                </a:cubicBezTo>
                <a:lnTo>
                  <a:pt x="0" y="0"/>
                </a:lnTo>
                <a:lnTo>
                  <a:pt x="574414" y="0"/>
                </a:lnTo>
                <a:lnTo>
                  <a:pt x="627097" y="63853"/>
                </a:lnTo>
                <a:cubicBezTo>
                  <a:pt x="721461" y="158217"/>
                  <a:pt x="851824" y="216582"/>
                  <a:pt x="995818" y="216582"/>
                </a:cubicBezTo>
                <a:cubicBezTo>
                  <a:pt x="1139812" y="216582"/>
                  <a:pt x="1270175" y="158217"/>
                  <a:pt x="1364539" y="63853"/>
                </a:cubicBezTo>
                <a:lnTo>
                  <a:pt x="1417221" y="1"/>
                </a:lnTo>
                <a:close/>
              </a:path>
            </a:pathLst>
          </a:custGeom>
          <a:solidFill>
            <a:schemeClr val="bg2">
              <a:alpha val="50000"/>
            </a:schemeClr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20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</a:p>
        </p:txBody>
      </p:sp>
      <p:sp>
        <p:nvSpPr>
          <p:cNvPr id="20" name="Freeform: Shape 41">
            <a:extLst>
              <a:ext uri="{FF2B5EF4-FFF2-40B4-BE49-F238E27FC236}">
                <a16:creationId xmlns:a16="http://schemas.microsoft.com/office/drawing/2014/main" id="{5544BE8D-53B5-4396-8A9B-B6D96CE93DDC}"/>
              </a:ext>
            </a:extLst>
          </p:cNvPr>
          <p:cNvSpPr txBox="1">
            <a:spLocks/>
          </p:cNvSpPr>
          <p:nvPr/>
        </p:nvSpPr>
        <p:spPr>
          <a:xfrm>
            <a:off x="472426" y="3154973"/>
            <a:ext cx="531436" cy="531432"/>
          </a:xfrm>
          <a:custGeom>
            <a:avLst/>
            <a:gdLst>
              <a:gd name="connsiteX0" fmla="*/ 265718 w 531436"/>
              <a:gd name="connsiteY0" fmla="*/ 0 h 531432"/>
              <a:gd name="connsiteX1" fmla="*/ 531436 w 531436"/>
              <a:gd name="connsiteY1" fmla="*/ 265716 h 531432"/>
              <a:gd name="connsiteX2" fmla="*/ 265718 w 531436"/>
              <a:gd name="connsiteY2" fmla="*/ 531432 h 531432"/>
              <a:gd name="connsiteX3" fmla="*/ 0 w 531436"/>
              <a:gd name="connsiteY3" fmla="*/ 265716 h 531432"/>
              <a:gd name="connsiteX4" fmla="*/ 265718 w 531436"/>
              <a:gd name="connsiteY4" fmla="*/ 0 h 531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1436" h="531432">
                <a:moveTo>
                  <a:pt x="265718" y="0"/>
                </a:moveTo>
                <a:cubicBezTo>
                  <a:pt x="412470" y="0"/>
                  <a:pt x="531436" y="118965"/>
                  <a:pt x="531436" y="265716"/>
                </a:cubicBezTo>
                <a:cubicBezTo>
                  <a:pt x="531436" y="412467"/>
                  <a:pt x="412470" y="531432"/>
                  <a:pt x="265718" y="531432"/>
                </a:cubicBezTo>
                <a:cubicBezTo>
                  <a:pt x="118966" y="531432"/>
                  <a:pt x="0" y="412467"/>
                  <a:pt x="0" y="265716"/>
                </a:cubicBezTo>
                <a:cubicBezTo>
                  <a:pt x="0" y="118965"/>
                  <a:pt x="118966" y="0"/>
                  <a:pt x="265718" y="0"/>
                </a:cubicBezTo>
                <a:close/>
              </a:path>
            </a:pathLst>
          </a:custGeom>
          <a:solidFill>
            <a:schemeClr val="bg2">
              <a:alpha val="50000"/>
            </a:schemeClr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14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1F17575-E0E2-48E6-B520-BE7CEE8BF3B4}"/>
              </a:ext>
            </a:extLst>
          </p:cNvPr>
          <p:cNvSpPr/>
          <p:nvPr/>
        </p:nvSpPr>
        <p:spPr>
          <a:xfrm>
            <a:off x="-1" y="6812281"/>
            <a:ext cx="12188826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2AF9553E-FEA2-462D-AEBD-1F14F6E9431C}"/>
              </a:ext>
            </a:extLst>
          </p:cNvPr>
          <p:cNvGrpSpPr/>
          <p:nvPr/>
        </p:nvGrpSpPr>
        <p:grpSpPr>
          <a:xfrm>
            <a:off x="190809" y="213306"/>
            <a:ext cx="564751" cy="6412339"/>
            <a:chOff x="190809" y="242905"/>
            <a:chExt cx="564751" cy="6412339"/>
          </a:xfrm>
        </p:grpSpPr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3C7681B2-65E3-4802-BE8B-0D725D85E3F9}"/>
                </a:ext>
              </a:extLst>
            </p:cNvPr>
            <p:cNvSpPr/>
            <p:nvPr/>
          </p:nvSpPr>
          <p:spPr>
            <a:xfrm>
              <a:off x="190809" y="242905"/>
              <a:ext cx="561506" cy="5614838"/>
            </a:xfrm>
            <a:custGeom>
              <a:avLst/>
              <a:gdLst>
                <a:gd name="connsiteX0" fmla="*/ 531921 w 561506"/>
                <a:gd name="connsiteY0" fmla="*/ 5585253 h 5614838"/>
                <a:gd name="connsiteX1" fmla="*/ 561506 w 561506"/>
                <a:gd name="connsiteY1" fmla="*/ 5585253 h 5614838"/>
                <a:gd name="connsiteX2" fmla="*/ 561506 w 561506"/>
                <a:gd name="connsiteY2" fmla="*/ 5614838 h 5614838"/>
                <a:gd name="connsiteX3" fmla="*/ 531921 w 561506"/>
                <a:gd name="connsiteY3" fmla="*/ 5614838 h 5614838"/>
                <a:gd name="connsiteX4" fmla="*/ 265961 w 561506"/>
                <a:gd name="connsiteY4" fmla="*/ 5585253 h 5614838"/>
                <a:gd name="connsiteX5" fmla="*/ 295547 w 561506"/>
                <a:gd name="connsiteY5" fmla="*/ 5585253 h 5614838"/>
                <a:gd name="connsiteX6" fmla="*/ 295547 w 561506"/>
                <a:gd name="connsiteY6" fmla="*/ 5614838 h 5614838"/>
                <a:gd name="connsiteX7" fmla="*/ 265961 w 561506"/>
                <a:gd name="connsiteY7" fmla="*/ 5614838 h 5614838"/>
                <a:gd name="connsiteX8" fmla="*/ 0 w 561506"/>
                <a:gd name="connsiteY8" fmla="*/ 5585253 h 5614838"/>
                <a:gd name="connsiteX9" fmla="*/ 29585 w 561506"/>
                <a:gd name="connsiteY9" fmla="*/ 5585253 h 5614838"/>
                <a:gd name="connsiteX10" fmla="*/ 29585 w 561506"/>
                <a:gd name="connsiteY10" fmla="*/ 5614838 h 5614838"/>
                <a:gd name="connsiteX11" fmla="*/ 0 w 561506"/>
                <a:gd name="connsiteY11" fmla="*/ 5614838 h 5614838"/>
                <a:gd name="connsiteX12" fmla="*/ 531921 w 561506"/>
                <a:gd name="connsiteY12" fmla="*/ 5319293 h 5614838"/>
                <a:gd name="connsiteX13" fmla="*/ 561506 w 561506"/>
                <a:gd name="connsiteY13" fmla="*/ 5319293 h 5614838"/>
                <a:gd name="connsiteX14" fmla="*/ 561506 w 561506"/>
                <a:gd name="connsiteY14" fmla="*/ 5348879 h 5614838"/>
                <a:gd name="connsiteX15" fmla="*/ 531921 w 561506"/>
                <a:gd name="connsiteY15" fmla="*/ 5348879 h 5614838"/>
                <a:gd name="connsiteX16" fmla="*/ 265961 w 561506"/>
                <a:gd name="connsiteY16" fmla="*/ 5319293 h 5614838"/>
                <a:gd name="connsiteX17" fmla="*/ 295547 w 561506"/>
                <a:gd name="connsiteY17" fmla="*/ 5319293 h 5614838"/>
                <a:gd name="connsiteX18" fmla="*/ 295547 w 561506"/>
                <a:gd name="connsiteY18" fmla="*/ 5348879 h 5614838"/>
                <a:gd name="connsiteX19" fmla="*/ 265961 w 561506"/>
                <a:gd name="connsiteY19" fmla="*/ 5348879 h 5614838"/>
                <a:gd name="connsiteX20" fmla="*/ 0 w 561506"/>
                <a:gd name="connsiteY20" fmla="*/ 5319293 h 5614838"/>
                <a:gd name="connsiteX21" fmla="*/ 29585 w 561506"/>
                <a:gd name="connsiteY21" fmla="*/ 5319293 h 5614838"/>
                <a:gd name="connsiteX22" fmla="*/ 29585 w 561506"/>
                <a:gd name="connsiteY22" fmla="*/ 5348879 h 5614838"/>
                <a:gd name="connsiteX23" fmla="*/ 0 w 561506"/>
                <a:gd name="connsiteY23" fmla="*/ 5348879 h 5614838"/>
                <a:gd name="connsiteX24" fmla="*/ 531921 w 561506"/>
                <a:gd name="connsiteY24" fmla="*/ 5053332 h 5614838"/>
                <a:gd name="connsiteX25" fmla="*/ 561506 w 561506"/>
                <a:gd name="connsiteY25" fmla="*/ 5053332 h 5614838"/>
                <a:gd name="connsiteX26" fmla="*/ 561506 w 561506"/>
                <a:gd name="connsiteY26" fmla="*/ 5082917 h 5614838"/>
                <a:gd name="connsiteX27" fmla="*/ 531921 w 561506"/>
                <a:gd name="connsiteY27" fmla="*/ 5082917 h 5614838"/>
                <a:gd name="connsiteX28" fmla="*/ 265961 w 561506"/>
                <a:gd name="connsiteY28" fmla="*/ 5053332 h 5614838"/>
                <a:gd name="connsiteX29" fmla="*/ 295547 w 561506"/>
                <a:gd name="connsiteY29" fmla="*/ 5053332 h 5614838"/>
                <a:gd name="connsiteX30" fmla="*/ 295547 w 561506"/>
                <a:gd name="connsiteY30" fmla="*/ 5082917 h 5614838"/>
                <a:gd name="connsiteX31" fmla="*/ 265961 w 561506"/>
                <a:gd name="connsiteY31" fmla="*/ 5082917 h 5614838"/>
                <a:gd name="connsiteX32" fmla="*/ 0 w 561506"/>
                <a:gd name="connsiteY32" fmla="*/ 5053332 h 5614838"/>
                <a:gd name="connsiteX33" fmla="*/ 29585 w 561506"/>
                <a:gd name="connsiteY33" fmla="*/ 5053332 h 5614838"/>
                <a:gd name="connsiteX34" fmla="*/ 29585 w 561506"/>
                <a:gd name="connsiteY34" fmla="*/ 5082917 h 5614838"/>
                <a:gd name="connsiteX35" fmla="*/ 0 w 561506"/>
                <a:gd name="connsiteY35" fmla="*/ 5082917 h 5614838"/>
                <a:gd name="connsiteX36" fmla="*/ 531921 w 561506"/>
                <a:gd name="connsiteY36" fmla="*/ 4787372 h 5614838"/>
                <a:gd name="connsiteX37" fmla="*/ 561506 w 561506"/>
                <a:gd name="connsiteY37" fmla="*/ 4787372 h 5614838"/>
                <a:gd name="connsiteX38" fmla="*/ 561506 w 561506"/>
                <a:gd name="connsiteY38" fmla="*/ 4816958 h 5614838"/>
                <a:gd name="connsiteX39" fmla="*/ 531921 w 561506"/>
                <a:gd name="connsiteY39" fmla="*/ 4816958 h 5614838"/>
                <a:gd name="connsiteX40" fmla="*/ 265961 w 561506"/>
                <a:gd name="connsiteY40" fmla="*/ 4787372 h 5614838"/>
                <a:gd name="connsiteX41" fmla="*/ 295547 w 561506"/>
                <a:gd name="connsiteY41" fmla="*/ 4787372 h 5614838"/>
                <a:gd name="connsiteX42" fmla="*/ 295547 w 561506"/>
                <a:gd name="connsiteY42" fmla="*/ 4816958 h 5614838"/>
                <a:gd name="connsiteX43" fmla="*/ 265961 w 561506"/>
                <a:gd name="connsiteY43" fmla="*/ 4816958 h 5614838"/>
                <a:gd name="connsiteX44" fmla="*/ 0 w 561506"/>
                <a:gd name="connsiteY44" fmla="*/ 4787372 h 5614838"/>
                <a:gd name="connsiteX45" fmla="*/ 29585 w 561506"/>
                <a:gd name="connsiteY45" fmla="*/ 4787372 h 5614838"/>
                <a:gd name="connsiteX46" fmla="*/ 29585 w 561506"/>
                <a:gd name="connsiteY46" fmla="*/ 4816958 h 5614838"/>
                <a:gd name="connsiteX47" fmla="*/ 0 w 561506"/>
                <a:gd name="connsiteY47" fmla="*/ 4816958 h 5614838"/>
                <a:gd name="connsiteX48" fmla="*/ 531921 w 561506"/>
                <a:gd name="connsiteY48" fmla="*/ 4521412 h 5614838"/>
                <a:gd name="connsiteX49" fmla="*/ 561506 w 561506"/>
                <a:gd name="connsiteY49" fmla="*/ 4521412 h 5614838"/>
                <a:gd name="connsiteX50" fmla="*/ 561506 w 561506"/>
                <a:gd name="connsiteY50" fmla="*/ 4550997 h 5614838"/>
                <a:gd name="connsiteX51" fmla="*/ 531921 w 561506"/>
                <a:gd name="connsiteY51" fmla="*/ 4550997 h 5614838"/>
                <a:gd name="connsiteX52" fmla="*/ 265961 w 561506"/>
                <a:gd name="connsiteY52" fmla="*/ 4521412 h 5614838"/>
                <a:gd name="connsiteX53" fmla="*/ 295547 w 561506"/>
                <a:gd name="connsiteY53" fmla="*/ 4521412 h 5614838"/>
                <a:gd name="connsiteX54" fmla="*/ 295547 w 561506"/>
                <a:gd name="connsiteY54" fmla="*/ 4550997 h 5614838"/>
                <a:gd name="connsiteX55" fmla="*/ 265961 w 561506"/>
                <a:gd name="connsiteY55" fmla="*/ 4550997 h 5614838"/>
                <a:gd name="connsiteX56" fmla="*/ 0 w 561506"/>
                <a:gd name="connsiteY56" fmla="*/ 4521412 h 5614838"/>
                <a:gd name="connsiteX57" fmla="*/ 29585 w 561506"/>
                <a:gd name="connsiteY57" fmla="*/ 4521412 h 5614838"/>
                <a:gd name="connsiteX58" fmla="*/ 29585 w 561506"/>
                <a:gd name="connsiteY58" fmla="*/ 4550997 h 5614838"/>
                <a:gd name="connsiteX59" fmla="*/ 0 w 561506"/>
                <a:gd name="connsiteY59" fmla="*/ 4550997 h 5614838"/>
                <a:gd name="connsiteX60" fmla="*/ 531921 w 561506"/>
                <a:gd name="connsiteY60" fmla="*/ 4255451 h 5614838"/>
                <a:gd name="connsiteX61" fmla="*/ 561506 w 561506"/>
                <a:gd name="connsiteY61" fmla="*/ 4255451 h 5614838"/>
                <a:gd name="connsiteX62" fmla="*/ 561506 w 561506"/>
                <a:gd name="connsiteY62" fmla="*/ 4285036 h 5614838"/>
                <a:gd name="connsiteX63" fmla="*/ 531921 w 561506"/>
                <a:gd name="connsiteY63" fmla="*/ 4285036 h 5614838"/>
                <a:gd name="connsiteX64" fmla="*/ 265961 w 561506"/>
                <a:gd name="connsiteY64" fmla="*/ 4255451 h 5614838"/>
                <a:gd name="connsiteX65" fmla="*/ 295547 w 561506"/>
                <a:gd name="connsiteY65" fmla="*/ 4255451 h 5614838"/>
                <a:gd name="connsiteX66" fmla="*/ 295547 w 561506"/>
                <a:gd name="connsiteY66" fmla="*/ 4285036 h 5614838"/>
                <a:gd name="connsiteX67" fmla="*/ 265961 w 561506"/>
                <a:gd name="connsiteY67" fmla="*/ 4285036 h 5614838"/>
                <a:gd name="connsiteX68" fmla="*/ 0 w 561506"/>
                <a:gd name="connsiteY68" fmla="*/ 4255451 h 5614838"/>
                <a:gd name="connsiteX69" fmla="*/ 29585 w 561506"/>
                <a:gd name="connsiteY69" fmla="*/ 4255451 h 5614838"/>
                <a:gd name="connsiteX70" fmla="*/ 29585 w 561506"/>
                <a:gd name="connsiteY70" fmla="*/ 4285036 h 5614838"/>
                <a:gd name="connsiteX71" fmla="*/ 0 w 561506"/>
                <a:gd name="connsiteY71" fmla="*/ 4285036 h 5614838"/>
                <a:gd name="connsiteX72" fmla="*/ 531921 w 561506"/>
                <a:gd name="connsiteY72" fmla="*/ 3989491 h 5614838"/>
                <a:gd name="connsiteX73" fmla="*/ 561506 w 561506"/>
                <a:gd name="connsiteY73" fmla="*/ 3989491 h 5614838"/>
                <a:gd name="connsiteX74" fmla="*/ 561506 w 561506"/>
                <a:gd name="connsiteY74" fmla="*/ 4019077 h 5614838"/>
                <a:gd name="connsiteX75" fmla="*/ 531921 w 561506"/>
                <a:gd name="connsiteY75" fmla="*/ 4019077 h 5614838"/>
                <a:gd name="connsiteX76" fmla="*/ 265961 w 561506"/>
                <a:gd name="connsiteY76" fmla="*/ 3989491 h 5614838"/>
                <a:gd name="connsiteX77" fmla="*/ 295547 w 561506"/>
                <a:gd name="connsiteY77" fmla="*/ 3989491 h 5614838"/>
                <a:gd name="connsiteX78" fmla="*/ 295547 w 561506"/>
                <a:gd name="connsiteY78" fmla="*/ 4019077 h 5614838"/>
                <a:gd name="connsiteX79" fmla="*/ 265961 w 561506"/>
                <a:gd name="connsiteY79" fmla="*/ 4019077 h 5614838"/>
                <a:gd name="connsiteX80" fmla="*/ 0 w 561506"/>
                <a:gd name="connsiteY80" fmla="*/ 3989491 h 5614838"/>
                <a:gd name="connsiteX81" fmla="*/ 29585 w 561506"/>
                <a:gd name="connsiteY81" fmla="*/ 3989491 h 5614838"/>
                <a:gd name="connsiteX82" fmla="*/ 29585 w 561506"/>
                <a:gd name="connsiteY82" fmla="*/ 4019077 h 5614838"/>
                <a:gd name="connsiteX83" fmla="*/ 0 w 561506"/>
                <a:gd name="connsiteY83" fmla="*/ 4019077 h 5614838"/>
                <a:gd name="connsiteX84" fmla="*/ 531921 w 561506"/>
                <a:gd name="connsiteY84" fmla="*/ 3723530 h 5614838"/>
                <a:gd name="connsiteX85" fmla="*/ 561506 w 561506"/>
                <a:gd name="connsiteY85" fmla="*/ 3723530 h 5614838"/>
                <a:gd name="connsiteX86" fmla="*/ 561506 w 561506"/>
                <a:gd name="connsiteY86" fmla="*/ 3753115 h 5614838"/>
                <a:gd name="connsiteX87" fmla="*/ 531921 w 561506"/>
                <a:gd name="connsiteY87" fmla="*/ 3753115 h 5614838"/>
                <a:gd name="connsiteX88" fmla="*/ 265961 w 561506"/>
                <a:gd name="connsiteY88" fmla="*/ 3723530 h 5614838"/>
                <a:gd name="connsiteX89" fmla="*/ 295547 w 561506"/>
                <a:gd name="connsiteY89" fmla="*/ 3723530 h 5614838"/>
                <a:gd name="connsiteX90" fmla="*/ 295547 w 561506"/>
                <a:gd name="connsiteY90" fmla="*/ 3753115 h 5614838"/>
                <a:gd name="connsiteX91" fmla="*/ 265961 w 561506"/>
                <a:gd name="connsiteY91" fmla="*/ 3753115 h 5614838"/>
                <a:gd name="connsiteX92" fmla="*/ 0 w 561506"/>
                <a:gd name="connsiteY92" fmla="*/ 3723530 h 5614838"/>
                <a:gd name="connsiteX93" fmla="*/ 29585 w 561506"/>
                <a:gd name="connsiteY93" fmla="*/ 3723530 h 5614838"/>
                <a:gd name="connsiteX94" fmla="*/ 29585 w 561506"/>
                <a:gd name="connsiteY94" fmla="*/ 3753115 h 5614838"/>
                <a:gd name="connsiteX95" fmla="*/ 0 w 561506"/>
                <a:gd name="connsiteY95" fmla="*/ 3753115 h 5614838"/>
                <a:gd name="connsiteX96" fmla="*/ 531921 w 561506"/>
                <a:gd name="connsiteY96" fmla="*/ 3457570 h 5614838"/>
                <a:gd name="connsiteX97" fmla="*/ 561506 w 561506"/>
                <a:gd name="connsiteY97" fmla="*/ 3457570 h 5614838"/>
                <a:gd name="connsiteX98" fmla="*/ 561506 w 561506"/>
                <a:gd name="connsiteY98" fmla="*/ 3487156 h 5614838"/>
                <a:gd name="connsiteX99" fmla="*/ 531921 w 561506"/>
                <a:gd name="connsiteY99" fmla="*/ 3487156 h 5614838"/>
                <a:gd name="connsiteX100" fmla="*/ 265961 w 561506"/>
                <a:gd name="connsiteY100" fmla="*/ 3457570 h 5614838"/>
                <a:gd name="connsiteX101" fmla="*/ 295547 w 561506"/>
                <a:gd name="connsiteY101" fmla="*/ 3457570 h 5614838"/>
                <a:gd name="connsiteX102" fmla="*/ 295547 w 561506"/>
                <a:gd name="connsiteY102" fmla="*/ 3487156 h 5614838"/>
                <a:gd name="connsiteX103" fmla="*/ 265961 w 561506"/>
                <a:gd name="connsiteY103" fmla="*/ 3487156 h 5614838"/>
                <a:gd name="connsiteX104" fmla="*/ 0 w 561506"/>
                <a:gd name="connsiteY104" fmla="*/ 3457570 h 5614838"/>
                <a:gd name="connsiteX105" fmla="*/ 29585 w 561506"/>
                <a:gd name="connsiteY105" fmla="*/ 3457570 h 5614838"/>
                <a:gd name="connsiteX106" fmla="*/ 29585 w 561506"/>
                <a:gd name="connsiteY106" fmla="*/ 3487156 h 5614838"/>
                <a:gd name="connsiteX107" fmla="*/ 0 w 561506"/>
                <a:gd name="connsiteY107" fmla="*/ 3487156 h 5614838"/>
                <a:gd name="connsiteX108" fmla="*/ 531921 w 561506"/>
                <a:gd name="connsiteY108" fmla="*/ 3191618 h 5614838"/>
                <a:gd name="connsiteX109" fmla="*/ 561506 w 561506"/>
                <a:gd name="connsiteY109" fmla="*/ 3191618 h 5614838"/>
                <a:gd name="connsiteX110" fmla="*/ 561506 w 561506"/>
                <a:gd name="connsiteY110" fmla="*/ 3221195 h 5614838"/>
                <a:gd name="connsiteX111" fmla="*/ 531921 w 561506"/>
                <a:gd name="connsiteY111" fmla="*/ 3221195 h 5614838"/>
                <a:gd name="connsiteX112" fmla="*/ 265961 w 561506"/>
                <a:gd name="connsiteY112" fmla="*/ 3191618 h 5614838"/>
                <a:gd name="connsiteX113" fmla="*/ 295547 w 561506"/>
                <a:gd name="connsiteY113" fmla="*/ 3191618 h 5614838"/>
                <a:gd name="connsiteX114" fmla="*/ 295547 w 561506"/>
                <a:gd name="connsiteY114" fmla="*/ 3221195 h 5614838"/>
                <a:gd name="connsiteX115" fmla="*/ 265961 w 561506"/>
                <a:gd name="connsiteY115" fmla="*/ 3221195 h 5614838"/>
                <a:gd name="connsiteX116" fmla="*/ 0 w 561506"/>
                <a:gd name="connsiteY116" fmla="*/ 3191617 h 5614838"/>
                <a:gd name="connsiteX117" fmla="*/ 29585 w 561506"/>
                <a:gd name="connsiteY117" fmla="*/ 3191617 h 5614838"/>
                <a:gd name="connsiteX118" fmla="*/ 29585 w 561506"/>
                <a:gd name="connsiteY118" fmla="*/ 3221195 h 5614838"/>
                <a:gd name="connsiteX119" fmla="*/ 0 w 561506"/>
                <a:gd name="connsiteY119" fmla="*/ 3221195 h 5614838"/>
                <a:gd name="connsiteX120" fmla="*/ 531921 w 561506"/>
                <a:gd name="connsiteY120" fmla="*/ 2925660 h 5614838"/>
                <a:gd name="connsiteX121" fmla="*/ 561506 w 561506"/>
                <a:gd name="connsiteY121" fmla="*/ 2925660 h 5614838"/>
                <a:gd name="connsiteX122" fmla="*/ 561506 w 561506"/>
                <a:gd name="connsiteY122" fmla="*/ 2955246 h 5614838"/>
                <a:gd name="connsiteX123" fmla="*/ 531921 w 561506"/>
                <a:gd name="connsiteY123" fmla="*/ 2955246 h 5614838"/>
                <a:gd name="connsiteX124" fmla="*/ 265961 w 561506"/>
                <a:gd name="connsiteY124" fmla="*/ 2925659 h 5614838"/>
                <a:gd name="connsiteX125" fmla="*/ 295547 w 561506"/>
                <a:gd name="connsiteY125" fmla="*/ 2925659 h 5614838"/>
                <a:gd name="connsiteX126" fmla="*/ 295547 w 561506"/>
                <a:gd name="connsiteY126" fmla="*/ 2955245 h 5614838"/>
                <a:gd name="connsiteX127" fmla="*/ 265961 w 561506"/>
                <a:gd name="connsiteY127" fmla="*/ 2955245 h 5614838"/>
                <a:gd name="connsiteX128" fmla="*/ 0 w 561506"/>
                <a:gd name="connsiteY128" fmla="*/ 2925658 h 5614838"/>
                <a:gd name="connsiteX129" fmla="*/ 29585 w 561506"/>
                <a:gd name="connsiteY129" fmla="*/ 2925658 h 5614838"/>
                <a:gd name="connsiteX130" fmla="*/ 29585 w 561506"/>
                <a:gd name="connsiteY130" fmla="*/ 2955244 h 5614838"/>
                <a:gd name="connsiteX131" fmla="*/ 0 w 561506"/>
                <a:gd name="connsiteY131" fmla="*/ 2955244 h 5614838"/>
                <a:gd name="connsiteX132" fmla="*/ 531921 w 561506"/>
                <a:gd name="connsiteY132" fmla="*/ 2659620 h 5614838"/>
                <a:gd name="connsiteX133" fmla="*/ 561506 w 561506"/>
                <a:gd name="connsiteY133" fmla="*/ 2659620 h 5614838"/>
                <a:gd name="connsiteX134" fmla="*/ 561506 w 561506"/>
                <a:gd name="connsiteY134" fmla="*/ 2689204 h 5614838"/>
                <a:gd name="connsiteX135" fmla="*/ 531921 w 561506"/>
                <a:gd name="connsiteY135" fmla="*/ 2689204 h 5614838"/>
                <a:gd name="connsiteX136" fmla="*/ 265961 w 561506"/>
                <a:gd name="connsiteY136" fmla="*/ 2659616 h 5614838"/>
                <a:gd name="connsiteX137" fmla="*/ 295547 w 561506"/>
                <a:gd name="connsiteY137" fmla="*/ 2659616 h 5614838"/>
                <a:gd name="connsiteX138" fmla="*/ 295547 w 561506"/>
                <a:gd name="connsiteY138" fmla="*/ 2689201 h 5614838"/>
                <a:gd name="connsiteX139" fmla="*/ 265961 w 561506"/>
                <a:gd name="connsiteY139" fmla="*/ 2689201 h 5614838"/>
                <a:gd name="connsiteX140" fmla="*/ 0 w 561506"/>
                <a:gd name="connsiteY140" fmla="*/ 2659613 h 5614838"/>
                <a:gd name="connsiteX141" fmla="*/ 29585 w 561506"/>
                <a:gd name="connsiteY141" fmla="*/ 2659613 h 5614838"/>
                <a:gd name="connsiteX142" fmla="*/ 29585 w 561506"/>
                <a:gd name="connsiteY142" fmla="*/ 2689198 h 5614838"/>
                <a:gd name="connsiteX143" fmla="*/ 0 w 561506"/>
                <a:gd name="connsiteY143" fmla="*/ 2689198 h 5614838"/>
                <a:gd name="connsiteX144" fmla="*/ 531921 w 561506"/>
                <a:gd name="connsiteY144" fmla="*/ 2393661 h 5614838"/>
                <a:gd name="connsiteX145" fmla="*/ 561506 w 561506"/>
                <a:gd name="connsiteY145" fmla="*/ 2393661 h 5614838"/>
                <a:gd name="connsiteX146" fmla="*/ 561506 w 561506"/>
                <a:gd name="connsiteY146" fmla="*/ 2423260 h 5614838"/>
                <a:gd name="connsiteX147" fmla="*/ 531921 w 561506"/>
                <a:gd name="connsiteY147" fmla="*/ 2423260 h 5614838"/>
                <a:gd name="connsiteX148" fmla="*/ 265961 w 561506"/>
                <a:gd name="connsiteY148" fmla="*/ 2393658 h 5614838"/>
                <a:gd name="connsiteX149" fmla="*/ 295547 w 561506"/>
                <a:gd name="connsiteY149" fmla="*/ 2393658 h 5614838"/>
                <a:gd name="connsiteX150" fmla="*/ 295547 w 561506"/>
                <a:gd name="connsiteY150" fmla="*/ 2423257 h 5614838"/>
                <a:gd name="connsiteX151" fmla="*/ 265961 w 561506"/>
                <a:gd name="connsiteY151" fmla="*/ 2423257 h 5614838"/>
                <a:gd name="connsiteX152" fmla="*/ 0 w 561506"/>
                <a:gd name="connsiteY152" fmla="*/ 2393655 h 5614838"/>
                <a:gd name="connsiteX153" fmla="*/ 29585 w 561506"/>
                <a:gd name="connsiteY153" fmla="*/ 2393655 h 5614838"/>
                <a:gd name="connsiteX154" fmla="*/ 29585 w 561506"/>
                <a:gd name="connsiteY154" fmla="*/ 2423251 h 5614838"/>
                <a:gd name="connsiteX155" fmla="*/ 0 w 561506"/>
                <a:gd name="connsiteY155" fmla="*/ 2423251 h 5614838"/>
                <a:gd name="connsiteX156" fmla="*/ 531921 w 561506"/>
                <a:gd name="connsiteY156" fmla="*/ 2127694 h 5614838"/>
                <a:gd name="connsiteX157" fmla="*/ 561506 w 561506"/>
                <a:gd name="connsiteY157" fmla="*/ 2127694 h 5614838"/>
                <a:gd name="connsiteX158" fmla="*/ 561506 w 561506"/>
                <a:gd name="connsiteY158" fmla="*/ 2157283 h 5614838"/>
                <a:gd name="connsiteX159" fmla="*/ 531921 w 561506"/>
                <a:gd name="connsiteY159" fmla="*/ 2157283 h 5614838"/>
                <a:gd name="connsiteX160" fmla="*/ 265961 w 561506"/>
                <a:gd name="connsiteY160" fmla="*/ 2127693 h 5614838"/>
                <a:gd name="connsiteX161" fmla="*/ 295547 w 561506"/>
                <a:gd name="connsiteY161" fmla="*/ 2127693 h 5614838"/>
                <a:gd name="connsiteX162" fmla="*/ 295547 w 561506"/>
                <a:gd name="connsiteY162" fmla="*/ 2157282 h 5614838"/>
                <a:gd name="connsiteX163" fmla="*/ 265961 w 561506"/>
                <a:gd name="connsiteY163" fmla="*/ 2157282 h 5614838"/>
                <a:gd name="connsiteX164" fmla="*/ 0 w 561506"/>
                <a:gd name="connsiteY164" fmla="*/ 2127689 h 5614838"/>
                <a:gd name="connsiteX165" fmla="*/ 29585 w 561506"/>
                <a:gd name="connsiteY165" fmla="*/ 2127689 h 5614838"/>
                <a:gd name="connsiteX166" fmla="*/ 29585 w 561506"/>
                <a:gd name="connsiteY166" fmla="*/ 2157278 h 5614838"/>
                <a:gd name="connsiteX167" fmla="*/ 0 w 561506"/>
                <a:gd name="connsiteY167" fmla="*/ 2157278 h 5614838"/>
                <a:gd name="connsiteX168" fmla="*/ 531921 w 561506"/>
                <a:gd name="connsiteY168" fmla="*/ 1861731 h 5614838"/>
                <a:gd name="connsiteX169" fmla="*/ 561506 w 561506"/>
                <a:gd name="connsiteY169" fmla="*/ 1861731 h 5614838"/>
                <a:gd name="connsiteX170" fmla="*/ 561506 w 561506"/>
                <a:gd name="connsiteY170" fmla="*/ 1891308 h 5614838"/>
                <a:gd name="connsiteX171" fmla="*/ 531921 w 561506"/>
                <a:gd name="connsiteY171" fmla="*/ 1891308 h 5614838"/>
                <a:gd name="connsiteX172" fmla="*/ 265961 w 561506"/>
                <a:gd name="connsiteY172" fmla="*/ 1861728 h 5614838"/>
                <a:gd name="connsiteX173" fmla="*/ 295547 w 561506"/>
                <a:gd name="connsiteY173" fmla="*/ 1861728 h 5614838"/>
                <a:gd name="connsiteX174" fmla="*/ 295547 w 561506"/>
                <a:gd name="connsiteY174" fmla="*/ 1891306 h 5614838"/>
                <a:gd name="connsiteX175" fmla="*/ 265961 w 561506"/>
                <a:gd name="connsiteY175" fmla="*/ 1891306 h 5614838"/>
                <a:gd name="connsiteX176" fmla="*/ 0 w 561506"/>
                <a:gd name="connsiteY176" fmla="*/ 1861726 h 5614838"/>
                <a:gd name="connsiteX177" fmla="*/ 29585 w 561506"/>
                <a:gd name="connsiteY177" fmla="*/ 1861726 h 5614838"/>
                <a:gd name="connsiteX178" fmla="*/ 29585 w 561506"/>
                <a:gd name="connsiteY178" fmla="*/ 1891304 h 5614838"/>
                <a:gd name="connsiteX179" fmla="*/ 0 w 561506"/>
                <a:gd name="connsiteY179" fmla="*/ 1891304 h 5614838"/>
                <a:gd name="connsiteX180" fmla="*/ 531921 w 561506"/>
                <a:gd name="connsiteY180" fmla="*/ 1595769 h 5614838"/>
                <a:gd name="connsiteX181" fmla="*/ 561506 w 561506"/>
                <a:gd name="connsiteY181" fmla="*/ 1595769 h 5614838"/>
                <a:gd name="connsiteX182" fmla="*/ 561506 w 561506"/>
                <a:gd name="connsiteY182" fmla="*/ 1625355 h 5614838"/>
                <a:gd name="connsiteX183" fmla="*/ 531921 w 561506"/>
                <a:gd name="connsiteY183" fmla="*/ 1625355 h 5614838"/>
                <a:gd name="connsiteX184" fmla="*/ 265961 w 561506"/>
                <a:gd name="connsiteY184" fmla="*/ 1595766 h 5614838"/>
                <a:gd name="connsiteX185" fmla="*/ 295547 w 561506"/>
                <a:gd name="connsiteY185" fmla="*/ 1595766 h 5614838"/>
                <a:gd name="connsiteX186" fmla="*/ 295547 w 561506"/>
                <a:gd name="connsiteY186" fmla="*/ 1625352 h 5614838"/>
                <a:gd name="connsiteX187" fmla="*/ 265961 w 561506"/>
                <a:gd name="connsiteY187" fmla="*/ 1625352 h 5614838"/>
                <a:gd name="connsiteX188" fmla="*/ 0 w 561506"/>
                <a:gd name="connsiteY188" fmla="*/ 1595764 h 5614838"/>
                <a:gd name="connsiteX189" fmla="*/ 29585 w 561506"/>
                <a:gd name="connsiteY189" fmla="*/ 1595764 h 5614838"/>
                <a:gd name="connsiteX190" fmla="*/ 29585 w 561506"/>
                <a:gd name="connsiteY190" fmla="*/ 1625350 h 5614838"/>
                <a:gd name="connsiteX191" fmla="*/ 0 w 561506"/>
                <a:gd name="connsiteY191" fmla="*/ 1625350 h 5614838"/>
                <a:gd name="connsiteX192" fmla="*/ 531921 w 561506"/>
                <a:gd name="connsiteY192" fmla="*/ 1329811 h 5614838"/>
                <a:gd name="connsiteX193" fmla="*/ 561506 w 561506"/>
                <a:gd name="connsiteY193" fmla="*/ 1329811 h 5614838"/>
                <a:gd name="connsiteX194" fmla="*/ 561506 w 561506"/>
                <a:gd name="connsiteY194" fmla="*/ 1359396 h 5614838"/>
                <a:gd name="connsiteX195" fmla="*/ 531921 w 561506"/>
                <a:gd name="connsiteY195" fmla="*/ 1359396 h 5614838"/>
                <a:gd name="connsiteX196" fmla="*/ 265961 w 561506"/>
                <a:gd name="connsiteY196" fmla="*/ 1329809 h 5614838"/>
                <a:gd name="connsiteX197" fmla="*/ 295547 w 561506"/>
                <a:gd name="connsiteY197" fmla="*/ 1329809 h 5614838"/>
                <a:gd name="connsiteX198" fmla="*/ 295547 w 561506"/>
                <a:gd name="connsiteY198" fmla="*/ 1359393 h 5614838"/>
                <a:gd name="connsiteX199" fmla="*/ 265961 w 561506"/>
                <a:gd name="connsiteY199" fmla="*/ 1359393 h 5614838"/>
                <a:gd name="connsiteX200" fmla="*/ 0 w 561506"/>
                <a:gd name="connsiteY200" fmla="*/ 1329806 h 5614838"/>
                <a:gd name="connsiteX201" fmla="*/ 29585 w 561506"/>
                <a:gd name="connsiteY201" fmla="*/ 1329806 h 5614838"/>
                <a:gd name="connsiteX202" fmla="*/ 29585 w 561506"/>
                <a:gd name="connsiteY202" fmla="*/ 1359391 h 5614838"/>
                <a:gd name="connsiteX203" fmla="*/ 0 w 561506"/>
                <a:gd name="connsiteY203" fmla="*/ 1359391 h 5614838"/>
                <a:gd name="connsiteX204" fmla="*/ 531921 w 561506"/>
                <a:gd name="connsiteY204" fmla="*/ 1063855 h 5614838"/>
                <a:gd name="connsiteX205" fmla="*/ 561506 w 561506"/>
                <a:gd name="connsiteY205" fmla="*/ 1063855 h 5614838"/>
                <a:gd name="connsiteX206" fmla="*/ 561506 w 561506"/>
                <a:gd name="connsiteY206" fmla="*/ 1093441 h 5614838"/>
                <a:gd name="connsiteX207" fmla="*/ 531921 w 561506"/>
                <a:gd name="connsiteY207" fmla="*/ 1093441 h 5614838"/>
                <a:gd name="connsiteX208" fmla="*/ 265961 w 561506"/>
                <a:gd name="connsiteY208" fmla="*/ 1063852 h 5614838"/>
                <a:gd name="connsiteX209" fmla="*/ 295547 w 561506"/>
                <a:gd name="connsiteY209" fmla="*/ 1063852 h 5614838"/>
                <a:gd name="connsiteX210" fmla="*/ 295547 w 561506"/>
                <a:gd name="connsiteY210" fmla="*/ 1093438 h 5614838"/>
                <a:gd name="connsiteX211" fmla="*/ 265961 w 561506"/>
                <a:gd name="connsiteY211" fmla="*/ 1093438 h 5614838"/>
                <a:gd name="connsiteX212" fmla="*/ 0 w 561506"/>
                <a:gd name="connsiteY212" fmla="*/ 1063849 h 5614838"/>
                <a:gd name="connsiteX213" fmla="*/ 29585 w 561506"/>
                <a:gd name="connsiteY213" fmla="*/ 1063849 h 5614838"/>
                <a:gd name="connsiteX214" fmla="*/ 29585 w 561506"/>
                <a:gd name="connsiteY214" fmla="*/ 1093435 h 5614838"/>
                <a:gd name="connsiteX215" fmla="*/ 0 w 561506"/>
                <a:gd name="connsiteY215" fmla="*/ 1093435 h 5614838"/>
                <a:gd name="connsiteX216" fmla="*/ 531921 w 561506"/>
                <a:gd name="connsiteY216" fmla="*/ 797884 h 5614838"/>
                <a:gd name="connsiteX217" fmla="*/ 561506 w 561506"/>
                <a:gd name="connsiteY217" fmla="*/ 797884 h 5614838"/>
                <a:gd name="connsiteX218" fmla="*/ 561506 w 561506"/>
                <a:gd name="connsiteY218" fmla="*/ 827470 h 5614838"/>
                <a:gd name="connsiteX219" fmla="*/ 531921 w 561506"/>
                <a:gd name="connsiteY219" fmla="*/ 827470 h 5614838"/>
                <a:gd name="connsiteX220" fmla="*/ 265961 w 561506"/>
                <a:gd name="connsiteY220" fmla="*/ 797882 h 5614838"/>
                <a:gd name="connsiteX221" fmla="*/ 295547 w 561506"/>
                <a:gd name="connsiteY221" fmla="*/ 797882 h 5614838"/>
                <a:gd name="connsiteX222" fmla="*/ 295547 w 561506"/>
                <a:gd name="connsiteY222" fmla="*/ 827468 h 5614838"/>
                <a:gd name="connsiteX223" fmla="*/ 265961 w 561506"/>
                <a:gd name="connsiteY223" fmla="*/ 827468 h 5614838"/>
                <a:gd name="connsiteX224" fmla="*/ 0 w 561506"/>
                <a:gd name="connsiteY224" fmla="*/ 797879 h 5614838"/>
                <a:gd name="connsiteX225" fmla="*/ 29585 w 561506"/>
                <a:gd name="connsiteY225" fmla="*/ 797879 h 5614838"/>
                <a:gd name="connsiteX226" fmla="*/ 29585 w 561506"/>
                <a:gd name="connsiteY226" fmla="*/ 827465 h 5614838"/>
                <a:gd name="connsiteX227" fmla="*/ 0 w 561506"/>
                <a:gd name="connsiteY227" fmla="*/ 827465 h 5614838"/>
                <a:gd name="connsiteX228" fmla="*/ 531921 w 561506"/>
                <a:gd name="connsiteY228" fmla="*/ 531924 h 5614838"/>
                <a:gd name="connsiteX229" fmla="*/ 561506 w 561506"/>
                <a:gd name="connsiteY229" fmla="*/ 531924 h 5614838"/>
                <a:gd name="connsiteX230" fmla="*/ 561506 w 561506"/>
                <a:gd name="connsiteY230" fmla="*/ 561509 h 5614838"/>
                <a:gd name="connsiteX231" fmla="*/ 531921 w 561506"/>
                <a:gd name="connsiteY231" fmla="*/ 561509 h 5614838"/>
                <a:gd name="connsiteX232" fmla="*/ 265961 w 561506"/>
                <a:gd name="connsiteY232" fmla="*/ 531922 h 5614838"/>
                <a:gd name="connsiteX233" fmla="*/ 295547 w 561506"/>
                <a:gd name="connsiteY233" fmla="*/ 531922 h 5614838"/>
                <a:gd name="connsiteX234" fmla="*/ 295547 w 561506"/>
                <a:gd name="connsiteY234" fmla="*/ 561507 h 5614838"/>
                <a:gd name="connsiteX235" fmla="*/ 265961 w 561506"/>
                <a:gd name="connsiteY235" fmla="*/ 561507 h 5614838"/>
                <a:gd name="connsiteX236" fmla="*/ 0 w 561506"/>
                <a:gd name="connsiteY236" fmla="*/ 531920 h 5614838"/>
                <a:gd name="connsiteX237" fmla="*/ 29585 w 561506"/>
                <a:gd name="connsiteY237" fmla="*/ 531920 h 5614838"/>
                <a:gd name="connsiteX238" fmla="*/ 29585 w 561506"/>
                <a:gd name="connsiteY238" fmla="*/ 561505 h 5614838"/>
                <a:gd name="connsiteX239" fmla="*/ 0 w 561506"/>
                <a:gd name="connsiteY239" fmla="*/ 561505 h 5614838"/>
                <a:gd name="connsiteX240" fmla="*/ 531921 w 561506"/>
                <a:gd name="connsiteY240" fmla="*/ 265964 h 5614838"/>
                <a:gd name="connsiteX241" fmla="*/ 561506 w 561506"/>
                <a:gd name="connsiteY241" fmla="*/ 265964 h 5614838"/>
                <a:gd name="connsiteX242" fmla="*/ 561506 w 561506"/>
                <a:gd name="connsiteY242" fmla="*/ 295550 h 5614838"/>
                <a:gd name="connsiteX243" fmla="*/ 531921 w 561506"/>
                <a:gd name="connsiteY243" fmla="*/ 295550 h 5614838"/>
                <a:gd name="connsiteX244" fmla="*/ 265961 w 561506"/>
                <a:gd name="connsiteY244" fmla="*/ 265962 h 5614838"/>
                <a:gd name="connsiteX245" fmla="*/ 295547 w 561506"/>
                <a:gd name="connsiteY245" fmla="*/ 265962 h 5614838"/>
                <a:gd name="connsiteX246" fmla="*/ 295547 w 561506"/>
                <a:gd name="connsiteY246" fmla="*/ 295548 h 5614838"/>
                <a:gd name="connsiteX247" fmla="*/ 265961 w 561506"/>
                <a:gd name="connsiteY247" fmla="*/ 295548 h 5614838"/>
                <a:gd name="connsiteX248" fmla="*/ 0 w 561506"/>
                <a:gd name="connsiteY248" fmla="*/ 265960 h 5614838"/>
                <a:gd name="connsiteX249" fmla="*/ 29585 w 561506"/>
                <a:gd name="connsiteY249" fmla="*/ 265960 h 5614838"/>
                <a:gd name="connsiteX250" fmla="*/ 29585 w 561506"/>
                <a:gd name="connsiteY250" fmla="*/ 295546 h 5614838"/>
                <a:gd name="connsiteX251" fmla="*/ 0 w 561506"/>
                <a:gd name="connsiteY251" fmla="*/ 295546 h 5614838"/>
                <a:gd name="connsiteX252" fmla="*/ 531921 w 561506"/>
                <a:gd name="connsiteY252" fmla="*/ 5 h 5614838"/>
                <a:gd name="connsiteX253" fmla="*/ 561506 w 561506"/>
                <a:gd name="connsiteY253" fmla="*/ 5 h 5614838"/>
                <a:gd name="connsiteX254" fmla="*/ 561506 w 561506"/>
                <a:gd name="connsiteY254" fmla="*/ 29591 h 5614838"/>
                <a:gd name="connsiteX255" fmla="*/ 531921 w 561506"/>
                <a:gd name="connsiteY255" fmla="*/ 29591 h 5614838"/>
                <a:gd name="connsiteX256" fmla="*/ 265961 w 561506"/>
                <a:gd name="connsiteY256" fmla="*/ 3 h 5614838"/>
                <a:gd name="connsiteX257" fmla="*/ 295547 w 561506"/>
                <a:gd name="connsiteY257" fmla="*/ 3 h 5614838"/>
                <a:gd name="connsiteX258" fmla="*/ 295547 w 561506"/>
                <a:gd name="connsiteY258" fmla="*/ 29589 h 5614838"/>
                <a:gd name="connsiteX259" fmla="*/ 265961 w 561506"/>
                <a:gd name="connsiteY259" fmla="*/ 29589 h 5614838"/>
                <a:gd name="connsiteX260" fmla="*/ 0 w 561506"/>
                <a:gd name="connsiteY260" fmla="*/ 0 h 5614838"/>
                <a:gd name="connsiteX261" fmla="*/ 29585 w 561506"/>
                <a:gd name="connsiteY261" fmla="*/ 0 h 5614838"/>
                <a:gd name="connsiteX262" fmla="*/ 29585 w 561506"/>
                <a:gd name="connsiteY262" fmla="*/ 29586 h 5614838"/>
                <a:gd name="connsiteX263" fmla="*/ 0 w 561506"/>
                <a:gd name="connsiteY263" fmla="*/ 29586 h 5614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</a:cxnLst>
              <a:rect l="l" t="t" r="r" b="b"/>
              <a:pathLst>
                <a:path w="561506" h="5614838">
                  <a:moveTo>
                    <a:pt x="531921" y="5585253"/>
                  </a:moveTo>
                  <a:lnTo>
                    <a:pt x="561506" y="5585253"/>
                  </a:lnTo>
                  <a:lnTo>
                    <a:pt x="561506" y="5614838"/>
                  </a:lnTo>
                  <a:lnTo>
                    <a:pt x="531921" y="5614838"/>
                  </a:lnTo>
                  <a:close/>
                  <a:moveTo>
                    <a:pt x="265961" y="5585253"/>
                  </a:moveTo>
                  <a:lnTo>
                    <a:pt x="295547" y="5585253"/>
                  </a:lnTo>
                  <a:lnTo>
                    <a:pt x="295547" y="5614838"/>
                  </a:lnTo>
                  <a:lnTo>
                    <a:pt x="265961" y="5614838"/>
                  </a:lnTo>
                  <a:close/>
                  <a:moveTo>
                    <a:pt x="0" y="5585253"/>
                  </a:moveTo>
                  <a:lnTo>
                    <a:pt x="29585" y="5585253"/>
                  </a:lnTo>
                  <a:lnTo>
                    <a:pt x="29585" y="5614838"/>
                  </a:lnTo>
                  <a:lnTo>
                    <a:pt x="0" y="5614838"/>
                  </a:lnTo>
                  <a:close/>
                  <a:moveTo>
                    <a:pt x="531921" y="5319293"/>
                  </a:moveTo>
                  <a:lnTo>
                    <a:pt x="561506" y="5319293"/>
                  </a:lnTo>
                  <a:lnTo>
                    <a:pt x="561506" y="5348879"/>
                  </a:lnTo>
                  <a:lnTo>
                    <a:pt x="531921" y="5348879"/>
                  </a:lnTo>
                  <a:close/>
                  <a:moveTo>
                    <a:pt x="265961" y="5319293"/>
                  </a:moveTo>
                  <a:lnTo>
                    <a:pt x="295547" y="5319293"/>
                  </a:lnTo>
                  <a:lnTo>
                    <a:pt x="295547" y="5348879"/>
                  </a:lnTo>
                  <a:lnTo>
                    <a:pt x="265961" y="5348879"/>
                  </a:lnTo>
                  <a:close/>
                  <a:moveTo>
                    <a:pt x="0" y="5319293"/>
                  </a:moveTo>
                  <a:lnTo>
                    <a:pt x="29585" y="5319293"/>
                  </a:lnTo>
                  <a:lnTo>
                    <a:pt x="29585" y="5348879"/>
                  </a:lnTo>
                  <a:lnTo>
                    <a:pt x="0" y="5348879"/>
                  </a:lnTo>
                  <a:close/>
                  <a:moveTo>
                    <a:pt x="531921" y="5053332"/>
                  </a:moveTo>
                  <a:lnTo>
                    <a:pt x="561506" y="5053332"/>
                  </a:lnTo>
                  <a:lnTo>
                    <a:pt x="561506" y="5082917"/>
                  </a:lnTo>
                  <a:lnTo>
                    <a:pt x="531921" y="5082917"/>
                  </a:lnTo>
                  <a:close/>
                  <a:moveTo>
                    <a:pt x="265961" y="5053332"/>
                  </a:moveTo>
                  <a:lnTo>
                    <a:pt x="295547" y="5053332"/>
                  </a:lnTo>
                  <a:lnTo>
                    <a:pt x="295547" y="5082917"/>
                  </a:lnTo>
                  <a:lnTo>
                    <a:pt x="265961" y="5082917"/>
                  </a:lnTo>
                  <a:close/>
                  <a:moveTo>
                    <a:pt x="0" y="5053332"/>
                  </a:moveTo>
                  <a:lnTo>
                    <a:pt x="29585" y="5053332"/>
                  </a:lnTo>
                  <a:lnTo>
                    <a:pt x="29585" y="5082917"/>
                  </a:lnTo>
                  <a:lnTo>
                    <a:pt x="0" y="5082917"/>
                  </a:lnTo>
                  <a:close/>
                  <a:moveTo>
                    <a:pt x="531921" y="4787372"/>
                  </a:moveTo>
                  <a:lnTo>
                    <a:pt x="561506" y="4787372"/>
                  </a:lnTo>
                  <a:lnTo>
                    <a:pt x="561506" y="4816958"/>
                  </a:lnTo>
                  <a:lnTo>
                    <a:pt x="531921" y="4816958"/>
                  </a:lnTo>
                  <a:close/>
                  <a:moveTo>
                    <a:pt x="265961" y="4787372"/>
                  </a:moveTo>
                  <a:lnTo>
                    <a:pt x="295547" y="4787372"/>
                  </a:lnTo>
                  <a:lnTo>
                    <a:pt x="295547" y="4816958"/>
                  </a:lnTo>
                  <a:lnTo>
                    <a:pt x="265961" y="4816958"/>
                  </a:lnTo>
                  <a:close/>
                  <a:moveTo>
                    <a:pt x="0" y="4787372"/>
                  </a:moveTo>
                  <a:lnTo>
                    <a:pt x="29585" y="4787372"/>
                  </a:lnTo>
                  <a:lnTo>
                    <a:pt x="29585" y="4816958"/>
                  </a:lnTo>
                  <a:lnTo>
                    <a:pt x="0" y="4816958"/>
                  </a:lnTo>
                  <a:close/>
                  <a:moveTo>
                    <a:pt x="531921" y="4521412"/>
                  </a:moveTo>
                  <a:lnTo>
                    <a:pt x="561506" y="4521412"/>
                  </a:lnTo>
                  <a:lnTo>
                    <a:pt x="561506" y="4550997"/>
                  </a:lnTo>
                  <a:lnTo>
                    <a:pt x="531921" y="4550997"/>
                  </a:lnTo>
                  <a:close/>
                  <a:moveTo>
                    <a:pt x="265961" y="4521412"/>
                  </a:moveTo>
                  <a:lnTo>
                    <a:pt x="295547" y="4521412"/>
                  </a:lnTo>
                  <a:lnTo>
                    <a:pt x="295547" y="4550997"/>
                  </a:lnTo>
                  <a:lnTo>
                    <a:pt x="265961" y="4550997"/>
                  </a:lnTo>
                  <a:close/>
                  <a:moveTo>
                    <a:pt x="0" y="4521412"/>
                  </a:moveTo>
                  <a:lnTo>
                    <a:pt x="29585" y="4521412"/>
                  </a:lnTo>
                  <a:lnTo>
                    <a:pt x="29585" y="4550997"/>
                  </a:lnTo>
                  <a:lnTo>
                    <a:pt x="0" y="4550997"/>
                  </a:lnTo>
                  <a:close/>
                  <a:moveTo>
                    <a:pt x="531921" y="4255451"/>
                  </a:moveTo>
                  <a:lnTo>
                    <a:pt x="561506" y="4255451"/>
                  </a:lnTo>
                  <a:lnTo>
                    <a:pt x="561506" y="4285036"/>
                  </a:lnTo>
                  <a:lnTo>
                    <a:pt x="531921" y="4285036"/>
                  </a:lnTo>
                  <a:close/>
                  <a:moveTo>
                    <a:pt x="265961" y="4255451"/>
                  </a:moveTo>
                  <a:lnTo>
                    <a:pt x="295547" y="4255451"/>
                  </a:lnTo>
                  <a:lnTo>
                    <a:pt x="295547" y="4285036"/>
                  </a:lnTo>
                  <a:lnTo>
                    <a:pt x="265961" y="4285036"/>
                  </a:lnTo>
                  <a:close/>
                  <a:moveTo>
                    <a:pt x="0" y="4255451"/>
                  </a:moveTo>
                  <a:lnTo>
                    <a:pt x="29585" y="4255451"/>
                  </a:lnTo>
                  <a:lnTo>
                    <a:pt x="29585" y="4285036"/>
                  </a:lnTo>
                  <a:lnTo>
                    <a:pt x="0" y="4285036"/>
                  </a:lnTo>
                  <a:close/>
                  <a:moveTo>
                    <a:pt x="531921" y="3989491"/>
                  </a:moveTo>
                  <a:lnTo>
                    <a:pt x="561506" y="3989491"/>
                  </a:lnTo>
                  <a:lnTo>
                    <a:pt x="561506" y="4019077"/>
                  </a:lnTo>
                  <a:lnTo>
                    <a:pt x="531921" y="4019077"/>
                  </a:lnTo>
                  <a:close/>
                  <a:moveTo>
                    <a:pt x="265961" y="3989491"/>
                  </a:moveTo>
                  <a:lnTo>
                    <a:pt x="295547" y="3989491"/>
                  </a:lnTo>
                  <a:lnTo>
                    <a:pt x="295547" y="4019077"/>
                  </a:lnTo>
                  <a:lnTo>
                    <a:pt x="265961" y="4019077"/>
                  </a:lnTo>
                  <a:close/>
                  <a:moveTo>
                    <a:pt x="0" y="3989491"/>
                  </a:moveTo>
                  <a:lnTo>
                    <a:pt x="29585" y="3989491"/>
                  </a:lnTo>
                  <a:lnTo>
                    <a:pt x="29585" y="4019077"/>
                  </a:lnTo>
                  <a:lnTo>
                    <a:pt x="0" y="4019077"/>
                  </a:lnTo>
                  <a:close/>
                  <a:moveTo>
                    <a:pt x="531921" y="3723530"/>
                  </a:moveTo>
                  <a:lnTo>
                    <a:pt x="561506" y="3723530"/>
                  </a:lnTo>
                  <a:lnTo>
                    <a:pt x="561506" y="3753115"/>
                  </a:lnTo>
                  <a:lnTo>
                    <a:pt x="531921" y="3753115"/>
                  </a:lnTo>
                  <a:close/>
                  <a:moveTo>
                    <a:pt x="265961" y="3723530"/>
                  </a:moveTo>
                  <a:lnTo>
                    <a:pt x="295547" y="3723530"/>
                  </a:lnTo>
                  <a:lnTo>
                    <a:pt x="295547" y="3753115"/>
                  </a:lnTo>
                  <a:lnTo>
                    <a:pt x="265961" y="3753115"/>
                  </a:lnTo>
                  <a:close/>
                  <a:moveTo>
                    <a:pt x="0" y="3723530"/>
                  </a:moveTo>
                  <a:lnTo>
                    <a:pt x="29585" y="3723530"/>
                  </a:lnTo>
                  <a:lnTo>
                    <a:pt x="29585" y="3753115"/>
                  </a:lnTo>
                  <a:lnTo>
                    <a:pt x="0" y="3753115"/>
                  </a:lnTo>
                  <a:close/>
                  <a:moveTo>
                    <a:pt x="531921" y="3457570"/>
                  </a:moveTo>
                  <a:lnTo>
                    <a:pt x="561506" y="3457570"/>
                  </a:lnTo>
                  <a:lnTo>
                    <a:pt x="561506" y="3487156"/>
                  </a:lnTo>
                  <a:lnTo>
                    <a:pt x="531921" y="3487156"/>
                  </a:lnTo>
                  <a:close/>
                  <a:moveTo>
                    <a:pt x="265961" y="3457570"/>
                  </a:moveTo>
                  <a:lnTo>
                    <a:pt x="295547" y="3457570"/>
                  </a:lnTo>
                  <a:lnTo>
                    <a:pt x="295547" y="3487156"/>
                  </a:lnTo>
                  <a:lnTo>
                    <a:pt x="265961" y="3487156"/>
                  </a:lnTo>
                  <a:close/>
                  <a:moveTo>
                    <a:pt x="0" y="3457570"/>
                  </a:moveTo>
                  <a:lnTo>
                    <a:pt x="29585" y="3457570"/>
                  </a:lnTo>
                  <a:lnTo>
                    <a:pt x="29585" y="3487156"/>
                  </a:lnTo>
                  <a:lnTo>
                    <a:pt x="0" y="3487156"/>
                  </a:lnTo>
                  <a:close/>
                  <a:moveTo>
                    <a:pt x="531921" y="3191618"/>
                  </a:moveTo>
                  <a:lnTo>
                    <a:pt x="561506" y="3191618"/>
                  </a:lnTo>
                  <a:lnTo>
                    <a:pt x="561506" y="3221195"/>
                  </a:lnTo>
                  <a:lnTo>
                    <a:pt x="531921" y="3221195"/>
                  </a:lnTo>
                  <a:close/>
                  <a:moveTo>
                    <a:pt x="265961" y="3191618"/>
                  </a:moveTo>
                  <a:lnTo>
                    <a:pt x="295547" y="3191618"/>
                  </a:lnTo>
                  <a:lnTo>
                    <a:pt x="295547" y="3221195"/>
                  </a:lnTo>
                  <a:lnTo>
                    <a:pt x="265961" y="3221195"/>
                  </a:lnTo>
                  <a:close/>
                  <a:moveTo>
                    <a:pt x="0" y="3191617"/>
                  </a:moveTo>
                  <a:lnTo>
                    <a:pt x="29585" y="3191617"/>
                  </a:lnTo>
                  <a:lnTo>
                    <a:pt x="29585" y="3221195"/>
                  </a:lnTo>
                  <a:lnTo>
                    <a:pt x="0" y="3221195"/>
                  </a:lnTo>
                  <a:close/>
                  <a:moveTo>
                    <a:pt x="531921" y="2925660"/>
                  </a:moveTo>
                  <a:lnTo>
                    <a:pt x="561506" y="2925660"/>
                  </a:lnTo>
                  <a:lnTo>
                    <a:pt x="561506" y="2955246"/>
                  </a:lnTo>
                  <a:lnTo>
                    <a:pt x="531921" y="2955246"/>
                  </a:lnTo>
                  <a:close/>
                  <a:moveTo>
                    <a:pt x="265961" y="2925659"/>
                  </a:moveTo>
                  <a:lnTo>
                    <a:pt x="295547" y="2925659"/>
                  </a:lnTo>
                  <a:lnTo>
                    <a:pt x="295547" y="2955245"/>
                  </a:lnTo>
                  <a:lnTo>
                    <a:pt x="265961" y="2955245"/>
                  </a:lnTo>
                  <a:close/>
                  <a:moveTo>
                    <a:pt x="0" y="2925658"/>
                  </a:moveTo>
                  <a:lnTo>
                    <a:pt x="29585" y="2925658"/>
                  </a:lnTo>
                  <a:lnTo>
                    <a:pt x="29585" y="2955244"/>
                  </a:lnTo>
                  <a:lnTo>
                    <a:pt x="0" y="2955244"/>
                  </a:lnTo>
                  <a:close/>
                  <a:moveTo>
                    <a:pt x="531921" y="2659620"/>
                  </a:moveTo>
                  <a:lnTo>
                    <a:pt x="561506" y="2659620"/>
                  </a:lnTo>
                  <a:lnTo>
                    <a:pt x="561506" y="2689204"/>
                  </a:lnTo>
                  <a:lnTo>
                    <a:pt x="531921" y="2689204"/>
                  </a:lnTo>
                  <a:close/>
                  <a:moveTo>
                    <a:pt x="265961" y="2659616"/>
                  </a:moveTo>
                  <a:lnTo>
                    <a:pt x="295547" y="2659616"/>
                  </a:lnTo>
                  <a:lnTo>
                    <a:pt x="295547" y="2689201"/>
                  </a:lnTo>
                  <a:lnTo>
                    <a:pt x="265961" y="2689201"/>
                  </a:lnTo>
                  <a:close/>
                  <a:moveTo>
                    <a:pt x="0" y="2659613"/>
                  </a:moveTo>
                  <a:lnTo>
                    <a:pt x="29585" y="2659613"/>
                  </a:lnTo>
                  <a:lnTo>
                    <a:pt x="29585" y="2689198"/>
                  </a:lnTo>
                  <a:lnTo>
                    <a:pt x="0" y="2689198"/>
                  </a:lnTo>
                  <a:close/>
                  <a:moveTo>
                    <a:pt x="531921" y="2393661"/>
                  </a:moveTo>
                  <a:lnTo>
                    <a:pt x="561506" y="2393661"/>
                  </a:lnTo>
                  <a:lnTo>
                    <a:pt x="561506" y="2423260"/>
                  </a:lnTo>
                  <a:lnTo>
                    <a:pt x="531921" y="2423260"/>
                  </a:lnTo>
                  <a:close/>
                  <a:moveTo>
                    <a:pt x="265961" y="2393658"/>
                  </a:moveTo>
                  <a:lnTo>
                    <a:pt x="295547" y="2393658"/>
                  </a:lnTo>
                  <a:lnTo>
                    <a:pt x="295547" y="2423257"/>
                  </a:lnTo>
                  <a:lnTo>
                    <a:pt x="265961" y="2423257"/>
                  </a:lnTo>
                  <a:close/>
                  <a:moveTo>
                    <a:pt x="0" y="2393655"/>
                  </a:moveTo>
                  <a:lnTo>
                    <a:pt x="29585" y="2393655"/>
                  </a:lnTo>
                  <a:lnTo>
                    <a:pt x="29585" y="2423251"/>
                  </a:lnTo>
                  <a:lnTo>
                    <a:pt x="0" y="2423251"/>
                  </a:lnTo>
                  <a:close/>
                  <a:moveTo>
                    <a:pt x="531921" y="2127694"/>
                  </a:moveTo>
                  <a:lnTo>
                    <a:pt x="561506" y="2127694"/>
                  </a:lnTo>
                  <a:lnTo>
                    <a:pt x="561506" y="2157283"/>
                  </a:lnTo>
                  <a:lnTo>
                    <a:pt x="531921" y="2157283"/>
                  </a:lnTo>
                  <a:close/>
                  <a:moveTo>
                    <a:pt x="265961" y="2127693"/>
                  </a:moveTo>
                  <a:lnTo>
                    <a:pt x="295547" y="2127693"/>
                  </a:lnTo>
                  <a:lnTo>
                    <a:pt x="295547" y="2157282"/>
                  </a:lnTo>
                  <a:lnTo>
                    <a:pt x="265961" y="2157282"/>
                  </a:lnTo>
                  <a:close/>
                  <a:moveTo>
                    <a:pt x="0" y="2127689"/>
                  </a:moveTo>
                  <a:lnTo>
                    <a:pt x="29585" y="2127689"/>
                  </a:lnTo>
                  <a:lnTo>
                    <a:pt x="29585" y="2157278"/>
                  </a:lnTo>
                  <a:lnTo>
                    <a:pt x="0" y="2157278"/>
                  </a:lnTo>
                  <a:close/>
                  <a:moveTo>
                    <a:pt x="531921" y="1861731"/>
                  </a:moveTo>
                  <a:lnTo>
                    <a:pt x="561506" y="1861731"/>
                  </a:lnTo>
                  <a:lnTo>
                    <a:pt x="561506" y="1891308"/>
                  </a:lnTo>
                  <a:lnTo>
                    <a:pt x="531921" y="1891308"/>
                  </a:lnTo>
                  <a:close/>
                  <a:moveTo>
                    <a:pt x="265961" y="1861728"/>
                  </a:moveTo>
                  <a:lnTo>
                    <a:pt x="295547" y="1861728"/>
                  </a:lnTo>
                  <a:lnTo>
                    <a:pt x="295547" y="1891306"/>
                  </a:lnTo>
                  <a:lnTo>
                    <a:pt x="265961" y="1891306"/>
                  </a:lnTo>
                  <a:close/>
                  <a:moveTo>
                    <a:pt x="0" y="1861726"/>
                  </a:moveTo>
                  <a:lnTo>
                    <a:pt x="29585" y="1861726"/>
                  </a:lnTo>
                  <a:lnTo>
                    <a:pt x="29585" y="1891304"/>
                  </a:lnTo>
                  <a:lnTo>
                    <a:pt x="0" y="1891304"/>
                  </a:lnTo>
                  <a:close/>
                  <a:moveTo>
                    <a:pt x="531921" y="1595769"/>
                  </a:moveTo>
                  <a:lnTo>
                    <a:pt x="561506" y="1595769"/>
                  </a:lnTo>
                  <a:lnTo>
                    <a:pt x="561506" y="1625355"/>
                  </a:lnTo>
                  <a:lnTo>
                    <a:pt x="531921" y="1625355"/>
                  </a:lnTo>
                  <a:close/>
                  <a:moveTo>
                    <a:pt x="265961" y="1595766"/>
                  </a:moveTo>
                  <a:lnTo>
                    <a:pt x="295547" y="1595766"/>
                  </a:lnTo>
                  <a:lnTo>
                    <a:pt x="295547" y="1625352"/>
                  </a:lnTo>
                  <a:lnTo>
                    <a:pt x="265961" y="1625352"/>
                  </a:lnTo>
                  <a:close/>
                  <a:moveTo>
                    <a:pt x="0" y="1595764"/>
                  </a:moveTo>
                  <a:lnTo>
                    <a:pt x="29585" y="1595764"/>
                  </a:lnTo>
                  <a:lnTo>
                    <a:pt x="29585" y="1625350"/>
                  </a:lnTo>
                  <a:lnTo>
                    <a:pt x="0" y="1625350"/>
                  </a:lnTo>
                  <a:close/>
                  <a:moveTo>
                    <a:pt x="531921" y="1329811"/>
                  </a:moveTo>
                  <a:lnTo>
                    <a:pt x="561506" y="1329811"/>
                  </a:lnTo>
                  <a:lnTo>
                    <a:pt x="561506" y="1359396"/>
                  </a:lnTo>
                  <a:lnTo>
                    <a:pt x="531921" y="1359396"/>
                  </a:lnTo>
                  <a:close/>
                  <a:moveTo>
                    <a:pt x="265961" y="1329809"/>
                  </a:moveTo>
                  <a:lnTo>
                    <a:pt x="295547" y="1329809"/>
                  </a:lnTo>
                  <a:lnTo>
                    <a:pt x="295547" y="1359393"/>
                  </a:lnTo>
                  <a:lnTo>
                    <a:pt x="265961" y="1359393"/>
                  </a:lnTo>
                  <a:close/>
                  <a:moveTo>
                    <a:pt x="0" y="1329806"/>
                  </a:moveTo>
                  <a:lnTo>
                    <a:pt x="29585" y="1329806"/>
                  </a:lnTo>
                  <a:lnTo>
                    <a:pt x="29585" y="1359391"/>
                  </a:lnTo>
                  <a:lnTo>
                    <a:pt x="0" y="1359391"/>
                  </a:lnTo>
                  <a:close/>
                  <a:moveTo>
                    <a:pt x="531921" y="1063855"/>
                  </a:moveTo>
                  <a:lnTo>
                    <a:pt x="561506" y="1063855"/>
                  </a:lnTo>
                  <a:lnTo>
                    <a:pt x="561506" y="1093441"/>
                  </a:lnTo>
                  <a:lnTo>
                    <a:pt x="531921" y="1093441"/>
                  </a:lnTo>
                  <a:close/>
                  <a:moveTo>
                    <a:pt x="265961" y="1063852"/>
                  </a:moveTo>
                  <a:lnTo>
                    <a:pt x="295547" y="1063852"/>
                  </a:lnTo>
                  <a:lnTo>
                    <a:pt x="295547" y="1093438"/>
                  </a:lnTo>
                  <a:lnTo>
                    <a:pt x="265961" y="1093438"/>
                  </a:lnTo>
                  <a:close/>
                  <a:moveTo>
                    <a:pt x="0" y="1063849"/>
                  </a:moveTo>
                  <a:lnTo>
                    <a:pt x="29585" y="1063849"/>
                  </a:lnTo>
                  <a:lnTo>
                    <a:pt x="29585" y="1093435"/>
                  </a:lnTo>
                  <a:lnTo>
                    <a:pt x="0" y="1093435"/>
                  </a:lnTo>
                  <a:close/>
                  <a:moveTo>
                    <a:pt x="531921" y="797884"/>
                  </a:moveTo>
                  <a:lnTo>
                    <a:pt x="561506" y="797884"/>
                  </a:lnTo>
                  <a:lnTo>
                    <a:pt x="561506" y="827470"/>
                  </a:lnTo>
                  <a:lnTo>
                    <a:pt x="531921" y="827470"/>
                  </a:lnTo>
                  <a:close/>
                  <a:moveTo>
                    <a:pt x="265961" y="797882"/>
                  </a:moveTo>
                  <a:lnTo>
                    <a:pt x="295547" y="797882"/>
                  </a:lnTo>
                  <a:lnTo>
                    <a:pt x="295547" y="827468"/>
                  </a:lnTo>
                  <a:lnTo>
                    <a:pt x="265961" y="827468"/>
                  </a:lnTo>
                  <a:close/>
                  <a:moveTo>
                    <a:pt x="0" y="797879"/>
                  </a:moveTo>
                  <a:lnTo>
                    <a:pt x="29585" y="797879"/>
                  </a:lnTo>
                  <a:lnTo>
                    <a:pt x="29585" y="827465"/>
                  </a:lnTo>
                  <a:lnTo>
                    <a:pt x="0" y="827465"/>
                  </a:lnTo>
                  <a:close/>
                  <a:moveTo>
                    <a:pt x="531921" y="531924"/>
                  </a:moveTo>
                  <a:lnTo>
                    <a:pt x="561506" y="531924"/>
                  </a:lnTo>
                  <a:lnTo>
                    <a:pt x="561506" y="561509"/>
                  </a:lnTo>
                  <a:lnTo>
                    <a:pt x="531921" y="561509"/>
                  </a:lnTo>
                  <a:close/>
                  <a:moveTo>
                    <a:pt x="265961" y="531922"/>
                  </a:moveTo>
                  <a:lnTo>
                    <a:pt x="295547" y="531922"/>
                  </a:lnTo>
                  <a:lnTo>
                    <a:pt x="295547" y="561507"/>
                  </a:lnTo>
                  <a:lnTo>
                    <a:pt x="265961" y="561507"/>
                  </a:lnTo>
                  <a:close/>
                  <a:moveTo>
                    <a:pt x="0" y="531920"/>
                  </a:moveTo>
                  <a:lnTo>
                    <a:pt x="29585" y="531920"/>
                  </a:lnTo>
                  <a:lnTo>
                    <a:pt x="29585" y="561505"/>
                  </a:lnTo>
                  <a:lnTo>
                    <a:pt x="0" y="561505"/>
                  </a:lnTo>
                  <a:close/>
                  <a:moveTo>
                    <a:pt x="531921" y="265964"/>
                  </a:moveTo>
                  <a:lnTo>
                    <a:pt x="561506" y="265964"/>
                  </a:lnTo>
                  <a:lnTo>
                    <a:pt x="561506" y="295550"/>
                  </a:lnTo>
                  <a:lnTo>
                    <a:pt x="531921" y="295550"/>
                  </a:lnTo>
                  <a:close/>
                  <a:moveTo>
                    <a:pt x="265961" y="265962"/>
                  </a:moveTo>
                  <a:lnTo>
                    <a:pt x="295547" y="265962"/>
                  </a:lnTo>
                  <a:lnTo>
                    <a:pt x="295547" y="295548"/>
                  </a:lnTo>
                  <a:lnTo>
                    <a:pt x="265961" y="295548"/>
                  </a:lnTo>
                  <a:close/>
                  <a:moveTo>
                    <a:pt x="0" y="265960"/>
                  </a:moveTo>
                  <a:lnTo>
                    <a:pt x="29585" y="265960"/>
                  </a:lnTo>
                  <a:lnTo>
                    <a:pt x="29585" y="295546"/>
                  </a:lnTo>
                  <a:lnTo>
                    <a:pt x="0" y="295546"/>
                  </a:lnTo>
                  <a:close/>
                  <a:moveTo>
                    <a:pt x="531921" y="5"/>
                  </a:moveTo>
                  <a:lnTo>
                    <a:pt x="561506" y="5"/>
                  </a:lnTo>
                  <a:lnTo>
                    <a:pt x="561506" y="29591"/>
                  </a:lnTo>
                  <a:lnTo>
                    <a:pt x="531921" y="29591"/>
                  </a:lnTo>
                  <a:close/>
                  <a:moveTo>
                    <a:pt x="265961" y="3"/>
                  </a:moveTo>
                  <a:lnTo>
                    <a:pt x="295547" y="3"/>
                  </a:lnTo>
                  <a:lnTo>
                    <a:pt x="295547" y="29589"/>
                  </a:lnTo>
                  <a:lnTo>
                    <a:pt x="265961" y="29589"/>
                  </a:lnTo>
                  <a:close/>
                  <a:moveTo>
                    <a:pt x="0" y="0"/>
                  </a:moveTo>
                  <a:lnTo>
                    <a:pt x="29585" y="0"/>
                  </a:lnTo>
                  <a:lnTo>
                    <a:pt x="29585" y="29586"/>
                  </a:lnTo>
                  <a:lnTo>
                    <a:pt x="0" y="29586"/>
                  </a:ln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 w="10294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7CFD8AF6-821F-4BC5-83A1-982FB5B8454C}"/>
                </a:ext>
              </a:extLst>
            </p:cNvPr>
            <p:cNvSpPr/>
            <p:nvPr/>
          </p:nvSpPr>
          <p:spPr>
            <a:xfrm>
              <a:off x="194054" y="6093735"/>
              <a:ext cx="561506" cy="561509"/>
            </a:xfrm>
            <a:custGeom>
              <a:avLst/>
              <a:gdLst>
                <a:gd name="connsiteX0" fmla="*/ 531921 w 561506"/>
                <a:gd name="connsiteY0" fmla="*/ 531924 h 561509"/>
                <a:gd name="connsiteX1" fmla="*/ 561506 w 561506"/>
                <a:gd name="connsiteY1" fmla="*/ 531924 h 561509"/>
                <a:gd name="connsiteX2" fmla="*/ 561506 w 561506"/>
                <a:gd name="connsiteY2" fmla="*/ 561509 h 561509"/>
                <a:gd name="connsiteX3" fmla="*/ 531921 w 561506"/>
                <a:gd name="connsiteY3" fmla="*/ 561509 h 561509"/>
                <a:gd name="connsiteX4" fmla="*/ 265961 w 561506"/>
                <a:gd name="connsiteY4" fmla="*/ 531922 h 561509"/>
                <a:gd name="connsiteX5" fmla="*/ 295547 w 561506"/>
                <a:gd name="connsiteY5" fmla="*/ 531922 h 561509"/>
                <a:gd name="connsiteX6" fmla="*/ 295547 w 561506"/>
                <a:gd name="connsiteY6" fmla="*/ 561507 h 561509"/>
                <a:gd name="connsiteX7" fmla="*/ 265961 w 561506"/>
                <a:gd name="connsiteY7" fmla="*/ 561507 h 561509"/>
                <a:gd name="connsiteX8" fmla="*/ 0 w 561506"/>
                <a:gd name="connsiteY8" fmla="*/ 531920 h 561509"/>
                <a:gd name="connsiteX9" fmla="*/ 29585 w 561506"/>
                <a:gd name="connsiteY9" fmla="*/ 531920 h 561509"/>
                <a:gd name="connsiteX10" fmla="*/ 29585 w 561506"/>
                <a:gd name="connsiteY10" fmla="*/ 561505 h 561509"/>
                <a:gd name="connsiteX11" fmla="*/ 0 w 561506"/>
                <a:gd name="connsiteY11" fmla="*/ 561505 h 561509"/>
                <a:gd name="connsiteX12" fmla="*/ 531921 w 561506"/>
                <a:gd name="connsiteY12" fmla="*/ 265964 h 561509"/>
                <a:gd name="connsiteX13" fmla="*/ 561506 w 561506"/>
                <a:gd name="connsiteY13" fmla="*/ 265964 h 561509"/>
                <a:gd name="connsiteX14" fmla="*/ 561506 w 561506"/>
                <a:gd name="connsiteY14" fmla="*/ 295550 h 561509"/>
                <a:gd name="connsiteX15" fmla="*/ 531921 w 561506"/>
                <a:gd name="connsiteY15" fmla="*/ 295550 h 561509"/>
                <a:gd name="connsiteX16" fmla="*/ 265961 w 561506"/>
                <a:gd name="connsiteY16" fmla="*/ 265962 h 561509"/>
                <a:gd name="connsiteX17" fmla="*/ 295547 w 561506"/>
                <a:gd name="connsiteY17" fmla="*/ 265962 h 561509"/>
                <a:gd name="connsiteX18" fmla="*/ 295547 w 561506"/>
                <a:gd name="connsiteY18" fmla="*/ 295548 h 561509"/>
                <a:gd name="connsiteX19" fmla="*/ 265961 w 561506"/>
                <a:gd name="connsiteY19" fmla="*/ 295548 h 561509"/>
                <a:gd name="connsiteX20" fmla="*/ 0 w 561506"/>
                <a:gd name="connsiteY20" fmla="*/ 265960 h 561509"/>
                <a:gd name="connsiteX21" fmla="*/ 29585 w 561506"/>
                <a:gd name="connsiteY21" fmla="*/ 265960 h 561509"/>
                <a:gd name="connsiteX22" fmla="*/ 29585 w 561506"/>
                <a:gd name="connsiteY22" fmla="*/ 295546 h 561509"/>
                <a:gd name="connsiteX23" fmla="*/ 0 w 561506"/>
                <a:gd name="connsiteY23" fmla="*/ 295546 h 561509"/>
                <a:gd name="connsiteX24" fmla="*/ 531921 w 561506"/>
                <a:gd name="connsiteY24" fmla="*/ 5 h 561509"/>
                <a:gd name="connsiteX25" fmla="*/ 561506 w 561506"/>
                <a:gd name="connsiteY25" fmla="*/ 5 h 561509"/>
                <a:gd name="connsiteX26" fmla="*/ 561506 w 561506"/>
                <a:gd name="connsiteY26" fmla="*/ 29591 h 561509"/>
                <a:gd name="connsiteX27" fmla="*/ 531921 w 561506"/>
                <a:gd name="connsiteY27" fmla="*/ 29591 h 561509"/>
                <a:gd name="connsiteX28" fmla="*/ 265961 w 561506"/>
                <a:gd name="connsiteY28" fmla="*/ 3 h 561509"/>
                <a:gd name="connsiteX29" fmla="*/ 295547 w 561506"/>
                <a:gd name="connsiteY29" fmla="*/ 3 h 561509"/>
                <a:gd name="connsiteX30" fmla="*/ 295547 w 561506"/>
                <a:gd name="connsiteY30" fmla="*/ 29589 h 561509"/>
                <a:gd name="connsiteX31" fmla="*/ 265961 w 561506"/>
                <a:gd name="connsiteY31" fmla="*/ 29589 h 561509"/>
                <a:gd name="connsiteX32" fmla="*/ 0 w 561506"/>
                <a:gd name="connsiteY32" fmla="*/ 0 h 561509"/>
                <a:gd name="connsiteX33" fmla="*/ 29585 w 561506"/>
                <a:gd name="connsiteY33" fmla="*/ 0 h 561509"/>
                <a:gd name="connsiteX34" fmla="*/ 29585 w 561506"/>
                <a:gd name="connsiteY34" fmla="*/ 29586 h 561509"/>
                <a:gd name="connsiteX35" fmla="*/ 0 w 561506"/>
                <a:gd name="connsiteY35" fmla="*/ 29586 h 561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561506" h="561509">
                  <a:moveTo>
                    <a:pt x="531921" y="531924"/>
                  </a:moveTo>
                  <a:lnTo>
                    <a:pt x="561506" y="531924"/>
                  </a:lnTo>
                  <a:lnTo>
                    <a:pt x="561506" y="561509"/>
                  </a:lnTo>
                  <a:lnTo>
                    <a:pt x="531921" y="561509"/>
                  </a:lnTo>
                  <a:close/>
                  <a:moveTo>
                    <a:pt x="265961" y="531922"/>
                  </a:moveTo>
                  <a:lnTo>
                    <a:pt x="295547" y="531922"/>
                  </a:lnTo>
                  <a:lnTo>
                    <a:pt x="295547" y="561507"/>
                  </a:lnTo>
                  <a:lnTo>
                    <a:pt x="265961" y="561507"/>
                  </a:lnTo>
                  <a:close/>
                  <a:moveTo>
                    <a:pt x="0" y="531920"/>
                  </a:moveTo>
                  <a:lnTo>
                    <a:pt x="29585" y="531920"/>
                  </a:lnTo>
                  <a:lnTo>
                    <a:pt x="29585" y="561505"/>
                  </a:lnTo>
                  <a:lnTo>
                    <a:pt x="0" y="561505"/>
                  </a:lnTo>
                  <a:close/>
                  <a:moveTo>
                    <a:pt x="531921" y="265964"/>
                  </a:moveTo>
                  <a:lnTo>
                    <a:pt x="561506" y="265964"/>
                  </a:lnTo>
                  <a:lnTo>
                    <a:pt x="561506" y="295550"/>
                  </a:lnTo>
                  <a:lnTo>
                    <a:pt x="531921" y="295550"/>
                  </a:lnTo>
                  <a:close/>
                  <a:moveTo>
                    <a:pt x="265961" y="265962"/>
                  </a:moveTo>
                  <a:lnTo>
                    <a:pt x="295547" y="265962"/>
                  </a:lnTo>
                  <a:lnTo>
                    <a:pt x="295547" y="295548"/>
                  </a:lnTo>
                  <a:lnTo>
                    <a:pt x="265961" y="295548"/>
                  </a:lnTo>
                  <a:close/>
                  <a:moveTo>
                    <a:pt x="0" y="265960"/>
                  </a:moveTo>
                  <a:lnTo>
                    <a:pt x="29585" y="265960"/>
                  </a:lnTo>
                  <a:lnTo>
                    <a:pt x="29585" y="295546"/>
                  </a:lnTo>
                  <a:lnTo>
                    <a:pt x="0" y="295546"/>
                  </a:lnTo>
                  <a:close/>
                  <a:moveTo>
                    <a:pt x="531921" y="5"/>
                  </a:moveTo>
                  <a:lnTo>
                    <a:pt x="561506" y="5"/>
                  </a:lnTo>
                  <a:lnTo>
                    <a:pt x="561506" y="29591"/>
                  </a:lnTo>
                  <a:lnTo>
                    <a:pt x="531921" y="29591"/>
                  </a:lnTo>
                  <a:close/>
                  <a:moveTo>
                    <a:pt x="265961" y="3"/>
                  </a:moveTo>
                  <a:lnTo>
                    <a:pt x="295547" y="3"/>
                  </a:lnTo>
                  <a:lnTo>
                    <a:pt x="295547" y="29589"/>
                  </a:lnTo>
                  <a:lnTo>
                    <a:pt x="265961" y="29589"/>
                  </a:lnTo>
                  <a:close/>
                  <a:moveTo>
                    <a:pt x="0" y="0"/>
                  </a:moveTo>
                  <a:lnTo>
                    <a:pt x="29585" y="0"/>
                  </a:lnTo>
                  <a:lnTo>
                    <a:pt x="29585" y="29586"/>
                  </a:lnTo>
                  <a:lnTo>
                    <a:pt x="0" y="29586"/>
                  </a:lnTo>
                  <a:close/>
                </a:path>
              </a:pathLst>
            </a:custGeom>
            <a:solidFill>
              <a:srgbClr val="DEDEDE"/>
            </a:solidFill>
            <a:ln w="10294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</p:grp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5C3020A-1C1A-F3DE-6748-C7A7CCA971B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60463" y="1322388"/>
            <a:ext cx="10647361" cy="48545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081EA320-FE96-FC5F-6DE7-487D3EA20AED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0027238" y="349030"/>
            <a:ext cx="1780586" cy="3273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98232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9" r:id="rId1"/>
    <p:sldLayoutId id="2147484010" r:id="rId2"/>
    <p:sldLayoutId id="2147484011" r:id="rId3"/>
    <p:sldLayoutId id="2147484012" r:id="rId4"/>
    <p:sldLayoutId id="2147484013" r:id="rId5"/>
    <p:sldLayoutId id="2147484014" r:id="rId6"/>
    <p:sldLayoutId id="2147484015" r:id="rId7"/>
    <p:sldLayoutId id="2147484016" r:id="rId8"/>
    <p:sldLayoutId id="2147484017" r:id="rId9"/>
    <p:sldLayoutId id="2147484018" r:id="rId10"/>
    <p:sldLayoutId id="2147484019" r:id="rId11"/>
    <p:sldLayoutId id="2147484020" r:id="rId12"/>
    <p:sldLayoutId id="2147484021" r:id="rId13"/>
  </p:sldLayoutIdLst>
  <p:hf sldNum="0" hdr="0" dt="0"/>
  <p:txStyles>
    <p:titleStyle>
      <a:lvl1pPr algn="l" defTabSz="457200" rtl="0" eaLnBrk="1" latinLnBrk="0" hangingPunct="1">
        <a:lnSpc>
          <a:spcPct val="85000"/>
        </a:lnSpc>
        <a:spcBef>
          <a:spcPct val="0"/>
        </a:spcBef>
        <a:buNone/>
        <a:tabLst>
          <a:tab pos="2227263" algn="l"/>
        </a:tabLst>
        <a:defRPr sz="2800" b="1" i="0" kern="1200" spc="-50" baseline="0">
          <a:solidFill>
            <a:schemeClr val="tx1"/>
          </a:solidFill>
          <a:latin typeface="Arial" panose="020B0604020202020204" pitchFamily="34" charset="0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spcBef>
          <a:spcPts val="1000"/>
        </a:spcBef>
        <a:buFont typeface="Arial"/>
        <a:buNone/>
        <a:defRPr sz="2000" kern="1200">
          <a:solidFill>
            <a:schemeClr val="tx1"/>
          </a:solidFill>
          <a:latin typeface="Arial"/>
          <a:ea typeface="+mn-ea"/>
          <a:cs typeface="Arial"/>
        </a:defRPr>
      </a:lvl1pPr>
      <a:lvl2pPr marL="174625" indent="-174625" algn="l" defTabSz="457200" rtl="0" eaLnBrk="1" latinLnBrk="0" hangingPunct="1">
        <a:spcBef>
          <a:spcPts val="500"/>
        </a:spcBef>
        <a:buClr>
          <a:schemeClr val="tx1"/>
        </a:buClr>
        <a:buFont typeface="Arial"/>
        <a:buChar char="•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339725" indent="-165100" algn="l" defTabSz="457200" rtl="0" eaLnBrk="1" latinLnBrk="0" hangingPunct="1">
        <a:spcBef>
          <a:spcPts val="300"/>
        </a:spcBef>
        <a:buClr>
          <a:schemeClr val="tx1"/>
        </a:buClr>
        <a:buFont typeface="Lucida Grande"/>
        <a:buChar char="-"/>
        <a:defRPr sz="2000" kern="1200">
          <a:solidFill>
            <a:schemeClr val="tx1"/>
          </a:solidFill>
          <a:latin typeface="Arial"/>
          <a:ea typeface="+mn-ea"/>
          <a:cs typeface="Arial"/>
        </a:defRPr>
      </a:lvl3pPr>
      <a:lvl4pPr marL="512763" indent="-173038" algn="l" defTabSz="457200" rtl="0" eaLnBrk="1" latinLnBrk="0" hangingPunct="1">
        <a:spcBef>
          <a:spcPts val="200"/>
        </a:spcBef>
        <a:buClr>
          <a:schemeClr val="tx1"/>
        </a:buClr>
        <a:buFont typeface="Arial"/>
        <a:buChar char="•"/>
        <a:defRPr sz="2000" kern="1200">
          <a:solidFill>
            <a:schemeClr val="tx1"/>
          </a:solidFill>
          <a:latin typeface="Arial"/>
          <a:ea typeface="+mn-ea"/>
          <a:cs typeface="Arial"/>
        </a:defRPr>
      </a:lvl4pPr>
      <a:lvl5pPr marL="687388" indent="-174625" algn="l" defTabSz="457200" rtl="0" eaLnBrk="1" latinLnBrk="0" hangingPunct="1">
        <a:spcBef>
          <a:spcPts val="100"/>
        </a:spcBef>
        <a:buClr>
          <a:schemeClr val="tx1"/>
        </a:buClr>
        <a:buFont typeface="Lucida Grande"/>
        <a:buChar char="-"/>
        <a:defRPr sz="20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88">
          <p15:clr>
            <a:srgbClr val="F26B43"/>
          </p15:clr>
        </p15:guide>
        <p15:guide id="3" pos="7439">
          <p15:clr>
            <a:srgbClr val="F26B43"/>
          </p15:clr>
        </p15:guide>
        <p15:guide id="6" pos="734">
          <p15:clr>
            <a:srgbClr val="F26B43"/>
          </p15:clr>
        </p15:guide>
        <p15:guide id="7" orient="horz" pos="660">
          <p15:clr>
            <a:srgbClr val="F26B43"/>
          </p15:clr>
        </p15:guide>
        <p15:guide id="8" orient="horz" pos="833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B227E12-1603-43AE-9C22-0B4A014EAA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118914097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B227E12-1603-43AE-9C22-0B4A014EAA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5024947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5" r:id="rId1"/>
    <p:sldLayoutId id="2147484046" r:id="rId2"/>
    <p:sldLayoutId id="2147484047" r:id="rId3"/>
    <p:sldLayoutId id="2147484048" r:id="rId4"/>
    <p:sldLayoutId id="2147484049" r:id="rId5"/>
  </p:sldLayoutIdLst>
  <p:hf sldNum="0" hdr="0" dt="0"/>
  <p:txStyles>
    <p:titleStyle>
      <a:lvl1pPr algn="l" defTabSz="457063" rtl="0" eaLnBrk="1" latinLnBrk="0" hangingPunct="1">
        <a:lnSpc>
          <a:spcPct val="85000"/>
        </a:lnSpc>
        <a:spcBef>
          <a:spcPct val="0"/>
        </a:spcBef>
        <a:buNone/>
        <a:tabLst>
          <a:tab pos="2226595" algn="l"/>
        </a:tabLst>
        <a:defRPr sz="2399" b="1" i="0" kern="1200" spc="-50" baseline="0">
          <a:solidFill>
            <a:schemeClr val="tx1"/>
          </a:solidFill>
          <a:latin typeface="Arial" panose="020B0604020202020204" pitchFamily="34" charset="0"/>
          <a:ea typeface="+mj-ea"/>
          <a:cs typeface="Arial"/>
        </a:defRPr>
      </a:lvl1pPr>
    </p:titleStyle>
    <p:bodyStyle>
      <a:lvl1pPr marL="0" indent="0" algn="l" defTabSz="457063" rtl="0" eaLnBrk="1" latinLnBrk="0" hangingPunct="1">
        <a:spcBef>
          <a:spcPts val="1000"/>
        </a:spcBef>
        <a:buFont typeface="Arial"/>
        <a:buNone/>
        <a:defRPr sz="1999" kern="1200">
          <a:solidFill>
            <a:schemeClr val="tx1"/>
          </a:solidFill>
          <a:latin typeface="Arial"/>
          <a:ea typeface="+mn-ea"/>
          <a:cs typeface="Arial"/>
        </a:defRPr>
      </a:lvl1pPr>
      <a:lvl2pPr marL="174573" indent="-174573" algn="l" defTabSz="457063" rtl="0" eaLnBrk="1" latinLnBrk="0" hangingPunct="1">
        <a:spcBef>
          <a:spcPts val="500"/>
        </a:spcBef>
        <a:buClr>
          <a:schemeClr val="accent1"/>
        </a:buClr>
        <a:buFont typeface="Arial"/>
        <a:buChar char="•"/>
        <a:defRPr sz="1999" kern="1200">
          <a:solidFill>
            <a:schemeClr val="tx1"/>
          </a:solidFill>
          <a:latin typeface="Arial"/>
          <a:ea typeface="+mn-ea"/>
          <a:cs typeface="Arial"/>
        </a:defRPr>
      </a:lvl2pPr>
      <a:lvl3pPr marL="339623" indent="-165050" algn="l" defTabSz="457063" rtl="0" eaLnBrk="1" latinLnBrk="0" hangingPunct="1">
        <a:spcBef>
          <a:spcPts val="300"/>
        </a:spcBef>
        <a:buClr>
          <a:schemeClr val="accent1"/>
        </a:buClr>
        <a:buFont typeface="Lucida Grande"/>
        <a:buChar char="-"/>
        <a:defRPr sz="1999" kern="1200">
          <a:solidFill>
            <a:schemeClr val="tx1"/>
          </a:solidFill>
          <a:latin typeface="Arial"/>
          <a:ea typeface="+mn-ea"/>
          <a:cs typeface="Arial"/>
        </a:defRPr>
      </a:lvl3pPr>
      <a:lvl4pPr marL="512609" indent="-172986" algn="l" defTabSz="457063" rtl="0" eaLnBrk="1" latinLnBrk="0" hangingPunct="1">
        <a:spcBef>
          <a:spcPts val="200"/>
        </a:spcBef>
        <a:buClr>
          <a:schemeClr val="accent1"/>
        </a:buClr>
        <a:buFont typeface="Arial"/>
        <a:buChar char="•"/>
        <a:defRPr sz="1999" kern="1200">
          <a:solidFill>
            <a:schemeClr val="tx1"/>
          </a:solidFill>
          <a:latin typeface="Arial"/>
          <a:ea typeface="+mn-ea"/>
          <a:cs typeface="Arial"/>
        </a:defRPr>
      </a:lvl4pPr>
      <a:lvl5pPr marL="687182" indent="-174573" algn="l" defTabSz="457063" rtl="0" eaLnBrk="1" latinLnBrk="0" hangingPunct="1">
        <a:spcBef>
          <a:spcPts val="100"/>
        </a:spcBef>
        <a:buClr>
          <a:schemeClr val="accent1"/>
        </a:buClr>
        <a:buFont typeface="Lucida Grande"/>
        <a:buChar char="-"/>
        <a:defRPr sz="1999" kern="1200">
          <a:solidFill>
            <a:schemeClr val="tx1"/>
          </a:solidFill>
          <a:latin typeface="Arial"/>
          <a:ea typeface="+mn-ea"/>
          <a:cs typeface="Arial"/>
        </a:defRPr>
      </a:lvl5pPr>
      <a:lvl6pPr marL="2513846" indent="-228531" algn="l" defTabSz="457063" rtl="0" eaLnBrk="1" latinLnBrk="0" hangingPunct="1">
        <a:spcBef>
          <a:spcPct val="20000"/>
        </a:spcBef>
        <a:buFont typeface="Arial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457063" rtl="0" eaLnBrk="1" latinLnBrk="0" hangingPunct="1">
        <a:spcBef>
          <a:spcPct val="20000"/>
        </a:spcBef>
        <a:buFont typeface="Arial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457063" rtl="0" eaLnBrk="1" latinLnBrk="0" hangingPunct="1">
        <a:spcBef>
          <a:spcPct val="20000"/>
        </a:spcBef>
        <a:buFont typeface="Arial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457063" rtl="0" eaLnBrk="1" latinLnBrk="0" hangingPunct="1">
        <a:spcBef>
          <a:spcPct val="20000"/>
        </a:spcBef>
        <a:buFont typeface="Arial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06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45706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45706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45706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45706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45706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45706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45706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45706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12">
          <p15:clr>
            <a:srgbClr val="F26B43"/>
          </p15:clr>
        </p15:guide>
        <p15:guide id="2" pos="239">
          <p15:clr>
            <a:srgbClr val="F26B43"/>
          </p15:clr>
        </p15:guide>
        <p15:guide id="3" pos="7441">
          <p15:clr>
            <a:srgbClr val="F26B43"/>
          </p15:clr>
        </p15:guide>
        <p15:guide id="4" orient="horz" pos="660">
          <p15:clr>
            <a:srgbClr val="F26B43"/>
          </p15:clr>
        </p15:guide>
        <p15:guide id="5" orient="horz" pos="833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1" y="357721"/>
            <a:ext cx="6608941" cy="69002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001" y="1322024"/>
            <a:ext cx="11426823" cy="48882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3A5BB14-D036-4AC1-9435-9025BF12CBD4}"/>
              </a:ext>
            </a:extLst>
          </p:cNvPr>
          <p:cNvSpPr txBox="1"/>
          <p:nvPr userDrawn="1"/>
        </p:nvSpPr>
        <p:spPr>
          <a:xfrm>
            <a:off x="11454739" y="6472935"/>
            <a:ext cx="353085" cy="12242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algn="r" defTabSz="457200" rtl="0" eaLnBrk="1" latinLnBrk="0" hangingPunct="1"/>
            <a:fld id="{CDB435D5-777C-4922-976B-8C95AF7AC8DD}" type="slidenum">
              <a:rPr lang="en-US" sz="700" b="1" i="0" kern="1200" smtClean="0">
                <a:solidFill>
                  <a:schemeClr val="tx1"/>
                </a:solidFill>
                <a:latin typeface="Arial"/>
                <a:ea typeface="+mn-ea"/>
                <a:cs typeface="Arial"/>
              </a:rPr>
              <a:pPr marL="0" algn="r" defTabSz="457200" rtl="0" eaLnBrk="1" latinLnBrk="0" hangingPunct="1"/>
              <a:t>‹#›</a:t>
            </a:fld>
            <a:endParaRPr lang="en-US" sz="700" b="1" i="0" kern="1200" dirty="0" err="1">
              <a:solidFill>
                <a:schemeClr val="tx1"/>
              </a:solidFill>
              <a:latin typeface="Arial"/>
              <a:ea typeface="+mn-ea"/>
              <a:cs typeface="Arial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E111FAC-D0E4-4BBA-92AA-8EB0FD97D243}"/>
              </a:ext>
            </a:extLst>
          </p:cNvPr>
          <p:cNvSpPr/>
          <p:nvPr userDrawn="1"/>
        </p:nvSpPr>
        <p:spPr>
          <a:xfrm>
            <a:off x="-1" y="6812281"/>
            <a:ext cx="12188826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Freeform: Shape 41">
            <a:extLst>
              <a:ext uri="{FF2B5EF4-FFF2-40B4-BE49-F238E27FC236}">
                <a16:creationId xmlns:a16="http://schemas.microsoft.com/office/drawing/2014/main" id="{541202CC-94B5-442C-92E1-B478268C118E}"/>
              </a:ext>
            </a:extLst>
          </p:cNvPr>
          <p:cNvSpPr txBox="1">
            <a:spLocks/>
          </p:cNvSpPr>
          <p:nvPr userDrawn="1"/>
        </p:nvSpPr>
        <p:spPr>
          <a:xfrm rot="16200000">
            <a:off x="9347536" y="515572"/>
            <a:ext cx="520273" cy="520269"/>
          </a:xfrm>
          <a:custGeom>
            <a:avLst/>
            <a:gdLst>
              <a:gd name="connsiteX0" fmla="*/ 265718 w 531436"/>
              <a:gd name="connsiteY0" fmla="*/ 0 h 531432"/>
              <a:gd name="connsiteX1" fmla="*/ 531436 w 531436"/>
              <a:gd name="connsiteY1" fmla="*/ 265716 h 531432"/>
              <a:gd name="connsiteX2" fmla="*/ 265718 w 531436"/>
              <a:gd name="connsiteY2" fmla="*/ 531432 h 531432"/>
              <a:gd name="connsiteX3" fmla="*/ 0 w 531436"/>
              <a:gd name="connsiteY3" fmla="*/ 265716 h 531432"/>
              <a:gd name="connsiteX4" fmla="*/ 265718 w 531436"/>
              <a:gd name="connsiteY4" fmla="*/ 0 h 531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1436" h="531432">
                <a:moveTo>
                  <a:pt x="265718" y="0"/>
                </a:moveTo>
                <a:cubicBezTo>
                  <a:pt x="412470" y="0"/>
                  <a:pt x="531436" y="118965"/>
                  <a:pt x="531436" y="265716"/>
                </a:cubicBezTo>
                <a:cubicBezTo>
                  <a:pt x="531436" y="412467"/>
                  <a:pt x="412470" y="531432"/>
                  <a:pt x="265718" y="531432"/>
                </a:cubicBezTo>
                <a:cubicBezTo>
                  <a:pt x="118966" y="531432"/>
                  <a:pt x="0" y="412467"/>
                  <a:pt x="0" y="265716"/>
                </a:cubicBezTo>
                <a:cubicBezTo>
                  <a:pt x="0" y="118965"/>
                  <a:pt x="118966" y="0"/>
                  <a:pt x="265718" y="0"/>
                </a:cubicBezTo>
                <a:close/>
              </a:path>
            </a:pathLst>
          </a:custGeom>
          <a:solidFill>
            <a:schemeClr val="bg1">
              <a:lumMod val="85000"/>
              <a:alpha val="50000"/>
            </a:schemeClr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14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2EDF6A8-A828-4C8E-8DCC-8294A4F43BB9}"/>
              </a:ext>
            </a:extLst>
          </p:cNvPr>
          <p:cNvSpPr txBox="1">
            <a:spLocks/>
          </p:cNvSpPr>
          <p:nvPr userDrawn="1"/>
        </p:nvSpPr>
        <p:spPr>
          <a:xfrm>
            <a:off x="7040088" y="0"/>
            <a:ext cx="2010727" cy="783591"/>
          </a:xfrm>
          <a:custGeom>
            <a:avLst/>
            <a:gdLst>
              <a:gd name="connsiteX0" fmla="*/ 0 w 2010727"/>
              <a:gd name="connsiteY0" fmla="*/ 0 h 783591"/>
              <a:gd name="connsiteX1" fmla="*/ 554656 w 2010727"/>
              <a:gd name="connsiteY1" fmla="*/ 0 h 783591"/>
              <a:gd name="connsiteX2" fmla="*/ 572969 w 2010727"/>
              <a:gd name="connsiteY2" fmla="*/ 33738 h 783591"/>
              <a:gd name="connsiteX3" fmla="*/ 1005363 w 2010727"/>
              <a:gd name="connsiteY3" fmla="*/ 263640 h 783591"/>
              <a:gd name="connsiteX4" fmla="*/ 1437757 w 2010727"/>
              <a:gd name="connsiteY4" fmla="*/ 33738 h 783591"/>
              <a:gd name="connsiteX5" fmla="*/ 1456070 w 2010727"/>
              <a:gd name="connsiteY5" fmla="*/ 0 h 783591"/>
              <a:gd name="connsiteX6" fmla="*/ 2010727 w 2010727"/>
              <a:gd name="connsiteY6" fmla="*/ 0 h 783591"/>
              <a:gd name="connsiteX7" fmla="*/ 1964925 w 2010727"/>
              <a:gd name="connsiteY7" fmla="*/ 147550 h 783591"/>
              <a:gd name="connsiteX8" fmla="*/ 1005363 w 2010727"/>
              <a:gd name="connsiteY8" fmla="*/ 783591 h 783591"/>
              <a:gd name="connsiteX9" fmla="*/ 45802 w 2010727"/>
              <a:gd name="connsiteY9" fmla="*/ 147550 h 783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010727" h="783591">
                <a:moveTo>
                  <a:pt x="0" y="0"/>
                </a:moveTo>
                <a:lnTo>
                  <a:pt x="554656" y="0"/>
                </a:lnTo>
                <a:lnTo>
                  <a:pt x="572969" y="33738"/>
                </a:lnTo>
                <a:cubicBezTo>
                  <a:pt x="666677" y="172444"/>
                  <a:pt x="825370" y="263640"/>
                  <a:pt x="1005363" y="263640"/>
                </a:cubicBezTo>
                <a:cubicBezTo>
                  <a:pt x="1185356" y="263640"/>
                  <a:pt x="1344049" y="172444"/>
                  <a:pt x="1437757" y="33738"/>
                </a:cubicBezTo>
                <a:lnTo>
                  <a:pt x="1456070" y="0"/>
                </a:lnTo>
                <a:lnTo>
                  <a:pt x="2010727" y="0"/>
                </a:lnTo>
                <a:lnTo>
                  <a:pt x="1964925" y="147550"/>
                </a:lnTo>
                <a:cubicBezTo>
                  <a:pt x="1806831" y="521325"/>
                  <a:pt x="1436725" y="783591"/>
                  <a:pt x="1005363" y="783591"/>
                </a:cubicBezTo>
                <a:cubicBezTo>
                  <a:pt x="574001" y="783591"/>
                  <a:pt x="203895" y="521325"/>
                  <a:pt x="45802" y="147550"/>
                </a:cubicBezTo>
                <a:close/>
              </a:path>
            </a:pathLst>
          </a:custGeom>
          <a:solidFill>
            <a:schemeClr val="bg1">
              <a:lumMod val="85000"/>
              <a:alpha val="50000"/>
            </a:schemeClr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20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  <a:endParaRPr lang="en-US" dirty="0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3A0999A1-9B1F-4556-BFDE-4CD504AEEEE7}"/>
              </a:ext>
            </a:extLst>
          </p:cNvPr>
          <p:cNvGrpSpPr/>
          <p:nvPr userDrawn="1"/>
        </p:nvGrpSpPr>
        <p:grpSpPr>
          <a:xfrm>
            <a:off x="6989946" y="244608"/>
            <a:ext cx="4971452" cy="549346"/>
            <a:chOff x="6989946" y="244608"/>
            <a:chExt cx="4971452" cy="549346"/>
          </a:xfrm>
        </p:grpSpPr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1BFB8933-A4CE-469D-B507-8AA0924EC179}"/>
                </a:ext>
              </a:extLst>
            </p:cNvPr>
            <p:cNvSpPr/>
            <p:nvPr userDrawn="1"/>
          </p:nvSpPr>
          <p:spPr>
            <a:xfrm rot="5400000">
              <a:off x="11021749" y="-145696"/>
              <a:ext cx="549346" cy="1329953"/>
            </a:xfrm>
            <a:custGeom>
              <a:avLst/>
              <a:gdLst>
                <a:gd name="connsiteX0" fmla="*/ 520400 w 549346"/>
                <a:gd name="connsiteY0" fmla="*/ 28951 h 1329953"/>
                <a:gd name="connsiteX1" fmla="*/ 520400 w 549346"/>
                <a:gd name="connsiteY1" fmla="*/ 7 h 1329953"/>
                <a:gd name="connsiteX2" fmla="*/ 549346 w 549346"/>
                <a:gd name="connsiteY2" fmla="*/ 7 h 1329953"/>
                <a:gd name="connsiteX3" fmla="*/ 549346 w 549346"/>
                <a:gd name="connsiteY3" fmla="*/ 28951 h 1329953"/>
                <a:gd name="connsiteX4" fmla="*/ 520400 w 549346"/>
                <a:gd name="connsiteY4" fmla="*/ 289151 h 1329953"/>
                <a:gd name="connsiteX5" fmla="*/ 520400 w 549346"/>
                <a:gd name="connsiteY5" fmla="*/ 260207 h 1329953"/>
                <a:gd name="connsiteX6" fmla="*/ 549346 w 549346"/>
                <a:gd name="connsiteY6" fmla="*/ 260207 h 1329953"/>
                <a:gd name="connsiteX7" fmla="*/ 549346 w 549346"/>
                <a:gd name="connsiteY7" fmla="*/ 289151 h 1329953"/>
                <a:gd name="connsiteX8" fmla="*/ 520400 w 549346"/>
                <a:gd name="connsiteY8" fmla="*/ 549351 h 1329953"/>
                <a:gd name="connsiteX9" fmla="*/ 520400 w 549346"/>
                <a:gd name="connsiteY9" fmla="*/ 520407 h 1329953"/>
                <a:gd name="connsiteX10" fmla="*/ 549346 w 549346"/>
                <a:gd name="connsiteY10" fmla="*/ 520407 h 1329953"/>
                <a:gd name="connsiteX11" fmla="*/ 549346 w 549346"/>
                <a:gd name="connsiteY11" fmla="*/ 549351 h 1329953"/>
                <a:gd name="connsiteX12" fmla="*/ 520400 w 549346"/>
                <a:gd name="connsiteY12" fmla="*/ 809555 h 1329953"/>
                <a:gd name="connsiteX13" fmla="*/ 520400 w 549346"/>
                <a:gd name="connsiteY13" fmla="*/ 780609 h 1329953"/>
                <a:gd name="connsiteX14" fmla="*/ 549346 w 549346"/>
                <a:gd name="connsiteY14" fmla="*/ 780609 h 1329953"/>
                <a:gd name="connsiteX15" fmla="*/ 549346 w 549346"/>
                <a:gd name="connsiteY15" fmla="*/ 809555 h 1329953"/>
                <a:gd name="connsiteX16" fmla="*/ 520400 w 549346"/>
                <a:gd name="connsiteY16" fmla="*/ 1069753 h 1329953"/>
                <a:gd name="connsiteX17" fmla="*/ 520400 w 549346"/>
                <a:gd name="connsiteY17" fmla="*/ 1040809 h 1329953"/>
                <a:gd name="connsiteX18" fmla="*/ 549346 w 549346"/>
                <a:gd name="connsiteY18" fmla="*/ 1040809 h 1329953"/>
                <a:gd name="connsiteX19" fmla="*/ 549346 w 549346"/>
                <a:gd name="connsiteY19" fmla="*/ 1069753 h 1329953"/>
                <a:gd name="connsiteX20" fmla="*/ 520400 w 549346"/>
                <a:gd name="connsiteY20" fmla="*/ 1329953 h 1329953"/>
                <a:gd name="connsiteX21" fmla="*/ 520400 w 549346"/>
                <a:gd name="connsiteY21" fmla="*/ 1301009 h 1329953"/>
                <a:gd name="connsiteX22" fmla="*/ 549346 w 549346"/>
                <a:gd name="connsiteY22" fmla="*/ 1301009 h 1329953"/>
                <a:gd name="connsiteX23" fmla="*/ 549346 w 549346"/>
                <a:gd name="connsiteY23" fmla="*/ 1329953 h 1329953"/>
                <a:gd name="connsiteX24" fmla="*/ 260201 w 549346"/>
                <a:gd name="connsiteY24" fmla="*/ 28949 h 1329953"/>
                <a:gd name="connsiteX25" fmla="*/ 260201 w 549346"/>
                <a:gd name="connsiteY25" fmla="*/ 3 h 1329953"/>
                <a:gd name="connsiteX26" fmla="*/ 289145 w 549346"/>
                <a:gd name="connsiteY26" fmla="*/ 3 h 1329953"/>
                <a:gd name="connsiteX27" fmla="*/ 289145 w 549346"/>
                <a:gd name="connsiteY27" fmla="*/ 28949 h 1329953"/>
                <a:gd name="connsiteX28" fmla="*/ 0 w 549346"/>
                <a:gd name="connsiteY28" fmla="*/ 28947 h 1329953"/>
                <a:gd name="connsiteX29" fmla="*/ 0 w 549346"/>
                <a:gd name="connsiteY29" fmla="*/ 0 h 1329953"/>
                <a:gd name="connsiteX30" fmla="*/ 28944 w 549346"/>
                <a:gd name="connsiteY30" fmla="*/ 0 h 1329953"/>
                <a:gd name="connsiteX31" fmla="*/ 28944 w 549346"/>
                <a:gd name="connsiteY31" fmla="*/ 28947 h 1329953"/>
                <a:gd name="connsiteX32" fmla="*/ 0 w 549346"/>
                <a:gd name="connsiteY32" fmla="*/ 289147 h 1329953"/>
                <a:gd name="connsiteX33" fmla="*/ 0 w 549346"/>
                <a:gd name="connsiteY33" fmla="*/ 260203 h 1329953"/>
                <a:gd name="connsiteX34" fmla="*/ 28944 w 549346"/>
                <a:gd name="connsiteY34" fmla="*/ 260203 h 1329953"/>
                <a:gd name="connsiteX35" fmla="*/ 28944 w 549346"/>
                <a:gd name="connsiteY35" fmla="*/ 289147 h 1329953"/>
                <a:gd name="connsiteX36" fmla="*/ 0 w 549346"/>
                <a:gd name="connsiteY36" fmla="*/ 549347 h 1329953"/>
                <a:gd name="connsiteX37" fmla="*/ 0 w 549346"/>
                <a:gd name="connsiteY37" fmla="*/ 520403 h 1329953"/>
                <a:gd name="connsiteX38" fmla="*/ 28944 w 549346"/>
                <a:gd name="connsiteY38" fmla="*/ 520403 h 1329953"/>
                <a:gd name="connsiteX39" fmla="*/ 28944 w 549346"/>
                <a:gd name="connsiteY39" fmla="*/ 549347 h 1329953"/>
                <a:gd name="connsiteX40" fmla="*/ 0 w 549346"/>
                <a:gd name="connsiteY40" fmla="*/ 809549 h 1329953"/>
                <a:gd name="connsiteX41" fmla="*/ 0 w 549346"/>
                <a:gd name="connsiteY41" fmla="*/ 780603 h 1329953"/>
                <a:gd name="connsiteX42" fmla="*/ 28944 w 549346"/>
                <a:gd name="connsiteY42" fmla="*/ 780603 h 1329953"/>
                <a:gd name="connsiteX43" fmla="*/ 28944 w 549346"/>
                <a:gd name="connsiteY43" fmla="*/ 809549 h 1329953"/>
                <a:gd name="connsiteX44" fmla="*/ 0 w 549346"/>
                <a:gd name="connsiteY44" fmla="*/ 1069747 h 1329953"/>
                <a:gd name="connsiteX45" fmla="*/ 0 w 549346"/>
                <a:gd name="connsiteY45" fmla="*/ 1040803 h 1329953"/>
                <a:gd name="connsiteX46" fmla="*/ 28944 w 549346"/>
                <a:gd name="connsiteY46" fmla="*/ 1040803 h 1329953"/>
                <a:gd name="connsiteX47" fmla="*/ 28944 w 549346"/>
                <a:gd name="connsiteY47" fmla="*/ 1069747 h 1329953"/>
                <a:gd name="connsiteX48" fmla="*/ 0 w 549346"/>
                <a:gd name="connsiteY48" fmla="*/ 1329947 h 1329953"/>
                <a:gd name="connsiteX49" fmla="*/ 0 w 549346"/>
                <a:gd name="connsiteY49" fmla="*/ 1301003 h 1329953"/>
                <a:gd name="connsiteX50" fmla="*/ 28944 w 549346"/>
                <a:gd name="connsiteY50" fmla="*/ 1301003 h 1329953"/>
                <a:gd name="connsiteX51" fmla="*/ 28944 w 549346"/>
                <a:gd name="connsiteY51" fmla="*/ 1329947 h 13299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549346" h="1329953">
                  <a:moveTo>
                    <a:pt x="520400" y="28951"/>
                  </a:moveTo>
                  <a:lnTo>
                    <a:pt x="520400" y="7"/>
                  </a:lnTo>
                  <a:lnTo>
                    <a:pt x="549346" y="7"/>
                  </a:lnTo>
                  <a:lnTo>
                    <a:pt x="549346" y="28951"/>
                  </a:lnTo>
                  <a:close/>
                  <a:moveTo>
                    <a:pt x="520400" y="289151"/>
                  </a:moveTo>
                  <a:lnTo>
                    <a:pt x="520400" y="260207"/>
                  </a:lnTo>
                  <a:lnTo>
                    <a:pt x="549346" y="260207"/>
                  </a:lnTo>
                  <a:lnTo>
                    <a:pt x="549346" y="289151"/>
                  </a:lnTo>
                  <a:close/>
                  <a:moveTo>
                    <a:pt x="520400" y="549351"/>
                  </a:moveTo>
                  <a:lnTo>
                    <a:pt x="520400" y="520407"/>
                  </a:lnTo>
                  <a:lnTo>
                    <a:pt x="549346" y="520407"/>
                  </a:lnTo>
                  <a:lnTo>
                    <a:pt x="549346" y="549351"/>
                  </a:lnTo>
                  <a:close/>
                  <a:moveTo>
                    <a:pt x="520400" y="809555"/>
                  </a:moveTo>
                  <a:lnTo>
                    <a:pt x="520400" y="780609"/>
                  </a:lnTo>
                  <a:lnTo>
                    <a:pt x="549346" y="780609"/>
                  </a:lnTo>
                  <a:lnTo>
                    <a:pt x="549346" y="809555"/>
                  </a:lnTo>
                  <a:close/>
                  <a:moveTo>
                    <a:pt x="520400" y="1069753"/>
                  </a:moveTo>
                  <a:lnTo>
                    <a:pt x="520400" y="1040809"/>
                  </a:lnTo>
                  <a:lnTo>
                    <a:pt x="549346" y="1040809"/>
                  </a:lnTo>
                  <a:lnTo>
                    <a:pt x="549346" y="1069753"/>
                  </a:lnTo>
                  <a:close/>
                  <a:moveTo>
                    <a:pt x="520400" y="1329953"/>
                  </a:moveTo>
                  <a:lnTo>
                    <a:pt x="520400" y="1301009"/>
                  </a:lnTo>
                  <a:lnTo>
                    <a:pt x="549346" y="1301009"/>
                  </a:lnTo>
                  <a:lnTo>
                    <a:pt x="549346" y="1329953"/>
                  </a:lnTo>
                  <a:close/>
                  <a:moveTo>
                    <a:pt x="260201" y="28949"/>
                  </a:moveTo>
                  <a:lnTo>
                    <a:pt x="260201" y="3"/>
                  </a:lnTo>
                  <a:lnTo>
                    <a:pt x="289145" y="3"/>
                  </a:lnTo>
                  <a:lnTo>
                    <a:pt x="289145" y="28949"/>
                  </a:lnTo>
                  <a:close/>
                  <a:moveTo>
                    <a:pt x="0" y="28947"/>
                  </a:moveTo>
                  <a:lnTo>
                    <a:pt x="0" y="0"/>
                  </a:lnTo>
                  <a:lnTo>
                    <a:pt x="28944" y="0"/>
                  </a:lnTo>
                  <a:lnTo>
                    <a:pt x="28944" y="28947"/>
                  </a:lnTo>
                  <a:close/>
                  <a:moveTo>
                    <a:pt x="0" y="289147"/>
                  </a:moveTo>
                  <a:lnTo>
                    <a:pt x="0" y="260203"/>
                  </a:lnTo>
                  <a:lnTo>
                    <a:pt x="28944" y="260203"/>
                  </a:lnTo>
                  <a:lnTo>
                    <a:pt x="28944" y="289147"/>
                  </a:lnTo>
                  <a:close/>
                  <a:moveTo>
                    <a:pt x="0" y="549347"/>
                  </a:moveTo>
                  <a:lnTo>
                    <a:pt x="0" y="520403"/>
                  </a:lnTo>
                  <a:lnTo>
                    <a:pt x="28944" y="520403"/>
                  </a:lnTo>
                  <a:lnTo>
                    <a:pt x="28944" y="549347"/>
                  </a:lnTo>
                  <a:close/>
                  <a:moveTo>
                    <a:pt x="0" y="809549"/>
                  </a:moveTo>
                  <a:lnTo>
                    <a:pt x="0" y="780603"/>
                  </a:lnTo>
                  <a:lnTo>
                    <a:pt x="28944" y="780603"/>
                  </a:lnTo>
                  <a:lnTo>
                    <a:pt x="28944" y="809549"/>
                  </a:lnTo>
                  <a:close/>
                  <a:moveTo>
                    <a:pt x="0" y="1069747"/>
                  </a:moveTo>
                  <a:lnTo>
                    <a:pt x="0" y="1040803"/>
                  </a:lnTo>
                  <a:lnTo>
                    <a:pt x="28944" y="1040803"/>
                  </a:lnTo>
                  <a:lnTo>
                    <a:pt x="28944" y="1069747"/>
                  </a:lnTo>
                  <a:close/>
                  <a:moveTo>
                    <a:pt x="0" y="1329947"/>
                  </a:moveTo>
                  <a:lnTo>
                    <a:pt x="0" y="1301003"/>
                  </a:lnTo>
                  <a:lnTo>
                    <a:pt x="28944" y="1301003"/>
                  </a:lnTo>
                  <a:lnTo>
                    <a:pt x="28944" y="1329947"/>
                  </a:ln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 w="10294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2513E87F-820D-4A7A-9D31-A26D68EA0837}"/>
                </a:ext>
              </a:extLst>
            </p:cNvPr>
            <p:cNvSpPr/>
            <p:nvPr userDrawn="1"/>
          </p:nvSpPr>
          <p:spPr>
            <a:xfrm rot="5400000">
              <a:off x="7380249" y="-145695"/>
              <a:ext cx="549346" cy="1329951"/>
            </a:xfrm>
            <a:custGeom>
              <a:avLst/>
              <a:gdLst>
                <a:gd name="connsiteX0" fmla="*/ 520400 w 549346"/>
                <a:gd name="connsiteY0" fmla="*/ 28950 h 1329951"/>
                <a:gd name="connsiteX1" fmla="*/ 520400 w 549346"/>
                <a:gd name="connsiteY1" fmla="*/ 5 h 1329951"/>
                <a:gd name="connsiteX2" fmla="*/ 549346 w 549346"/>
                <a:gd name="connsiteY2" fmla="*/ 5 h 1329951"/>
                <a:gd name="connsiteX3" fmla="*/ 549346 w 549346"/>
                <a:gd name="connsiteY3" fmla="*/ 28950 h 1329951"/>
                <a:gd name="connsiteX4" fmla="*/ 520400 w 549346"/>
                <a:gd name="connsiteY4" fmla="*/ 289149 h 1329951"/>
                <a:gd name="connsiteX5" fmla="*/ 520400 w 549346"/>
                <a:gd name="connsiteY5" fmla="*/ 260205 h 1329951"/>
                <a:gd name="connsiteX6" fmla="*/ 549346 w 549346"/>
                <a:gd name="connsiteY6" fmla="*/ 260205 h 1329951"/>
                <a:gd name="connsiteX7" fmla="*/ 549346 w 549346"/>
                <a:gd name="connsiteY7" fmla="*/ 289149 h 1329951"/>
                <a:gd name="connsiteX8" fmla="*/ 520400 w 549346"/>
                <a:gd name="connsiteY8" fmla="*/ 549350 h 1329951"/>
                <a:gd name="connsiteX9" fmla="*/ 520400 w 549346"/>
                <a:gd name="connsiteY9" fmla="*/ 520405 h 1329951"/>
                <a:gd name="connsiteX10" fmla="*/ 549346 w 549346"/>
                <a:gd name="connsiteY10" fmla="*/ 520405 h 1329951"/>
                <a:gd name="connsiteX11" fmla="*/ 549346 w 549346"/>
                <a:gd name="connsiteY11" fmla="*/ 549350 h 1329951"/>
                <a:gd name="connsiteX12" fmla="*/ 520400 w 549346"/>
                <a:gd name="connsiteY12" fmla="*/ 809553 h 1329951"/>
                <a:gd name="connsiteX13" fmla="*/ 520400 w 549346"/>
                <a:gd name="connsiteY13" fmla="*/ 780608 h 1329951"/>
                <a:gd name="connsiteX14" fmla="*/ 549346 w 549346"/>
                <a:gd name="connsiteY14" fmla="*/ 780608 h 1329951"/>
                <a:gd name="connsiteX15" fmla="*/ 549346 w 549346"/>
                <a:gd name="connsiteY15" fmla="*/ 809553 h 1329951"/>
                <a:gd name="connsiteX16" fmla="*/ 520400 w 549346"/>
                <a:gd name="connsiteY16" fmla="*/ 1069751 h 1329951"/>
                <a:gd name="connsiteX17" fmla="*/ 520400 w 549346"/>
                <a:gd name="connsiteY17" fmla="*/ 1040807 h 1329951"/>
                <a:gd name="connsiteX18" fmla="*/ 549346 w 549346"/>
                <a:gd name="connsiteY18" fmla="*/ 1040807 h 1329951"/>
                <a:gd name="connsiteX19" fmla="*/ 549346 w 549346"/>
                <a:gd name="connsiteY19" fmla="*/ 1069751 h 1329951"/>
                <a:gd name="connsiteX20" fmla="*/ 520400 w 549346"/>
                <a:gd name="connsiteY20" fmla="*/ 1329951 h 1329951"/>
                <a:gd name="connsiteX21" fmla="*/ 520400 w 549346"/>
                <a:gd name="connsiteY21" fmla="*/ 1301007 h 1329951"/>
                <a:gd name="connsiteX22" fmla="*/ 549346 w 549346"/>
                <a:gd name="connsiteY22" fmla="*/ 1301007 h 1329951"/>
                <a:gd name="connsiteX23" fmla="*/ 549346 w 549346"/>
                <a:gd name="connsiteY23" fmla="*/ 1329951 h 1329951"/>
                <a:gd name="connsiteX24" fmla="*/ 260201 w 549346"/>
                <a:gd name="connsiteY24" fmla="*/ 28947 h 1329951"/>
                <a:gd name="connsiteX25" fmla="*/ 260201 w 549346"/>
                <a:gd name="connsiteY25" fmla="*/ 2 h 1329951"/>
                <a:gd name="connsiteX26" fmla="*/ 289145 w 549346"/>
                <a:gd name="connsiteY26" fmla="*/ 2 h 1329951"/>
                <a:gd name="connsiteX27" fmla="*/ 289145 w 549346"/>
                <a:gd name="connsiteY27" fmla="*/ 28947 h 1329951"/>
                <a:gd name="connsiteX28" fmla="*/ 260201 w 549346"/>
                <a:gd name="connsiteY28" fmla="*/ 289147 h 1329951"/>
                <a:gd name="connsiteX29" fmla="*/ 260201 w 549346"/>
                <a:gd name="connsiteY29" fmla="*/ 260203 h 1329951"/>
                <a:gd name="connsiteX30" fmla="*/ 289145 w 549346"/>
                <a:gd name="connsiteY30" fmla="*/ 260203 h 1329951"/>
                <a:gd name="connsiteX31" fmla="*/ 289145 w 549346"/>
                <a:gd name="connsiteY31" fmla="*/ 289147 h 1329951"/>
                <a:gd name="connsiteX32" fmla="*/ 260201 w 549346"/>
                <a:gd name="connsiteY32" fmla="*/ 549348 h 1329951"/>
                <a:gd name="connsiteX33" fmla="*/ 260201 w 549346"/>
                <a:gd name="connsiteY33" fmla="*/ 520403 h 1329951"/>
                <a:gd name="connsiteX34" fmla="*/ 289145 w 549346"/>
                <a:gd name="connsiteY34" fmla="*/ 520403 h 1329951"/>
                <a:gd name="connsiteX35" fmla="*/ 289145 w 549346"/>
                <a:gd name="connsiteY35" fmla="*/ 549348 h 1329951"/>
                <a:gd name="connsiteX36" fmla="*/ 260201 w 549346"/>
                <a:gd name="connsiteY36" fmla="*/ 809551 h 1329951"/>
                <a:gd name="connsiteX37" fmla="*/ 260201 w 549346"/>
                <a:gd name="connsiteY37" fmla="*/ 780605 h 1329951"/>
                <a:gd name="connsiteX38" fmla="*/ 289145 w 549346"/>
                <a:gd name="connsiteY38" fmla="*/ 780605 h 1329951"/>
                <a:gd name="connsiteX39" fmla="*/ 289145 w 549346"/>
                <a:gd name="connsiteY39" fmla="*/ 809551 h 1329951"/>
                <a:gd name="connsiteX40" fmla="*/ 260201 w 549346"/>
                <a:gd name="connsiteY40" fmla="*/ 1069748 h 1329951"/>
                <a:gd name="connsiteX41" fmla="*/ 260201 w 549346"/>
                <a:gd name="connsiteY41" fmla="*/ 1040804 h 1329951"/>
                <a:gd name="connsiteX42" fmla="*/ 289145 w 549346"/>
                <a:gd name="connsiteY42" fmla="*/ 1040804 h 1329951"/>
                <a:gd name="connsiteX43" fmla="*/ 289145 w 549346"/>
                <a:gd name="connsiteY43" fmla="*/ 1069748 h 1329951"/>
                <a:gd name="connsiteX44" fmla="*/ 260201 w 549346"/>
                <a:gd name="connsiteY44" fmla="*/ 1329948 h 1329951"/>
                <a:gd name="connsiteX45" fmla="*/ 260201 w 549346"/>
                <a:gd name="connsiteY45" fmla="*/ 1301004 h 1329951"/>
                <a:gd name="connsiteX46" fmla="*/ 289145 w 549346"/>
                <a:gd name="connsiteY46" fmla="*/ 1301004 h 1329951"/>
                <a:gd name="connsiteX47" fmla="*/ 289145 w 549346"/>
                <a:gd name="connsiteY47" fmla="*/ 1329948 h 1329951"/>
                <a:gd name="connsiteX48" fmla="*/ 0 w 549346"/>
                <a:gd name="connsiteY48" fmla="*/ 28945 h 1329951"/>
                <a:gd name="connsiteX49" fmla="*/ 0 w 549346"/>
                <a:gd name="connsiteY49" fmla="*/ 0 h 1329951"/>
                <a:gd name="connsiteX50" fmla="*/ 28944 w 549346"/>
                <a:gd name="connsiteY50" fmla="*/ 0 h 1329951"/>
                <a:gd name="connsiteX51" fmla="*/ 28944 w 549346"/>
                <a:gd name="connsiteY51" fmla="*/ 28945 h 1329951"/>
                <a:gd name="connsiteX52" fmla="*/ 0 w 549346"/>
                <a:gd name="connsiteY52" fmla="*/ 289145 h 1329951"/>
                <a:gd name="connsiteX53" fmla="*/ 0 w 549346"/>
                <a:gd name="connsiteY53" fmla="*/ 260201 h 1329951"/>
                <a:gd name="connsiteX54" fmla="*/ 28944 w 549346"/>
                <a:gd name="connsiteY54" fmla="*/ 260201 h 1329951"/>
                <a:gd name="connsiteX55" fmla="*/ 28944 w 549346"/>
                <a:gd name="connsiteY55" fmla="*/ 289145 h 1329951"/>
                <a:gd name="connsiteX56" fmla="*/ 0 w 549346"/>
                <a:gd name="connsiteY56" fmla="*/ 549346 h 1329951"/>
                <a:gd name="connsiteX57" fmla="*/ 0 w 549346"/>
                <a:gd name="connsiteY57" fmla="*/ 520401 h 1329951"/>
                <a:gd name="connsiteX58" fmla="*/ 28944 w 549346"/>
                <a:gd name="connsiteY58" fmla="*/ 520401 h 1329951"/>
                <a:gd name="connsiteX59" fmla="*/ 28944 w 549346"/>
                <a:gd name="connsiteY59" fmla="*/ 549346 h 1329951"/>
                <a:gd name="connsiteX60" fmla="*/ 0 w 549346"/>
                <a:gd name="connsiteY60" fmla="*/ 809547 h 1329951"/>
                <a:gd name="connsiteX61" fmla="*/ 0 w 549346"/>
                <a:gd name="connsiteY61" fmla="*/ 780602 h 1329951"/>
                <a:gd name="connsiteX62" fmla="*/ 28944 w 549346"/>
                <a:gd name="connsiteY62" fmla="*/ 780602 h 1329951"/>
                <a:gd name="connsiteX63" fmla="*/ 28944 w 549346"/>
                <a:gd name="connsiteY63" fmla="*/ 809547 h 1329951"/>
                <a:gd name="connsiteX64" fmla="*/ 0 w 549346"/>
                <a:gd name="connsiteY64" fmla="*/ 1069746 h 1329951"/>
                <a:gd name="connsiteX65" fmla="*/ 0 w 549346"/>
                <a:gd name="connsiteY65" fmla="*/ 1040802 h 1329951"/>
                <a:gd name="connsiteX66" fmla="*/ 28944 w 549346"/>
                <a:gd name="connsiteY66" fmla="*/ 1040802 h 1329951"/>
                <a:gd name="connsiteX67" fmla="*/ 28944 w 549346"/>
                <a:gd name="connsiteY67" fmla="*/ 1069746 h 1329951"/>
                <a:gd name="connsiteX68" fmla="*/ 0 w 549346"/>
                <a:gd name="connsiteY68" fmla="*/ 1329946 h 1329951"/>
                <a:gd name="connsiteX69" fmla="*/ 0 w 549346"/>
                <a:gd name="connsiteY69" fmla="*/ 1301002 h 1329951"/>
                <a:gd name="connsiteX70" fmla="*/ 28944 w 549346"/>
                <a:gd name="connsiteY70" fmla="*/ 1301002 h 1329951"/>
                <a:gd name="connsiteX71" fmla="*/ 28944 w 549346"/>
                <a:gd name="connsiteY71" fmla="*/ 1329946 h 1329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</a:cxnLst>
              <a:rect l="l" t="t" r="r" b="b"/>
              <a:pathLst>
                <a:path w="549346" h="1329951">
                  <a:moveTo>
                    <a:pt x="520400" y="28950"/>
                  </a:moveTo>
                  <a:lnTo>
                    <a:pt x="520400" y="5"/>
                  </a:lnTo>
                  <a:lnTo>
                    <a:pt x="549346" y="5"/>
                  </a:lnTo>
                  <a:lnTo>
                    <a:pt x="549346" y="28950"/>
                  </a:lnTo>
                  <a:close/>
                  <a:moveTo>
                    <a:pt x="520400" y="289149"/>
                  </a:moveTo>
                  <a:lnTo>
                    <a:pt x="520400" y="260205"/>
                  </a:lnTo>
                  <a:lnTo>
                    <a:pt x="549346" y="260205"/>
                  </a:lnTo>
                  <a:lnTo>
                    <a:pt x="549346" y="289149"/>
                  </a:lnTo>
                  <a:close/>
                  <a:moveTo>
                    <a:pt x="520400" y="549350"/>
                  </a:moveTo>
                  <a:lnTo>
                    <a:pt x="520400" y="520405"/>
                  </a:lnTo>
                  <a:lnTo>
                    <a:pt x="549346" y="520405"/>
                  </a:lnTo>
                  <a:lnTo>
                    <a:pt x="549346" y="549350"/>
                  </a:lnTo>
                  <a:close/>
                  <a:moveTo>
                    <a:pt x="520400" y="809553"/>
                  </a:moveTo>
                  <a:lnTo>
                    <a:pt x="520400" y="780608"/>
                  </a:lnTo>
                  <a:lnTo>
                    <a:pt x="549346" y="780608"/>
                  </a:lnTo>
                  <a:lnTo>
                    <a:pt x="549346" y="809553"/>
                  </a:lnTo>
                  <a:close/>
                  <a:moveTo>
                    <a:pt x="520400" y="1069751"/>
                  </a:moveTo>
                  <a:lnTo>
                    <a:pt x="520400" y="1040807"/>
                  </a:lnTo>
                  <a:lnTo>
                    <a:pt x="549346" y="1040807"/>
                  </a:lnTo>
                  <a:lnTo>
                    <a:pt x="549346" y="1069751"/>
                  </a:lnTo>
                  <a:close/>
                  <a:moveTo>
                    <a:pt x="520400" y="1329951"/>
                  </a:moveTo>
                  <a:lnTo>
                    <a:pt x="520400" y="1301007"/>
                  </a:lnTo>
                  <a:lnTo>
                    <a:pt x="549346" y="1301007"/>
                  </a:lnTo>
                  <a:lnTo>
                    <a:pt x="549346" y="1329951"/>
                  </a:lnTo>
                  <a:close/>
                  <a:moveTo>
                    <a:pt x="260201" y="28947"/>
                  </a:moveTo>
                  <a:lnTo>
                    <a:pt x="260201" y="2"/>
                  </a:lnTo>
                  <a:lnTo>
                    <a:pt x="289145" y="2"/>
                  </a:lnTo>
                  <a:lnTo>
                    <a:pt x="289145" y="28947"/>
                  </a:lnTo>
                  <a:close/>
                  <a:moveTo>
                    <a:pt x="260201" y="289147"/>
                  </a:moveTo>
                  <a:lnTo>
                    <a:pt x="260201" y="260203"/>
                  </a:lnTo>
                  <a:lnTo>
                    <a:pt x="289145" y="260203"/>
                  </a:lnTo>
                  <a:lnTo>
                    <a:pt x="289145" y="289147"/>
                  </a:lnTo>
                  <a:close/>
                  <a:moveTo>
                    <a:pt x="260201" y="549348"/>
                  </a:moveTo>
                  <a:lnTo>
                    <a:pt x="260201" y="520403"/>
                  </a:lnTo>
                  <a:lnTo>
                    <a:pt x="289145" y="520403"/>
                  </a:lnTo>
                  <a:lnTo>
                    <a:pt x="289145" y="549348"/>
                  </a:lnTo>
                  <a:close/>
                  <a:moveTo>
                    <a:pt x="260201" y="809551"/>
                  </a:moveTo>
                  <a:lnTo>
                    <a:pt x="260201" y="780605"/>
                  </a:lnTo>
                  <a:lnTo>
                    <a:pt x="289145" y="780605"/>
                  </a:lnTo>
                  <a:lnTo>
                    <a:pt x="289145" y="809551"/>
                  </a:lnTo>
                  <a:close/>
                  <a:moveTo>
                    <a:pt x="260201" y="1069748"/>
                  </a:moveTo>
                  <a:lnTo>
                    <a:pt x="260201" y="1040804"/>
                  </a:lnTo>
                  <a:lnTo>
                    <a:pt x="289145" y="1040804"/>
                  </a:lnTo>
                  <a:lnTo>
                    <a:pt x="289145" y="1069748"/>
                  </a:lnTo>
                  <a:close/>
                  <a:moveTo>
                    <a:pt x="260201" y="1329948"/>
                  </a:moveTo>
                  <a:lnTo>
                    <a:pt x="260201" y="1301004"/>
                  </a:lnTo>
                  <a:lnTo>
                    <a:pt x="289145" y="1301004"/>
                  </a:lnTo>
                  <a:lnTo>
                    <a:pt x="289145" y="1329948"/>
                  </a:lnTo>
                  <a:close/>
                  <a:moveTo>
                    <a:pt x="0" y="28945"/>
                  </a:moveTo>
                  <a:lnTo>
                    <a:pt x="0" y="0"/>
                  </a:lnTo>
                  <a:lnTo>
                    <a:pt x="28944" y="0"/>
                  </a:lnTo>
                  <a:lnTo>
                    <a:pt x="28944" y="28945"/>
                  </a:lnTo>
                  <a:close/>
                  <a:moveTo>
                    <a:pt x="0" y="289145"/>
                  </a:moveTo>
                  <a:lnTo>
                    <a:pt x="0" y="260201"/>
                  </a:lnTo>
                  <a:lnTo>
                    <a:pt x="28944" y="260201"/>
                  </a:lnTo>
                  <a:lnTo>
                    <a:pt x="28944" y="289145"/>
                  </a:lnTo>
                  <a:close/>
                  <a:moveTo>
                    <a:pt x="0" y="549346"/>
                  </a:moveTo>
                  <a:lnTo>
                    <a:pt x="0" y="520401"/>
                  </a:lnTo>
                  <a:lnTo>
                    <a:pt x="28944" y="520401"/>
                  </a:lnTo>
                  <a:lnTo>
                    <a:pt x="28944" y="549346"/>
                  </a:lnTo>
                  <a:close/>
                  <a:moveTo>
                    <a:pt x="0" y="809547"/>
                  </a:moveTo>
                  <a:lnTo>
                    <a:pt x="0" y="780602"/>
                  </a:lnTo>
                  <a:lnTo>
                    <a:pt x="28944" y="780602"/>
                  </a:lnTo>
                  <a:lnTo>
                    <a:pt x="28944" y="809547"/>
                  </a:lnTo>
                  <a:close/>
                  <a:moveTo>
                    <a:pt x="0" y="1069746"/>
                  </a:moveTo>
                  <a:lnTo>
                    <a:pt x="0" y="1040802"/>
                  </a:lnTo>
                  <a:lnTo>
                    <a:pt x="28944" y="1040802"/>
                  </a:lnTo>
                  <a:lnTo>
                    <a:pt x="28944" y="1069746"/>
                  </a:lnTo>
                  <a:close/>
                  <a:moveTo>
                    <a:pt x="0" y="1329946"/>
                  </a:moveTo>
                  <a:lnTo>
                    <a:pt x="0" y="1301002"/>
                  </a:lnTo>
                  <a:lnTo>
                    <a:pt x="28944" y="1301002"/>
                  </a:lnTo>
                  <a:lnTo>
                    <a:pt x="28944" y="1329946"/>
                  </a:ln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 w="10294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2CE497EA-D9C9-41D3-83F4-07E026FE6B00}"/>
                </a:ext>
              </a:extLst>
            </p:cNvPr>
            <p:cNvSpPr/>
            <p:nvPr userDrawn="1"/>
          </p:nvSpPr>
          <p:spPr>
            <a:xfrm rot="5400000">
              <a:off x="8941015" y="-145695"/>
              <a:ext cx="549346" cy="1329951"/>
            </a:xfrm>
            <a:custGeom>
              <a:avLst/>
              <a:gdLst>
                <a:gd name="connsiteX0" fmla="*/ 520400 w 549346"/>
                <a:gd name="connsiteY0" fmla="*/ 28950 h 1329951"/>
                <a:gd name="connsiteX1" fmla="*/ 520400 w 549346"/>
                <a:gd name="connsiteY1" fmla="*/ 5 h 1329951"/>
                <a:gd name="connsiteX2" fmla="*/ 549346 w 549346"/>
                <a:gd name="connsiteY2" fmla="*/ 5 h 1329951"/>
                <a:gd name="connsiteX3" fmla="*/ 549346 w 549346"/>
                <a:gd name="connsiteY3" fmla="*/ 28950 h 1329951"/>
                <a:gd name="connsiteX4" fmla="*/ 520400 w 549346"/>
                <a:gd name="connsiteY4" fmla="*/ 289149 h 1329951"/>
                <a:gd name="connsiteX5" fmla="*/ 520400 w 549346"/>
                <a:gd name="connsiteY5" fmla="*/ 260205 h 1329951"/>
                <a:gd name="connsiteX6" fmla="*/ 549346 w 549346"/>
                <a:gd name="connsiteY6" fmla="*/ 260205 h 1329951"/>
                <a:gd name="connsiteX7" fmla="*/ 549346 w 549346"/>
                <a:gd name="connsiteY7" fmla="*/ 289149 h 1329951"/>
                <a:gd name="connsiteX8" fmla="*/ 520400 w 549346"/>
                <a:gd name="connsiteY8" fmla="*/ 549350 h 1329951"/>
                <a:gd name="connsiteX9" fmla="*/ 520400 w 549346"/>
                <a:gd name="connsiteY9" fmla="*/ 520405 h 1329951"/>
                <a:gd name="connsiteX10" fmla="*/ 549346 w 549346"/>
                <a:gd name="connsiteY10" fmla="*/ 520405 h 1329951"/>
                <a:gd name="connsiteX11" fmla="*/ 549346 w 549346"/>
                <a:gd name="connsiteY11" fmla="*/ 549350 h 1329951"/>
                <a:gd name="connsiteX12" fmla="*/ 520400 w 549346"/>
                <a:gd name="connsiteY12" fmla="*/ 809553 h 1329951"/>
                <a:gd name="connsiteX13" fmla="*/ 520400 w 549346"/>
                <a:gd name="connsiteY13" fmla="*/ 780608 h 1329951"/>
                <a:gd name="connsiteX14" fmla="*/ 549346 w 549346"/>
                <a:gd name="connsiteY14" fmla="*/ 780608 h 1329951"/>
                <a:gd name="connsiteX15" fmla="*/ 549346 w 549346"/>
                <a:gd name="connsiteY15" fmla="*/ 809553 h 1329951"/>
                <a:gd name="connsiteX16" fmla="*/ 520400 w 549346"/>
                <a:gd name="connsiteY16" fmla="*/ 1069751 h 1329951"/>
                <a:gd name="connsiteX17" fmla="*/ 520400 w 549346"/>
                <a:gd name="connsiteY17" fmla="*/ 1040807 h 1329951"/>
                <a:gd name="connsiteX18" fmla="*/ 549346 w 549346"/>
                <a:gd name="connsiteY18" fmla="*/ 1040807 h 1329951"/>
                <a:gd name="connsiteX19" fmla="*/ 549346 w 549346"/>
                <a:gd name="connsiteY19" fmla="*/ 1069751 h 1329951"/>
                <a:gd name="connsiteX20" fmla="*/ 520400 w 549346"/>
                <a:gd name="connsiteY20" fmla="*/ 1329951 h 1329951"/>
                <a:gd name="connsiteX21" fmla="*/ 520400 w 549346"/>
                <a:gd name="connsiteY21" fmla="*/ 1301007 h 1329951"/>
                <a:gd name="connsiteX22" fmla="*/ 549346 w 549346"/>
                <a:gd name="connsiteY22" fmla="*/ 1301007 h 1329951"/>
                <a:gd name="connsiteX23" fmla="*/ 549346 w 549346"/>
                <a:gd name="connsiteY23" fmla="*/ 1329951 h 1329951"/>
                <a:gd name="connsiteX24" fmla="*/ 260201 w 549346"/>
                <a:gd name="connsiteY24" fmla="*/ 28947 h 1329951"/>
                <a:gd name="connsiteX25" fmla="*/ 260201 w 549346"/>
                <a:gd name="connsiteY25" fmla="*/ 2 h 1329951"/>
                <a:gd name="connsiteX26" fmla="*/ 289145 w 549346"/>
                <a:gd name="connsiteY26" fmla="*/ 2 h 1329951"/>
                <a:gd name="connsiteX27" fmla="*/ 289145 w 549346"/>
                <a:gd name="connsiteY27" fmla="*/ 28947 h 1329951"/>
                <a:gd name="connsiteX28" fmla="*/ 260201 w 549346"/>
                <a:gd name="connsiteY28" fmla="*/ 289147 h 1329951"/>
                <a:gd name="connsiteX29" fmla="*/ 260201 w 549346"/>
                <a:gd name="connsiteY29" fmla="*/ 260203 h 1329951"/>
                <a:gd name="connsiteX30" fmla="*/ 289145 w 549346"/>
                <a:gd name="connsiteY30" fmla="*/ 260203 h 1329951"/>
                <a:gd name="connsiteX31" fmla="*/ 289145 w 549346"/>
                <a:gd name="connsiteY31" fmla="*/ 289147 h 1329951"/>
                <a:gd name="connsiteX32" fmla="*/ 260201 w 549346"/>
                <a:gd name="connsiteY32" fmla="*/ 549348 h 1329951"/>
                <a:gd name="connsiteX33" fmla="*/ 260201 w 549346"/>
                <a:gd name="connsiteY33" fmla="*/ 520403 h 1329951"/>
                <a:gd name="connsiteX34" fmla="*/ 289145 w 549346"/>
                <a:gd name="connsiteY34" fmla="*/ 520403 h 1329951"/>
                <a:gd name="connsiteX35" fmla="*/ 289145 w 549346"/>
                <a:gd name="connsiteY35" fmla="*/ 549348 h 1329951"/>
                <a:gd name="connsiteX36" fmla="*/ 260201 w 549346"/>
                <a:gd name="connsiteY36" fmla="*/ 809551 h 1329951"/>
                <a:gd name="connsiteX37" fmla="*/ 260201 w 549346"/>
                <a:gd name="connsiteY37" fmla="*/ 780605 h 1329951"/>
                <a:gd name="connsiteX38" fmla="*/ 289145 w 549346"/>
                <a:gd name="connsiteY38" fmla="*/ 780605 h 1329951"/>
                <a:gd name="connsiteX39" fmla="*/ 289145 w 549346"/>
                <a:gd name="connsiteY39" fmla="*/ 809551 h 1329951"/>
                <a:gd name="connsiteX40" fmla="*/ 260201 w 549346"/>
                <a:gd name="connsiteY40" fmla="*/ 1069748 h 1329951"/>
                <a:gd name="connsiteX41" fmla="*/ 260201 w 549346"/>
                <a:gd name="connsiteY41" fmla="*/ 1040804 h 1329951"/>
                <a:gd name="connsiteX42" fmla="*/ 289145 w 549346"/>
                <a:gd name="connsiteY42" fmla="*/ 1040804 h 1329951"/>
                <a:gd name="connsiteX43" fmla="*/ 289145 w 549346"/>
                <a:gd name="connsiteY43" fmla="*/ 1069748 h 1329951"/>
                <a:gd name="connsiteX44" fmla="*/ 260201 w 549346"/>
                <a:gd name="connsiteY44" fmla="*/ 1329948 h 1329951"/>
                <a:gd name="connsiteX45" fmla="*/ 260201 w 549346"/>
                <a:gd name="connsiteY45" fmla="*/ 1301004 h 1329951"/>
                <a:gd name="connsiteX46" fmla="*/ 289145 w 549346"/>
                <a:gd name="connsiteY46" fmla="*/ 1301004 h 1329951"/>
                <a:gd name="connsiteX47" fmla="*/ 289145 w 549346"/>
                <a:gd name="connsiteY47" fmla="*/ 1329948 h 1329951"/>
                <a:gd name="connsiteX48" fmla="*/ 0 w 549346"/>
                <a:gd name="connsiteY48" fmla="*/ 28945 h 1329951"/>
                <a:gd name="connsiteX49" fmla="*/ 0 w 549346"/>
                <a:gd name="connsiteY49" fmla="*/ 0 h 1329951"/>
                <a:gd name="connsiteX50" fmla="*/ 28944 w 549346"/>
                <a:gd name="connsiteY50" fmla="*/ 0 h 1329951"/>
                <a:gd name="connsiteX51" fmla="*/ 28944 w 549346"/>
                <a:gd name="connsiteY51" fmla="*/ 28945 h 1329951"/>
                <a:gd name="connsiteX52" fmla="*/ 0 w 549346"/>
                <a:gd name="connsiteY52" fmla="*/ 289145 h 1329951"/>
                <a:gd name="connsiteX53" fmla="*/ 0 w 549346"/>
                <a:gd name="connsiteY53" fmla="*/ 260201 h 1329951"/>
                <a:gd name="connsiteX54" fmla="*/ 28944 w 549346"/>
                <a:gd name="connsiteY54" fmla="*/ 260201 h 1329951"/>
                <a:gd name="connsiteX55" fmla="*/ 28944 w 549346"/>
                <a:gd name="connsiteY55" fmla="*/ 289145 h 1329951"/>
                <a:gd name="connsiteX56" fmla="*/ 0 w 549346"/>
                <a:gd name="connsiteY56" fmla="*/ 549346 h 1329951"/>
                <a:gd name="connsiteX57" fmla="*/ 0 w 549346"/>
                <a:gd name="connsiteY57" fmla="*/ 520401 h 1329951"/>
                <a:gd name="connsiteX58" fmla="*/ 28944 w 549346"/>
                <a:gd name="connsiteY58" fmla="*/ 520401 h 1329951"/>
                <a:gd name="connsiteX59" fmla="*/ 28944 w 549346"/>
                <a:gd name="connsiteY59" fmla="*/ 549346 h 1329951"/>
                <a:gd name="connsiteX60" fmla="*/ 0 w 549346"/>
                <a:gd name="connsiteY60" fmla="*/ 809547 h 1329951"/>
                <a:gd name="connsiteX61" fmla="*/ 0 w 549346"/>
                <a:gd name="connsiteY61" fmla="*/ 780602 h 1329951"/>
                <a:gd name="connsiteX62" fmla="*/ 28944 w 549346"/>
                <a:gd name="connsiteY62" fmla="*/ 780602 h 1329951"/>
                <a:gd name="connsiteX63" fmla="*/ 28944 w 549346"/>
                <a:gd name="connsiteY63" fmla="*/ 809547 h 1329951"/>
                <a:gd name="connsiteX64" fmla="*/ 0 w 549346"/>
                <a:gd name="connsiteY64" fmla="*/ 1069746 h 1329951"/>
                <a:gd name="connsiteX65" fmla="*/ 0 w 549346"/>
                <a:gd name="connsiteY65" fmla="*/ 1040802 h 1329951"/>
                <a:gd name="connsiteX66" fmla="*/ 28944 w 549346"/>
                <a:gd name="connsiteY66" fmla="*/ 1040802 h 1329951"/>
                <a:gd name="connsiteX67" fmla="*/ 28944 w 549346"/>
                <a:gd name="connsiteY67" fmla="*/ 1069746 h 1329951"/>
                <a:gd name="connsiteX68" fmla="*/ 0 w 549346"/>
                <a:gd name="connsiteY68" fmla="*/ 1329946 h 1329951"/>
                <a:gd name="connsiteX69" fmla="*/ 0 w 549346"/>
                <a:gd name="connsiteY69" fmla="*/ 1301002 h 1329951"/>
                <a:gd name="connsiteX70" fmla="*/ 28944 w 549346"/>
                <a:gd name="connsiteY70" fmla="*/ 1301002 h 1329951"/>
                <a:gd name="connsiteX71" fmla="*/ 28944 w 549346"/>
                <a:gd name="connsiteY71" fmla="*/ 1329946 h 1329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</a:cxnLst>
              <a:rect l="l" t="t" r="r" b="b"/>
              <a:pathLst>
                <a:path w="549346" h="1329951">
                  <a:moveTo>
                    <a:pt x="520400" y="28950"/>
                  </a:moveTo>
                  <a:lnTo>
                    <a:pt x="520400" y="5"/>
                  </a:lnTo>
                  <a:lnTo>
                    <a:pt x="549346" y="5"/>
                  </a:lnTo>
                  <a:lnTo>
                    <a:pt x="549346" y="28950"/>
                  </a:lnTo>
                  <a:close/>
                  <a:moveTo>
                    <a:pt x="520400" y="289149"/>
                  </a:moveTo>
                  <a:lnTo>
                    <a:pt x="520400" y="260205"/>
                  </a:lnTo>
                  <a:lnTo>
                    <a:pt x="549346" y="260205"/>
                  </a:lnTo>
                  <a:lnTo>
                    <a:pt x="549346" y="289149"/>
                  </a:lnTo>
                  <a:close/>
                  <a:moveTo>
                    <a:pt x="520400" y="549350"/>
                  </a:moveTo>
                  <a:lnTo>
                    <a:pt x="520400" y="520405"/>
                  </a:lnTo>
                  <a:lnTo>
                    <a:pt x="549346" y="520405"/>
                  </a:lnTo>
                  <a:lnTo>
                    <a:pt x="549346" y="549350"/>
                  </a:lnTo>
                  <a:close/>
                  <a:moveTo>
                    <a:pt x="520400" y="809553"/>
                  </a:moveTo>
                  <a:lnTo>
                    <a:pt x="520400" y="780608"/>
                  </a:lnTo>
                  <a:lnTo>
                    <a:pt x="549346" y="780608"/>
                  </a:lnTo>
                  <a:lnTo>
                    <a:pt x="549346" y="809553"/>
                  </a:lnTo>
                  <a:close/>
                  <a:moveTo>
                    <a:pt x="520400" y="1069751"/>
                  </a:moveTo>
                  <a:lnTo>
                    <a:pt x="520400" y="1040807"/>
                  </a:lnTo>
                  <a:lnTo>
                    <a:pt x="549346" y="1040807"/>
                  </a:lnTo>
                  <a:lnTo>
                    <a:pt x="549346" y="1069751"/>
                  </a:lnTo>
                  <a:close/>
                  <a:moveTo>
                    <a:pt x="520400" y="1329951"/>
                  </a:moveTo>
                  <a:lnTo>
                    <a:pt x="520400" y="1301007"/>
                  </a:lnTo>
                  <a:lnTo>
                    <a:pt x="549346" y="1301007"/>
                  </a:lnTo>
                  <a:lnTo>
                    <a:pt x="549346" y="1329951"/>
                  </a:lnTo>
                  <a:close/>
                  <a:moveTo>
                    <a:pt x="260201" y="28947"/>
                  </a:moveTo>
                  <a:lnTo>
                    <a:pt x="260201" y="2"/>
                  </a:lnTo>
                  <a:lnTo>
                    <a:pt x="289145" y="2"/>
                  </a:lnTo>
                  <a:lnTo>
                    <a:pt x="289145" y="28947"/>
                  </a:lnTo>
                  <a:close/>
                  <a:moveTo>
                    <a:pt x="260201" y="289147"/>
                  </a:moveTo>
                  <a:lnTo>
                    <a:pt x="260201" y="260203"/>
                  </a:lnTo>
                  <a:lnTo>
                    <a:pt x="289145" y="260203"/>
                  </a:lnTo>
                  <a:lnTo>
                    <a:pt x="289145" y="289147"/>
                  </a:lnTo>
                  <a:close/>
                  <a:moveTo>
                    <a:pt x="260201" y="549348"/>
                  </a:moveTo>
                  <a:lnTo>
                    <a:pt x="260201" y="520403"/>
                  </a:lnTo>
                  <a:lnTo>
                    <a:pt x="289145" y="520403"/>
                  </a:lnTo>
                  <a:lnTo>
                    <a:pt x="289145" y="549348"/>
                  </a:lnTo>
                  <a:close/>
                  <a:moveTo>
                    <a:pt x="260201" y="809551"/>
                  </a:moveTo>
                  <a:lnTo>
                    <a:pt x="260201" y="780605"/>
                  </a:lnTo>
                  <a:lnTo>
                    <a:pt x="289145" y="780605"/>
                  </a:lnTo>
                  <a:lnTo>
                    <a:pt x="289145" y="809551"/>
                  </a:lnTo>
                  <a:close/>
                  <a:moveTo>
                    <a:pt x="260201" y="1069748"/>
                  </a:moveTo>
                  <a:lnTo>
                    <a:pt x="260201" y="1040804"/>
                  </a:lnTo>
                  <a:lnTo>
                    <a:pt x="289145" y="1040804"/>
                  </a:lnTo>
                  <a:lnTo>
                    <a:pt x="289145" y="1069748"/>
                  </a:lnTo>
                  <a:close/>
                  <a:moveTo>
                    <a:pt x="260201" y="1329948"/>
                  </a:moveTo>
                  <a:lnTo>
                    <a:pt x="260201" y="1301004"/>
                  </a:lnTo>
                  <a:lnTo>
                    <a:pt x="289145" y="1301004"/>
                  </a:lnTo>
                  <a:lnTo>
                    <a:pt x="289145" y="1329948"/>
                  </a:lnTo>
                  <a:close/>
                  <a:moveTo>
                    <a:pt x="0" y="28945"/>
                  </a:moveTo>
                  <a:lnTo>
                    <a:pt x="0" y="0"/>
                  </a:lnTo>
                  <a:lnTo>
                    <a:pt x="28944" y="0"/>
                  </a:lnTo>
                  <a:lnTo>
                    <a:pt x="28944" y="28945"/>
                  </a:lnTo>
                  <a:close/>
                  <a:moveTo>
                    <a:pt x="0" y="289145"/>
                  </a:moveTo>
                  <a:lnTo>
                    <a:pt x="0" y="260201"/>
                  </a:lnTo>
                  <a:lnTo>
                    <a:pt x="28944" y="260201"/>
                  </a:lnTo>
                  <a:lnTo>
                    <a:pt x="28944" y="289145"/>
                  </a:lnTo>
                  <a:close/>
                  <a:moveTo>
                    <a:pt x="0" y="549346"/>
                  </a:moveTo>
                  <a:lnTo>
                    <a:pt x="0" y="520401"/>
                  </a:lnTo>
                  <a:lnTo>
                    <a:pt x="28944" y="520401"/>
                  </a:lnTo>
                  <a:lnTo>
                    <a:pt x="28944" y="549346"/>
                  </a:lnTo>
                  <a:close/>
                  <a:moveTo>
                    <a:pt x="0" y="809547"/>
                  </a:moveTo>
                  <a:lnTo>
                    <a:pt x="0" y="780602"/>
                  </a:lnTo>
                  <a:lnTo>
                    <a:pt x="28944" y="780602"/>
                  </a:lnTo>
                  <a:lnTo>
                    <a:pt x="28944" y="809547"/>
                  </a:lnTo>
                  <a:close/>
                  <a:moveTo>
                    <a:pt x="0" y="1069746"/>
                  </a:moveTo>
                  <a:lnTo>
                    <a:pt x="0" y="1040802"/>
                  </a:lnTo>
                  <a:lnTo>
                    <a:pt x="28944" y="1040802"/>
                  </a:lnTo>
                  <a:lnTo>
                    <a:pt x="28944" y="1069746"/>
                  </a:lnTo>
                  <a:close/>
                  <a:moveTo>
                    <a:pt x="0" y="1329946"/>
                  </a:moveTo>
                  <a:lnTo>
                    <a:pt x="0" y="1301002"/>
                  </a:lnTo>
                  <a:lnTo>
                    <a:pt x="28944" y="1301002"/>
                  </a:lnTo>
                  <a:lnTo>
                    <a:pt x="28944" y="1329946"/>
                  </a:ln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 w="10294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8D6FD626-A54A-45F5-9E25-50C5D4A453EC}"/>
                </a:ext>
              </a:extLst>
            </p:cNvPr>
            <p:cNvSpPr/>
            <p:nvPr userDrawn="1"/>
          </p:nvSpPr>
          <p:spPr>
            <a:xfrm rot="5400000">
              <a:off x="9981382" y="374704"/>
              <a:ext cx="549346" cy="289153"/>
            </a:xfrm>
            <a:custGeom>
              <a:avLst/>
              <a:gdLst>
                <a:gd name="connsiteX0" fmla="*/ 520400 w 549346"/>
                <a:gd name="connsiteY0" fmla="*/ 28953 h 289153"/>
                <a:gd name="connsiteX1" fmla="*/ 520400 w 549346"/>
                <a:gd name="connsiteY1" fmla="*/ 9 h 289153"/>
                <a:gd name="connsiteX2" fmla="*/ 549346 w 549346"/>
                <a:gd name="connsiteY2" fmla="*/ 9 h 289153"/>
                <a:gd name="connsiteX3" fmla="*/ 549346 w 549346"/>
                <a:gd name="connsiteY3" fmla="*/ 28953 h 289153"/>
                <a:gd name="connsiteX4" fmla="*/ 520400 w 549346"/>
                <a:gd name="connsiteY4" fmla="*/ 289153 h 289153"/>
                <a:gd name="connsiteX5" fmla="*/ 520400 w 549346"/>
                <a:gd name="connsiteY5" fmla="*/ 260209 h 289153"/>
                <a:gd name="connsiteX6" fmla="*/ 549346 w 549346"/>
                <a:gd name="connsiteY6" fmla="*/ 260209 h 289153"/>
                <a:gd name="connsiteX7" fmla="*/ 549346 w 549346"/>
                <a:gd name="connsiteY7" fmla="*/ 289153 h 289153"/>
                <a:gd name="connsiteX8" fmla="*/ 260201 w 549346"/>
                <a:gd name="connsiteY8" fmla="*/ 289151 h 289153"/>
                <a:gd name="connsiteX9" fmla="*/ 260201 w 549346"/>
                <a:gd name="connsiteY9" fmla="*/ 260207 h 289153"/>
                <a:gd name="connsiteX10" fmla="*/ 289145 w 549346"/>
                <a:gd name="connsiteY10" fmla="*/ 260207 h 289153"/>
                <a:gd name="connsiteX11" fmla="*/ 289145 w 549346"/>
                <a:gd name="connsiteY11" fmla="*/ 289151 h 289153"/>
                <a:gd name="connsiteX12" fmla="*/ 0 w 549346"/>
                <a:gd name="connsiteY12" fmla="*/ 28949 h 289153"/>
                <a:gd name="connsiteX13" fmla="*/ 0 w 549346"/>
                <a:gd name="connsiteY13" fmla="*/ 0 h 289153"/>
                <a:gd name="connsiteX14" fmla="*/ 28944 w 549346"/>
                <a:gd name="connsiteY14" fmla="*/ 0 h 289153"/>
                <a:gd name="connsiteX15" fmla="*/ 28944 w 549346"/>
                <a:gd name="connsiteY15" fmla="*/ 28949 h 289153"/>
                <a:gd name="connsiteX16" fmla="*/ 0 w 549346"/>
                <a:gd name="connsiteY16" fmla="*/ 289149 h 289153"/>
                <a:gd name="connsiteX17" fmla="*/ 0 w 549346"/>
                <a:gd name="connsiteY17" fmla="*/ 260205 h 289153"/>
                <a:gd name="connsiteX18" fmla="*/ 28944 w 549346"/>
                <a:gd name="connsiteY18" fmla="*/ 260205 h 289153"/>
                <a:gd name="connsiteX19" fmla="*/ 28944 w 549346"/>
                <a:gd name="connsiteY19" fmla="*/ 289149 h 289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549346" h="289153">
                  <a:moveTo>
                    <a:pt x="520400" y="28953"/>
                  </a:moveTo>
                  <a:lnTo>
                    <a:pt x="520400" y="9"/>
                  </a:lnTo>
                  <a:lnTo>
                    <a:pt x="549346" y="9"/>
                  </a:lnTo>
                  <a:lnTo>
                    <a:pt x="549346" y="28953"/>
                  </a:lnTo>
                  <a:close/>
                  <a:moveTo>
                    <a:pt x="520400" y="289153"/>
                  </a:moveTo>
                  <a:lnTo>
                    <a:pt x="520400" y="260209"/>
                  </a:lnTo>
                  <a:lnTo>
                    <a:pt x="549346" y="260209"/>
                  </a:lnTo>
                  <a:lnTo>
                    <a:pt x="549346" y="289153"/>
                  </a:lnTo>
                  <a:close/>
                  <a:moveTo>
                    <a:pt x="260201" y="289151"/>
                  </a:moveTo>
                  <a:lnTo>
                    <a:pt x="260201" y="260207"/>
                  </a:lnTo>
                  <a:lnTo>
                    <a:pt x="289145" y="260207"/>
                  </a:lnTo>
                  <a:lnTo>
                    <a:pt x="289145" y="289151"/>
                  </a:lnTo>
                  <a:close/>
                  <a:moveTo>
                    <a:pt x="0" y="28949"/>
                  </a:moveTo>
                  <a:lnTo>
                    <a:pt x="0" y="0"/>
                  </a:lnTo>
                  <a:lnTo>
                    <a:pt x="28944" y="0"/>
                  </a:lnTo>
                  <a:lnTo>
                    <a:pt x="28944" y="28949"/>
                  </a:lnTo>
                  <a:close/>
                  <a:moveTo>
                    <a:pt x="0" y="289149"/>
                  </a:moveTo>
                  <a:lnTo>
                    <a:pt x="0" y="260205"/>
                  </a:lnTo>
                  <a:lnTo>
                    <a:pt x="28944" y="260205"/>
                  </a:lnTo>
                  <a:lnTo>
                    <a:pt x="28944" y="289149"/>
                  </a:ln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 w="10294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</p:grpSp>
      <p:pic>
        <p:nvPicPr>
          <p:cNvPr id="5" name="Graphic 4">
            <a:extLst>
              <a:ext uri="{FF2B5EF4-FFF2-40B4-BE49-F238E27FC236}">
                <a16:creationId xmlns:a16="http://schemas.microsoft.com/office/drawing/2014/main" id="{D444D473-ABF0-5B40-6BAF-BCC39E540F16}"/>
              </a:ext>
            </a:extLst>
          </p:cNvPr>
          <p:cNvPicPr>
            <a:picLocks noChangeAspect="1"/>
          </p:cNvPicPr>
          <p:nvPr userDrawn="1"/>
        </p:nvPicPr>
        <p:blipFill>
          <a:blip r:embed="rId40">
            <a:extLst>
              <a:ext uri="{96DAC541-7B7A-43D3-8B79-37D633B846F1}">
                <asvg:svgBlip xmlns:asvg="http://schemas.microsoft.com/office/drawing/2016/SVG/main" r:embed="rId41"/>
              </a:ext>
            </a:extLst>
          </a:blip>
          <a:stretch>
            <a:fillRect/>
          </a:stretch>
        </p:blipFill>
        <p:spPr>
          <a:xfrm>
            <a:off x="9847641" y="421979"/>
            <a:ext cx="1924274" cy="353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41601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1" r:id="rId1"/>
    <p:sldLayoutId id="2147484052" r:id="rId2"/>
    <p:sldLayoutId id="2147484053" r:id="rId3"/>
    <p:sldLayoutId id="2147484054" r:id="rId4"/>
    <p:sldLayoutId id="2147484055" r:id="rId5"/>
    <p:sldLayoutId id="2147484056" r:id="rId6"/>
    <p:sldLayoutId id="2147484057" r:id="rId7"/>
    <p:sldLayoutId id="2147484058" r:id="rId8"/>
    <p:sldLayoutId id="2147484059" r:id="rId9"/>
    <p:sldLayoutId id="2147484060" r:id="rId10"/>
    <p:sldLayoutId id="2147484061" r:id="rId11"/>
    <p:sldLayoutId id="2147484062" r:id="rId12"/>
    <p:sldLayoutId id="2147484063" r:id="rId13"/>
    <p:sldLayoutId id="2147484064" r:id="rId14"/>
    <p:sldLayoutId id="2147484065" r:id="rId15"/>
    <p:sldLayoutId id="2147484066" r:id="rId16"/>
    <p:sldLayoutId id="2147484067" r:id="rId17"/>
    <p:sldLayoutId id="2147484068" r:id="rId18"/>
    <p:sldLayoutId id="2147484069" r:id="rId19"/>
    <p:sldLayoutId id="2147484070" r:id="rId20"/>
    <p:sldLayoutId id="2147484071" r:id="rId21"/>
    <p:sldLayoutId id="2147484072" r:id="rId22"/>
    <p:sldLayoutId id="2147484073" r:id="rId23"/>
    <p:sldLayoutId id="2147484074" r:id="rId24"/>
    <p:sldLayoutId id="2147484075" r:id="rId25"/>
    <p:sldLayoutId id="2147484076" r:id="rId26"/>
    <p:sldLayoutId id="2147484077" r:id="rId27"/>
    <p:sldLayoutId id="2147484078" r:id="rId28"/>
    <p:sldLayoutId id="2147484081" r:id="rId29"/>
    <p:sldLayoutId id="2147484082" r:id="rId30"/>
    <p:sldLayoutId id="2147484083" r:id="rId31"/>
    <p:sldLayoutId id="2147484084" r:id="rId32"/>
    <p:sldLayoutId id="2147484086" r:id="rId33"/>
    <p:sldLayoutId id="2147484087" r:id="rId34"/>
    <p:sldLayoutId id="2147484088" r:id="rId35"/>
    <p:sldLayoutId id="2147484089" r:id="rId36"/>
    <p:sldLayoutId id="2147484090" r:id="rId37"/>
    <p:sldLayoutId id="2147484091" r:id="rId38"/>
  </p:sldLayoutIdLst>
  <p:hf sldNum="0" hdr="0" dt="0"/>
  <p:txStyles>
    <p:titleStyle>
      <a:lvl1pPr algn="l" defTabSz="457200" rtl="0" eaLnBrk="1" latinLnBrk="0" hangingPunct="1">
        <a:lnSpc>
          <a:spcPct val="85000"/>
        </a:lnSpc>
        <a:spcBef>
          <a:spcPct val="0"/>
        </a:spcBef>
        <a:buNone/>
        <a:tabLst>
          <a:tab pos="2227263" algn="l"/>
        </a:tabLst>
        <a:defRPr sz="2800" b="1" i="0" kern="1200" spc="-50" baseline="0">
          <a:solidFill>
            <a:schemeClr val="tx1"/>
          </a:solidFill>
          <a:latin typeface="Arial" panose="020B0604020202020204" pitchFamily="34" charset="0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spcBef>
          <a:spcPts val="1000"/>
        </a:spcBef>
        <a:buFont typeface="Arial"/>
        <a:buNone/>
        <a:defRPr sz="2000" kern="1200">
          <a:solidFill>
            <a:schemeClr val="tx1"/>
          </a:solidFill>
          <a:latin typeface="Arial"/>
          <a:ea typeface="+mn-ea"/>
          <a:cs typeface="Arial"/>
        </a:defRPr>
      </a:lvl1pPr>
      <a:lvl2pPr marL="174625" indent="-174625" algn="l" defTabSz="457200" rtl="0" eaLnBrk="1" latinLnBrk="0" hangingPunct="1">
        <a:spcBef>
          <a:spcPts val="500"/>
        </a:spcBef>
        <a:buClr>
          <a:schemeClr val="accent1"/>
        </a:buClr>
        <a:buFont typeface="Arial"/>
        <a:buChar char="•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339725" indent="-165100" algn="l" defTabSz="457200" rtl="0" eaLnBrk="1" latinLnBrk="0" hangingPunct="1">
        <a:spcBef>
          <a:spcPts val="300"/>
        </a:spcBef>
        <a:buClr>
          <a:schemeClr val="accent1"/>
        </a:buClr>
        <a:buFont typeface="Lucida Grande"/>
        <a:buChar char="-"/>
        <a:defRPr sz="2000" kern="1200">
          <a:solidFill>
            <a:schemeClr val="tx1"/>
          </a:solidFill>
          <a:latin typeface="Arial"/>
          <a:ea typeface="+mn-ea"/>
          <a:cs typeface="Arial"/>
        </a:defRPr>
      </a:lvl3pPr>
      <a:lvl4pPr marL="512763" indent="-173038" algn="l" defTabSz="457200" rtl="0" eaLnBrk="1" latinLnBrk="0" hangingPunct="1">
        <a:spcBef>
          <a:spcPts val="200"/>
        </a:spcBef>
        <a:buClr>
          <a:schemeClr val="accent1"/>
        </a:buClr>
        <a:buFont typeface="Arial"/>
        <a:buChar char="•"/>
        <a:defRPr sz="2000" kern="1200">
          <a:solidFill>
            <a:schemeClr val="tx1"/>
          </a:solidFill>
          <a:latin typeface="Arial"/>
          <a:ea typeface="+mn-ea"/>
          <a:cs typeface="Arial"/>
        </a:defRPr>
      </a:lvl4pPr>
      <a:lvl5pPr marL="687388" indent="-174625" algn="l" defTabSz="457200" rtl="0" eaLnBrk="1" latinLnBrk="0" hangingPunct="1">
        <a:spcBef>
          <a:spcPts val="100"/>
        </a:spcBef>
        <a:buClr>
          <a:schemeClr val="accent1"/>
        </a:buClr>
        <a:buFont typeface="Lucida Grande"/>
        <a:buChar char="-"/>
        <a:defRPr sz="20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12">
          <p15:clr>
            <a:srgbClr val="F26B43"/>
          </p15:clr>
        </p15:guide>
        <p15:guide id="2" pos="239">
          <p15:clr>
            <a:srgbClr val="F26B43"/>
          </p15:clr>
        </p15:guide>
        <p15:guide id="3" pos="7439">
          <p15:clr>
            <a:srgbClr val="F26B43"/>
          </p15:clr>
        </p15:guide>
        <p15:guide id="4" orient="horz" pos="660">
          <p15:clr>
            <a:srgbClr val="F26B43"/>
          </p15:clr>
        </p15:guide>
        <p15:guide id="5" orient="horz" pos="83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Placeholder 1">
            <a:extLst>
              <a:ext uri="{FF2B5EF4-FFF2-40B4-BE49-F238E27FC236}">
                <a16:creationId xmlns:a16="http://schemas.microsoft.com/office/drawing/2014/main" id="{4430FD80-E4A6-D250-AD01-F66E5BDBC8AC}"/>
              </a:ext>
            </a:extLst>
          </p:cNvPr>
          <p:cNvGraphicFramePr>
            <a:graphicFrameLocks noGrp="1"/>
          </p:cNvGraphicFramePr>
          <p:nvPr>
            <p:ph type="tbl" sz="quarter" idx="14"/>
            <p:extLst>
              <p:ext uri="{D42A27DB-BD31-4B8C-83A1-F6EECF244321}">
                <p14:modId xmlns:p14="http://schemas.microsoft.com/office/powerpoint/2010/main" val="1120862059"/>
              </p:ext>
            </p:extLst>
          </p:nvPr>
        </p:nvGraphicFramePr>
        <p:xfrm>
          <a:off x="1162050" y="1319212"/>
          <a:ext cx="10645775" cy="545960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29155">
                  <a:extLst>
                    <a:ext uri="{9D8B030D-6E8A-4147-A177-3AD203B41FA5}">
                      <a16:colId xmlns:a16="http://schemas.microsoft.com/office/drawing/2014/main" val="2700617967"/>
                    </a:ext>
                  </a:extLst>
                </a:gridCol>
                <a:gridCol w="2129155">
                  <a:extLst>
                    <a:ext uri="{9D8B030D-6E8A-4147-A177-3AD203B41FA5}">
                      <a16:colId xmlns:a16="http://schemas.microsoft.com/office/drawing/2014/main" val="3169011449"/>
                    </a:ext>
                  </a:extLst>
                </a:gridCol>
                <a:gridCol w="2129155">
                  <a:extLst>
                    <a:ext uri="{9D8B030D-6E8A-4147-A177-3AD203B41FA5}">
                      <a16:colId xmlns:a16="http://schemas.microsoft.com/office/drawing/2014/main" val="3982004369"/>
                    </a:ext>
                  </a:extLst>
                </a:gridCol>
                <a:gridCol w="2129155">
                  <a:extLst>
                    <a:ext uri="{9D8B030D-6E8A-4147-A177-3AD203B41FA5}">
                      <a16:colId xmlns:a16="http://schemas.microsoft.com/office/drawing/2014/main" val="981212586"/>
                    </a:ext>
                  </a:extLst>
                </a:gridCol>
                <a:gridCol w="2129155">
                  <a:extLst>
                    <a:ext uri="{9D8B030D-6E8A-4147-A177-3AD203B41FA5}">
                      <a16:colId xmlns:a16="http://schemas.microsoft.com/office/drawing/2014/main" val="2663382324"/>
                    </a:ext>
                  </a:extLst>
                </a:gridCol>
              </a:tblGrid>
              <a:tr h="606623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/>
                        <a:t>통화명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/>
                        <a:t>매매기준율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/>
                        <a:t>전일대비</a:t>
                      </a:r>
                      <a:r>
                        <a:rPr lang="en-US" altLang="ko-KR"/>
                        <a:t>1</a:t>
                      </a:r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/>
                        <a:t>전일대비</a:t>
                      </a:r>
                      <a:r>
                        <a:rPr lang="en-US" altLang="ko-KR"/>
                        <a:t>2</a:t>
                      </a:r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/>
                        <a:t>등락률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83674424"/>
                  </a:ext>
                </a:extLst>
              </a:tr>
              <a:tr h="606623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/>
                        <a:t>미국 </a:t>
                      </a:r>
                      <a:r>
                        <a:rPr lang="en-US" altLang="ko-KR"/>
                        <a:t>USD</a:t>
                      </a:r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/>
                        <a:t>1,287.50</a:t>
                      </a:r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/>
                        <a:t>하락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/>
                        <a:t>6.00</a:t>
                      </a:r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/>
                        <a:t>-0.46%</a:t>
                      </a:r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20381643"/>
                  </a:ext>
                </a:extLst>
              </a:tr>
              <a:tr h="606623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/>
                        <a:t>일본 </a:t>
                      </a:r>
                      <a:r>
                        <a:rPr lang="en-US" altLang="ko-KR"/>
                        <a:t>JPY 100</a:t>
                      </a:r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/>
                        <a:t>924.79</a:t>
                      </a:r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/>
                        <a:t>하락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/>
                        <a:t>3.44</a:t>
                      </a:r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/>
                        <a:t>-0.37%</a:t>
                      </a:r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37529005"/>
                  </a:ext>
                </a:extLst>
              </a:tr>
              <a:tr h="606623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/>
                        <a:t>유럽연합 </a:t>
                      </a:r>
                      <a:r>
                        <a:rPr lang="en-US" altLang="ko-KR"/>
                        <a:t>EUR</a:t>
                      </a:r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/>
                        <a:t>1,387.02</a:t>
                      </a:r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/>
                        <a:t>하락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/>
                        <a:t>6.98</a:t>
                      </a:r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/>
                        <a:t>-0.50%</a:t>
                      </a:r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54126726"/>
                  </a:ext>
                </a:extLst>
              </a:tr>
              <a:tr h="606623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/>
                        <a:t>중국 </a:t>
                      </a:r>
                      <a:r>
                        <a:rPr lang="en-US" altLang="ko-KR"/>
                        <a:t>CNY</a:t>
                      </a:r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/>
                        <a:t>179.98</a:t>
                      </a:r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/>
                        <a:t>하락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/>
                        <a:t>1.17</a:t>
                      </a:r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/>
                        <a:t>-0.65%</a:t>
                      </a:r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15351809"/>
                  </a:ext>
                </a:extLst>
              </a:tr>
              <a:tr h="606623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/>
                        <a:t>영국 </a:t>
                      </a:r>
                      <a:r>
                        <a:rPr lang="en-US" altLang="ko-KR"/>
                        <a:t>GBP</a:t>
                      </a:r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/>
                        <a:t>1,619.54</a:t>
                      </a:r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/>
                        <a:t>하락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/>
                        <a:t>6.13</a:t>
                      </a:r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/>
                        <a:t>-0.38%</a:t>
                      </a:r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6830335"/>
                  </a:ext>
                </a:extLst>
              </a:tr>
              <a:tr h="606623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/>
                        <a:t>호주 </a:t>
                      </a:r>
                      <a:r>
                        <a:rPr lang="en-US" altLang="ko-KR"/>
                        <a:t>AUD</a:t>
                      </a:r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/>
                        <a:t>871.50</a:t>
                      </a:r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/>
                        <a:t>상승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/>
                        <a:t>1.11</a:t>
                      </a:r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/>
                        <a:t>+0.13%</a:t>
                      </a:r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44473802"/>
                  </a:ext>
                </a:extLst>
              </a:tr>
              <a:tr h="606623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/>
                        <a:t>캐나다 </a:t>
                      </a:r>
                      <a:r>
                        <a:rPr lang="en-US" altLang="ko-KR"/>
                        <a:t>CAD</a:t>
                      </a:r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/>
                        <a:t>966.80</a:t>
                      </a:r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/>
                        <a:t>하락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/>
                        <a:t>4.15</a:t>
                      </a:r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/>
                        <a:t>-0.43%</a:t>
                      </a:r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51528068"/>
                  </a:ext>
                </a:extLst>
              </a:tr>
              <a:tr h="606623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/>
                        <a:t>뉴질랜드 </a:t>
                      </a:r>
                      <a:r>
                        <a:rPr lang="en-US" altLang="ko-KR"/>
                        <a:t>NZD</a:t>
                      </a:r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/>
                        <a:t>791.42</a:t>
                      </a:r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/>
                        <a:t>상승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/>
                        <a:t>0.19</a:t>
                      </a:r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/>
                        <a:t>+0.02%</a:t>
                      </a:r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92152170"/>
                  </a:ext>
                </a:extLst>
              </a:tr>
            </a:tbl>
          </a:graphicData>
        </a:graphic>
      </p:graphicFrame>
      <p:sp>
        <p:nvSpPr>
          <p:cNvPr id="3" name="제목 2">
            <a:extLst>
              <a:ext uri="{FF2B5EF4-FFF2-40B4-BE49-F238E27FC236}">
                <a16:creationId xmlns:a16="http://schemas.microsoft.com/office/drawing/2014/main" id="{81B3C379-E48F-11D1-087B-81A5C4C7D2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신한은행</a:t>
            </a:r>
          </a:p>
        </p:txBody>
      </p:sp>
    </p:spTree>
    <p:extLst>
      <p:ext uri="{BB962C8B-B14F-4D97-AF65-F5344CB8AC3E}">
        <p14:creationId xmlns:p14="http://schemas.microsoft.com/office/powerpoint/2010/main" val="29622415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rimary Presentation Layouts">
  <a:themeElements>
    <a:clrScheme name="UiPath">
      <a:dk1>
        <a:srgbClr val="000000"/>
      </a:dk1>
      <a:lt1>
        <a:srgbClr val="FFFFFF"/>
      </a:lt1>
      <a:dk2>
        <a:srgbClr val="58595B"/>
      </a:dk2>
      <a:lt2>
        <a:srgbClr val="E3E3E3"/>
      </a:lt2>
      <a:accent1>
        <a:srgbClr val="FA4616"/>
      </a:accent1>
      <a:accent2>
        <a:srgbClr val="F4A700"/>
      </a:accent2>
      <a:accent3>
        <a:srgbClr val="DC2560"/>
      </a:accent3>
      <a:accent4>
        <a:srgbClr val="8B3D8A"/>
      </a:accent4>
      <a:accent5>
        <a:srgbClr val="95D041"/>
      </a:accent5>
      <a:accent6>
        <a:srgbClr val="1168CD"/>
      </a:accent6>
      <a:hlink>
        <a:srgbClr val="38C6F4"/>
      </a:hlink>
      <a:folHlink>
        <a:srgbClr val="848484"/>
      </a:folHlink>
    </a:clrScheme>
    <a:fontScheme name="사용자 지정 2">
      <a:majorFont>
        <a:latin typeface="Microsoft GothicNeo"/>
        <a:ea typeface="Microsoft GothicNeo"/>
        <a:cs typeface=""/>
      </a:majorFont>
      <a:minorFont>
        <a:latin typeface="Microsoft GothicNeo"/>
        <a:ea typeface="Microsoft GothicNeo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lIns="91440" tIns="91440" rIns="91440" bIns="91440" rtlCol="0" anchor="ctr" anchorCtr="0">
        <a:spAutoFit/>
      </a:bodyPr>
      <a:lstStyle>
        <a:defPPr algn="l">
          <a:defRPr sz="1400" b="0" i="0" dirty="0">
            <a:solidFill>
              <a:schemeClr val="tx1"/>
            </a:solidFill>
            <a:latin typeface="Arial"/>
            <a:cs typeface="Arial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91440" tIns="91440" rIns="91440" bIns="91440" rtlCol="0">
        <a:spAutoFit/>
      </a:bodyPr>
      <a:lstStyle>
        <a:defPPr algn="l">
          <a:defRPr sz="1400" dirty="0" err="1" smtClean="0">
            <a:latin typeface="Arial"/>
            <a:cs typeface="Arial"/>
          </a:defRPr>
        </a:defPPr>
      </a:lstStyle>
    </a:txDef>
  </a:objectDefaults>
  <a:extraClrSchemeLst/>
  <a:custClrLst>
    <a:custClr name="UiPath Black">
      <a:srgbClr val="000000"/>
    </a:custClr>
    <a:custClr name="UiPath White">
      <a:srgbClr val="FFFFFF"/>
    </a:custClr>
    <a:custClr name="UiPath Light Grey">
      <a:srgbClr val="E3E3E3"/>
    </a:custClr>
    <a:custClr name="UiPath Orange">
      <a:srgbClr val="FA4616"/>
    </a:custClr>
    <a:custClr name="UiPath Marigold">
      <a:srgbClr val="F4A700"/>
    </a:custClr>
    <a:custClr name="UiPath Magenta">
      <a:srgbClr val="DC2560"/>
    </a:custClr>
    <a:custClr name="UiPath Purple">
      <a:srgbClr val="8B3D8A"/>
    </a:custClr>
    <a:custClr name="UiPath Green">
      <a:srgbClr val="95D041"/>
    </a:custClr>
    <a:custClr name="UiPath Teal">
      <a:srgbClr val="0BA2B3"/>
    </a:custClr>
    <a:custClr name="UiPath Blue">
      <a:srgbClr val="1168CD"/>
    </a:custClr>
    <a:custClr name="UiPath Black">
      <a:srgbClr val="000000"/>
    </a:custClr>
    <a:custClr name="UiPath Pale Grey">
      <a:srgbClr val="F6F6F6"/>
    </a:custClr>
    <a:custClr name="UiPath Dark Grey">
      <a:srgbClr val="595959"/>
    </a:custClr>
    <a:custClr name="UiPath Dark Orange">
      <a:srgbClr val="DC4226"/>
    </a:custClr>
    <a:custClr name="UiPath Mid-Marigold">
      <a:srgbClr val="D99600"/>
    </a:custClr>
    <a:custClr name="UiPath Mid-Magenta">
      <a:srgbClr val="C62157"/>
    </a:custClr>
    <a:custClr name="UiPath Mid-Purple">
      <a:srgbClr val="77397C"/>
    </a:custClr>
    <a:custClr name="UiPath Mid-Green">
      <a:srgbClr val="87B73B"/>
    </a:custClr>
    <a:custClr name="UiPath Mid-Teal">
      <a:srgbClr val="078E9E"/>
    </a:custClr>
    <a:custClr name="UiPath Mid-Blue">
      <a:srgbClr val="245BAA"/>
    </a:custClr>
  </a:custClrLst>
  <a:extLst>
    <a:ext uri="{05A4C25C-085E-4340-85A3-A5531E510DB2}">
      <thm15:themeFamily xmlns:thm15="http://schemas.microsoft.com/office/thememl/2012/main" name="Primary Presentation Layouts" id="{40DE144E-FD2B-4B8B-A929-DF57F3A48C4F}" vid="{3C430A73-1928-44B8-B02A-F801E3571F03}"/>
    </a:ext>
  </a:extLst>
</a:theme>
</file>

<file path=ppt/theme/theme2.xml><?xml version="1.0" encoding="utf-8"?>
<a:theme xmlns:a="http://schemas.openxmlformats.org/drawingml/2006/main" name="Primary Publication Layouts">
  <a:themeElements>
    <a:clrScheme name="UiPath">
      <a:dk1>
        <a:srgbClr val="000000"/>
      </a:dk1>
      <a:lt1>
        <a:srgbClr val="FFFFFF"/>
      </a:lt1>
      <a:dk2>
        <a:srgbClr val="58595B"/>
      </a:dk2>
      <a:lt2>
        <a:srgbClr val="E3E3E3"/>
      </a:lt2>
      <a:accent1>
        <a:srgbClr val="FA4616"/>
      </a:accent1>
      <a:accent2>
        <a:srgbClr val="F4A700"/>
      </a:accent2>
      <a:accent3>
        <a:srgbClr val="DC2560"/>
      </a:accent3>
      <a:accent4>
        <a:srgbClr val="8B3D8A"/>
      </a:accent4>
      <a:accent5>
        <a:srgbClr val="95D041"/>
      </a:accent5>
      <a:accent6>
        <a:srgbClr val="1168CD"/>
      </a:accent6>
      <a:hlink>
        <a:srgbClr val="38C6F4"/>
      </a:hlink>
      <a:folHlink>
        <a:srgbClr val="848484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lIns="0" tIns="0" rIns="0" bIns="0" rtlCol="0" anchor="ctr" anchorCtr="0"/>
      <a:lstStyle>
        <a:defPPr algn="ctr">
          <a:defRPr sz="1400" b="0" i="0" dirty="0" err="1" smtClean="0">
            <a:latin typeface="Arial"/>
            <a:cs typeface="Arial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91440" tIns="91440" rIns="91440" bIns="91440" rtlCol="0">
        <a:spAutoFit/>
      </a:bodyPr>
      <a:lstStyle>
        <a:defPPr algn="l">
          <a:defRPr sz="1400" dirty="0" err="1" smtClean="0">
            <a:latin typeface="Arial"/>
            <a:cs typeface="Arial"/>
          </a:defRPr>
        </a:defPPr>
      </a:lstStyle>
    </a:txDef>
  </a:objectDefaults>
  <a:extraClrSchemeLst/>
  <a:custClrLst>
    <a:custClr name="Black">
      <a:srgbClr val="000000"/>
    </a:custClr>
    <a:custClr name="White">
      <a:srgbClr val="FFFFFF"/>
    </a:custClr>
    <a:custClr name="Light Grey">
      <a:srgbClr val="E3E3E3"/>
    </a:custClr>
    <a:custClr name="Orange">
      <a:srgbClr val="FA4616"/>
    </a:custClr>
    <a:custClr name="Marigold">
      <a:srgbClr val="F4A700"/>
    </a:custClr>
    <a:custClr name="Magenta">
      <a:srgbClr val="DC2560"/>
    </a:custClr>
    <a:custClr name="Purple">
      <a:srgbClr val="8B3D8A"/>
    </a:custClr>
    <a:custClr name="Green">
      <a:srgbClr val="95D041"/>
    </a:custClr>
    <a:custClr name="Teal">
      <a:srgbClr val="0BA2B3"/>
    </a:custClr>
    <a:custClr name="Blue">
      <a:srgbClr val="1168CD"/>
    </a:custClr>
    <a:custClr name="Black">
      <a:srgbClr val="000000"/>
    </a:custClr>
    <a:custClr name="Pale Grey">
      <a:srgbClr val="F6F6F6"/>
    </a:custClr>
    <a:custClr name="Dark Grey">
      <a:srgbClr val="595959"/>
    </a:custClr>
    <a:custClr name="Dark Orange">
      <a:srgbClr val="DC4226"/>
    </a:custClr>
    <a:custClr name="Mid-Marigold">
      <a:srgbClr val="D99600"/>
    </a:custClr>
    <a:custClr name="Mid-Magenta">
      <a:srgbClr val="C62157"/>
    </a:custClr>
    <a:custClr name="Mid-Purple">
      <a:srgbClr val="77397C"/>
    </a:custClr>
    <a:custClr name="Mid-Green">
      <a:srgbClr val="87B73B"/>
    </a:custClr>
    <a:custClr name="Mid-Teal">
      <a:srgbClr val="078E9E"/>
    </a:custClr>
    <a:custClr name="Mid-Blue">
      <a:srgbClr val="245BAA"/>
    </a:custClr>
  </a:custClrLst>
  <a:extLst>
    <a:ext uri="{05A4C25C-085E-4340-85A3-A5531E510DB2}">
      <thm15:themeFamily xmlns:thm15="http://schemas.microsoft.com/office/thememl/2012/main" name="Primary Publication Layouts" id="{C458B6D5-8BD7-474E-B3B2-8EFB3EE7859E}" vid="{EF7DF30E-CBA2-4229-9835-D252887B1863}"/>
    </a:ext>
  </a:extLst>
</a:theme>
</file>

<file path=ppt/theme/theme3.xml><?xml version="1.0" encoding="utf-8"?>
<a:theme xmlns:a="http://schemas.openxmlformats.org/drawingml/2006/main" name="Alternative Presentation Layouts">
  <a:themeElements>
    <a:clrScheme name="UiPath">
      <a:dk1>
        <a:srgbClr val="000000"/>
      </a:dk1>
      <a:lt1>
        <a:srgbClr val="FFFFFF"/>
      </a:lt1>
      <a:dk2>
        <a:srgbClr val="58595B"/>
      </a:dk2>
      <a:lt2>
        <a:srgbClr val="E3E3E3"/>
      </a:lt2>
      <a:accent1>
        <a:srgbClr val="FA4616"/>
      </a:accent1>
      <a:accent2>
        <a:srgbClr val="F4A700"/>
      </a:accent2>
      <a:accent3>
        <a:srgbClr val="DC2560"/>
      </a:accent3>
      <a:accent4>
        <a:srgbClr val="8B3D8A"/>
      </a:accent4>
      <a:accent5>
        <a:srgbClr val="95D041"/>
      </a:accent5>
      <a:accent6>
        <a:srgbClr val="1168CD"/>
      </a:accent6>
      <a:hlink>
        <a:srgbClr val="38C6F4"/>
      </a:hlink>
      <a:folHlink>
        <a:srgbClr val="848484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lIns="0" tIns="0" rIns="0" bIns="0" rtlCol="0" anchor="ctr" anchorCtr="0"/>
      <a:lstStyle>
        <a:defPPr algn="ctr">
          <a:defRPr sz="1400" b="0" i="0" dirty="0" err="1" smtClean="0">
            <a:latin typeface="Arial"/>
            <a:cs typeface="Arial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defRPr sz="1400" dirty="0" err="1" smtClean="0">
            <a:latin typeface="Arial"/>
            <a:cs typeface="Arial"/>
          </a:defRPr>
        </a:defPPr>
      </a:lstStyle>
    </a:txDef>
  </a:objectDefaults>
  <a:extraClrSchemeLst/>
  <a:custClrLst>
    <a:custClr name="Black">
      <a:srgbClr val="000000"/>
    </a:custClr>
    <a:custClr name="White">
      <a:srgbClr val="FFFFFF"/>
    </a:custClr>
    <a:custClr name="Light Grey">
      <a:srgbClr val="E3E3E3"/>
    </a:custClr>
    <a:custClr name="Orange">
      <a:srgbClr val="FA4616"/>
    </a:custClr>
    <a:custClr name="Marigold">
      <a:srgbClr val="F4A700"/>
    </a:custClr>
    <a:custClr name="Magenta">
      <a:srgbClr val="DC2560"/>
    </a:custClr>
    <a:custClr name="Purple">
      <a:srgbClr val="8B3D8A"/>
    </a:custClr>
    <a:custClr name="Green">
      <a:srgbClr val="95D041"/>
    </a:custClr>
    <a:custClr name="Teal">
      <a:srgbClr val="0BA2B3"/>
    </a:custClr>
    <a:custClr name="Blue">
      <a:srgbClr val="1168CD"/>
    </a:custClr>
    <a:custClr name="Black">
      <a:srgbClr val="000000"/>
    </a:custClr>
    <a:custClr name="Pale Grey">
      <a:srgbClr val="F6F6F6"/>
    </a:custClr>
    <a:custClr name="Dark Grey">
      <a:srgbClr val="595959"/>
    </a:custClr>
    <a:custClr name="Dark Orange">
      <a:srgbClr val="DC4226"/>
    </a:custClr>
    <a:custClr name="Mid-Marigold">
      <a:srgbClr val="D99600"/>
    </a:custClr>
    <a:custClr name="Mid-Magenta">
      <a:srgbClr val="C62157"/>
    </a:custClr>
    <a:custClr name="Mid-Purple">
      <a:srgbClr val="77397C"/>
    </a:custClr>
    <a:custClr name="Mid-Green">
      <a:srgbClr val="87B73B"/>
    </a:custClr>
    <a:custClr name="Mid-Teal">
      <a:srgbClr val="078E9E"/>
    </a:custClr>
    <a:custClr name="Mid-Blue">
      <a:srgbClr val="245BAA"/>
    </a:custClr>
  </a:custClrLst>
  <a:extLst>
    <a:ext uri="{05A4C25C-085E-4340-85A3-A5531E510DB2}">
      <thm15:themeFamily xmlns:thm15="http://schemas.microsoft.com/office/thememl/2012/main" name="Alternative Presentation Layouts" id="{D8C78AB1-EA66-43F1-AEA1-5B43655958DA}" vid="{B12F3EDD-2E1D-4BBD-BFD4-3DC4210BC126}"/>
    </a:ext>
  </a:extLst>
</a:theme>
</file>

<file path=ppt/theme/theme4.xml><?xml version="1.0" encoding="utf-8"?>
<a:theme xmlns:a="http://schemas.openxmlformats.org/drawingml/2006/main" name="Alternative Publication Layouts">
  <a:themeElements>
    <a:clrScheme name="UiPath">
      <a:dk1>
        <a:srgbClr val="000000"/>
      </a:dk1>
      <a:lt1>
        <a:srgbClr val="FFFFFF"/>
      </a:lt1>
      <a:dk2>
        <a:srgbClr val="58595B"/>
      </a:dk2>
      <a:lt2>
        <a:srgbClr val="E3E3E3"/>
      </a:lt2>
      <a:accent1>
        <a:srgbClr val="FA4616"/>
      </a:accent1>
      <a:accent2>
        <a:srgbClr val="F4A700"/>
      </a:accent2>
      <a:accent3>
        <a:srgbClr val="DC2560"/>
      </a:accent3>
      <a:accent4>
        <a:srgbClr val="8B3D8A"/>
      </a:accent4>
      <a:accent5>
        <a:srgbClr val="95D041"/>
      </a:accent5>
      <a:accent6>
        <a:srgbClr val="1168CD"/>
      </a:accent6>
      <a:hlink>
        <a:srgbClr val="38C6F4"/>
      </a:hlink>
      <a:folHlink>
        <a:srgbClr val="848484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lIns="0" tIns="0" rIns="0" bIns="0" rtlCol="0" anchor="ctr" anchorCtr="0"/>
      <a:lstStyle>
        <a:defPPr algn="ctr">
          <a:defRPr sz="1400" b="0" i="0" dirty="0" err="1" smtClean="0">
            <a:latin typeface="Arial"/>
            <a:cs typeface="Arial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91440" tIns="91440" rIns="91440" bIns="91440" rtlCol="0">
        <a:spAutoFit/>
      </a:bodyPr>
      <a:lstStyle>
        <a:defPPr algn="l">
          <a:defRPr sz="1400" dirty="0" err="1" smtClean="0">
            <a:latin typeface="Arial"/>
            <a:cs typeface="Arial"/>
          </a:defRPr>
        </a:defPPr>
      </a:lstStyle>
    </a:txDef>
  </a:objectDefaults>
  <a:extraClrSchemeLst/>
  <a:custClrLst>
    <a:custClr name="Black">
      <a:srgbClr val="000000"/>
    </a:custClr>
    <a:custClr name="White">
      <a:srgbClr val="FFFFFF"/>
    </a:custClr>
    <a:custClr name="Light Grey">
      <a:srgbClr val="E3E3E3"/>
    </a:custClr>
    <a:custClr name="Orange">
      <a:srgbClr val="FA4616"/>
    </a:custClr>
    <a:custClr name="Marigold">
      <a:srgbClr val="F4A700"/>
    </a:custClr>
    <a:custClr name="Magenta">
      <a:srgbClr val="DC2560"/>
    </a:custClr>
    <a:custClr name="Purple">
      <a:srgbClr val="8B3D8A"/>
    </a:custClr>
    <a:custClr name="Green">
      <a:srgbClr val="95D041"/>
    </a:custClr>
    <a:custClr name="Teal">
      <a:srgbClr val="0BA2B3"/>
    </a:custClr>
    <a:custClr name="Blue">
      <a:srgbClr val="1168CD"/>
    </a:custClr>
    <a:custClr name="Black">
      <a:srgbClr val="000000"/>
    </a:custClr>
    <a:custClr name="Pale Grey">
      <a:srgbClr val="F6F6F6"/>
    </a:custClr>
    <a:custClr name="Dark Grey">
      <a:srgbClr val="595959"/>
    </a:custClr>
    <a:custClr name="Dark Orange">
      <a:srgbClr val="DC4226"/>
    </a:custClr>
    <a:custClr name="Mid-Marigold">
      <a:srgbClr val="D99600"/>
    </a:custClr>
    <a:custClr name="Mid-Magenta">
      <a:srgbClr val="C62157"/>
    </a:custClr>
    <a:custClr name="Mid-Purple">
      <a:srgbClr val="77397C"/>
    </a:custClr>
    <a:custClr name="Mid-Green">
      <a:srgbClr val="87B73B"/>
    </a:custClr>
    <a:custClr name="Mid-Teal">
      <a:srgbClr val="078E9E"/>
    </a:custClr>
    <a:custClr name="Mid-Blue">
      <a:srgbClr val="245BAA"/>
    </a:custClr>
  </a:custClrLst>
  <a:extLst>
    <a:ext uri="{05A4C25C-085E-4340-85A3-A5531E510DB2}">
      <thm15:themeFamily xmlns:thm15="http://schemas.microsoft.com/office/thememl/2012/main" name="Alternative Publication Layouts" id="{4D926E7A-1D45-4472-A185-64CD6114CE2B}" vid="{1BE34B7B-2393-4C9A-8EC6-E537A42DDDE1}"/>
    </a:ext>
  </a:extLst>
</a:theme>
</file>

<file path=ppt/theme/theme5.xml><?xml version="1.0" encoding="utf-8"?>
<a:theme xmlns:a="http://schemas.openxmlformats.org/drawingml/2006/main" name="3_Primary Publication Layouts">
  <a:themeElements>
    <a:clrScheme name="Custom 25">
      <a:dk1>
        <a:srgbClr val="000000"/>
      </a:dk1>
      <a:lt1>
        <a:srgbClr val="FFFFFF"/>
      </a:lt1>
      <a:dk2>
        <a:srgbClr val="58595B"/>
      </a:dk2>
      <a:lt2>
        <a:srgbClr val="DFE3E3"/>
      </a:lt2>
      <a:accent1>
        <a:srgbClr val="FA4616"/>
      </a:accent1>
      <a:accent2>
        <a:srgbClr val="0067DF"/>
      </a:accent2>
      <a:accent3>
        <a:srgbClr val="ED145B"/>
      </a:accent3>
      <a:accent4>
        <a:srgbClr val="FFB40E"/>
      </a:accent4>
      <a:accent5>
        <a:srgbClr val="933692"/>
      </a:accent5>
      <a:accent6>
        <a:srgbClr val="38C6F4"/>
      </a:accent6>
      <a:hlink>
        <a:srgbClr val="38C6F4"/>
      </a:hlink>
      <a:folHlink>
        <a:srgbClr val="848484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lIns="0" tIns="0" rIns="0" bIns="0" rtlCol="0" anchor="ctr" anchorCtr="0"/>
      <a:lstStyle>
        <a:defPPr algn="ctr">
          <a:defRPr sz="1400" b="0" i="0" dirty="0" err="1" smtClean="0">
            <a:latin typeface="Arial"/>
            <a:cs typeface="Arial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defRPr sz="1400" dirty="0" err="1" smtClean="0">
            <a:latin typeface="Arial"/>
            <a:cs typeface="Arial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9-UIP-0019_UiPath_PPT_Template_m03_SOURCE" id="{4B192790-002F-3D48-B1F1-6444C353B5BB}" vid="{BCBBA195-C160-C64D-926E-FE6B93B5FCDC}"/>
    </a:ext>
  </a:extLst>
</a:theme>
</file>

<file path=ppt/theme/theme6.xml><?xml version="1.0" encoding="utf-8"?>
<a:theme xmlns:a="http://schemas.openxmlformats.org/drawingml/2006/main" name="1_Primary Presentation Layouts">
  <a:themeElements>
    <a:clrScheme name="Custom 25">
      <a:dk1>
        <a:srgbClr val="000000"/>
      </a:dk1>
      <a:lt1>
        <a:srgbClr val="FFFFFF"/>
      </a:lt1>
      <a:dk2>
        <a:srgbClr val="58595B"/>
      </a:dk2>
      <a:lt2>
        <a:srgbClr val="DFE3E3"/>
      </a:lt2>
      <a:accent1>
        <a:srgbClr val="FA4616"/>
      </a:accent1>
      <a:accent2>
        <a:srgbClr val="0067DF"/>
      </a:accent2>
      <a:accent3>
        <a:srgbClr val="ED145B"/>
      </a:accent3>
      <a:accent4>
        <a:srgbClr val="FFB40E"/>
      </a:accent4>
      <a:accent5>
        <a:srgbClr val="933692"/>
      </a:accent5>
      <a:accent6>
        <a:srgbClr val="38C6F4"/>
      </a:accent6>
      <a:hlink>
        <a:srgbClr val="38C6F4"/>
      </a:hlink>
      <a:folHlink>
        <a:srgbClr val="848484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lIns="0" tIns="0" rIns="0" bIns="0" rtlCol="0" anchor="ctr" anchorCtr="0"/>
      <a:lstStyle>
        <a:defPPr algn="ctr">
          <a:defRPr sz="1400" b="0" i="0" dirty="0" err="1" smtClean="0">
            <a:latin typeface="Arial"/>
            <a:cs typeface="Arial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defRPr sz="1400" dirty="0" err="1" smtClean="0">
            <a:latin typeface="Arial"/>
            <a:cs typeface="Arial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9-UIP-0019_UiPath_PPT_Template_m03_SOURCE" id="{4B192790-002F-3D48-B1F1-6444C353B5BB}" vid="{BCBBA195-C160-C64D-926E-FE6B93B5FCDC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0.xml><?xml version="1.0" encoding="utf-8"?>
<VariableListDefinition name="AD_HOC" displayName="AD_HOC" id="408fc6a8-5d0b-4594-8b6e-b1b37a2179bf" isdomainofvalue="False" dataSourceId="cdc49172-074c-4e17-9fd2-953a25c000ac"/>
</file>

<file path=customXml/item2.xml><?xml version="1.0" encoding="utf-8"?>
<VariableListDefinition name="System" displayName="System" id="89a417bf-9963-4bc6-8203-e0f5ad8ff73e" isdomainofvalue="False" dataSourceId="d6ad5235-58c6-406d-9b28-51112ed3dcac"/>
</file>

<file path=customXml/item3.xml><?xml version="1.0" encoding="utf-8"?>
<AllExternalAdhocVariableMappings/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c8cf5a81-86bc-46c0-a2b3-094b07bbf895" xsi:nil="true"/>
    <lcf76f155ced4ddcb4097134ff3c332f xmlns="58b7e121-e410-4276-bc1f-bd2d26948425">
      <Terms xmlns="http://schemas.microsoft.com/office/infopath/2007/PartnerControls"/>
    </lcf76f155ced4ddcb4097134ff3c332f>
    <ClientFileRound xmlns="58b7e121-e410-4276-bc1f-bd2d26948425" xsi:nil="true"/>
  </documentManagement>
</p:properties>
</file>

<file path=customXml/item5.xml><?xml version="1.0" encoding="utf-8"?>
<VariableList UniqueId="677a0d22-bc08-4c10-96f4-21611cbdf7fc" Name="Computed" ContentType="XML" MajorVersion="0" MinorVersion="1" isLocalCopy="False" IsBaseObject="False" DataSourceId="4fe6d27c-b223-4c64-81a8-4bf353aaf868" DataSourceMajorVersion="0" DataSourceMinorVersion="1"/>
</file>

<file path=customXml/item6.xml><?xml version="1.0" encoding="utf-8"?>
<VariableList UniqueId="408fc6a8-5d0b-4594-8b6e-b1b37a2179bf" Name="AD_HOC" ContentType="XML" MajorVersion="0" MinorVersion="1" isLocalCopy="False" IsBaseObject="False" DataSourceId="cdc49172-074c-4e17-9fd2-953a25c000ac" DataSourceMajorVersion="0" DataSourceMinorVersion="1"/>
</file>

<file path=customXml/item7.xml><?xml version="1.0" encoding="utf-8"?>
<VariableListDefinition name="Computed" displayName="Computed" id="677a0d22-bc08-4c10-96f4-21611cbdf7fc" isdomainofvalue="False" dataSourceId="4fe6d27c-b223-4c64-81a8-4bf353aaf868"/>
</file>

<file path=customXml/item8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246832D12C49A408DF326568C3F47FC" ma:contentTypeVersion="12" ma:contentTypeDescription="Create a new document." ma:contentTypeScope="" ma:versionID="89c96b9f4c1331b3f8913412d44c81af">
  <xsd:schema xmlns:xsd="http://www.w3.org/2001/XMLSchema" xmlns:xs="http://www.w3.org/2001/XMLSchema" xmlns:p="http://schemas.microsoft.com/office/2006/metadata/properties" xmlns:ns2="58b7e121-e410-4276-bc1f-bd2d26948425" xmlns:ns3="c8cf5a81-86bc-46c0-a2b3-094b07bbf895" targetNamespace="http://schemas.microsoft.com/office/2006/metadata/properties" ma:root="true" ma:fieldsID="12aeac712a70f1f1c23acdc7b08b4e98" ns2:_="" ns3:_="">
    <xsd:import namespace="58b7e121-e410-4276-bc1f-bd2d26948425"/>
    <xsd:import namespace="c8cf5a81-86bc-46c0-a2b3-094b07bbf89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LengthInSeconds" minOccurs="0"/>
                <xsd:element ref="ns2:MediaServiceLocation" minOccurs="0"/>
                <xsd:element ref="ns2:ClientFileRoun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8b7e121-e410-4276-bc1f-bd2d2694842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c1dbffec-79fa-4823-8888-078a85f18a7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18" nillable="true" ma:displayName="Location" ma:indexed="true" ma:internalName="MediaServiceLocation" ma:readOnly="true">
      <xsd:simpleType>
        <xsd:restriction base="dms:Text"/>
      </xsd:simpleType>
    </xsd:element>
    <xsd:element name="ClientFileRound" ma:index="19" nillable="true" ma:displayName="Client File Round" ma:description="Design round during which client files were sent" ma:format="Dropdown" ma:internalName="ClientFileRound">
      <xsd:simpleType>
        <xsd:restriction base="dms:Choice">
          <xsd:enumeration value="SG01"/>
          <xsd:enumeration value="SG02"/>
          <xsd:enumeration value="SG03"/>
          <xsd:enumeration value="SG04"/>
          <xsd:enumeration value="SG05+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8cf5a81-86bc-46c0-a2b3-094b07bbf895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93186c26-f1eb-4926-937a-8cb318134176}" ma:internalName="TaxCatchAll" ma:showField="CatchAllData" ma:web="c8cf5a81-86bc-46c0-a2b3-094b07bbf89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9.xml><?xml version="1.0" encoding="utf-8"?>
<VariableList UniqueId="89a417bf-9963-4bc6-8203-e0f5ad8ff73e" Name="System" ContentType="XML" MajorVersion="0" MinorVersion="1" isLocalCopy="False" IsBaseObject="False" DataSourceId="d6ad5235-58c6-406d-9b28-51112ed3dcac" DataSourceMajorVersion="0" DataSourceMinorVersion="1"/>
</file>

<file path=customXml/itemProps1.xml><?xml version="1.0" encoding="utf-8"?>
<ds:datastoreItem xmlns:ds="http://schemas.openxmlformats.org/officeDocument/2006/customXml" ds:itemID="{23FF3D86-180F-4DEA-B9A1-FE7063DE5251}">
  <ds:schemaRefs>
    <ds:schemaRef ds:uri="http://schemas.microsoft.com/sharepoint/v3/contenttype/forms"/>
  </ds:schemaRefs>
</ds:datastoreItem>
</file>

<file path=customXml/itemProps10.xml><?xml version="1.0" encoding="utf-8"?>
<ds:datastoreItem xmlns:ds="http://schemas.openxmlformats.org/officeDocument/2006/customXml" ds:itemID="{25AB3BF2-4191-4669-8147-6D80B945F487}">
  <ds:schemaRefs/>
</ds:datastoreItem>
</file>

<file path=customXml/itemProps2.xml><?xml version="1.0" encoding="utf-8"?>
<ds:datastoreItem xmlns:ds="http://schemas.openxmlformats.org/officeDocument/2006/customXml" ds:itemID="{E66FC6E0-6B1E-4F41-B480-5D10CECF021F}">
  <ds:schemaRefs/>
</ds:datastoreItem>
</file>

<file path=customXml/itemProps3.xml><?xml version="1.0" encoding="utf-8"?>
<ds:datastoreItem xmlns:ds="http://schemas.openxmlformats.org/officeDocument/2006/customXml" ds:itemID="{923AAEBF-A751-4142-B5B3-E95A4E06D92B}">
  <ds:schemaRefs/>
</ds:datastoreItem>
</file>

<file path=customXml/itemProps4.xml><?xml version="1.0" encoding="utf-8"?>
<ds:datastoreItem xmlns:ds="http://schemas.openxmlformats.org/officeDocument/2006/customXml" ds:itemID="{30B9A7B4-0C2B-428A-8A99-61FAC3BE1523}">
  <ds:schemaRefs>
    <ds:schemaRef ds:uri="c8cf5a81-86bc-46c0-a2b3-094b07bbf895"/>
    <ds:schemaRef ds:uri="http://schemas.openxmlformats.org/package/2006/metadata/core-properties"/>
    <ds:schemaRef ds:uri="http://schemas.microsoft.com/office/2006/metadata/properties"/>
    <ds:schemaRef ds:uri="58b7e121-e410-4276-bc1f-bd2d26948425"/>
    <ds:schemaRef ds:uri="http://purl.org/dc/terms/"/>
    <ds:schemaRef ds:uri="http://schemas.microsoft.com/office/2006/documentManagement/types"/>
    <ds:schemaRef ds:uri="http://purl.org/dc/dcmitype/"/>
    <ds:schemaRef ds:uri="http://schemas.microsoft.com/office/infopath/2007/PartnerControls"/>
    <ds:schemaRef ds:uri="http://www.w3.org/XML/1998/namespace"/>
    <ds:schemaRef ds:uri="http://purl.org/dc/elements/1.1/"/>
  </ds:schemaRefs>
</ds:datastoreItem>
</file>

<file path=customXml/itemProps5.xml><?xml version="1.0" encoding="utf-8"?>
<ds:datastoreItem xmlns:ds="http://schemas.openxmlformats.org/officeDocument/2006/customXml" ds:itemID="{E4649F00-9A40-4EBE-983B-4FCD027592B4}">
  <ds:schemaRefs/>
</ds:datastoreItem>
</file>

<file path=customXml/itemProps6.xml><?xml version="1.0" encoding="utf-8"?>
<ds:datastoreItem xmlns:ds="http://schemas.openxmlformats.org/officeDocument/2006/customXml" ds:itemID="{CE09EC06-F6D4-4972-8718-EFC00A1D5E5C}">
  <ds:schemaRefs/>
</ds:datastoreItem>
</file>

<file path=customXml/itemProps7.xml><?xml version="1.0" encoding="utf-8"?>
<ds:datastoreItem xmlns:ds="http://schemas.openxmlformats.org/officeDocument/2006/customXml" ds:itemID="{89DFABB3-3BB3-4306-90BC-0E46607C1C8F}">
  <ds:schemaRefs/>
</ds:datastoreItem>
</file>

<file path=customXml/itemProps8.xml><?xml version="1.0" encoding="utf-8"?>
<ds:datastoreItem xmlns:ds="http://schemas.openxmlformats.org/officeDocument/2006/customXml" ds:itemID="{E442147C-47C2-49E7-BE27-E503291C29E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8b7e121-e410-4276-bc1f-bd2d26948425"/>
    <ds:schemaRef ds:uri="c8cf5a81-86bc-46c0-a2b3-094b07bbf89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9.xml><?xml version="1.0" encoding="utf-8"?>
<ds:datastoreItem xmlns:ds="http://schemas.openxmlformats.org/officeDocument/2006/customXml" ds:itemID="{C61F1676-62FF-4243-B11F-F637768F8ADC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19-UIP-0019_UiPath_PPT_Template_m03</Template>
  <TotalTime>1680</TotalTime>
  <Words>73</Words>
  <Application>Microsoft Office PowerPoint</Application>
  <PresentationFormat>사용자 지정</PresentationFormat>
  <Paragraphs>46</Paragraphs>
  <Slides>1</Slides>
  <Notes>0</Notes>
  <HiddenSlides>0</HiddenSlides>
  <MMClips>0</MMClips>
  <ScaleCrop>false</ScaleCrop>
  <HeadingPairs>
    <vt:vector size="8" baseType="variant">
      <vt:variant>
        <vt:lpstr>사용한 글꼴</vt:lpstr>
      </vt:variant>
      <vt:variant>
        <vt:i4>5</vt:i4>
      </vt:variant>
      <vt:variant>
        <vt:lpstr>테마</vt:lpstr>
      </vt:variant>
      <vt:variant>
        <vt:i4>6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1</vt:i4>
      </vt:variant>
    </vt:vector>
  </HeadingPairs>
  <TitlesOfParts>
    <vt:vector size="13" baseType="lpstr">
      <vt:lpstr>Source Sans Pro</vt:lpstr>
      <vt:lpstr>Arial</vt:lpstr>
      <vt:lpstr>Microsoft GothicNeo</vt:lpstr>
      <vt:lpstr>Calibri</vt:lpstr>
      <vt:lpstr>Lucida Grande</vt:lpstr>
      <vt:lpstr>Primary Presentation Layouts</vt:lpstr>
      <vt:lpstr>Primary Publication Layouts</vt:lpstr>
      <vt:lpstr>Alternative Presentation Layouts</vt:lpstr>
      <vt:lpstr>Alternative Publication Layouts</vt:lpstr>
      <vt:lpstr>3_Primary Publication Layouts</vt:lpstr>
      <vt:lpstr>1_Primary Presentation Layouts</vt:lpstr>
      <vt:lpstr>think-cell Slide</vt:lpstr>
      <vt:lpstr>신한은행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nk Automation First</dc:title>
  <dc:creator>Barbara Dorf</dc:creator>
  <cp:lastModifiedBy>Jiyeon Kim</cp:lastModifiedBy>
  <cp:revision>208</cp:revision>
  <dcterms:created xsi:type="dcterms:W3CDTF">2019-04-27T00:55:32Z</dcterms:created>
  <dcterms:modified xsi:type="dcterms:W3CDTF">2023-06-12T11:14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930CDFC82A4D7499CF726819E53278B</vt:lpwstr>
  </property>
  <property fmtid="{D5CDD505-2E9C-101B-9397-08002B2CF9AE}" pid="3" name="_dlc_DocIdItemGuid">
    <vt:lpwstr>001f46d7-683d-4398-8fa0-0d8715abfd1d</vt:lpwstr>
  </property>
  <property fmtid="{D5CDD505-2E9C-101B-9397-08002B2CF9AE}" pid="4" name="MediaServiceImageTags">
    <vt:lpwstr/>
  </property>
</Properties>
</file>